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21"/>
  </p:notesMasterIdLst>
  <p:handoutMasterIdLst>
    <p:handoutMasterId r:id="rId22"/>
  </p:handoutMasterIdLst>
  <p:sldIdLst>
    <p:sldId id="587" r:id="rId6"/>
    <p:sldId id="646" r:id="rId7"/>
    <p:sldId id="632" r:id="rId8"/>
    <p:sldId id="631" r:id="rId9"/>
    <p:sldId id="624" r:id="rId10"/>
    <p:sldId id="637" r:id="rId11"/>
    <p:sldId id="638" r:id="rId12"/>
    <p:sldId id="639" r:id="rId13"/>
    <p:sldId id="640" r:id="rId14"/>
    <p:sldId id="641" r:id="rId15"/>
    <p:sldId id="645" r:id="rId16"/>
    <p:sldId id="636" r:id="rId17"/>
    <p:sldId id="626" r:id="rId18"/>
    <p:sldId id="642" r:id="rId19"/>
    <p:sldId id="532" r:id="rId20"/>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EAEEF0"/>
    <a:srgbClr val="91A5AE"/>
    <a:srgbClr val="C8D3D8"/>
    <a:srgbClr val="C9D4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40"/>
  </p:normalViewPr>
  <p:slideViewPr>
    <p:cSldViewPr snapToGrid="0" snapToObjects="1">
      <p:cViewPr varScale="1">
        <p:scale>
          <a:sx n="64" d="100"/>
          <a:sy n="64" d="100"/>
        </p:scale>
        <p:origin x="1212" y="52"/>
      </p:cViewPr>
      <p:guideLst/>
    </p:cSldViewPr>
  </p:slideViewPr>
  <p:notesTextViewPr>
    <p:cViewPr>
      <p:scale>
        <a:sx n="1" d="1"/>
        <a:sy n="1" d="1"/>
      </p:scale>
      <p:origin x="0" y="0"/>
    </p:cViewPr>
  </p:notesTextViewPr>
  <p:sorterViewPr>
    <p:cViewPr>
      <p:scale>
        <a:sx n="200" d="100"/>
        <a:sy n="200" d="100"/>
      </p:scale>
      <p:origin x="0" y="0"/>
    </p:cViewPr>
  </p:sorterViewPr>
  <p:notesViewPr>
    <p:cSldViewPr snapToGrid="0" snapToObjects="1">
      <p:cViewPr varScale="1">
        <p:scale>
          <a:sx n="62" d="100"/>
          <a:sy n="62" d="100"/>
        </p:scale>
        <p:origin x="2842"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35C75B-1AA0-4DC9-8623-FC7B067C39E4}" type="doc">
      <dgm:prSet loTypeId="urn:microsoft.com/office/officeart/2005/8/layout/chevron1" loCatId="process" qsTypeId="urn:microsoft.com/office/officeart/2005/8/quickstyle/simple1" qsCatId="simple" csTypeId="urn:microsoft.com/office/officeart/2005/8/colors/accent1_2" csCatId="accent1" phldr="1"/>
      <dgm:spPr/>
    </dgm:pt>
    <dgm:pt modelId="{9584745B-D571-4817-90A9-A06755FA35F5}">
      <dgm:prSet phldrT="[Text]"/>
      <dgm:spPr/>
      <dgm:t>
        <a:bodyPr/>
        <a:lstStyle/>
        <a:p>
          <a:r>
            <a:rPr lang="de-DE" dirty="0"/>
            <a:t>Initial </a:t>
          </a:r>
          <a:r>
            <a:rPr lang="de-DE" dirty="0" err="1"/>
            <a:t>delivery</a:t>
          </a:r>
          <a:endParaRPr lang="de-DE" dirty="0"/>
        </a:p>
      </dgm:t>
    </dgm:pt>
    <dgm:pt modelId="{53564393-09DF-4660-81C2-5FD102010D81}" type="parTrans" cxnId="{D8796487-DF97-441E-9614-46B3A789C5AC}">
      <dgm:prSet/>
      <dgm:spPr/>
      <dgm:t>
        <a:bodyPr/>
        <a:lstStyle/>
        <a:p>
          <a:endParaRPr lang="de-DE"/>
        </a:p>
      </dgm:t>
    </dgm:pt>
    <dgm:pt modelId="{27D85554-462D-4430-B23E-072486F1B715}" type="sibTrans" cxnId="{D8796487-DF97-441E-9614-46B3A789C5AC}">
      <dgm:prSet/>
      <dgm:spPr/>
      <dgm:t>
        <a:bodyPr/>
        <a:lstStyle/>
        <a:p>
          <a:endParaRPr lang="de-DE"/>
        </a:p>
      </dgm:t>
    </dgm:pt>
    <dgm:pt modelId="{37F8AB4B-D6DD-42FF-8D0D-504D71FAFC7A}">
      <dgm:prSet phldrT="[Text]"/>
      <dgm:spPr/>
      <dgm:t>
        <a:bodyPr/>
        <a:lstStyle/>
        <a:p>
          <a:r>
            <a:rPr lang="de-DE" dirty="0"/>
            <a:t>Initial FB </a:t>
          </a:r>
          <a:r>
            <a:rPr lang="de-DE" dirty="0" err="1"/>
            <a:t>calculation</a:t>
          </a:r>
          <a:r>
            <a:rPr lang="de-DE" dirty="0"/>
            <a:t> </a:t>
          </a:r>
        </a:p>
      </dgm:t>
    </dgm:pt>
    <dgm:pt modelId="{6C4A8D53-B11F-42D4-B0D4-035E5BCC5EE9}" type="parTrans" cxnId="{F36EDED5-A72C-4B66-9526-1AB1C098AD13}">
      <dgm:prSet/>
      <dgm:spPr/>
      <dgm:t>
        <a:bodyPr/>
        <a:lstStyle/>
        <a:p>
          <a:endParaRPr lang="de-DE"/>
        </a:p>
      </dgm:t>
    </dgm:pt>
    <dgm:pt modelId="{61A78A9C-F7F1-4574-9294-32214C7076F3}" type="sibTrans" cxnId="{F36EDED5-A72C-4B66-9526-1AB1C098AD13}">
      <dgm:prSet/>
      <dgm:spPr/>
      <dgm:t>
        <a:bodyPr/>
        <a:lstStyle/>
        <a:p>
          <a:endParaRPr lang="de-DE"/>
        </a:p>
      </dgm:t>
    </dgm:pt>
    <dgm:pt modelId="{EE5F339C-1D9B-48E4-A1E7-E138276DD222}">
      <dgm:prSet phldrT="[Text]"/>
      <dgm:spPr/>
      <dgm:t>
        <a:bodyPr/>
        <a:lstStyle/>
        <a:p>
          <a:r>
            <a:rPr lang="de-DE" dirty="0"/>
            <a:t>Validation</a:t>
          </a:r>
        </a:p>
      </dgm:t>
    </dgm:pt>
    <dgm:pt modelId="{5627F240-72D2-4B7F-8CD7-9A9EA7A3111D}" type="parTrans" cxnId="{00C3B48C-21BA-403F-A767-4E2596D75459}">
      <dgm:prSet/>
      <dgm:spPr/>
      <dgm:t>
        <a:bodyPr/>
        <a:lstStyle/>
        <a:p>
          <a:endParaRPr lang="de-DE"/>
        </a:p>
      </dgm:t>
    </dgm:pt>
    <dgm:pt modelId="{8162375C-423E-4742-983F-4234E72425EA}" type="sibTrans" cxnId="{00C3B48C-21BA-403F-A767-4E2596D75459}">
      <dgm:prSet/>
      <dgm:spPr/>
      <dgm:t>
        <a:bodyPr/>
        <a:lstStyle/>
        <a:p>
          <a:endParaRPr lang="de-DE"/>
        </a:p>
      </dgm:t>
    </dgm:pt>
    <dgm:pt modelId="{EF615EA3-FB65-4795-A82A-570106BA575E}">
      <dgm:prSet phldrT="[Text]"/>
      <dgm:spPr/>
      <dgm:t>
        <a:bodyPr/>
        <a:lstStyle/>
        <a:p>
          <a:r>
            <a:rPr lang="de-DE" dirty="0"/>
            <a:t>Final ATC </a:t>
          </a:r>
          <a:r>
            <a:rPr lang="de-DE" dirty="0" err="1"/>
            <a:t>extraction</a:t>
          </a:r>
          <a:endParaRPr lang="de-DE" dirty="0"/>
        </a:p>
      </dgm:t>
    </dgm:pt>
    <dgm:pt modelId="{AFCE401D-D6CF-4DF2-B5BE-F58C2DBF57CD}" type="parTrans" cxnId="{1CDFA13C-A915-497F-96AF-C46837392AE0}">
      <dgm:prSet/>
      <dgm:spPr/>
      <dgm:t>
        <a:bodyPr/>
        <a:lstStyle/>
        <a:p>
          <a:endParaRPr lang="de-DE"/>
        </a:p>
      </dgm:t>
    </dgm:pt>
    <dgm:pt modelId="{E3C7C87E-7EED-42B3-A4BC-1C70E9D7987B}" type="sibTrans" cxnId="{1CDFA13C-A915-497F-96AF-C46837392AE0}">
      <dgm:prSet/>
      <dgm:spPr/>
      <dgm:t>
        <a:bodyPr/>
        <a:lstStyle/>
        <a:p>
          <a:endParaRPr lang="de-DE"/>
        </a:p>
      </dgm:t>
    </dgm:pt>
    <dgm:pt modelId="{2690C08C-E128-459B-9209-5B348F8B1F83}" type="pres">
      <dgm:prSet presAssocID="{8C35C75B-1AA0-4DC9-8623-FC7B067C39E4}" presName="Name0" presStyleCnt="0">
        <dgm:presLayoutVars>
          <dgm:dir/>
          <dgm:animLvl val="lvl"/>
          <dgm:resizeHandles val="exact"/>
        </dgm:presLayoutVars>
      </dgm:prSet>
      <dgm:spPr/>
    </dgm:pt>
    <dgm:pt modelId="{6186CF76-235E-4829-8F91-93461F0CA7F0}" type="pres">
      <dgm:prSet presAssocID="{9584745B-D571-4817-90A9-A06755FA35F5}" presName="parTxOnly" presStyleLbl="node1" presStyleIdx="0" presStyleCnt="4">
        <dgm:presLayoutVars>
          <dgm:chMax val="0"/>
          <dgm:chPref val="0"/>
          <dgm:bulletEnabled val="1"/>
        </dgm:presLayoutVars>
      </dgm:prSet>
      <dgm:spPr/>
    </dgm:pt>
    <dgm:pt modelId="{E070EB7A-4B1F-4443-83BB-828BD6F7A588}" type="pres">
      <dgm:prSet presAssocID="{27D85554-462D-4430-B23E-072486F1B715}" presName="parTxOnlySpace" presStyleCnt="0"/>
      <dgm:spPr/>
    </dgm:pt>
    <dgm:pt modelId="{A694B935-5446-4581-A73D-0712F2719851}" type="pres">
      <dgm:prSet presAssocID="{37F8AB4B-D6DD-42FF-8D0D-504D71FAFC7A}" presName="parTxOnly" presStyleLbl="node1" presStyleIdx="1" presStyleCnt="4">
        <dgm:presLayoutVars>
          <dgm:chMax val="0"/>
          <dgm:chPref val="0"/>
          <dgm:bulletEnabled val="1"/>
        </dgm:presLayoutVars>
      </dgm:prSet>
      <dgm:spPr/>
    </dgm:pt>
    <dgm:pt modelId="{E9BE510A-9AEF-4429-9862-67668EAB3BF3}" type="pres">
      <dgm:prSet presAssocID="{61A78A9C-F7F1-4574-9294-32214C7076F3}" presName="parTxOnlySpace" presStyleCnt="0"/>
      <dgm:spPr/>
    </dgm:pt>
    <dgm:pt modelId="{1701C947-CDEE-4874-872A-9524EE3DE973}" type="pres">
      <dgm:prSet presAssocID="{EE5F339C-1D9B-48E4-A1E7-E138276DD222}" presName="parTxOnly" presStyleLbl="node1" presStyleIdx="2" presStyleCnt="4">
        <dgm:presLayoutVars>
          <dgm:chMax val="0"/>
          <dgm:chPref val="0"/>
          <dgm:bulletEnabled val="1"/>
        </dgm:presLayoutVars>
      </dgm:prSet>
      <dgm:spPr/>
    </dgm:pt>
    <dgm:pt modelId="{9E2BCD61-67CC-48A3-B93F-03B86CD0C611}" type="pres">
      <dgm:prSet presAssocID="{8162375C-423E-4742-983F-4234E72425EA}" presName="parTxOnlySpace" presStyleCnt="0"/>
      <dgm:spPr/>
    </dgm:pt>
    <dgm:pt modelId="{2B48A495-916D-416E-9696-74FC95A216E5}" type="pres">
      <dgm:prSet presAssocID="{EF615EA3-FB65-4795-A82A-570106BA575E}" presName="parTxOnly" presStyleLbl="node1" presStyleIdx="3" presStyleCnt="4">
        <dgm:presLayoutVars>
          <dgm:chMax val="0"/>
          <dgm:chPref val="0"/>
          <dgm:bulletEnabled val="1"/>
        </dgm:presLayoutVars>
      </dgm:prSet>
      <dgm:spPr/>
    </dgm:pt>
  </dgm:ptLst>
  <dgm:cxnLst>
    <dgm:cxn modelId="{1CDFA13C-A915-497F-96AF-C46837392AE0}" srcId="{8C35C75B-1AA0-4DC9-8623-FC7B067C39E4}" destId="{EF615EA3-FB65-4795-A82A-570106BA575E}" srcOrd="3" destOrd="0" parTransId="{AFCE401D-D6CF-4DF2-B5BE-F58C2DBF57CD}" sibTransId="{E3C7C87E-7EED-42B3-A4BC-1C70E9D7987B}"/>
    <dgm:cxn modelId="{19F29563-D54C-480C-BCB3-E5C2188A58BA}" type="presOf" srcId="{EF615EA3-FB65-4795-A82A-570106BA575E}" destId="{2B48A495-916D-416E-9696-74FC95A216E5}" srcOrd="0" destOrd="0" presId="urn:microsoft.com/office/officeart/2005/8/layout/chevron1"/>
    <dgm:cxn modelId="{F2074457-FAE6-4395-A36B-4F5AB9398B74}" type="presOf" srcId="{8C35C75B-1AA0-4DC9-8623-FC7B067C39E4}" destId="{2690C08C-E128-459B-9209-5B348F8B1F83}" srcOrd="0" destOrd="0" presId="urn:microsoft.com/office/officeart/2005/8/layout/chevron1"/>
    <dgm:cxn modelId="{D8796487-DF97-441E-9614-46B3A789C5AC}" srcId="{8C35C75B-1AA0-4DC9-8623-FC7B067C39E4}" destId="{9584745B-D571-4817-90A9-A06755FA35F5}" srcOrd="0" destOrd="0" parTransId="{53564393-09DF-4660-81C2-5FD102010D81}" sibTransId="{27D85554-462D-4430-B23E-072486F1B715}"/>
    <dgm:cxn modelId="{00C3B48C-21BA-403F-A767-4E2596D75459}" srcId="{8C35C75B-1AA0-4DC9-8623-FC7B067C39E4}" destId="{EE5F339C-1D9B-48E4-A1E7-E138276DD222}" srcOrd="2" destOrd="0" parTransId="{5627F240-72D2-4B7F-8CD7-9A9EA7A3111D}" sibTransId="{8162375C-423E-4742-983F-4234E72425EA}"/>
    <dgm:cxn modelId="{9B70AA99-97C7-4485-A182-E54CD187126F}" type="presOf" srcId="{37F8AB4B-D6DD-42FF-8D0D-504D71FAFC7A}" destId="{A694B935-5446-4581-A73D-0712F2719851}" srcOrd="0" destOrd="0" presId="urn:microsoft.com/office/officeart/2005/8/layout/chevron1"/>
    <dgm:cxn modelId="{A6FF8B9E-F6F0-405C-9C12-2DDF7F79E9BB}" type="presOf" srcId="{9584745B-D571-4817-90A9-A06755FA35F5}" destId="{6186CF76-235E-4829-8F91-93461F0CA7F0}" srcOrd="0" destOrd="0" presId="urn:microsoft.com/office/officeart/2005/8/layout/chevron1"/>
    <dgm:cxn modelId="{F36EDED5-A72C-4B66-9526-1AB1C098AD13}" srcId="{8C35C75B-1AA0-4DC9-8623-FC7B067C39E4}" destId="{37F8AB4B-D6DD-42FF-8D0D-504D71FAFC7A}" srcOrd="1" destOrd="0" parTransId="{6C4A8D53-B11F-42D4-B0D4-035E5BCC5EE9}" sibTransId="{61A78A9C-F7F1-4574-9294-32214C7076F3}"/>
    <dgm:cxn modelId="{170B7FDF-BA92-4F45-BD09-BDF479C1A6BD}" type="presOf" srcId="{EE5F339C-1D9B-48E4-A1E7-E138276DD222}" destId="{1701C947-CDEE-4874-872A-9524EE3DE973}" srcOrd="0" destOrd="0" presId="urn:microsoft.com/office/officeart/2005/8/layout/chevron1"/>
    <dgm:cxn modelId="{5CC84753-EEC0-4A39-B81D-F064363A6075}" type="presParOf" srcId="{2690C08C-E128-459B-9209-5B348F8B1F83}" destId="{6186CF76-235E-4829-8F91-93461F0CA7F0}" srcOrd="0" destOrd="0" presId="urn:microsoft.com/office/officeart/2005/8/layout/chevron1"/>
    <dgm:cxn modelId="{5615E000-6B86-4B89-B106-305185FC975A}" type="presParOf" srcId="{2690C08C-E128-459B-9209-5B348F8B1F83}" destId="{E070EB7A-4B1F-4443-83BB-828BD6F7A588}" srcOrd="1" destOrd="0" presId="urn:microsoft.com/office/officeart/2005/8/layout/chevron1"/>
    <dgm:cxn modelId="{C3067C46-872A-44F7-8665-70035173C0BE}" type="presParOf" srcId="{2690C08C-E128-459B-9209-5B348F8B1F83}" destId="{A694B935-5446-4581-A73D-0712F2719851}" srcOrd="2" destOrd="0" presId="urn:microsoft.com/office/officeart/2005/8/layout/chevron1"/>
    <dgm:cxn modelId="{823CEEA5-F789-4854-835E-2609443F472A}" type="presParOf" srcId="{2690C08C-E128-459B-9209-5B348F8B1F83}" destId="{E9BE510A-9AEF-4429-9862-67668EAB3BF3}" srcOrd="3" destOrd="0" presId="urn:microsoft.com/office/officeart/2005/8/layout/chevron1"/>
    <dgm:cxn modelId="{D9717278-5168-4C92-8E49-86617E2523A6}" type="presParOf" srcId="{2690C08C-E128-459B-9209-5B348F8B1F83}" destId="{1701C947-CDEE-4874-872A-9524EE3DE973}" srcOrd="4" destOrd="0" presId="urn:microsoft.com/office/officeart/2005/8/layout/chevron1"/>
    <dgm:cxn modelId="{AD055D65-FBA1-4D64-9683-635CCE8875C7}" type="presParOf" srcId="{2690C08C-E128-459B-9209-5B348F8B1F83}" destId="{9E2BCD61-67CC-48A3-B93F-03B86CD0C611}" srcOrd="5" destOrd="0" presId="urn:microsoft.com/office/officeart/2005/8/layout/chevron1"/>
    <dgm:cxn modelId="{21676DA6-04DF-47F0-8D26-F049782CD301}" type="presParOf" srcId="{2690C08C-E128-459B-9209-5B348F8B1F83}" destId="{2B48A495-916D-416E-9696-74FC95A216E5}"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35C75B-1AA0-4DC9-8623-FC7B067C39E4}" type="doc">
      <dgm:prSet loTypeId="urn:microsoft.com/office/officeart/2005/8/layout/chevron1" loCatId="process" qsTypeId="urn:microsoft.com/office/officeart/2005/8/quickstyle/simple1" qsCatId="simple" csTypeId="urn:microsoft.com/office/officeart/2005/8/colors/accent1_2" csCatId="accent1" phldr="1"/>
      <dgm:spPr/>
    </dgm:pt>
    <dgm:pt modelId="{9584745B-D571-4817-90A9-A06755FA35F5}">
      <dgm:prSet phldrT="[Text]"/>
      <dgm:spPr>
        <a:solidFill>
          <a:schemeClr val="accent2">
            <a:lumMod val="60000"/>
            <a:lumOff val="40000"/>
          </a:schemeClr>
        </a:solidFill>
      </dgm:spPr>
      <dgm:t>
        <a:bodyPr/>
        <a:lstStyle/>
        <a:p>
          <a:r>
            <a:rPr lang="de-DE" dirty="0"/>
            <a:t>Initial </a:t>
          </a:r>
          <a:r>
            <a:rPr lang="de-DE" dirty="0" err="1"/>
            <a:t>delivery</a:t>
          </a:r>
          <a:endParaRPr lang="de-DE" dirty="0"/>
        </a:p>
      </dgm:t>
    </dgm:pt>
    <dgm:pt modelId="{53564393-09DF-4660-81C2-5FD102010D81}" type="parTrans" cxnId="{D8796487-DF97-441E-9614-46B3A789C5AC}">
      <dgm:prSet/>
      <dgm:spPr/>
      <dgm:t>
        <a:bodyPr/>
        <a:lstStyle/>
        <a:p>
          <a:endParaRPr lang="de-DE"/>
        </a:p>
      </dgm:t>
    </dgm:pt>
    <dgm:pt modelId="{27D85554-462D-4430-B23E-072486F1B715}" type="sibTrans" cxnId="{D8796487-DF97-441E-9614-46B3A789C5AC}">
      <dgm:prSet/>
      <dgm:spPr/>
      <dgm:t>
        <a:bodyPr/>
        <a:lstStyle/>
        <a:p>
          <a:endParaRPr lang="de-DE"/>
        </a:p>
      </dgm:t>
    </dgm:pt>
    <dgm:pt modelId="{37F8AB4B-D6DD-42FF-8D0D-504D71FAFC7A}">
      <dgm:prSet phldrT="[Text]"/>
      <dgm:spPr/>
      <dgm:t>
        <a:bodyPr/>
        <a:lstStyle/>
        <a:p>
          <a:r>
            <a:rPr lang="de-DE" dirty="0"/>
            <a:t>Initial FB </a:t>
          </a:r>
          <a:r>
            <a:rPr lang="de-DE" dirty="0" err="1"/>
            <a:t>calculation</a:t>
          </a:r>
          <a:r>
            <a:rPr lang="de-DE" dirty="0"/>
            <a:t> </a:t>
          </a:r>
        </a:p>
      </dgm:t>
    </dgm:pt>
    <dgm:pt modelId="{6C4A8D53-B11F-42D4-B0D4-035E5BCC5EE9}" type="parTrans" cxnId="{F36EDED5-A72C-4B66-9526-1AB1C098AD13}">
      <dgm:prSet/>
      <dgm:spPr/>
      <dgm:t>
        <a:bodyPr/>
        <a:lstStyle/>
        <a:p>
          <a:endParaRPr lang="de-DE"/>
        </a:p>
      </dgm:t>
    </dgm:pt>
    <dgm:pt modelId="{61A78A9C-F7F1-4574-9294-32214C7076F3}" type="sibTrans" cxnId="{F36EDED5-A72C-4B66-9526-1AB1C098AD13}">
      <dgm:prSet/>
      <dgm:spPr/>
      <dgm:t>
        <a:bodyPr/>
        <a:lstStyle/>
        <a:p>
          <a:endParaRPr lang="de-DE"/>
        </a:p>
      </dgm:t>
    </dgm:pt>
    <dgm:pt modelId="{EE5F339C-1D9B-48E4-A1E7-E138276DD222}">
      <dgm:prSet phldrT="[Text]"/>
      <dgm:spPr/>
      <dgm:t>
        <a:bodyPr/>
        <a:lstStyle/>
        <a:p>
          <a:r>
            <a:rPr lang="de-DE" dirty="0"/>
            <a:t>Validation</a:t>
          </a:r>
        </a:p>
      </dgm:t>
    </dgm:pt>
    <dgm:pt modelId="{5627F240-72D2-4B7F-8CD7-9A9EA7A3111D}" type="parTrans" cxnId="{00C3B48C-21BA-403F-A767-4E2596D75459}">
      <dgm:prSet/>
      <dgm:spPr/>
      <dgm:t>
        <a:bodyPr/>
        <a:lstStyle/>
        <a:p>
          <a:endParaRPr lang="de-DE"/>
        </a:p>
      </dgm:t>
    </dgm:pt>
    <dgm:pt modelId="{8162375C-423E-4742-983F-4234E72425EA}" type="sibTrans" cxnId="{00C3B48C-21BA-403F-A767-4E2596D75459}">
      <dgm:prSet/>
      <dgm:spPr/>
      <dgm:t>
        <a:bodyPr/>
        <a:lstStyle/>
        <a:p>
          <a:endParaRPr lang="de-DE"/>
        </a:p>
      </dgm:t>
    </dgm:pt>
    <dgm:pt modelId="{EF615EA3-FB65-4795-A82A-570106BA575E}">
      <dgm:prSet phldrT="[Text]"/>
      <dgm:spPr/>
      <dgm:t>
        <a:bodyPr/>
        <a:lstStyle/>
        <a:p>
          <a:r>
            <a:rPr lang="de-DE" dirty="0"/>
            <a:t>Final ATC </a:t>
          </a:r>
          <a:r>
            <a:rPr lang="de-DE" dirty="0" err="1"/>
            <a:t>extraction</a:t>
          </a:r>
          <a:endParaRPr lang="de-DE" dirty="0"/>
        </a:p>
      </dgm:t>
    </dgm:pt>
    <dgm:pt modelId="{AFCE401D-D6CF-4DF2-B5BE-F58C2DBF57CD}" type="parTrans" cxnId="{1CDFA13C-A915-497F-96AF-C46837392AE0}">
      <dgm:prSet/>
      <dgm:spPr/>
      <dgm:t>
        <a:bodyPr/>
        <a:lstStyle/>
        <a:p>
          <a:endParaRPr lang="de-DE"/>
        </a:p>
      </dgm:t>
    </dgm:pt>
    <dgm:pt modelId="{E3C7C87E-7EED-42B3-A4BC-1C70E9D7987B}" type="sibTrans" cxnId="{1CDFA13C-A915-497F-96AF-C46837392AE0}">
      <dgm:prSet/>
      <dgm:spPr/>
      <dgm:t>
        <a:bodyPr/>
        <a:lstStyle/>
        <a:p>
          <a:endParaRPr lang="de-DE"/>
        </a:p>
      </dgm:t>
    </dgm:pt>
    <dgm:pt modelId="{2690C08C-E128-459B-9209-5B348F8B1F83}" type="pres">
      <dgm:prSet presAssocID="{8C35C75B-1AA0-4DC9-8623-FC7B067C39E4}" presName="Name0" presStyleCnt="0">
        <dgm:presLayoutVars>
          <dgm:dir/>
          <dgm:animLvl val="lvl"/>
          <dgm:resizeHandles val="exact"/>
        </dgm:presLayoutVars>
      </dgm:prSet>
      <dgm:spPr/>
    </dgm:pt>
    <dgm:pt modelId="{6186CF76-235E-4829-8F91-93461F0CA7F0}" type="pres">
      <dgm:prSet presAssocID="{9584745B-D571-4817-90A9-A06755FA35F5}" presName="parTxOnly" presStyleLbl="node1" presStyleIdx="0" presStyleCnt="4">
        <dgm:presLayoutVars>
          <dgm:chMax val="0"/>
          <dgm:chPref val="0"/>
          <dgm:bulletEnabled val="1"/>
        </dgm:presLayoutVars>
      </dgm:prSet>
      <dgm:spPr/>
    </dgm:pt>
    <dgm:pt modelId="{E070EB7A-4B1F-4443-83BB-828BD6F7A588}" type="pres">
      <dgm:prSet presAssocID="{27D85554-462D-4430-B23E-072486F1B715}" presName="parTxOnlySpace" presStyleCnt="0"/>
      <dgm:spPr/>
    </dgm:pt>
    <dgm:pt modelId="{A694B935-5446-4581-A73D-0712F2719851}" type="pres">
      <dgm:prSet presAssocID="{37F8AB4B-D6DD-42FF-8D0D-504D71FAFC7A}" presName="parTxOnly" presStyleLbl="node1" presStyleIdx="1" presStyleCnt="4">
        <dgm:presLayoutVars>
          <dgm:chMax val="0"/>
          <dgm:chPref val="0"/>
          <dgm:bulletEnabled val="1"/>
        </dgm:presLayoutVars>
      </dgm:prSet>
      <dgm:spPr/>
    </dgm:pt>
    <dgm:pt modelId="{E9BE510A-9AEF-4429-9862-67668EAB3BF3}" type="pres">
      <dgm:prSet presAssocID="{61A78A9C-F7F1-4574-9294-32214C7076F3}" presName="parTxOnlySpace" presStyleCnt="0"/>
      <dgm:spPr/>
    </dgm:pt>
    <dgm:pt modelId="{1701C947-CDEE-4874-872A-9524EE3DE973}" type="pres">
      <dgm:prSet presAssocID="{EE5F339C-1D9B-48E4-A1E7-E138276DD222}" presName="parTxOnly" presStyleLbl="node1" presStyleIdx="2" presStyleCnt="4">
        <dgm:presLayoutVars>
          <dgm:chMax val="0"/>
          <dgm:chPref val="0"/>
          <dgm:bulletEnabled val="1"/>
        </dgm:presLayoutVars>
      </dgm:prSet>
      <dgm:spPr/>
    </dgm:pt>
    <dgm:pt modelId="{9E2BCD61-67CC-48A3-B93F-03B86CD0C611}" type="pres">
      <dgm:prSet presAssocID="{8162375C-423E-4742-983F-4234E72425EA}" presName="parTxOnlySpace" presStyleCnt="0"/>
      <dgm:spPr/>
    </dgm:pt>
    <dgm:pt modelId="{2B48A495-916D-416E-9696-74FC95A216E5}" type="pres">
      <dgm:prSet presAssocID="{EF615EA3-FB65-4795-A82A-570106BA575E}" presName="parTxOnly" presStyleLbl="node1" presStyleIdx="3" presStyleCnt="4">
        <dgm:presLayoutVars>
          <dgm:chMax val="0"/>
          <dgm:chPref val="0"/>
          <dgm:bulletEnabled val="1"/>
        </dgm:presLayoutVars>
      </dgm:prSet>
      <dgm:spPr/>
    </dgm:pt>
  </dgm:ptLst>
  <dgm:cxnLst>
    <dgm:cxn modelId="{1CDFA13C-A915-497F-96AF-C46837392AE0}" srcId="{8C35C75B-1AA0-4DC9-8623-FC7B067C39E4}" destId="{EF615EA3-FB65-4795-A82A-570106BA575E}" srcOrd="3" destOrd="0" parTransId="{AFCE401D-D6CF-4DF2-B5BE-F58C2DBF57CD}" sibTransId="{E3C7C87E-7EED-42B3-A4BC-1C70E9D7987B}"/>
    <dgm:cxn modelId="{19F29563-D54C-480C-BCB3-E5C2188A58BA}" type="presOf" srcId="{EF615EA3-FB65-4795-A82A-570106BA575E}" destId="{2B48A495-916D-416E-9696-74FC95A216E5}" srcOrd="0" destOrd="0" presId="urn:microsoft.com/office/officeart/2005/8/layout/chevron1"/>
    <dgm:cxn modelId="{F2074457-FAE6-4395-A36B-4F5AB9398B74}" type="presOf" srcId="{8C35C75B-1AA0-4DC9-8623-FC7B067C39E4}" destId="{2690C08C-E128-459B-9209-5B348F8B1F83}" srcOrd="0" destOrd="0" presId="urn:microsoft.com/office/officeart/2005/8/layout/chevron1"/>
    <dgm:cxn modelId="{D8796487-DF97-441E-9614-46B3A789C5AC}" srcId="{8C35C75B-1AA0-4DC9-8623-FC7B067C39E4}" destId="{9584745B-D571-4817-90A9-A06755FA35F5}" srcOrd="0" destOrd="0" parTransId="{53564393-09DF-4660-81C2-5FD102010D81}" sibTransId="{27D85554-462D-4430-B23E-072486F1B715}"/>
    <dgm:cxn modelId="{00C3B48C-21BA-403F-A767-4E2596D75459}" srcId="{8C35C75B-1AA0-4DC9-8623-FC7B067C39E4}" destId="{EE5F339C-1D9B-48E4-A1E7-E138276DD222}" srcOrd="2" destOrd="0" parTransId="{5627F240-72D2-4B7F-8CD7-9A9EA7A3111D}" sibTransId="{8162375C-423E-4742-983F-4234E72425EA}"/>
    <dgm:cxn modelId="{9B70AA99-97C7-4485-A182-E54CD187126F}" type="presOf" srcId="{37F8AB4B-D6DD-42FF-8D0D-504D71FAFC7A}" destId="{A694B935-5446-4581-A73D-0712F2719851}" srcOrd="0" destOrd="0" presId="urn:microsoft.com/office/officeart/2005/8/layout/chevron1"/>
    <dgm:cxn modelId="{A6FF8B9E-F6F0-405C-9C12-2DDF7F79E9BB}" type="presOf" srcId="{9584745B-D571-4817-90A9-A06755FA35F5}" destId="{6186CF76-235E-4829-8F91-93461F0CA7F0}" srcOrd="0" destOrd="0" presId="urn:microsoft.com/office/officeart/2005/8/layout/chevron1"/>
    <dgm:cxn modelId="{F36EDED5-A72C-4B66-9526-1AB1C098AD13}" srcId="{8C35C75B-1AA0-4DC9-8623-FC7B067C39E4}" destId="{37F8AB4B-D6DD-42FF-8D0D-504D71FAFC7A}" srcOrd="1" destOrd="0" parTransId="{6C4A8D53-B11F-42D4-B0D4-035E5BCC5EE9}" sibTransId="{61A78A9C-F7F1-4574-9294-32214C7076F3}"/>
    <dgm:cxn modelId="{170B7FDF-BA92-4F45-BD09-BDF479C1A6BD}" type="presOf" srcId="{EE5F339C-1D9B-48E4-A1E7-E138276DD222}" destId="{1701C947-CDEE-4874-872A-9524EE3DE973}" srcOrd="0" destOrd="0" presId="urn:microsoft.com/office/officeart/2005/8/layout/chevron1"/>
    <dgm:cxn modelId="{5CC84753-EEC0-4A39-B81D-F064363A6075}" type="presParOf" srcId="{2690C08C-E128-459B-9209-5B348F8B1F83}" destId="{6186CF76-235E-4829-8F91-93461F0CA7F0}" srcOrd="0" destOrd="0" presId="urn:microsoft.com/office/officeart/2005/8/layout/chevron1"/>
    <dgm:cxn modelId="{5615E000-6B86-4B89-B106-305185FC975A}" type="presParOf" srcId="{2690C08C-E128-459B-9209-5B348F8B1F83}" destId="{E070EB7A-4B1F-4443-83BB-828BD6F7A588}" srcOrd="1" destOrd="0" presId="urn:microsoft.com/office/officeart/2005/8/layout/chevron1"/>
    <dgm:cxn modelId="{C3067C46-872A-44F7-8665-70035173C0BE}" type="presParOf" srcId="{2690C08C-E128-459B-9209-5B348F8B1F83}" destId="{A694B935-5446-4581-A73D-0712F2719851}" srcOrd="2" destOrd="0" presId="urn:microsoft.com/office/officeart/2005/8/layout/chevron1"/>
    <dgm:cxn modelId="{823CEEA5-F789-4854-835E-2609443F472A}" type="presParOf" srcId="{2690C08C-E128-459B-9209-5B348F8B1F83}" destId="{E9BE510A-9AEF-4429-9862-67668EAB3BF3}" srcOrd="3" destOrd="0" presId="urn:microsoft.com/office/officeart/2005/8/layout/chevron1"/>
    <dgm:cxn modelId="{D9717278-5168-4C92-8E49-86617E2523A6}" type="presParOf" srcId="{2690C08C-E128-459B-9209-5B348F8B1F83}" destId="{1701C947-CDEE-4874-872A-9524EE3DE973}" srcOrd="4" destOrd="0" presId="urn:microsoft.com/office/officeart/2005/8/layout/chevron1"/>
    <dgm:cxn modelId="{AD055D65-FBA1-4D64-9683-635CCE8875C7}" type="presParOf" srcId="{2690C08C-E128-459B-9209-5B348F8B1F83}" destId="{9E2BCD61-67CC-48A3-B93F-03B86CD0C611}" srcOrd="5" destOrd="0" presId="urn:microsoft.com/office/officeart/2005/8/layout/chevron1"/>
    <dgm:cxn modelId="{21676DA6-04DF-47F0-8D26-F049782CD301}" type="presParOf" srcId="{2690C08C-E128-459B-9209-5B348F8B1F83}" destId="{2B48A495-916D-416E-9696-74FC95A216E5}"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C35C75B-1AA0-4DC9-8623-FC7B067C39E4}" type="doc">
      <dgm:prSet loTypeId="urn:microsoft.com/office/officeart/2005/8/layout/chevron1" loCatId="process" qsTypeId="urn:microsoft.com/office/officeart/2005/8/quickstyle/simple1" qsCatId="simple" csTypeId="urn:microsoft.com/office/officeart/2005/8/colors/accent1_2" csCatId="accent1" phldr="1"/>
      <dgm:spPr/>
    </dgm:pt>
    <dgm:pt modelId="{9584745B-D571-4817-90A9-A06755FA35F5}">
      <dgm:prSet phldrT="[Text]"/>
      <dgm:spPr>
        <a:solidFill>
          <a:schemeClr val="accent1"/>
        </a:solidFill>
      </dgm:spPr>
      <dgm:t>
        <a:bodyPr/>
        <a:lstStyle/>
        <a:p>
          <a:r>
            <a:rPr lang="de-DE" dirty="0"/>
            <a:t>Initial </a:t>
          </a:r>
          <a:r>
            <a:rPr lang="de-DE" dirty="0" err="1"/>
            <a:t>delivery</a:t>
          </a:r>
          <a:endParaRPr lang="de-DE" dirty="0"/>
        </a:p>
      </dgm:t>
    </dgm:pt>
    <dgm:pt modelId="{53564393-09DF-4660-81C2-5FD102010D81}" type="parTrans" cxnId="{D8796487-DF97-441E-9614-46B3A789C5AC}">
      <dgm:prSet/>
      <dgm:spPr/>
      <dgm:t>
        <a:bodyPr/>
        <a:lstStyle/>
        <a:p>
          <a:endParaRPr lang="de-DE"/>
        </a:p>
      </dgm:t>
    </dgm:pt>
    <dgm:pt modelId="{27D85554-462D-4430-B23E-072486F1B715}" type="sibTrans" cxnId="{D8796487-DF97-441E-9614-46B3A789C5AC}">
      <dgm:prSet/>
      <dgm:spPr/>
      <dgm:t>
        <a:bodyPr/>
        <a:lstStyle/>
        <a:p>
          <a:endParaRPr lang="de-DE"/>
        </a:p>
      </dgm:t>
    </dgm:pt>
    <dgm:pt modelId="{37F8AB4B-D6DD-42FF-8D0D-504D71FAFC7A}">
      <dgm:prSet phldrT="[Text]"/>
      <dgm:spPr>
        <a:solidFill>
          <a:schemeClr val="accent2">
            <a:lumMod val="60000"/>
            <a:lumOff val="40000"/>
          </a:schemeClr>
        </a:solidFill>
      </dgm:spPr>
      <dgm:t>
        <a:bodyPr/>
        <a:lstStyle/>
        <a:p>
          <a:r>
            <a:rPr lang="de-DE" dirty="0"/>
            <a:t>Initial FB </a:t>
          </a:r>
          <a:r>
            <a:rPr lang="de-DE" dirty="0" err="1"/>
            <a:t>calculation</a:t>
          </a:r>
          <a:r>
            <a:rPr lang="de-DE" dirty="0"/>
            <a:t> </a:t>
          </a:r>
        </a:p>
      </dgm:t>
    </dgm:pt>
    <dgm:pt modelId="{6C4A8D53-B11F-42D4-B0D4-035E5BCC5EE9}" type="parTrans" cxnId="{F36EDED5-A72C-4B66-9526-1AB1C098AD13}">
      <dgm:prSet/>
      <dgm:spPr/>
      <dgm:t>
        <a:bodyPr/>
        <a:lstStyle/>
        <a:p>
          <a:endParaRPr lang="de-DE"/>
        </a:p>
      </dgm:t>
    </dgm:pt>
    <dgm:pt modelId="{61A78A9C-F7F1-4574-9294-32214C7076F3}" type="sibTrans" cxnId="{F36EDED5-A72C-4B66-9526-1AB1C098AD13}">
      <dgm:prSet/>
      <dgm:spPr/>
      <dgm:t>
        <a:bodyPr/>
        <a:lstStyle/>
        <a:p>
          <a:endParaRPr lang="de-DE"/>
        </a:p>
      </dgm:t>
    </dgm:pt>
    <dgm:pt modelId="{EE5F339C-1D9B-48E4-A1E7-E138276DD222}">
      <dgm:prSet phldrT="[Text]"/>
      <dgm:spPr/>
      <dgm:t>
        <a:bodyPr/>
        <a:lstStyle/>
        <a:p>
          <a:r>
            <a:rPr lang="de-DE" dirty="0"/>
            <a:t>Validation</a:t>
          </a:r>
        </a:p>
      </dgm:t>
    </dgm:pt>
    <dgm:pt modelId="{5627F240-72D2-4B7F-8CD7-9A9EA7A3111D}" type="parTrans" cxnId="{00C3B48C-21BA-403F-A767-4E2596D75459}">
      <dgm:prSet/>
      <dgm:spPr/>
      <dgm:t>
        <a:bodyPr/>
        <a:lstStyle/>
        <a:p>
          <a:endParaRPr lang="de-DE"/>
        </a:p>
      </dgm:t>
    </dgm:pt>
    <dgm:pt modelId="{8162375C-423E-4742-983F-4234E72425EA}" type="sibTrans" cxnId="{00C3B48C-21BA-403F-A767-4E2596D75459}">
      <dgm:prSet/>
      <dgm:spPr/>
      <dgm:t>
        <a:bodyPr/>
        <a:lstStyle/>
        <a:p>
          <a:endParaRPr lang="de-DE"/>
        </a:p>
      </dgm:t>
    </dgm:pt>
    <dgm:pt modelId="{EF615EA3-FB65-4795-A82A-570106BA575E}">
      <dgm:prSet phldrT="[Text]"/>
      <dgm:spPr/>
      <dgm:t>
        <a:bodyPr/>
        <a:lstStyle/>
        <a:p>
          <a:r>
            <a:rPr lang="de-DE" dirty="0"/>
            <a:t>Final ATC </a:t>
          </a:r>
          <a:r>
            <a:rPr lang="de-DE" dirty="0" err="1"/>
            <a:t>extraction</a:t>
          </a:r>
          <a:endParaRPr lang="de-DE" dirty="0"/>
        </a:p>
      </dgm:t>
    </dgm:pt>
    <dgm:pt modelId="{AFCE401D-D6CF-4DF2-B5BE-F58C2DBF57CD}" type="parTrans" cxnId="{1CDFA13C-A915-497F-96AF-C46837392AE0}">
      <dgm:prSet/>
      <dgm:spPr/>
      <dgm:t>
        <a:bodyPr/>
        <a:lstStyle/>
        <a:p>
          <a:endParaRPr lang="de-DE"/>
        </a:p>
      </dgm:t>
    </dgm:pt>
    <dgm:pt modelId="{E3C7C87E-7EED-42B3-A4BC-1C70E9D7987B}" type="sibTrans" cxnId="{1CDFA13C-A915-497F-96AF-C46837392AE0}">
      <dgm:prSet/>
      <dgm:spPr/>
      <dgm:t>
        <a:bodyPr/>
        <a:lstStyle/>
        <a:p>
          <a:endParaRPr lang="de-DE"/>
        </a:p>
      </dgm:t>
    </dgm:pt>
    <dgm:pt modelId="{2690C08C-E128-459B-9209-5B348F8B1F83}" type="pres">
      <dgm:prSet presAssocID="{8C35C75B-1AA0-4DC9-8623-FC7B067C39E4}" presName="Name0" presStyleCnt="0">
        <dgm:presLayoutVars>
          <dgm:dir/>
          <dgm:animLvl val="lvl"/>
          <dgm:resizeHandles val="exact"/>
        </dgm:presLayoutVars>
      </dgm:prSet>
      <dgm:spPr/>
    </dgm:pt>
    <dgm:pt modelId="{6186CF76-235E-4829-8F91-93461F0CA7F0}" type="pres">
      <dgm:prSet presAssocID="{9584745B-D571-4817-90A9-A06755FA35F5}" presName="parTxOnly" presStyleLbl="node1" presStyleIdx="0" presStyleCnt="4">
        <dgm:presLayoutVars>
          <dgm:chMax val="0"/>
          <dgm:chPref val="0"/>
          <dgm:bulletEnabled val="1"/>
        </dgm:presLayoutVars>
      </dgm:prSet>
      <dgm:spPr/>
    </dgm:pt>
    <dgm:pt modelId="{E070EB7A-4B1F-4443-83BB-828BD6F7A588}" type="pres">
      <dgm:prSet presAssocID="{27D85554-462D-4430-B23E-072486F1B715}" presName="parTxOnlySpace" presStyleCnt="0"/>
      <dgm:spPr/>
    </dgm:pt>
    <dgm:pt modelId="{A694B935-5446-4581-A73D-0712F2719851}" type="pres">
      <dgm:prSet presAssocID="{37F8AB4B-D6DD-42FF-8D0D-504D71FAFC7A}" presName="parTxOnly" presStyleLbl="node1" presStyleIdx="1" presStyleCnt="4">
        <dgm:presLayoutVars>
          <dgm:chMax val="0"/>
          <dgm:chPref val="0"/>
          <dgm:bulletEnabled val="1"/>
        </dgm:presLayoutVars>
      </dgm:prSet>
      <dgm:spPr/>
    </dgm:pt>
    <dgm:pt modelId="{E9BE510A-9AEF-4429-9862-67668EAB3BF3}" type="pres">
      <dgm:prSet presAssocID="{61A78A9C-F7F1-4574-9294-32214C7076F3}" presName="parTxOnlySpace" presStyleCnt="0"/>
      <dgm:spPr/>
    </dgm:pt>
    <dgm:pt modelId="{1701C947-CDEE-4874-872A-9524EE3DE973}" type="pres">
      <dgm:prSet presAssocID="{EE5F339C-1D9B-48E4-A1E7-E138276DD222}" presName="parTxOnly" presStyleLbl="node1" presStyleIdx="2" presStyleCnt="4">
        <dgm:presLayoutVars>
          <dgm:chMax val="0"/>
          <dgm:chPref val="0"/>
          <dgm:bulletEnabled val="1"/>
        </dgm:presLayoutVars>
      </dgm:prSet>
      <dgm:spPr/>
    </dgm:pt>
    <dgm:pt modelId="{9E2BCD61-67CC-48A3-B93F-03B86CD0C611}" type="pres">
      <dgm:prSet presAssocID="{8162375C-423E-4742-983F-4234E72425EA}" presName="parTxOnlySpace" presStyleCnt="0"/>
      <dgm:spPr/>
    </dgm:pt>
    <dgm:pt modelId="{2B48A495-916D-416E-9696-74FC95A216E5}" type="pres">
      <dgm:prSet presAssocID="{EF615EA3-FB65-4795-A82A-570106BA575E}" presName="parTxOnly" presStyleLbl="node1" presStyleIdx="3" presStyleCnt="4">
        <dgm:presLayoutVars>
          <dgm:chMax val="0"/>
          <dgm:chPref val="0"/>
          <dgm:bulletEnabled val="1"/>
        </dgm:presLayoutVars>
      </dgm:prSet>
      <dgm:spPr/>
    </dgm:pt>
  </dgm:ptLst>
  <dgm:cxnLst>
    <dgm:cxn modelId="{1CDFA13C-A915-497F-96AF-C46837392AE0}" srcId="{8C35C75B-1AA0-4DC9-8623-FC7B067C39E4}" destId="{EF615EA3-FB65-4795-A82A-570106BA575E}" srcOrd="3" destOrd="0" parTransId="{AFCE401D-D6CF-4DF2-B5BE-F58C2DBF57CD}" sibTransId="{E3C7C87E-7EED-42B3-A4BC-1C70E9D7987B}"/>
    <dgm:cxn modelId="{19F29563-D54C-480C-BCB3-E5C2188A58BA}" type="presOf" srcId="{EF615EA3-FB65-4795-A82A-570106BA575E}" destId="{2B48A495-916D-416E-9696-74FC95A216E5}" srcOrd="0" destOrd="0" presId="urn:microsoft.com/office/officeart/2005/8/layout/chevron1"/>
    <dgm:cxn modelId="{F2074457-FAE6-4395-A36B-4F5AB9398B74}" type="presOf" srcId="{8C35C75B-1AA0-4DC9-8623-FC7B067C39E4}" destId="{2690C08C-E128-459B-9209-5B348F8B1F83}" srcOrd="0" destOrd="0" presId="urn:microsoft.com/office/officeart/2005/8/layout/chevron1"/>
    <dgm:cxn modelId="{D8796487-DF97-441E-9614-46B3A789C5AC}" srcId="{8C35C75B-1AA0-4DC9-8623-FC7B067C39E4}" destId="{9584745B-D571-4817-90A9-A06755FA35F5}" srcOrd="0" destOrd="0" parTransId="{53564393-09DF-4660-81C2-5FD102010D81}" sibTransId="{27D85554-462D-4430-B23E-072486F1B715}"/>
    <dgm:cxn modelId="{00C3B48C-21BA-403F-A767-4E2596D75459}" srcId="{8C35C75B-1AA0-4DC9-8623-FC7B067C39E4}" destId="{EE5F339C-1D9B-48E4-A1E7-E138276DD222}" srcOrd="2" destOrd="0" parTransId="{5627F240-72D2-4B7F-8CD7-9A9EA7A3111D}" sibTransId="{8162375C-423E-4742-983F-4234E72425EA}"/>
    <dgm:cxn modelId="{9B70AA99-97C7-4485-A182-E54CD187126F}" type="presOf" srcId="{37F8AB4B-D6DD-42FF-8D0D-504D71FAFC7A}" destId="{A694B935-5446-4581-A73D-0712F2719851}" srcOrd="0" destOrd="0" presId="urn:microsoft.com/office/officeart/2005/8/layout/chevron1"/>
    <dgm:cxn modelId="{A6FF8B9E-F6F0-405C-9C12-2DDF7F79E9BB}" type="presOf" srcId="{9584745B-D571-4817-90A9-A06755FA35F5}" destId="{6186CF76-235E-4829-8F91-93461F0CA7F0}" srcOrd="0" destOrd="0" presId="urn:microsoft.com/office/officeart/2005/8/layout/chevron1"/>
    <dgm:cxn modelId="{F36EDED5-A72C-4B66-9526-1AB1C098AD13}" srcId="{8C35C75B-1AA0-4DC9-8623-FC7B067C39E4}" destId="{37F8AB4B-D6DD-42FF-8D0D-504D71FAFC7A}" srcOrd="1" destOrd="0" parTransId="{6C4A8D53-B11F-42D4-B0D4-035E5BCC5EE9}" sibTransId="{61A78A9C-F7F1-4574-9294-32214C7076F3}"/>
    <dgm:cxn modelId="{170B7FDF-BA92-4F45-BD09-BDF479C1A6BD}" type="presOf" srcId="{EE5F339C-1D9B-48E4-A1E7-E138276DD222}" destId="{1701C947-CDEE-4874-872A-9524EE3DE973}" srcOrd="0" destOrd="0" presId="urn:microsoft.com/office/officeart/2005/8/layout/chevron1"/>
    <dgm:cxn modelId="{5CC84753-EEC0-4A39-B81D-F064363A6075}" type="presParOf" srcId="{2690C08C-E128-459B-9209-5B348F8B1F83}" destId="{6186CF76-235E-4829-8F91-93461F0CA7F0}" srcOrd="0" destOrd="0" presId="urn:microsoft.com/office/officeart/2005/8/layout/chevron1"/>
    <dgm:cxn modelId="{5615E000-6B86-4B89-B106-305185FC975A}" type="presParOf" srcId="{2690C08C-E128-459B-9209-5B348F8B1F83}" destId="{E070EB7A-4B1F-4443-83BB-828BD6F7A588}" srcOrd="1" destOrd="0" presId="urn:microsoft.com/office/officeart/2005/8/layout/chevron1"/>
    <dgm:cxn modelId="{C3067C46-872A-44F7-8665-70035173C0BE}" type="presParOf" srcId="{2690C08C-E128-459B-9209-5B348F8B1F83}" destId="{A694B935-5446-4581-A73D-0712F2719851}" srcOrd="2" destOrd="0" presId="urn:microsoft.com/office/officeart/2005/8/layout/chevron1"/>
    <dgm:cxn modelId="{823CEEA5-F789-4854-835E-2609443F472A}" type="presParOf" srcId="{2690C08C-E128-459B-9209-5B348F8B1F83}" destId="{E9BE510A-9AEF-4429-9862-67668EAB3BF3}" srcOrd="3" destOrd="0" presId="urn:microsoft.com/office/officeart/2005/8/layout/chevron1"/>
    <dgm:cxn modelId="{D9717278-5168-4C92-8E49-86617E2523A6}" type="presParOf" srcId="{2690C08C-E128-459B-9209-5B348F8B1F83}" destId="{1701C947-CDEE-4874-872A-9524EE3DE973}" srcOrd="4" destOrd="0" presId="urn:microsoft.com/office/officeart/2005/8/layout/chevron1"/>
    <dgm:cxn modelId="{AD055D65-FBA1-4D64-9683-635CCE8875C7}" type="presParOf" srcId="{2690C08C-E128-459B-9209-5B348F8B1F83}" destId="{9E2BCD61-67CC-48A3-B93F-03B86CD0C611}" srcOrd="5" destOrd="0" presId="urn:microsoft.com/office/officeart/2005/8/layout/chevron1"/>
    <dgm:cxn modelId="{21676DA6-04DF-47F0-8D26-F049782CD301}" type="presParOf" srcId="{2690C08C-E128-459B-9209-5B348F8B1F83}" destId="{2B48A495-916D-416E-9696-74FC95A216E5}"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C35C75B-1AA0-4DC9-8623-FC7B067C39E4}" type="doc">
      <dgm:prSet loTypeId="urn:microsoft.com/office/officeart/2005/8/layout/chevron1" loCatId="process" qsTypeId="urn:microsoft.com/office/officeart/2005/8/quickstyle/simple1" qsCatId="simple" csTypeId="urn:microsoft.com/office/officeart/2005/8/colors/accent1_2" csCatId="accent1" phldr="1"/>
      <dgm:spPr/>
    </dgm:pt>
    <dgm:pt modelId="{9584745B-D571-4817-90A9-A06755FA35F5}">
      <dgm:prSet phldrT="[Text]"/>
      <dgm:spPr>
        <a:solidFill>
          <a:schemeClr val="accent1"/>
        </a:solidFill>
      </dgm:spPr>
      <dgm:t>
        <a:bodyPr/>
        <a:lstStyle/>
        <a:p>
          <a:r>
            <a:rPr lang="de-DE" dirty="0"/>
            <a:t>Initial </a:t>
          </a:r>
          <a:r>
            <a:rPr lang="de-DE" dirty="0" err="1"/>
            <a:t>delivery</a:t>
          </a:r>
          <a:endParaRPr lang="de-DE" dirty="0"/>
        </a:p>
      </dgm:t>
    </dgm:pt>
    <dgm:pt modelId="{53564393-09DF-4660-81C2-5FD102010D81}" type="parTrans" cxnId="{D8796487-DF97-441E-9614-46B3A789C5AC}">
      <dgm:prSet/>
      <dgm:spPr/>
      <dgm:t>
        <a:bodyPr/>
        <a:lstStyle/>
        <a:p>
          <a:endParaRPr lang="de-DE"/>
        </a:p>
      </dgm:t>
    </dgm:pt>
    <dgm:pt modelId="{27D85554-462D-4430-B23E-072486F1B715}" type="sibTrans" cxnId="{D8796487-DF97-441E-9614-46B3A789C5AC}">
      <dgm:prSet/>
      <dgm:spPr/>
      <dgm:t>
        <a:bodyPr/>
        <a:lstStyle/>
        <a:p>
          <a:endParaRPr lang="de-DE"/>
        </a:p>
      </dgm:t>
    </dgm:pt>
    <dgm:pt modelId="{37F8AB4B-D6DD-42FF-8D0D-504D71FAFC7A}">
      <dgm:prSet phldrT="[Text]"/>
      <dgm:spPr/>
      <dgm:t>
        <a:bodyPr/>
        <a:lstStyle/>
        <a:p>
          <a:r>
            <a:rPr lang="de-DE" dirty="0"/>
            <a:t>Initial FB </a:t>
          </a:r>
          <a:r>
            <a:rPr lang="de-DE" dirty="0" err="1"/>
            <a:t>calculation</a:t>
          </a:r>
          <a:r>
            <a:rPr lang="de-DE" dirty="0"/>
            <a:t> </a:t>
          </a:r>
        </a:p>
      </dgm:t>
    </dgm:pt>
    <dgm:pt modelId="{6C4A8D53-B11F-42D4-B0D4-035E5BCC5EE9}" type="parTrans" cxnId="{F36EDED5-A72C-4B66-9526-1AB1C098AD13}">
      <dgm:prSet/>
      <dgm:spPr/>
      <dgm:t>
        <a:bodyPr/>
        <a:lstStyle/>
        <a:p>
          <a:endParaRPr lang="de-DE"/>
        </a:p>
      </dgm:t>
    </dgm:pt>
    <dgm:pt modelId="{61A78A9C-F7F1-4574-9294-32214C7076F3}" type="sibTrans" cxnId="{F36EDED5-A72C-4B66-9526-1AB1C098AD13}">
      <dgm:prSet/>
      <dgm:spPr/>
      <dgm:t>
        <a:bodyPr/>
        <a:lstStyle/>
        <a:p>
          <a:endParaRPr lang="de-DE"/>
        </a:p>
      </dgm:t>
    </dgm:pt>
    <dgm:pt modelId="{EE5F339C-1D9B-48E4-A1E7-E138276DD222}">
      <dgm:prSet phldrT="[Text]"/>
      <dgm:spPr>
        <a:solidFill>
          <a:schemeClr val="accent2">
            <a:lumMod val="60000"/>
            <a:lumOff val="40000"/>
          </a:schemeClr>
        </a:solidFill>
      </dgm:spPr>
      <dgm:t>
        <a:bodyPr/>
        <a:lstStyle/>
        <a:p>
          <a:r>
            <a:rPr lang="de-DE" dirty="0"/>
            <a:t>Validation</a:t>
          </a:r>
        </a:p>
      </dgm:t>
    </dgm:pt>
    <dgm:pt modelId="{5627F240-72D2-4B7F-8CD7-9A9EA7A3111D}" type="parTrans" cxnId="{00C3B48C-21BA-403F-A767-4E2596D75459}">
      <dgm:prSet/>
      <dgm:spPr/>
      <dgm:t>
        <a:bodyPr/>
        <a:lstStyle/>
        <a:p>
          <a:endParaRPr lang="de-DE"/>
        </a:p>
      </dgm:t>
    </dgm:pt>
    <dgm:pt modelId="{8162375C-423E-4742-983F-4234E72425EA}" type="sibTrans" cxnId="{00C3B48C-21BA-403F-A767-4E2596D75459}">
      <dgm:prSet/>
      <dgm:spPr/>
      <dgm:t>
        <a:bodyPr/>
        <a:lstStyle/>
        <a:p>
          <a:endParaRPr lang="de-DE"/>
        </a:p>
      </dgm:t>
    </dgm:pt>
    <dgm:pt modelId="{EF615EA3-FB65-4795-A82A-570106BA575E}">
      <dgm:prSet phldrT="[Text]"/>
      <dgm:spPr/>
      <dgm:t>
        <a:bodyPr/>
        <a:lstStyle/>
        <a:p>
          <a:r>
            <a:rPr lang="de-DE" dirty="0"/>
            <a:t>Final ATC </a:t>
          </a:r>
          <a:r>
            <a:rPr lang="de-DE" dirty="0" err="1"/>
            <a:t>extraction</a:t>
          </a:r>
          <a:endParaRPr lang="de-DE" dirty="0"/>
        </a:p>
      </dgm:t>
    </dgm:pt>
    <dgm:pt modelId="{AFCE401D-D6CF-4DF2-B5BE-F58C2DBF57CD}" type="parTrans" cxnId="{1CDFA13C-A915-497F-96AF-C46837392AE0}">
      <dgm:prSet/>
      <dgm:spPr/>
      <dgm:t>
        <a:bodyPr/>
        <a:lstStyle/>
        <a:p>
          <a:endParaRPr lang="de-DE"/>
        </a:p>
      </dgm:t>
    </dgm:pt>
    <dgm:pt modelId="{E3C7C87E-7EED-42B3-A4BC-1C70E9D7987B}" type="sibTrans" cxnId="{1CDFA13C-A915-497F-96AF-C46837392AE0}">
      <dgm:prSet/>
      <dgm:spPr/>
      <dgm:t>
        <a:bodyPr/>
        <a:lstStyle/>
        <a:p>
          <a:endParaRPr lang="de-DE"/>
        </a:p>
      </dgm:t>
    </dgm:pt>
    <dgm:pt modelId="{2690C08C-E128-459B-9209-5B348F8B1F83}" type="pres">
      <dgm:prSet presAssocID="{8C35C75B-1AA0-4DC9-8623-FC7B067C39E4}" presName="Name0" presStyleCnt="0">
        <dgm:presLayoutVars>
          <dgm:dir/>
          <dgm:animLvl val="lvl"/>
          <dgm:resizeHandles val="exact"/>
        </dgm:presLayoutVars>
      </dgm:prSet>
      <dgm:spPr/>
    </dgm:pt>
    <dgm:pt modelId="{6186CF76-235E-4829-8F91-93461F0CA7F0}" type="pres">
      <dgm:prSet presAssocID="{9584745B-D571-4817-90A9-A06755FA35F5}" presName="parTxOnly" presStyleLbl="node1" presStyleIdx="0" presStyleCnt="4">
        <dgm:presLayoutVars>
          <dgm:chMax val="0"/>
          <dgm:chPref val="0"/>
          <dgm:bulletEnabled val="1"/>
        </dgm:presLayoutVars>
      </dgm:prSet>
      <dgm:spPr/>
    </dgm:pt>
    <dgm:pt modelId="{E070EB7A-4B1F-4443-83BB-828BD6F7A588}" type="pres">
      <dgm:prSet presAssocID="{27D85554-462D-4430-B23E-072486F1B715}" presName="parTxOnlySpace" presStyleCnt="0"/>
      <dgm:spPr/>
    </dgm:pt>
    <dgm:pt modelId="{A694B935-5446-4581-A73D-0712F2719851}" type="pres">
      <dgm:prSet presAssocID="{37F8AB4B-D6DD-42FF-8D0D-504D71FAFC7A}" presName="parTxOnly" presStyleLbl="node1" presStyleIdx="1" presStyleCnt="4">
        <dgm:presLayoutVars>
          <dgm:chMax val="0"/>
          <dgm:chPref val="0"/>
          <dgm:bulletEnabled val="1"/>
        </dgm:presLayoutVars>
      </dgm:prSet>
      <dgm:spPr/>
    </dgm:pt>
    <dgm:pt modelId="{E9BE510A-9AEF-4429-9862-67668EAB3BF3}" type="pres">
      <dgm:prSet presAssocID="{61A78A9C-F7F1-4574-9294-32214C7076F3}" presName="parTxOnlySpace" presStyleCnt="0"/>
      <dgm:spPr/>
    </dgm:pt>
    <dgm:pt modelId="{1701C947-CDEE-4874-872A-9524EE3DE973}" type="pres">
      <dgm:prSet presAssocID="{EE5F339C-1D9B-48E4-A1E7-E138276DD222}" presName="parTxOnly" presStyleLbl="node1" presStyleIdx="2" presStyleCnt="4">
        <dgm:presLayoutVars>
          <dgm:chMax val="0"/>
          <dgm:chPref val="0"/>
          <dgm:bulletEnabled val="1"/>
        </dgm:presLayoutVars>
      </dgm:prSet>
      <dgm:spPr/>
    </dgm:pt>
    <dgm:pt modelId="{9E2BCD61-67CC-48A3-B93F-03B86CD0C611}" type="pres">
      <dgm:prSet presAssocID="{8162375C-423E-4742-983F-4234E72425EA}" presName="parTxOnlySpace" presStyleCnt="0"/>
      <dgm:spPr/>
    </dgm:pt>
    <dgm:pt modelId="{2B48A495-916D-416E-9696-74FC95A216E5}" type="pres">
      <dgm:prSet presAssocID="{EF615EA3-FB65-4795-A82A-570106BA575E}" presName="parTxOnly" presStyleLbl="node1" presStyleIdx="3" presStyleCnt="4">
        <dgm:presLayoutVars>
          <dgm:chMax val="0"/>
          <dgm:chPref val="0"/>
          <dgm:bulletEnabled val="1"/>
        </dgm:presLayoutVars>
      </dgm:prSet>
      <dgm:spPr/>
    </dgm:pt>
  </dgm:ptLst>
  <dgm:cxnLst>
    <dgm:cxn modelId="{1CDFA13C-A915-497F-96AF-C46837392AE0}" srcId="{8C35C75B-1AA0-4DC9-8623-FC7B067C39E4}" destId="{EF615EA3-FB65-4795-A82A-570106BA575E}" srcOrd="3" destOrd="0" parTransId="{AFCE401D-D6CF-4DF2-B5BE-F58C2DBF57CD}" sibTransId="{E3C7C87E-7EED-42B3-A4BC-1C70E9D7987B}"/>
    <dgm:cxn modelId="{19F29563-D54C-480C-BCB3-E5C2188A58BA}" type="presOf" srcId="{EF615EA3-FB65-4795-A82A-570106BA575E}" destId="{2B48A495-916D-416E-9696-74FC95A216E5}" srcOrd="0" destOrd="0" presId="urn:microsoft.com/office/officeart/2005/8/layout/chevron1"/>
    <dgm:cxn modelId="{F2074457-FAE6-4395-A36B-4F5AB9398B74}" type="presOf" srcId="{8C35C75B-1AA0-4DC9-8623-FC7B067C39E4}" destId="{2690C08C-E128-459B-9209-5B348F8B1F83}" srcOrd="0" destOrd="0" presId="urn:microsoft.com/office/officeart/2005/8/layout/chevron1"/>
    <dgm:cxn modelId="{D8796487-DF97-441E-9614-46B3A789C5AC}" srcId="{8C35C75B-1AA0-4DC9-8623-FC7B067C39E4}" destId="{9584745B-D571-4817-90A9-A06755FA35F5}" srcOrd="0" destOrd="0" parTransId="{53564393-09DF-4660-81C2-5FD102010D81}" sibTransId="{27D85554-462D-4430-B23E-072486F1B715}"/>
    <dgm:cxn modelId="{00C3B48C-21BA-403F-A767-4E2596D75459}" srcId="{8C35C75B-1AA0-4DC9-8623-FC7B067C39E4}" destId="{EE5F339C-1D9B-48E4-A1E7-E138276DD222}" srcOrd="2" destOrd="0" parTransId="{5627F240-72D2-4B7F-8CD7-9A9EA7A3111D}" sibTransId="{8162375C-423E-4742-983F-4234E72425EA}"/>
    <dgm:cxn modelId="{9B70AA99-97C7-4485-A182-E54CD187126F}" type="presOf" srcId="{37F8AB4B-D6DD-42FF-8D0D-504D71FAFC7A}" destId="{A694B935-5446-4581-A73D-0712F2719851}" srcOrd="0" destOrd="0" presId="urn:microsoft.com/office/officeart/2005/8/layout/chevron1"/>
    <dgm:cxn modelId="{A6FF8B9E-F6F0-405C-9C12-2DDF7F79E9BB}" type="presOf" srcId="{9584745B-D571-4817-90A9-A06755FA35F5}" destId="{6186CF76-235E-4829-8F91-93461F0CA7F0}" srcOrd="0" destOrd="0" presId="urn:microsoft.com/office/officeart/2005/8/layout/chevron1"/>
    <dgm:cxn modelId="{F36EDED5-A72C-4B66-9526-1AB1C098AD13}" srcId="{8C35C75B-1AA0-4DC9-8623-FC7B067C39E4}" destId="{37F8AB4B-D6DD-42FF-8D0D-504D71FAFC7A}" srcOrd="1" destOrd="0" parTransId="{6C4A8D53-B11F-42D4-B0D4-035E5BCC5EE9}" sibTransId="{61A78A9C-F7F1-4574-9294-32214C7076F3}"/>
    <dgm:cxn modelId="{170B7FDF-BA92-4F45-BD09-BDF479C1A6BD}" type="presOf" srcId="{EE5F339C-1D9B-48E4-A1E7-E138276DD222}" destId="{1701C947-CDEE-4874-872A-9524EE3DE973}" srcOrd="0" destOrd="0" presId="urn:microsoft.com/office/officeart/2005/8/layout/chevron1"/>
    <dgm:cxn modelId="{5CC84753-EEC0-4A39-B81D-F064363A6075}" type="presParOf" srcId="{2690C08C-E128-459B-9209-5B348F8B1F83}" destId="{6186CF76-235E-4829-8F91-93461F0CA7F0}" srcOrd="0" destOrd="0" presId="urn:microsoft.com/office/officeart/2005/8/layout/chevron1"/>
    <dgm:cxn modelId="{5615E000-6B86-4B89-B106-305185FC975A}" type="presParOf" srcId="{2690C08C-E128-459B-9209-5B348F8B1F83}" destId="{E070EB7A-4B1F-4443-83BB-828BD6F7A588}" srcOrd="1" destOrd="0" presId="urn:microsoft.com/office/officeart/2005/8/layout/chevron1"/>
    <dgm:cxn modelId="{C3067C46-872A-44F7-8665-70035173C0BE}" type="presParOf" srcId="{2690C08C-E128-459B-9209-5B348F8B1F83}" destId="{A694B935-5446-4581-A73D-0712F2719851}" srcOrd="2" destOrd="0" presId="urn:microsoft.com/office/officeart/2005/8/layout/chevron1"/>
    <dgm:cxn modelId="{823CEEA5-F789-4854-835E-2609443F472A}" type="presParOf" srcId="{2690C08C-E128-459B-9209-5B348F8B1F83}" destId="{E9BE510A-9AEF-4429-9862-67668EAB3BF3}" srcOrd="3" destOrd="0" presId="urn:microsoft.com/office/officeart/2005/8/layout/chevron1"/>
    <dgm:cxn modelId="{D9717278-5168-4C92-8E49-86617E2523A6}" type="presParOf" srcId="{2690C08C-E128-459B-9209-5B348F8B1F83}" destId="{1701C947-CDEE-4874-872A-9524EE3DE973}" srcOrd="4" destOrd="0" presId="urn:microsoft.com/office/officeart/2005/8/layout/chevron1"/>
    <dgm:cxn modelId="{AD055D65-FBA1-4D64-9683-635CCE8875C7}" type="presParOf" srcId="{2690C08C-E128-459B-9209-5B348F8B1F83}" destId="{9E2BCD61-67CC-48A3-B93F-03B86CD0C611}" srcOrd="5" destOrd="0" presId="urn:microsoft.com/office/officeart/2005/8/layout/chevron1"/>
    <dgm:cxn modelId="{21676DA6-04DF-47F0-8D26-F049782CD301}" type="presParOf" srcId="{2690C08C-E128-459B-9209-5B348F8B1F83}" destId="{2B48A495-916D-416E-9696-74FC95A216E5}"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C35C75B-1AA0-4DC9-8623-FC7B067C39E4}" type="doc">
      <dgm:prSet loTypeId="urn:microsoft.com/office/officeart/2005/8/layout/chevron1" loCatId="process" qsTypeId="urn:microsoft.com/office/officeart/2005/8/quickstyle/simple1" qsCatId="simple" csTypeId="urn:microsoft.com/office/officeart/2005/8/colors/accent1_2" csCatId="accent1" phldr="1"/>
      <dgm:spPr/>
    </dgm:pt>
    <dgm:pt modelId="{9584745B-D571-4817-90A9-A06755FA35F5}">
      <dgm:prSet phldrT="[Text]"/>
      <dgm:spPr>
        <a:solidFill>
          <a:schemeClr val="accent1"/>
        </a:solidFill>
      </dgm:spPr>
      <dgm:t>
        <a:bodyPr/>
        <a:lstStyle/>
        <a:p>
          <a:r>
            <a:rPr lang="de-DE" dirty="0"/>
            <a:t>Initial </a:t>
          </a:r>
          <a:r>
            <a:rPr lang="de-DE" dirty="0" err="1"/>
            <a:t>delivery</a:t>
          </a:r>
          <a:endParaRPr lang="de-DE" dirty="0"/>
        </a:p>
      </dgm:t>
    </dgm:pt>
    <dgm:pt modelId="{53564393-09DF-4660-81C2-5FD102010D81}" type="parTrans" cxnId="{D8796487-DF97-441E-9614-46B3A789C5AC}">
      <dgm:prSet/>
      <dgm:spPr/>
      <dgm:t>
        <a:bodyPr/>
        <a:lstStyle/>
        <a:p>
          <a:endParaRPr lang="de-DE"/>
        </a:p>
      </dgm:t>
    </dgm:pt>
    <dgm:pt modelId="{27D85554-462D-4430-B23E-072486F1B715}" type="sibTrans" cxnId="{D8796487-DF97-441E-9614-46B3A789C5AC}">
      <dgm:prSet/>
      <dgm:spPr/>
      <dgm:t>
        <a:bodyPr/>
        <a:lstStyle/>
        <a:p>
          <a:endParaRPr lang="de-DE"/>
        </a:p>
      </dgm:t>
    </dgm:pt>
    <dgm:pt modelId="{37F8AB4B-D6DD-42FF-8D0D-504D71FAFC7A}">
      <dgm:prSet phldrT="[Text]"/>
      <dgm:spPr/>
      <dgm:t>
        <a:bodyPr/>
        <a:lstStyle/>
        <a:p>
          <a:r>
            <a:rPr lang="de-DE" dirty="0"/>
            <a:t>Initial FB </a:t>
          </a:r>
          <a:r>
            <a:rPr lang="de-DE" dirty="0" err="1"/>
            <a:t>calculation</a:t>
          </a:r>
          <a:r>
            <a:rPr lang="de-DE" dirty="0"/>
            <a:t> </a:t>
          </a:r>
        </a:p>
      </dgm:t>
    </dgm:pt>
    <dgm:pt modelId="{6C4A8D53-B11F-42D4-B0D4-035E5BCC5EE9}" type="parTrans" cxnId="{F36EDED5-A72C-4B66-9526-1AB1C098AD13}">
      <dgm:prSet/>
      <dgm:spPr/>
      <dgm:t>
        <a:bodyPr/>
        <a:lstStyle/>
        <a:p>
          <a:endParaRPr lang="de-DE"/>
        </a:p>
      </dgm:t>
    </dgm:pt>
    <dgm:pt modelId="{61A78A9C-F7F1-4574-9294-32214C7076F3}" type="sibTrans" cxnId="{F36EDED5-A72C-4B66-9526-1AB1C098AD13}">
      <dgm:prSet/>
      <dgm:spPr/>
      <dgm:t>
        <a:bodyPr/>
        <a:lstStyle/>
        <a:p>
          <a:endParaRPr lang="de-DE"/>
        </a:p>
      </dgm:t>
    </dgm:pt>
    <dgm:pt modelId="{EE5F339C-1D9B-48E4-A1E7-E138276DD222}">
      <dgm:prSet phldrT="[Text]"/>
      <dgm:spPr>
        <a:solidFill>
          <a:schemeClr val="accent1"/>
        </a:solidFill>
      </dgm:spPr>
      <dgm:t>
        <a:bodyPr/>
        <a:lstStyle/>
        <a:p>
          <a:r>
            <a:rPr lang="de-DE" dirty="0"/>
            <a:t>Validation</a:t>
          </a:r>
        </a:p>
      </dgm:t>
    </dgm:pt>
    <dgm:pt modelId="{5627F240-72D2-4B7F-8CD7-9A9EA7A3111D}" type="parTrans" cxnId="{00C3B48C-21BA-403F-A767-4E2596D75459}">
      <dgm:prSet/>
      <dgm:spPr/>
      <dgm:t>
        <a:bodyPr/>
        <a:lstStyle/>
        <a:p>
          <a:endParaRPr lang="de-DE"/>
        </a:p>
      </dgm:t>
    </dgm:pt>
    <dgm:pt modelId="{8162375C-423E-4742-983F-4234E72425EA}" type="sibTrans" cxnId="{00C3B48C-21BA-403F-A767-4E2596D75459}">
      <dgm:prSet/>
      <dgm:spPr/>
      <dgm:t>
        <a:bodyPr/>
        <a:lstStyle/>
        <a:p>
          <a:endParaRPr lang="de-DE"/>
        </a:p>
      </dgm:t>
    </dgm:pt>
    <dgm:pt modelId="{EF615EA3-FB65-4795-A82A-570106BA575E}">
      <dgm:prSet phldrT="[Text]"/>
      <dgm:spPr>
        <a:solidFill>
          <a:schemeClr val="accent2">
            <a:lumMod val="60000"/>
            <a:lumOff val="40000"/>
          </a:schemeClr>
        </a:solidFill>
      </dgm:spPr>
      <dgm:t>
        <a:bodyPr/>
        <a:lstStyle/>
        <a:p>
          <a:r>
            <a:rPr lang="de-DE" dirty="0"/>
            <a:t>Final ATC </a:t>
          </a:r>
          <a:r>
            <a:rPr lang="de-DE" dirty="0" err="1"/>
            <a:t>extraction</a:t>
          </a:r>
          <a:endParaRPr lang="de-DE" dirty="0"/>
        </a:p>
      </dgm:t>
    </dgm:pt>
    <dgm:pt modelId="{AFCE401D-D6CF-4DF2-B5BE-F58C2DBF57CD}" type="parTrans" cxnId="{1CDFA13C-A915-497F-96AF-C46837392AE0}">
      <dgm:prSet/>
      <dgm:spPr/>
      <dgm:t>
        <a:bodyPr/>
        <a:lstStyle/>
        <a:p>
          <a:endParaRPr lang="de-DE"/>
        </a:p>
      </dgm:t>
    </dgm:pt>
    <dgm:pt modelId="{E3C7C87E-7EED-42B3-A4BC-1C70E9D7987B}" type="sibTrans" cxnId="{1CDFA13C-A915-497F-96AF-C46837392AE0}">
      <dgm:prSet/>
      <dgm:spPr/>
      <dgm:t>
        <a:bodyPr/>
        <a:lstStyle/>
        <a:p>
          <a:endParaRPr lang="de-DE"/>
        </a:p>
      </dgm:t>
    </dgm:pt>
    <dgm:pt modelId="{2690C08C-E128-459B-9209-5B348F8B1F83}" type="pres">
      <dgm:prSet presAssocID="{8C35C75B-1AA0-4DC9-8623-FC7B067C39E4}" presName="Name0" presStyleCnt="0">
        <dgm:presLayoutVars>
          <dgm:dir/>
          <dgm:animLvl val="lvl"/>
          <dgm:resizeHandles val="exact"/>
        </dgm:presLayoutVars>
      </dgm:prSet>
      <dgm:spPr/>
    </dgm:pt>
    <dgm:pt modelId="{6186CF76-235E-4829-8F91-93461F0CA7F0}" type="pres">
      <dgm:prSet presAssocID="{9584745B-D571-4817-90A9-A06755FA35F5}" presName="parTxOnly" presStyleLbl="node1" presStyleIdx="0" presStyleCnt="4">
        <dgm:presLayoutVars>
          <dgm:chMax val="0"/>
          <dgm:chPref val="0"/>
          <dgm:bulletEnabled val="1"/>
        </dgm:presLayoutVars>
      </dgm:prSet>
      <dgm:spPr/>
    </dgm:pt>
    <dgm:pt modelId="{E070EB7A-4B1F-4443-83BB-828BD6F7A588}" type="pres">
      <dgm:prSet presAssocID="{27D85554-462D-4430-B23E-072486F1B715}" presName="parTxOnlySpace" presStyleCnt="0"/>
      <dgm:spPr/>
    </dgm:pt>
    <dgm:pt modelId="{A694B935-5446-4581-A73D-0712F2719851}" type="pres">
      <dgm:prSet presAssocID="{37F8AB4B-D6DD-42FF-8D0D-504D71FAFC7A}" presName="parTxOnly" presStyleLbl="node1" presStyleIdx="1" presStyleCnt="4">
        <dgm:presLayoutVars>
          <dgm:chMax val="0"/>
          <dgm:chPref val="0"/>
          <dgm:bulletEnabled val="1"/>
        </dgm:presLayoutVars>
      </dgm:prSet>
      <dgm:spPr/>
    </dgm:pt>
    <dgm:pt modelId="{E9BE510A-9AEF-4429-9862-67668EAB3BF3}" type="pres">
      <dgm:prSet presAssocID="{61A78A9C-F7F1-4574-9294-32214C7076F3}" presName="parTxOnlySpace" presStyleCnt="0"/>
      <dgm:spPr/>
    </dgm:pt>
    <dgm:pt modelId="{1701C947-CDEE-4874-872A-9524EE3DE973}" type="pres">
      <dgm:prSet presAssocID="{EE5F339C-1D9B-48E4-A1E7-E138276DD222}" presName="parTxOnly" presStyleLbl="node1" presStyleIdx="2" presStyleCnt="4">
        <dgm:presLayoutVars>
          <dgm:chMax val="0"/>
          <dgm:chPref val="0"/>
          <dgm:bulletEnabled val="1"/>
        </dgm:presLayoutVars>
      </dgm:prSet>
      <dgm:spPr/>
    </dgm:pt>
    <dgm:pt modelId="{9E2BCD61-67CC-48A3-B93F-03B86CD0C611}" type="pres">
      <dgm:prSet presAssocID="{8162375C-423E-4742-983F-4234E72425EA}" presName="parTxOnlySpace" presStyleCnt="0"/>
      <dgm:spPr/>
    </dgm:pt>
    <dgm:pt modelId="{2B48A495-916D-416E-9696-74FC95A216E5}" type="pres">
      <dgm:prSet presAssocID="{EF615EA3-FB65-4795-A82A-570106BA575E}" presName="parTxOnly" presStyleLbl="node1" presStyleIdx="3" presStyleCnt="4">
        <dgm:presLayoutVars>
          <dgm:chMax val="0"/>
          <dgm:chPref val="0"/>
          <dgm:bulletEnabled val="1"/>
        </dgm:presLayoutVars>
      </dgm:prSet>
      <dgm:spPr/>
    </dgm:pt>
  </dgm:ptLst>
  <dgm:cxnLst>
    <dgm:cxn modelId="{1CDFA13C-A915-497F-96AF-C46837392AE0}" srcId="{8C35C75B-1AA0-4DC9-8623-FC7B067C39E4}" destId="{EF615EA3-FB65-4795-A82A-570106BA575E}" srcOrd="3" destOrd="0" parTransId="{AFCE401D-D6CF-4DF2-B5BE-F58C2DBF57CD}" sibTransId="{E3C7C87E-7EED-42B3-A4BC-1C70E9D7987B}"/>
    <dgm:cxn modelId="{19F29563-D54C-480C-BCB3-E5C2188A58BA}" type="presOf" srcId="{EF615EA3-FB65-4795-A82A-570106BA575E}" destId="{2B48A495-916D-416E-9696-74FC95A216E5}" srcOrd="0" destOrd="0" presId="urn:microsoft.com/office/officeart/2005/8/layout/chevron1"/>
    <dgm:cxn modelId="{F2074457-FAE6-4395-A36B-4F5AB9398B74}" type="presOf" srcId="{8C35C75B-1AA0-4DC9-8623-FC7B067C39E4}" destId="{2690C08C-E128-459B-9209-5B348F8B1F83}" srcOrd="0" destOrd="0" presId="urn:microsoft.com/office/officeart/2005/8/layout/chevron1"/>
    <dgm:cxn modelId="{D8796487-DF97-441E-9614-46B3A789C5AC}" srcId="{8C35C75B-1AA0-4DC9-8623-FC7B067C39E4}" destId="{9584745B-D571-4817-90A9-A06755FA35F5}" srcOrd="0" destOrd="0" parTransId="{53564393-09DF-4660-81C2-5FD102010D81}" sibTransId="{27D85554-462D-4430-B23E-072486F1B715}"/>
    <dgm:cxn modelId="{00C3B48C-21BA-403F-A767-4E2596D75459}" srcId="{8C35C75B-1AA0-4DC9-8623-FC7B067C39E4}" destId="{EE5F339C-1D9B-48E4-A1E7-E138276DD222}" srcOrd="2" destOrd="0" parTransId="{5627F240-72D2-4B7F-8CD7-9A9EA7A3111D}" sibTransId="{8162375C-423E-4742-983F-4234E72425EA}"/>
    <dgm:cxn modelId="{9B70AA99-97C7-4485-A182-E54CD187126F}" type="presOf" srcId="{37F8AB4B-D6DD-42FF-8D0D-504D71FAFC7A}" destId="{A694B935-5446-4581-A73D-0712F2719851}" srcOrd="0" destOrd="0" presId="urn:microsoft.com/office/officeart/2005/8/layout/chevron1"/>
    <dgm:cxn modelId="{A6FF8B9E-F6F0-405C-9C12-2DDF7F79E9BB}" type="presOf" srcId="{9584745B-D571-4817-90A9-A06755FA35F5}" destId="{6186CF76-235E-4829-8F91-93461F0CA7F0}" srcOrd="0" destOrd="0" presId="urn:microsoft.com/office/officeart/2005/8/layout/chevron1"/>
    <dgm:cxn modelId="{F36EDED5-A72C-4B66-9526-1AB1C098AD13}" srcId="{8C35C75B-1AA0-4DC9-8623-FC7B067C39E4}" destId="{37F8AB4B-D6DD-42FF-8D0D-504D71FAFC7A}" srcOrd="1" destOrd="0" parTransId="{6C4A8D53-B11F-42D4-B0D4-035E5BCC5EE9}" sibTransId="{61A78A9C-F7F1-4574-9294-32214C7076F3}"/>
    <dgm:cxn modelId="{170B7FDF-BA92-4F45-BD09-BDF479C1A6BD}" type="presOf" srcId="{EE5F339C-1D9B-48E4-A1E7-E138276DD222}" destId="{1701C947-CDEE-4874-872A-9524EE3DE973}" srcOrd="0" destOrd="0" presId="urn:microsoft.com/office/officeart/2005/8/layout/chevron1"/>
    <dgm:cxn modelId="{5CC84753-EEC0-4A39-B81D-F064363A6075}" type="presParOf" srcId="{2690C08C-E128-459B-9209-5B348F8B1F83}" destId="{6186CF76-235E-4829-8F91-93461F0CA7F0}" srcOrd="0" destOrd="0" presId="urn:microsoft.com/office/officeart/2005/8/layout/chevron1"/>
    <dgm:cxn modelId="{5615E000-6B86-4B89-B106-305185FC975A}" type="presParOf" srcId="{2690C08C-E128-459B-9209-5B348F8B1F83}" destId="{E070EB7A-4B1F-4443-83BB-828BD6F7A588}" srcOrd="1" destOrd="0" presId="urn:microsoft.com/office/officeart/2005/8/layout/chevron1"/>
    <dgm:cxn modelId="{C3067C46-872A-44F7-8665-70035173C0BE}" type="presParOf" srcId="{2690C08C-E128-459B-9209-5B348F8B1F83}" destId="{A694B935-5446-4581-A73D-0712F2719851}" srcOrd="2" destOrd="0" presId="urn:microsoft.com/office/officeart/2005/8/layout/chevron1"/>
    <dgm:cxn modelId="{823CEEA5-F789-4854-835E-2609443F472A}" type="presParOf" srcId="{2690C08C-E128-459B-9209-5B348F8B1F83}" destId="{E9BE510A-9AEF-4429-9862-67668EAB3BF3}" srcOrd="3" destOrd="0" presId="urn:microsoft.com/office/officeart/2005/8/layout/chevron1"/>
    <dgm:cxn modelId="{D9717278-5168-4C92-8E49-86617E2523A6}" type="presParOf" srcId="{2690C08C-E128-459B-9209-5B348F8B1F83}" destId="{1701C947-CDEE-4874-872A-9524EE3DE973}" srcOrd="4" destOrd="0" presId="urn:microsoft.com/office/officeart/2005/8/layout/chevron1"/>
    <dgm:cxn modelId="{AD055D65-FBA1-4D64-9683-635CCE8875C7}" type="presParOf" srcId="{2690C08C-E128-459B-9209-5B348F8B1F83}" destId="{9E2BCD61-67CC-48A3-B93F-03B86CD0C611}" srcOrd="5" destOrd="0" presId="urn:microsoft.com/office/officeart/2005/8/layout/chevron1"/>
    <dgm:cxn modelId="{21676DA6-04DF-47F0-8D26-F049782CD301}" type="presParOf" srcId="{2690C08C-E128-459B-9209-5B348F8B1F83}" destId="{2B48A495-916D-416E-9696-74FC95A216E5}"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C35C75B-1AA0-4DC9-8623-FC7B067C39E4}" type="doc">
      <dgm:prSet loTypeId="urn:microsoft.com/office/officeart/2005/8/layout/chevron1" loCatId="process" qsTypeId="urn:microsoft.com/office/officeart/2005/8/quickstyle/simple1" qsCatId="simple" csTypeId="urn:microsoft.com/office/officeart/2005/8/colors/accent1_2" csCatId="accent1" phldr="1"/>
      <dgm:spPr/>
    </dgm:pt>
    <dgm:pt modelId="{9584745B-D571-4817-90A9-A06755FA35F5}">
      <dgm:prSet phldrT="[Text]"/>
      <dgm:spPr>
        <a:solidFill>
          <a:schemeClr val="accent1"/>
        </a:solidFill>
      </dgm:spPr>
      <dgm:t>
        <a:bodyPr/>
        <a:lstStyle/>
        <a:p>
          <a:r>
            <a:rPr lang="de-DE" dirty="0"/>
            <a:t>Initial </a:t>
          </a:r>
          <a:r>
            <a:rPr lang="de-DE" dirty="0" err="1"/>
            <a:t>delivery</a:t>
          </a:r>
          <a:endParaRPr lang="de-DE" dirty="0"/>
        </a:p>
      </dgm:t>
    </dgm:pt>
    <dgm:pt modelId="{53564393-09DF-4660-81C2-5FD102010D81}" type="parTrans" cxnId="{D8796487-DF97-441E-9614-46B3A789C5AC}">
      <dgm:prSet/>
      <dgm:spPr/>
      <dgm:t>
        <a:bodyPr/>
        <a:lstStyle/>
        <a:p>
          <a:endParaRPr lang="de-DE"/>
        </a:p>
      </dgm:t>
    </dgm:pt>
    <dgm:pt modelId="{27D85554-462D-4430-B23E-072486F1B715}" type="sibTrans" cxnId="{D8796487-DF97-441E-9614-46B3A789C5AC}">
      <dgm:prSet/>
      <dgm:spPr/>
      <dgm:t>
        <a:bodyPr/>
        <a:lstStyle/>
        <a:p>
          <a:endParaRPr lang="de-DE"/>
        </a:p>
      </dgm:t>
    </dgm:pt>
    <dgm:pt modelId="{37F8AB4B-D6DD-42FF-8D0D-504D71FAFC7A}">
      <dgm:prSet phldrT="[Text]"/>
      <dgm:spPr/>
      <dgm:t>
        <a:bodyPr/>
        <a:lstStyle/>
        <a:p>
          <a:r>
            <a:rPr lang="de-DE" dirty="0"/>
            <a:t>Initial FB </a:t>
          </a:r>
          <a:r>
            <a:rPr lang="de-DE" dirty="0" err="1"/>
            <a:t>calculation</a:t>
          </a:r>
          <a:r>
            <a:rPr lang="de-DE" dirty="0"/>
            <a:t> </a:t>
          </a:r>
        </a:p>
      </dgm:t>
    </dgm:pt>
    <dgm:pt modelId="{6C4A8D53-B11F-42D4-B0D4-035E5BCC5EE9}" type="parTrans" cxnId="{F36EDED5-A72C-4B66-9526-1AB1C098AD13}">
      <dgm:prSet/>
      <dgm:spPr/>
      <dgm:t>
        <a:bodyPr/>
        <a:lstStyle/>
        <a:p>
          <a:endParaRPr lang="de-DE"/>
        </a:p>
      </dgm:t>
    </dgm:pt>
    <dgm:pt modelId="{61A78A9C-F7F1-4574-9294-32214C7076F3}" type="sibTrans" cxnId="{F36EDED5-A72C-4B66-9526-1AB1C098AD13}">
      <dgm:prSet/>
      <dgm:spPr/>
      <dgm:t>
        <a:bodyPr/>
        <a:lstStyle/>
        <a:p>
          <a:endParaRPr lang="de-DE"/>
        </a:p>
      </dgm:t>
    </dgm:pt>
    <dgm:pt modelId="{EE5F339C-1D9B-48E4-A1E7-E138276DD222}">
      <dgm:prSet phldrT="[Text]"/>
      <dgm:spPr>
        <a:solidFill>
          <a:schemeClr val="accent1"/>
        </a:solidFill>
      </dgm:spPr>
      <dgm:t>
        <a:bodyPr/>
        <a:lstStyle/>
        <a:p>
          <a:r>
            <a:rPr lang="de-DE" dirty="0"/>
            <a:t>Validation</a:t>
          </a:r>
        </a:p>
      </dgm:t>
    </dgm:pt>
    <dgm:pt modelId="{5627F240-72D2-4B7F-8CD7-9A9EA7A3111D}" type="parTrans" cxnId="{00C3B48C-21BA-403F-A767-4E2596D75459}">
      <dgm:prSet/>
      <dgm:spPr/>
      <dgm:t>
        <a:bodyPr/>
        <a:lstStyle/>
        <a:p>
          <a:endParaRPr lang="de-DE"/>
        </a:p>
      </dgm:t>
    </dgm:pt>
    <dgm:pt modelId="{8162375C-423E-4742-983F-4234E72425EA}" type="sibTrans" cxnId="{00C3B48C-21BA-403F-A767-4E2596D75459}">
      <dgm:prSet/>
      <dgm:spPr/>
      <dgm:t>
        <a:bodyPr/>
        <a:lstStyle/>
        <a:p>
          <a:endParaRPr lang="de-DE"/>
        </a:p>
      </dgm:t>
    </dgm:pt>
    <dgm:pt modelId="{EF615EA3-FB65-4795-A82A-570106BA575E}">
      <dgm:prSet phldrT="[Text]"/>
      <dgm:spPr>
        <a:solidFill>
          <a:schemeClr val="accent2">
            <a:lumMod val="60000"/>
            <a:lumOff val="40000"/>
          </a:schemeClr>
        </a:solidFill>
      </dgm:spPr>
      <dgm:t>
        <a:bodyPr/>
        <a:lstStyle/>
        <a:p>
          <a:r>
            <a:rPr lang="de-DE" dirty="0"/>
            <a:t>Final ATC </a:t>
          </a:r>
          <a:r>
            <a:rPr lang="de-DE" dirty="0" err="1"/>
            <a:t>extraction</a:t>
          </a:r>
          <a:endParaRPr lang="de-DE" dirty="0"/>
        </a:p>
      </dgm:t>
    </dgm:pt>
    <dgm:pt modelId="{AFCE401D-D6CF-4DF2-B5BE-F58C2DBF57CD}" type="parTrans" cxnId="{1CDFA13C-A915-497F-96AF-C46837392AE0}">
      <dgm:prSet/>
      <dgm:spPr/>
      <dgm:t>
        <a:bodyPr/>
        <a:lstStyle/>
        <a:p>
          <a:endParaRPr lang="de-DE"/>
        </a:p>
      </dgm:t>
    </dgm:pt>
    <dgm:pt modelId="{E3C7C87E-7EED-42B3-A4BC-1C70E9D7987B}" type="sibTrans" cxnId="{1CDFA13C-A915-497F-96AF-C46837392AE0}">
      <dgm:prSet/>
      <dgm:spPr/>
      <dgm:t>
        <a:bodyPr/>
        <a:lstStyle/>
        <a:p>
          <a:endParaRPr lang="de-DE"/>
        </a:p>
      </dgm:t>
    </dgm:pt>
    <dgm:pt modelId="{2690C08C-E128-459B-9209-5B348F8B1F83}" type="pres">
      <dgm:prSet presAssocID="{8C35C75B-1AA0-4DC9-8623-FC7B067C39E4}" presName="Name0" presStyleCnt="0">
        <dgm:presLayoutVars>
          <dgm:dir/>
          <dgm:animLvl val="lvl"/>
          <dgm:resizeHandles val="exact"/>
        </dgm:presLayoutVars>
      </dgm:prSet>
      <dgm:spPr/>
    </dgm:pt>
    <dgm:pt modelId="{6186CF76-235E-4829-8F91-93461F0CA7F0}" type="pres">
      <dgm:prSet presAssocID="{9584745B-D571-4817-90A9-A06755FA35F5}" presName="parTxOnly" presStyleLbl="node1" presStyleIdx="0" presStyleCnt="4">
        <dgm:presLayoutVars>
          <dgm:chMax val="0"/>
          <dgm:chPref val="0"/>
          <dgm:bulletEnabled val="1"/>
        </dgm:presLayoutVars>
      </dgm:prSet>
      <dgm:spPr/>
    </dgm:pt>
    <dgm:pt modelId="{E070EB7A-4B1F-4443-83BB-828BD6F7A588}" type="pres">
      <dgm:prSet presAssocID="{27D85554-462D-4430-B23E-072486F1B715}" presName="parTxOnlySpace" presStyleCnt="0"/>
      <dgm:spPr/>
    </dgm:pt>
    <dgm:pt modelId="{A694B935-5446-4581-A73D-0712F2719851}" type="pres">
      <dgm:prSet presAssocID="{37F8AB4B-D6DD-42FF-8D0D-504D71FAFC7A}" presName="parTxOnly" presStyleLbl="node1" presStyleIdx="1" presStyleCnt="4">
        <dgm:presLayoutVars>
          <dgm:chMax val="0"/>
          <dgm:chPref val="0"/>
          <dgm:bulletEnabled val="1"/>
        </dgm:presLayoutVars>
      </dgm:prSet>
      <dgm:spPr/>
    </dgm:pt>
    <dgm:pt modelId="{E9BE510A-9AEF-4429-9862-67668EAB3BF3}" type="pres">
      <dgm:prSet presAssocID="{61A78A9C-F7F1-4574-9294-32214C7076F3}" presName="parTxOnlySpace" presStyleCnt="0"/>
      <dgm:spPr/>
    </dgm:pt>
    <dgm:pt modelId="{1701C947-CDEE-4874-872A-9524EE3DE973}" type="pres">
      <dgm:prSet presAssocID="{EE5F339C-1D9B-48E4-A1E7-E138276DD222}" presName="parTxOnly" presStyleLbl="node1" presStyleIdx="2" presStyleCnt="4">
        <dgm:presLayoutVars>
          <dgm:chMax val="0"/>
          <dgm:chPref val="0"/>
          <dgm:bulletEnabled val="1"/>
        </dgm:presLayoutVars>
      </dgm:prSet>
      <dgm:spPr/>
    </dgm:pt>
    <dgm:pt modelId="{9E2BCD61-67CC-48A3-B93F-03B86CD0C611}" type="pres">
      <dgm:prSet presAssocID="{8162375C-423E-4742-983F-4234E72425EA}" presName="parTxOnlySpace" presStyleCnt="0"/>
      <dgm:spPr/>
    </dgm:pt>
    <dgm:pt modelId="{2B48A495-916D-416E-9696-74FC95A216E5}" type="pres">
      <dgm:prSet presAssocID="{EF615EA3-FB65-4795-A82A-570106BA575E}" presName="parTxOnly" presStyleLbl="node1" presStyleIdx="3" presStyleCnt="4">
        <dgm:presLayoutVars>
          <dgm:chMax val="0"/>
          <dgm:chPref val="0"/>
          <dgm:bulletEnabled val="1"/>
        </dgm:presLayoutVars>
      </dgm:prSet>
      <dgm:spPr/>
    </dgm:pt>
  </dgm:ptLst>
  <dgm:cxnLst>
    <dgm:cxn modelId="{1CDFA13C-A915-497F-96AF-C46837392AE0}" srcId="{8C35C75B-1AA0-4DC9-8623-FC7B067C39E4}" destId="{EF615EA3-FB65-4795-A82A-570106BA575E}" srcOrd="3" destOrd="0" parTransId="{AFCE401D-D6CF-4DF2-B5BE-F58C2DBF57CD}" sibTransId="{E3C7C87E-7EED-42B3-A4BC-1C70E9D7987B}"/>
    <dgm:cxn modelId="{19F29563-D54C-480C-BCB3-E5C2188A58BA}" type="presOf" srcId="{EF615EA3-FB65-4795-A82A-570106BA575E}" destId="{2B48A495-916D-416E-9696-74FC95A216E5}" srcOrd="0" destOrd="0" presId="urn:microsoft.com/office/officeart/2005/8/layout/chevron1"/>
    <dgm:cxn modelId="{F2074457-FAE6-4395-A36B-4F5AB9398B74}" type="presOf" srcId="{8C35C75B-1AA0-4DC9-8623-FC7B067C39E4}" destId="{2690C08C-E128-459B-9209-5B348F8B1F83}" srcOrd="0" destOrd="0" presId="urn:microsoft.com/office/officeart/2005/8/layout/chevron1"/>
    <dgm:cxn modelId="{D8796487-DF97-441E-9614-46B3A789C5AC}" srcId="{8C35C75B-1AA0-4DC9-8623-FC7B067C39E4}" destId="{9584745B-D571-4817-90A9-A06755FA35F5}" srcOrd="0" destOrd="0" parTransId="{53564393-09DF-4660-81C2-5FD102010D81}" sibTransId="{27D85554-462D-4430-B23E-072486F1B715}"/>
    <dgm:cxn modelId="{00C3B48C-21BA-403F-A767-4E2596D75459}" srcId="{8C35C75B-1AA0-4DC9-8623-FC7B067C39E4}" destId="{EE5F339C-1D9B-48E4-A1E7-E138276DD222}" srcOrd="2" destOrd="0" parTransId="{5627F240-72D2-4B7F-8CD7-9A9EA7A3111D}" sibTransId="{8162375C-423E-4742-983F-4234E72425EA}"/>
    <dgm:cxn modelId="{9B70AA99-97C7-4485-A182-E54CD187126F}" type="presOf" srcId="{37F8AB4B-D6DD-42FF-8D0D-504D71FAFC7A}" destId="{A694B935-5446-4581-A73D-0712F2719851}" srcOrd="0" destOrd="0" presId="urn:microsoft.com/office/officeart/2005/8/layout/chevron1"/>
    <dgm:cxn modelId="{A6FF8B9E-F6F0-405C-9C12-2DDF7F79E9BB}" type="presOf" srcId="{9584745B-D571-4817-90A9-A06755FA35F5}" destId="{6186CF76-235E-4829-8F91-93461F0CA7F0}" srcOrd="0" destOrd="0" presId="urn:microsoft.com/office/officeart/2005/8/layout/chevron1"/>
    <dgm:cxn modelId="{F36EDED5-A72C-4B66-9526-1AB1C098AD13}" srcId="{8C35C75B-1AA0-4DC9-8623-FC7B067C39E4}" destId="{37F8AB4B-D6DD-42FF-8D0D-504D71FAFC7A}" srcOrd="1" destOrd="0" parTransId="{6C4A8D53-B11F-42D4-B0D4-035E5BCC5EE9}" sibTransId="{61A78A9C-F7F1-4574-9294-32214C7076F3}"/>
    <dgm:cxn modelId="{170B7FDF-BA92-4F45-BD09-BDF479C1A6BD}" type="presOf" srcId="{EE5F339C-1D9B-48E4-A1E7-E138276DD222}" destId="{1701C947-CDEE-4874-872A-9524EE3DE973}" srcOrd="0" destOrd="0" presId="urn:microsoft.com/office/officeart/2005/8/layout/chevron1"/>
    <dgm:cxn modelId="{5CC84753-EEC0-4A39-B81D-F064363A6075}" type="presParOf" srcId="{2690C08C-E128-459B-9209-5B348F8B1F83}" destId="{6186CF76-235E-4829-8F91-93461F0CA7F0}" srcOrd="0" destOrd="0" presId="urn:microsoft.com/office/officeart/2005/8/layout/chevron1"/>
    <dgm:cxn modelId="{5615E000-6B86-4B89-B106-305185FC975A}" type="presParOf" srcId="{2690C08C-E128-459B-9209-5B348F8B1F83}" destId="{E070EB7A-4B1F-4443-83BB-828BD6F7A588}" srcOrd="1" destOrd="0" presId="urn:microsoft.com/office/officeart/2005/8/layout/chevron1"/>
    <dgm:cxn modelId="{C3067C46-872A-44F7-8665-70035173C0BE}" type="presParOf" srcId="{2690C08C-E128-459B-9209-5B348F8B1F83}" destId="{A694B935-5446-4581-A73D-0712F2719851}" srcOrd="2" destOrd="0" presId="urn:microsoft.com/office/officeart/2005/8/layout/chevron1"/>
    <dgm:cxn modelId="{823CEEA5-F789-4854-835E-2609443F472A}" type="presParOf" srcId="{2690C08C-E128-459B-9209-5B348F8B1F83}" destId="{E9BE510A-9AEF-4429-9862-67668EAB3BF3}" srcOrd="3" destOrd="0" presId="urn:microsoft.com/office/officeart/2005/8/layout/chevron1"/>
    <dgm:cxn modelId="{D9717278-5168-4C92-8E49-86617E2523A6}" type="presParOf" srcId="{2690C08C-E128-459B-9209-5B348F8B1F83}" destId="{1701C947-CDEE-4874-872A-9524EE3DE973}" srcOrd="4" destOrd="0" presId="urn:microsoft.com/office/officeart/2005/8/layout/chevron1"/>
    <dgm:cxn modelId="{AD055D65-FBA1-4D64-9683-635CCE8875C7}" type="presParOf" srcId="{2690C08C-E128-459B-9209-5B348F8B1F83}" destId="{9E2BCD61-67CC-48A3-B93F-03B86CD0C611}" srcOrd="5" destOrd="0" presId="urn:microsoft.com/office/officeart/2005/8/layout/chevron1"/>
    <dgm:cxn modelId="{21676DA6-04DF-47F0-8D26-F049782CD301}" type="presParOf" srcId="{2690C08C-E128-459B-9209-5B348F8B1F83}" destId="{2B48A495-916D-416E-9696-74FC95A216E5}"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86CF76-235E-4829-8F91-93461F0CA7F0}">
      <dsp:nvSpPr>
        <dsp:cNvPr id="0" name=""/>
        <dsp:cNvSpPr/>
      </dsp:nvSpPr>
      <dsp:spPr>
        <a:xfrm>
          <a:off x="3770" y="1316988"/>
          <a:ext cx="2194718" cy="8778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kern="1200" dirty="0"/>
            <a:t>Initial </a:t>
          </a:r>
          <a:r>
            <a:rPr lang="de-DE" sz="2000" kern="1200" dirty="0" err="1"/>
            <a:t>delivery</a:t>
          </a:r>
          <a:endParaRPr lang="de-DE" sz="2000" kern="1200" dirty="0"/>
        </a:p>
      </dsp:txBody>
      <dsp:txXfrm>
        <a:off x="442714" y="1316988"/>
        <a:ext cx="1316831" cy="877887"/>
      </dsp:txXfrm>
    </dsp:sp>
    <dsp:sp modelId="{A694B935-5446-4581-A73D-0712F2719851}">
      <dsp:nvSpPr>
        <dsp:cNvPr id="0" name=""/>
        <dsp:cNvSpPr/>
      </dsp:nvSpPr>
      <dsp:spPr>
        <a:xfrm>
          <a:off x="1979017" y="1316988"/>
          <a:ext cx="2194718" cy="8778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kern="1200" dirty="0"/>
            <a:t>Initial FB </a:t>
          </a:r>
          <a:r>
            <a:rPr lang="de-DE" sz="2000" kern="1200" dirty="0" err="1"/>
            <a:t>calculation</a:t>
          </a:r>
          <a:r>
            <a:rPr lang="de-DE" sz="2000" kern="1200" dirty="0"/>
            <a:t> </a:t>
          </a:r>
        </a:p>
      </dsp:txBody>
      <dsp:txXfrm>
        <a:off x="2417961" y="1316988"/>
        <a:ext cx="1316831" cy="877887"/>
      </dsp:txXfrm>
    </dsp:sp>
    <dsp:sp modelId="{1701C947-CDEE-4874-872A-9524EE3DE973}">
      <dsp:nvSpPr>
        <dsp:cNvPr id="0" name=""/>
        <dsp:cNvSpPr/>
      </dsp:nvSpPr>
      <dsp:spPr>
        <a:xfrm>
          <a:off x="3954264" y="1316988"/>
          <a:ext cx="2194718" cy="8778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kern="1200" dirty="0"/>
            <a:t>Validation</a:t>
          </a:r>
        </a:p>
      </dsp:txBody>
      <dsp:txXfrm>
        <a:off x="4393208" y="1316988"/>
        <a:ext cx="1316831" cy="877887"/>
      </dsp:txXfrm>
    </dsp:sp>
    <dsp:sp modelId="{2B48A495-916D-416E-9696-74FC95A216E5}">
      <dsp:nvSpPr>
        <dsp:cNvPr id="0" name=""/>
        <dsp:cNvSpPr/>
      </dsp:nvSpPr>
      <dsp:spPr>
        <a:xfrm>
          <a:off x="5929510" y="1316988"/>
          <a:ext cx="2194718" cy="8778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kern="1200" dirty="0"/>
            <a:t>Final ATC </a:t>
          </a:r>
          <a:r>
            <a:rPr lang="de-DE" sz="2000" kern="1200" dirty="0" err="1"/>
            <a:t>extraction</a:t>
          </a:r>
          <a:endParaRPr lang="de-DE" sz="2000" kern="1200" dirty="0"/>
        </a:p>
      </dsp:txBody>
      <dsp:txXfrm>
        <a:off x="6368454" y="1316988"/>
        <a:ext cx="1316831" cy="8778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86CF76-235E-4829-8F91-93461F0CA7F0}">
      <dsp:nvSpPr>
        <dsp:cNvPr id="0" name=""/>
        <dsp:cNvSpPr/>
      </dsp:nvSpPr>
      <dsp:spPr>
        <a:xfrm>
          <a:off x="2491" y="462102"/>
          <a:ext cx="1450302" cy="580121"/>
        </a:xfrm>
        <a:prstGeom prst="chevron">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a:t>
          </a:r>
          <a:r>
            <a:rPr lang="de-DE" sz="1300" kern="1200" dirty="0" err="1"/>
            <a:t>delivery</a:t>
          </a:r>
          <a:endParaRPr lang="de-DE" sz="1300" kern="1200" dirty="0"/>
        </a:p>
      </dsp:txBody>
      <dsp:txXfrm>
        <a:off x="292552" y="462102"/>
        <a:ext cx="870181" cy="580121"/>
      </dsp:txXfrm>
    </dsp:sp>
    <dsp:sp modelId="{A694B935-5446-4581-A73D-0712F2719851}">
      <dsp:nvSpPr>
        <dsp:cNvPr id="0" name=""/>
        <dsp:cNvSpPr/>
      </dsp:nvSpPr>
      <dsp:spPr>
        <a:xfrm>
          <a:off x="1307764"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FB </a:t>
          </a:r>
          <a:r>
            <a:rPr lang="de-DE" sz="1300" kern="1200" dirty="0" err="1"/>
            <a:t>calculation</a:t>
          </a:r>
          <a:r>
            <a:rPr lang="de-DE" sz="1300" kern="1200" dirty="0"/>
            <a:t> </a:t>
          </a:r>
        </a:p>
      </dsp:txBody>
      <dsp:txXfrm>
        <a:off x="1597825" y="462102"/>
        <a:ext cx="870181" cy="580121"/>
      </dsp:txXfrm>
    </dsp:sp>
    <dsp:sp modelId="{1701C947-CDEE-4874-872A-9524EE3DE973}">
      <dsp:nvSpPr>
        <dsp:cNvPr id="0" name=""/>
        <dsp:cNvSpPr/>
      </dsp:nvSpPr>
      <dsp:spPr>
        <a:xfrm>
          <a:off x="2613036"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Validation</a:t>
          </a:r>
        </a:p>
      </dsp:txBody>
      <dsp:txXfrm>
        <a:off x="2903097" y="462102"/>
        <a:ext cx="870181" cy="580121"/>
      </dsp:txXfrm>
    </dsp:sp>
    <dsp:sp modelId="{2B48A495-916D-416E-9696-74FC95A216E5}">
      <dsp:nvSpPr>
        <dsp:cNvPr id="0" name=""/>
        <dsp:cNvSpPr/>
      </dsp:nvSpPr>
      <dsp:spPr>
        <a:xfrm>
          <a:off x="3918309"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Final ATC </a:t>
          </a:r>
          <a:r>
            <a:rPr lang="de-DE" sz="1300" kern="1200" dirty="0" err="1"/>
            <a:t>extraction</a:t>
          </a:r>
          <a:endParaRPr lang="de-DE" sz="1300" kern="1200" dirty="0"/>
        </a:p>
      </dsp:txBody>
      <dsp:txXfrm>
        <a:off x="4208370" y="462102"/>
        <a:ext cx="870181" cy="5801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86CF76-235E-4829-8F91-93461F0CA7F0}">
      <dsp:nvSpPr>
        <dsp:cNvPr id="0" name=""/>
        <dsp:cNvSpPr/>
      </dsp:nvSpPr>
      <dsp:spPr>
        <a:xfrm>
          <a:off x="2491" y="462102"/>
          <a:ext cx="1450302" cy="58012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a:t>
          </a:r>
          <a:r>
            <a:rPr lang="de-DE" sz="1300" kern="1200" dirty="0" err="1"/>
            <a:t>delivery</a:t>
          </a:r>
          <a:endParaRPr lang="de-DE" sz="1300" kern="1200" dirty="0"/>
        </a:p>
      </dsp:txBody>
      <dsp:txXfrm>
        <a:off x="292552" y="462102"/>
        <a:ext cx="870181" cy="580121"/>
      </dsp:txXfrm>
    </dsp:sp>
    <dsp:sp modelId="{A694B935-5446-4581-A73D-0712F2719851}">
      <dsp:nvSpPr>
        <dsp:cNvPr id="0" name=""/>
        <dsp:cNvSpPr/>
      </dsp:nvSpPr>
      <dsp:spPr>
        <a:xfrm>
          <a:off x="1307764" y="462102"/>
          <a:ext cx="1450302" cy="580121"/>
        </a:xfrm>
        <a:prstGeom prst="chevron">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FB </a:t>
          </a:r>
          <a:r>
            <a:rPr lang="de-DE" sz="1300" kern="1200" dirty="0" err="1"/>
            <a:t>calculation</a:t>
          </a:r>
          <a:r>
            <a:rPr lang="de-DE" sz="1300" kern="1200" dirty="0"/>
            <a:t> </a:t>
          </a:r>
        </a:p>
      </dsp:txBody>
      <dsp:txXfrm>
        <a:off x="1597825" y="462102"/>
        <a:ext cx="870181" cy="580121"/>
      </dsp:txXfrm>
    </dsp:sp>
    <dsp:sp modelId="{1701C947-CDEE-4874-872A-9524EE3DE973}">
      <dsp:nvSpPr>
        <dsp:cNvPr id="0" name=""/>
        <dsp:cNvSpPr/>
      </dsp:nvSpPr>
      <dsp:spPr>
        <a:xfrm>
          <a:off x="2613036"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Validation</a:t>
          </a:r>
        </a:p>
      </dsp:txBody>
      <dsp:txXfrm>
        <a:off x="2903097" y="462102"/>
        <a:ext cx="870181" cy="580121"/>
      </dsp:txXfrm>
    </dsp:sp>
    <dsp:sp modelId="{2B48A495-916D-416E-9696-74FC95A216E5}">
      <dsp:nvSpPr>
        <dsp:cNvPr id="0" name=""/>
        <dsp:cNvSpPr/>
      </dsp:nvSpPr>
      <dsp:spPr>
        <a:xfrm>
          <a:off x="3918309"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Final ATC </a:t>
          </a:r>
          <a:r>
            <a:rPr lang="de-DE" sz="1300" kern="1200" dirty="0" err="1"/>
            <a:t>extraction</a:t>
          </a:r>
          <a:endParaRPr lang="de-DE" sz="1300" kern="1200" dirty="0"/>
        </a:p>
      </dsp:txBody>
      <dsp:txXfrm>
        <a:off x="4208370" y="462102"/>
        <a:ext cx="870181" cy="5801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86CF76-235E-4829-8F91-93461F0CA7F0}">
      <dsp:nvSpPr>
        <dsp:cNvPr id="0" name=""/>
        <dsp:cNvSpPr/>
      </dsp:nvSpPr>
      <dsp:spPr>
        <a:xfrm>
          <a:off x="2491" y="462102"/>
          <a:ext cx="1450302" cy="58012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a:t>
          </a:r>
          <a:r>
            <a:rPr lang="de-DE" sz="1300" kern="1200" dirty="0" err="1"/>
            <a:t>delivery</a:t>
          </a:r>
          <a:endParaRPr lang="de-DE" sz="1300" kern="1200" dirty="0"/>
        </a:p>
      </dsp:txBody>
      <dsp:txXfrm>
        <a:off x="292552" y="462102"/>
        <a:ext cx="870181" cy="580121"/>
      </dsp:txXfrm>
    </dsp:sp>
    <dsp:sp modelId="{A694B935-5446-4581-A73D-0712F2719851}">
      <dsp:nvSpPr>
        <dsp:cNvPr id="0" name=""/>
        <dsp:cNvSpPr/>
      </dsp:nvSpPr>
      <dsp:spPr>
        <a:xfrm>
          <a:off x="1307764"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FB </a:t>
          </a:r>
          <a:r>
            <a:rPr lang="de-DE" sz="1300" kern="1200" dirty="0" err="1"/>
            <a:t>calculation</a:t>
          </a:r>
          <a:r>
            <a:rPr lang="de-DE" sz="1300" kern="1200" dirty="0"/>
            <a:t> </a:t>
          </a:r>
        </a:p>
      </dsp:txBody>
      <dsp:txXfrm>
        <a:off x="1597825" y="462102"/>
        <a:ext cx="870181" cy="580121"/>
      </dsp:txXfrm>
    </dsp:sp>
    <dsp:sp modelId="{1701C947-CDEE-4874-872A-9524EE3DE973}">
      <dsp:nvSpPr>
        <dsp:cNvPr id="0" name=""/>
        <dsp:cNvSpPr/>
      </dsp:nvSpPr>
      <dsp:spPr>
        <a:xfrm>
          <a:off x="2613036" y="462102"/>
          <a:ext cx="1450302" cy="580121"/>
        </a:xfrm>
        <a:prstGeom prst="chevron">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Validation</a:t>
          </a:r>
        </a:p>
      </dsp:txBody>
      <dsp:txXfrm>
        <a:off x="2903097" y="462102"/>
        <a:ext cx="870181" cy="580121"/>
      </dsp:txXfrm>
    </dsp:sp>
    <dsp:sp modelId="{2B48A495-916D-416E-9696-74FC95A216E5}">
      <dsp:nvSpPr>
        <dsp:cNvPr id="0" name=""/>
        <dsp:cNvSpPr/>
      </dsp:nvSpPr>
      <dsp:spPr>
        <a:xfrm>
          <a:off x="3918309"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Final ATC </a:t>
          </a:r>
          <a:r>
            <a:rPr lang="de-DE" sz="1300" kern="1200" dirty="0" err="1"/>
            <a:t>extraction</a:t>
          </a:r>
          <a:endParaRPr lang="de-DE" sz="1300" kern="1200" dirty="0"/>
        </a:p>
      </dsp:txBody>
      <dsp:txXfrm>
        <a:off x="4208370" y="462102"/>
        <a:ext cx="870181" cy="5801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86CF76-235E-4829-8F91-93461F0CA7F0}">
      <dsp:nvSpPr>
        <dsp:cNvPr id="0" name=""/>
        <dsp:cNvSpPr/>
      </dsp:nvSpPr>
      <dsp:spPr>
        <a:xfrm>
          <a:off x="2491" y="462102"/>
          <a:ext cx="1450302" cy="58012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a:t>
          </a:r>
          <a:r>
            <a:rPr lang="de-DE" sz="1300" kern="1200" dirty="0" err="1"/>
            <a:t>delivery</a:t>
          </a:r>
          <a:endParaRPr lang="de-DE" sz="1300" kern="1200" dirty="0"/>
        </a:p>
      </dsp:txBody>
      <dsp:txXfrm>
        <a:off x="292552" y="462102"/>
        <a:ext cx="870181" cy="580121"/>
      </dsp:txXfrm>
    </dsp:sp>
    <dsp:sp modelId="{A694B935-5446-4581-A73D-0712F2719851}">
      <dsp:nvSpPr>
        <dsp:cNvPr id="0" name=""/>
        <dsp:cNvSpPr/>
      </dsp:nvSpPr>
      <dsp:spPr>
        <a:xfrm>
          <a:off x="1307764"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FB </a:t>
          </a:r>
          <a:r>
            <a:rPr lang="de-DE" sz="1300" kern="1200" dirty="0" err="1"/>
            <a:t>calculation</a:t>
          </a:r>
          <a:r>
            <a:rPr lang="de-DE" sz="1300" kern="1200" dirty="0"/>
            <a:t> </a:t>
          </a:r>
        </a:p>
      </dsp:txBody>
      <dsp:txXfrm>
        <a:off x="1597825" y="462102"/>
        <a:ext cx="870181" cy="580121"/>
      </dsp:txXfrm>
    </dsp:sp>
    <dsp:sp modelId="{1701C947-CDEE-4874-872A-9524EE3DE973}">
      <dsp:nvSpPr>
        <dsp:cNvPr id="0" name=""/>
        <dsp:cNvSpPr/>
      </dsp:nvSpPr>
      <dsp:spPr>
        <a:xfrm>
          <a:off x="2613036" y="462102"/>
          <a:ext cx="1450302" cy="58012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Validation</a:t>
          </a:r>
        </a:p>
      </dsp:txBody>
      <dsp:txXfrm>
        <a:off x="2903097" y="462102"/>
        <a:ext cx="870181" cy="580121"/>
      </dsp:txXfrm>
    </dsp:sp>
    <dsp:sp modelId="{2B48A495-916D-416E-9696-74FC95A216E5}">
      <dsp:nvSpPr>
        <dsp:cNvPr id="0" name=""/>
        <dsp:cNvSpPr/>
      </dsp:nvSpPr>
      <dsp:spPr>
        <a:xfrm>
          <a:off x="3918309" y="462102"/>
          <a:ext cx="1450302" cy="580121"/>
        </a:xfrm>
        <a:prstGeom prst="chevron">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Final ATC </a:t>
          </a:r>
          <a:r>
            <a:rPr lang="de-DE" sz="1300" kern="1200" dirty="0" err="1"/>
            <a:t>extraction</a:t>
          </a:r>
          <a:endParaRPr lang="de-DE" sz="1300" kern="1200" dirty="0"/>
        </a:p>
      </dsp:txBody>
      <dsp:txXfrm>
        <a:off x="4208370" y="462102"/>
        <a:ext cx="870181" cy="5801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86CF76-235E-4829-8F91-93461F0CA7F0}">
      <dsp:nvSpPr>
        <dsp:cNvPr id="0" name=""/>
        <dsp:cNvSpPr/>
      </dsp:nvSpPr>
      <dsp:spPr>
        <a:xfrm>
          <a:off x="2491" y="462102"/>
          <a:ext cx="1450302" cy="58012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a:t>
          </a:r>
          <a:r>
            <a:rPr lang="de-DE" sz="1300" kern="1200" dirty="0" err="1"/>
            <a:t>delivery</a:t>
          </a:r>
          <a:endParaRPr lang="de-DE" sz="1300" kern="1200" dirty="0"/>
        </a:p>
      </dsp:txBody>
      <dsp:txXfrm>
        <a:off x="292552" y="462102"/>
        <a:ext cx="870181" cy="580121"/>
      </dsp:txXfrm>
    </dsp:sp>
    <dsp:sp modelId="{A694B935-5446-4581-A73D-0712F2719851}">
      <dsp:nvSpPr>
        <dsp:cNvPr id="0" name=""/>
        <dsp:cNvSpPr/>
      </dsp:nvSpPr>
      <dsp:spPr>
        <a:xfrm>
          <a:off x="1307764" y="462102"/>
          <a:ext cx="1450302" cy="58012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Initial FB </a:t>
          </a:r>
          <a:r>
            <a:rPr lang="de-DE" sz="1300" kern="1200" dirty="0" err="1"/>
            <a:t>calculation</a:t>
          </a:r>
          <a:r>
            <a:rPr lang="de-DE" sz="1300" kern="1200" dirty="0"/>
            <a:t> </a:t>
          </a:r>
        </a:p>
      </dsp:txBody>
      <dsp:txXfrm>
        <a:off x="1597825" y="462102"/>
        <a:ext cx="870181" cy="580121"/>
      </dsp:txXfrm>
    </dsp:sp>
    <dsp:sp modelId="{1701C947-CDEE-4874-872A-9524EE3DE973}">
      <dsp:nvSpPr>
        <dsp:cNvPr id="0" name=""/>
        <dsp:cNvSpPr/>
      </dsp:nvSpPr>
      <dsp:spPr>
        <a:xfrm>
          <a:off x="2613036" y="462102"/>
          <a:ext cx="1450302" cy="58012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Validation</a:t>
          </a:r>
        </a:p>
      </dsp:txBody>
      <dsp:txXfrm>
        <a:off x="2903097" y="462102"/>
        <a:ext cx="870181" cy="580121"/>
      </dsp:txXfrm>
    </dsp:sp>
    <dsp:sp modelId="{2B48A495-916D-416E-9696-74FC95A216E5}">
      <dsp:nvSpPr>
        <dsp:cNvPr id="0" name=""/>
        <dsp:cNvSpPr/>
      </dsp:nvSpPr>
      <dsp:spPr>
        <a:xfrm>
          <a:off x="3918309" y="462102"/>
          <a:ext cx="1450302" cy="580121"/>
        </a:xfrm>
        <a:prstGeom prst="chevron">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Final ATC </a:t>
          </a:r>
          <a:r>
            <a:rPr lang="de-DE" sz="1300" kern="1200" dirty="0" err="1"/>
            <a:t>extraction</a:t>
          </a:r>
          <a:endParaRPr lang="de-DE" sz="1300" kern="1200" dirty="0"/>
        </a:p>
      </dsp:txBody>
      <dsp:txXfrm>
        <a:off x="4208370" y="462102"/>
        <a:ext cx="870181" cy="5801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C135889F-BEE7-D246-8EC9-161E6F835C6E}"/>
              </a:ext>
            </a:extLst>
          </p:cNvPr>
          <p:cNvSpPr>
            <a:spLocks noGrp="1"/>
          </p:cNvSpPr>
          <p:nvPr>
            <p:ph type="hdr" sz="quarter"/>
          </p:nvPr>
        </p:nvSpPr>
        <p:spPr>
          <a:xfrm>
            <a:off x="482838" y="299100"/>
            <a:ext cx="2811566" cy="458788"/>
          </a:xfrm>
          <a:prstGeom prst="rect">
            <a:avLst/>
          </a:prstGeom>
        </p:spPr>
        <p:txBody>
          <a:bodyPr vert="horz" lIns="0" tIns="0" rIns="0" bIns="0" rtlCol="0"/>
          <a:lstStyle>
            <a:lvl1pPr algn="l">
              <a:defRPr sz="1200"/>
            </a:lvl1pPr>
          </a:lstStyle>
          <a:p>
            <a:endParaRPr lang="nl-NL" sz="1000" dirty="0">
              <a:latin typeface="Arial" panose="020B0604020202020204" pitchFamily="34" charset="0"/>
              <a:cs typeface="Arial" panose="020B0604020202020204" pitchFamily="34" charset="0"/>
            </a:endParaRPr>
          </a:p>
        </p:txBody>
      </p:sp>
      <p:sp>
        <p:nvSpPr>
          <p:cNvPr id="3" name="Tijdelijke aanduiding voor datum 2">
            <a:extLst>
              <a:ext uri="{FF2B5EF4-FFF2-40B4-BE49-F238E27FC236}">
                <a16:creationId xmlns:a16="http://schemas.microsoft.com/office/drawing/2014/main" id="{F10083A9-0A0B-BD40-856E-7DC0F93DE0EE}"/>
              </a:ext>
            </a:extLst>
          </p:cNvPr>
          <p:cNvSpPr>
            <a:spLocks noGrp="1"/>
          </p:cNvSpPr>
          <p:nvPr>
            <p:ph type="dt" sz="quarter" idx="1"/>
          </p:nvPr>
        </p:nvSpPr>
        <p:spPr>
          <a:xfrm>
            <a:off x="3563596" y="299100"/>
            <a:ext cx="2811566" cy="458788"/>
          </a:xfrm>
          <a:prstGeom prst="rect">
            <a:avLst/>
          </a:prstGeom>
        </p:spPr>
        <p:txBody>
          <a:bodyPr vert="horz" lIns="0" tIns="0" rIns="0" bIns="0" rtlCol="0"/>
          <a:lstStyle>
            <a:lvl1pPr algn="r">
              <a:defRPr sz="1200"/>
            </a:lvl1pPr>
          </a:lstStyle>
          <a:p>
            <a:fld id="{A34DF070-8E5B-CC49-B8B4-7076285CB242}" type="datetimeFigureOut">
              <a:rPr lang="nl-NL" sz="1000" smtClean="0">
                <a:latin typeface="Arial" panose="020B0604020202020204" pitchFamily="34" charset="0"/>
                <a:cs typeface="Arial" panose="020B0604020202020204" pitchFamily="34" charset="0"/>
              </a:rPr>
              <a:t>24-1-2025</a:t>
            </a:fld>
            <a:endParaRPr lang="nl-NL" sz="1000" dirty="0">
              <a:latin typeface="Arial" panose="020B0604020202020204" pitchFamily="34" charset="0"/>
              <a:cs typeface="Arial" panose="020B0604020202020204" pitchFamily="34" charset="0"/>
            </a:endParaRPr>
          </a:p>
        </p:txBody>
      </p:sp>
      <p:sp>
        <p:nvSpPr>
          <p:cNvPr id="4" name="Tijdelijke aanduiding voor voettekst 3">
            <a:extLst>
              <a:ext uri="{FF2B5EF4-FFF2-40B4-BE49-F238E27FC236}">
                <a16:creationId xmlns:a16="http://schemas.microsoft.com/office/drawing/2014/main" id="{25313DD2-3FCD-EF4F-86DB-7B5731AC0CEC}"/>
              </a:ext>
            </a:extLst>
          </p:cNvPr>
          <p:cNvSpPr>
            <a:spLocks noGrp="1"/>
          </p:cNvSpPr>
          <p:nvPr>
            <p:ph type="ftr" sz="quarter" idx="2"/>
          </p:nvPr>
        </p:nvSpPr>
        <p:spPr>
          <a:xfrm>
            <a:off x="482838" y="8386113"/>
            <a:ext cx="2811566" cy="458787"/>
          </a:xfrm>
          <a:prstGeom prst="rect">
            <a:avLst/>
          </a:prstGeom>
        </p:spPr>
        <p:txBody>
          <a:bodyPr vert="horz" lIns="0" tIns="0" rIns="0" bIns="0" rtlCol="0" anchor="b"/>
          <a:lstStyle>
            <a:lvl1pPr algn="l">
              <a:defRPr sz="1200"/>
            </a:lvl1pPr>
          </a:lstStyle>
          <a:p>
            <a:endParaRPr lang="nl-NL" sz="1000" dirty="0">
              <a:latin typeface="Arial" panose="020B0604020202020204" pitchFamily="34" charset="0"/>
              <a:cs typeface="Arial" panose="020B0604020202020204" pitchFamily="34" charset="0"/>
            </a:endParaRPr>
          </a:p>
        </p:txBody>
      </p:sp>
      <p:sp>
        <p:nvSpPr>
          <p:cNvPr id="5" name="Tijdelijke aanduiding voor dianummer 4">
            <a:extLst>
              <a:ext uri="{FF2B5EF4-FFF2-40B4-BE49-F238E27FC236}">
                <a16:creationId xmlns:a16="http://schemas.microsoft.com/office/drawing/2014/main" id="{748641C9-4DD1-C14F-8831-692DEDA3C71E}"/>
              </a:ext>
            </a:extLst>
          </p:cNvPr>
          <p:cNvSpPr>
            <a:spLocks noGrp="1"/>
          </p:cNvSpPr>
          <p:nvPr>
            <p:ph type="sldNum" sz="quarter" idx="3"/>
          </p:nvPr>
        </p:nvSpPr>
        <p:spPr>
          <a:xfrm>
            <a:off x="3563596" y="8386113"/>
            <a:ext cx="537835" cy="458787"/>
          </a:xfrm>
          <a:prstGeom prst="rect">
            <a:avLst/>
          </a:prstGeom>
        </p:spPr>
        <p:txBody>
          <a:bodyPr vert="horz" lIns="0" tIns="0" rIns="0" bIns="0" rtlCol="0" anchor="b"/>
          <a:lstStyle>
            <a:lvl1pPr algn="r">
              <a:defRPr sz="1200"/>
            </a:lvl1pPr>
          </a:lstStyle>
          <a:p>
            <a:pPr algn="l"/>
            <a:fld id="{6396F89D-3030-594C-9DA4-A781977EA962}" type="slidenum">
              <a:rPr lang="nl-NL" sz="1000" smtClean="0">
                <a:latin typeface="Arial" panose="020B0604020202020204" pitchFamily="34" charset="0"/>
                <a:cs typeface="Arial" panose="020B0604020202020204" pitchFamily="34" charset="0"/>
              </a:rPr>
              <a:pPr algn="l"/>
              <a:t>‹Nr.›</a:t>
            </a:fld>
            <a:endParaRPr lang="nl-NL" sz="1000" dirty="0">
              <a:latin typeface="Arial" panose="020B0604020202020204" pitchFamily="34" charset="0"/>
              <a:cs typeface="Arial" panose="020B0604020202020204" pitchFamily="34" charset="0"/>
            </a:endParaRPr>
          </a:p>
        </p:txBody>
      </p:sp>
      <p:pic>
        <p:nvPicPr>
          <p:cNvPr id="6" name="Afbeelding 5">
            <a:extLst>
              <a:ext uri="{FF2B5EF4-FFF2-40B4-BE49-F238E27FC236}">
                <a16:creationId xmlns:a16="http://schemas.microsoft.com/office/drawing/2014/main" id="{9FFB51F8-21D6-CA42-87E1-8897ADAB33E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72794" y="8674626"/>
            <a:ext cx="902368" cy="170274"/>
          </a:xfrm>
          <a:prstGeom prst="rect">
            <a:avLst/>
          </a:prstGeom>
        </p:spPr>
      </p:pic>
    </p:spTree>
    <p:extLst>
      <p:ext uri="{BB962C8B-B14F-4D97-AF65-F5344CB8AC3E}">
        <p14:creationId xmlns:p14="http://schemas.microsoft.com/office/powerpoint/2010/main" val="7424809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685800" y="342106"/>
            <a:ext cx="2219770" cy="458788"/>
          </a:xfrm>
          <a:prstGeom prst="rect">
            <a:avLst/>
          </a:prstGeom>
        </p:spPr>
        <p:txBody>
          <a:bodyPr vert="horz" lIns="0" tIns="0" rIns="0" bIns="0" rtlCol="0"/>
          <a:lstStyle>
            <a:lvl1pPr algn="l">
              <a:defRPr sz="1000">
                <a:latin typeface="Arial" panose="020B0604020202020204" pitchFamily="34" charset="0"/>
                <a:cs typeface="Arial" panose="020B0604020202020204" pitchFamily="34" charset="0"/>
              </a:defRPr>
            </a:lvl1pPr>
          </a:lstStyle>
          <a:p>
            <a:endParaRPr lang="nl-NL" sz="1000" dirty="0"/>
          </a:p>
        </p:txBody>
      </p:sp>
      <p:sp>
        <p:nvSpPr>
          <p:cNvPr id="3" name="Tijdelijke aanduiding voor datum 2"/>
          <p:cNvSpPr>
            <a:spLocks noGrp="1"/>
          </p:cNvSpPr>
          <p:nvPr>
            <p:ph type="dt" idx="1"/>
          </p:nvPr>
        </p:nvSpPr>
        <p:spPr>
          <a:xfrm>
            <a:off x="3952428" y="342106"/>
            <a:ext cx="2219771" cy="458788"/>
          </a:xfrm>
          <a:prstGeom prst="rect">
            <a:avLst/>
          </a:prstGeom>
        </p:spPr>
        <p:txBody>
          <a:bodyPr vert="horz" lIns="0" tIns="0" rIns="0" bIns="0" rtlCol="0"/>
          <a:lstStyle>
            <a:lvl1pPr algn="r">
              <a:defRPr sz="1000">
                <a:latin typeface="Arial" panose="020B0604020202020204" pitchFamily="34" charset="0"/>
                <a:cs typeface="Arial" panose="020B0604020202020204" pitchFamily="34" charset="0"/>
              </a:defRPr>
            </a:lvl1pPr>
          </a:lstStyle>
          <a:p>
            <a:fld id="{C452CE01-F0EE-0542-9C7C-A6A119AE24D4}" type="datetimeFigureOut">
              <a:rPr lang="nl-NL" smtClean="0"/>
              <a:pPr/>
              <a:t>23-1-2025</a:t>
            </a:fld>
            <a:endParaRPr lang="nl-NL" sz="100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schemeClr val="bg1">
                <a:lumMod val="85000"/>
              </a:schemeClr>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voettekst 5"/>
          <p:cNvSpPr>
            <a:spLocks noGrp="1"/>
          </p:cNvSpPr>
          <p:nvPr>
            <p:ph type="ftr" sz="quarter" idx="4"/>
          </p:nvPr>
        </p:nvSpPr>
        <p:spPr>
          <a:xfrm>
            <a:off x="685800" y="8226426"/>
            <a:ext cx="2219770" cy="458787"/>
          </a:xfrm>
          <a:prstGeom prst="rect">
            <a:avLst/>
          </a:prstGeom>
        </p:spPr>
        <p:txBody>
          <a:bodyPr vert="horz" lIns="0" tIns="0" rIns="0" bIns="0" rtlCol="0" anchor="b"/>
          <a:lstStyle>
            <a:lvl1pPr algn="l">
              <a:defRPr sz="1000">
                <a:latin typeface="Arial" panose="020B0604020202020204" pitchFamily="34" charset="0"/>
                <a:cs typeface="Arial" panose="020B0604020202020204" pitchFamily="34" charset="0"/>
              </a:defRPr>
            </a:lvl1pPr>
          </a:lstStyle>
          <a:p>
            <a:endParaRPr lang="nl-NL" sz="1000" dirty="0"/>
          </a:p>
        </p:txBody>
      </p:sp>
      <p:sp>
        <p:nvSpPr>
          <p:cNvPr id="7" name="Tijdelijke aanduiding voor dianummer 6"/>
          <p:cNvSpPr>
            <a:spLocks noGrp="1"/>
          </p:cNvSpPr>
          <p:nvPr>
            <p:ph type="sldNum" sz="quarter" idx="5"/>
          </p:nvPr>
        </p:nvSpPr>
        <p:spPr>
          <a:xfrm>
            <a:off x="3004915" y="8226426"/>
            <a:ext cx="848169" cy="458787"/>
          </a:xfrm>
          <a:prstGeom prst="rect">
            <a:avLst/>
          </a:prstGeom>
        </p:spPr>
        <p:txBody>
          <a:bodyPr vert="horz" lIns="0" tIns="0" rIns="0" bIns="0" rtlCol="0" anchor="b"/>
          <a:lstStyle>
            <a:lvl1pPr algn="ctr">
              <a:defRPr sz="1000">
                <a:latin typeface="Arial" panose="020B0604020202020204" pitchFamily="34" charset="0"/>
                <a:cs typeface="Arial" panose="020B0604020202020204" pitchFamily="34" charset="0"/>
              </a:defRPr>
            </a:lvl1pPr>
          </a:lstStyle>
          <a:p>
            <a:fld id="{7F402A06-7FC3-1644-A096-6463E52B584B}" type="slidenum">
              <a:rPr lang="nl-NL" smtClean="0"/>
              <a:pPr/>
              <a:t>‹Nr.›</a:t>
            </a:fld>
            <a:endParaRPr lang="nl-NL" sz="1000"/>
          </a:p>
        </p:txBody>
      </p:sp>
      <p:pic>
        <p:nvPicPr>
          <p:cNvPr id="8" name="Afbeelding 7">
            <a:extLst>
              <a:ext uri="{FF2B5EF4-FFF2-40B4-BE49-F238E27FC236}">
                <a16:creationId xmlns:a16="http://schemas.microsoft.com/office/drawing/2014/main" id="{9C7E1393-0D5C-B44D-AFC7-654C2CCD986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69831" y="8514939"/>
            <a:ext cx="902368" cy="170274"/>
          </a:xfrm>
          <a:prstGeom prst="rect">
            <a:avLst/>
          </a:prstGeom>
        </p:spPr>
      </p:pic>
    </p:spTree>
    <p:extLst>
      <p:ext uri="{BB962C8B-B14F-4D97-AF65-F5344CB8AC3E}">
        <p14:creationId xmlns:p14="http://schemas.microsoft.com/office/powerpoint/2010/main" val="1209246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rgbClr val="EAEEF0"/>
        </a:solidFill>
        <a:effectLst/>
      </p:bgPr>
    </p:bg>
    <p:spTree>
      <p:nvGrpSpPr>
        <p:cNvPr id="1" name=""/>
        <p:cNvGrpSpPr/>
        <p:nvPr/>
      </p:nvGrpSpPr>
      <p:grpSpPr>
        <a:xfrm>
          <a:off x="0" y="0"/>
          <a:ext cx="0" cy="0"/>
          <a:chOff x="0" y="0"/>
          <a:chExt cx="0" cy="0"/>
        </a:xfrm>
      </p:grpSpPr>
      <p:pic>
        <p:nvPicPr>
          <p:cNvPr id="192" name="Picture 191" descr="A close up of a logo&#10;&#10;Description automatically generated">
            <a:extLst>
              <a:ext uri="{FF2B5EF4-FFF2-40B4-BE49-F238E27FC236}">
                <a16:creationId xmlns:a16="http://schemas.microsoft.com/office/drawing/2014/main" id="{3F744EDE-D865-2344-BEAE-CF6E9F5A94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195" name="Groep 194">
            <a:extLst>
              <a:ext uri="{FF2B5EF4-FFF2-40B4-BE49-F238E27FC236}">
                <a16:creationId xmlns:a16="http://schemas.microsoft.com/office/drawing/2014/main" id="{4B55ED01-1C46-6C46-91AE-FCC559FB2AE2}"/>
              </a:ext>
            </a:extLst>
          </p:cNvPr>
          <p:cNvGrpSpPr/>
          <p:nvPr userDrawn="1"/>
        </p:nvGrpSpPr>
        <p:grpSpPr>
          <a:xfrm>
            <a:off x="351601" y="2009211"/>
            <a:ext cx="6466878" cy="4057765"/>
            <a:chOff x="351601" y="2009211"/>
            <a:chExt cx="6466878" cy="4057765"/>
          </a:xfrm>
        </p:grpSpPr>
        <p:cxnSp>
          <p:nvCxnSpPr>
            <p:cNvPr id="178" name="Rechte verbindingslijn 177">
              <a:extLst>
                <a:ext uri="{FF2B5EF4-FFF2-40B4-BE49-F238E27FC236}">
                  <a16:creationId xmlns:a16="http://schemas.microsoft.com/office/drawing/2014/main" id="{E7E87B1C-3B1F-6F47-900D-D15C8E330F1A}"/>
                </a:ext>
              </a:extLst>
            </p:cNvPr>
            <p:cNvCxnSpPr>
              <a:cxnSpLocks/>
            </p:cNvCxnSpPr>
            <p:nvPr userDrawn="1"/>
          </p:nvCxnSpPr>
          <p:spPr>
            <a:xfrm>
              <a:off x="351601"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79" name="Rechte verbindingslijn 178">
              <a:extLst>
                <a:ext uri="{FF2B5EF4-FFF2-40B4-BE49-F238E27FC236}">
                  <a16:creationId xmlns:a16="http://schemas.microsoft.com/office/drawing/2014/main" id="{CD4DA91E-6465-3E4E-B3F2-A8BEADDD6E3C}"/>
                </a:ext>
              </a:extLst>
            </p:cNvPr>
            <p:cNvCxnSpPr>
              <a:cxnSpLocks/>
            </p:cNvCxnSpPr>
            <p:nvPr userDrawn="1"/>
          </p:nvCxnSpPr>
          <p:spPr>
            <a:xfrm>
              <a:off x="1070143"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80" name="Rechte verbindingslijn 179">
              <a:extLst>
                <a:ext uri="{FF2B5EF4-FFF2-40B4-BE49-F238E27FC236}">
                  <a16:creationId xmlns:a16="http://schemas.microsoft.com/office/drawing/2014/main" id="{894CAE47-B70B-5449-B3B8-7A23317992FC}"/>
                </a:ext>
              </a:extLst>
            </p:cNvPr>
            <p:cNvCxnSpPr>
              <a:cxnSpLocks/>
            </p:cNvCxnSpPr>
            <p:nvPr userDrawn="1"/>
          </p:nvCxnSpPr>
          <p:spPr>
            <a:xfrm>
              <a:off x="1788685"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81" name="Rechte verbindingslijn 180">
              <a:extLst>
                <a:ext uri="{FF2B5EF4-FFF2-40B4-BE49-F238E27FC236}">
                  <a16:creationId xmlns:a16="http://schemas.microsoft.com/office/drawing/2014/main" id="{A5ED11D8-C80F-084A-B52C-5D5E1C4C6464}"/>
                </a:ext>
              </a:extLst>
            </p:cNvPr>
            <p:cNvCxnSpPr>
              <a:cxnSpLocks/>
            </p:cNvCxnSpPr>
            <p:nvPr userDrawn="1"/>
          </p:nvCxnSpPr>
          <p:spPr>
            <a:xfrm>
              <a:off x="2507227"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82" name="Rechte verbindingslijn 181">
              <a:extLst>
                <a:ext uri="{FF2B5EF4-FFF2-40B4-BE49-F238E27FC236}">
                  <a16:creationId xmlns:a16="http://schemas.microsoft.com/office/drawing/2014/main" id="{D7DBC3CB-7D40-2746-B3AD-C1B2E5BC9794}"/>
                </a:ext>
              </a:extLst>
            </p:cNvPr>
            <p:cNvCxnSpPr>
              <a:cxnSpLocks/>
            </p:cNvCxnSpPr>
            <p:nvPr userDrawn="1"/>
          </p:nvCxnSpPr>
          <p:spPr>
            <a:xfrm>
              <a:off x="3225769"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83" name="Rechte verbindingslijn 182">
              <a:extLst>
                <a:ext uri="{FF2B5EF4-FFF2-40B4-BE49-F238E27FC236}">
                  <a16:creationId xmlns:a16="http://schemas.microsoft.com/office/drawing/2014/main" id="{039F6033-BAF0-F04D-9EEA-6E9FF6B69292}"/>
                </a:ext>
              </a:extLst>
            </p:cNvPr>
            <p:cNvCxnSpPr>
              <a:cxnSpLocks/>
            </p:cNvCxnSpPr>
            <p:nvPr userDrawn="1"/>
          </p:nvCxnSpPr>
          <p:spPr>
            <a:xfrm>
              <a:off x="3944311"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84" name="Rechte verbindingslijn 183">
              <a:extLst>
                <a:ext uri="{FF2B5EF4-FFF2-40B4-BE49-F238E27FC236}">
                  <a16:creationId xmlns:a16="http://schemas.microsoft.com/office/drawing/2014/main" id="{BB7810E5-E54A-A746-942B-EC1F36C79A74}"/>
                </a:ext>
              </a:extLst>
            </p:cNvPr>
            <p:cNvCxnSpPr>
              <a:cxnSpLocks/>
            </p:cNvCxnSpPr>
            <p:nvPr userDrawn="1"/>
          </p:nvCxnSpPr>
          <p:spPr>
            <a:xfrm>
              <a:off x="4662853"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85" name="Rechte verbindingslijn 184">
              <a:extLst>
                <a:ext uri="{FF2B5EF4-FFF2-40B4-BE49-F238E27FC236}">
                  <a16:creationId xmlns:a16="http://schemas.microsoft.com/office/drawing/2014/main" id="{3B9232F3-C0B7-F849-8757-FC31BD65BA08}"/>
                </a:ext>
              </a:extLst>
            </p:cNvPr>
            <p:cNvCxnSpPr>
              <a:cxnSpLocks/>
            </p:cNvCxnSpPr>
            <p:nvPr userDrawn="1"/>
          </p:nvCxnSpPr>
          <p:spPr>
            <a:xfrm>
              <a:off x="5381395"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96" name="Rechte verbindingslijn 195">
              <a:extLst>
                <a:ext uri="{FF2B5EF4-FFF2-40B4-BE49-F238E27FC236}">
                  <a16:creationId xmlns:a16="http://schemas.microsoft.com/office/drawing/2014/main" id="{8D77C085-7056-BD45-8517-17A05109F908}"/>
                </a:ext>
              </a:extLst>
            </p:cNvPr>
            <p:cNvCxnSpPr>
              <a:cxnSpLocks/>
            </p:cNvCxnSpPr>
            <p:nvPr userDrawn="1"/>
          </p:nvCxnSpPr>
          <p:spPr>
            <a:xfrm>
              <a:off x="6096000"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B4A91797-B119-104F-B7E5-F29E4F99444D}"/>
                </a:ext>
              </a:extLst>
            </p:cNvPr>
            <p:cNvCxnSpPr>
              <a:cxnSpLocks/>
            </p:cNvCxnSpPr>
            <p:nvPr userDrawn="1"/>
          </p:nvCxnSpPr>
          <p:spPr>
            <a:xfrm>
              <a:off x="6818479" y="2009211"/>
              <a:ext cx="0" cy="4057765"/>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sp>
        <p:nvSpPr>
          <p:cNvPr id="154" name="Vrije vorm 153">
            <a:extLst>
              <a:ext uri="{FF2B5EF4-FFF2-40B4-BE49-F238E27FC236}">
                <a16:creationId xmlns:a16="http://schemas.microsoft.com/office/drawing/2014/main" id="{C0902E77-316B-C548-A0DF-98BE72EB39CC}"/>
              </a:ext>
            </a:extLst>
          </p:cNvPr>
          <p:cNvSpPr/>
          <p:nvPr userDrawn="1"/>
        </p:nvSpPr>
        <p:spPr>
          <a:xfrm>
            <a:off x="0" y="5962615"/>
            <a:ext cx="12192000" cy="895384"/>
          </a:xfrm>
          <a:custGeom>
            <a:avLst/>
            <a:gdLst>
              <a:gd name="connsiteX0" fmla="*/ 12191999 w 12192000"/>
              <a:gd name="connsiteY0" fmla="*/ 0 h 895384"/>
              <a:gd name="connsiteX1" fmla="*/ 12191999 w 12192000"/>
              <a:gd name="connsiteY1" fmla="*/ 107966 h 895384"/>
              <a:gd name="connsiteX2" fmla="*/ 12192000 w 12192000"/>
              <a:gd name="connsiteY2" fmla="*/ 107966 h 895384"/>
              <a:gd name="connsiteX3" fmla="*/ 12192000 w 12192000"/>
              <a:gd name="connsiteY3" fmla="*/ 895384 h 895384"/>
              <a:gd name="connsiteX4" fmla="*/ 0 w 12192000"/>
              <a:gd name="connsiteY4" fmla="*/ 895384 h 895384"/>
              <a:gd name="connsiteX5" fmla="*/ 0 w 12192000"/>
              <a:gd name="connsiteY5" fmla="*/ 107966 h 895384"/>
              <a:gd name="connsiteX6" fmla="*/ 11953874 w 12192000"/>
              <a:gd name="connsiteY6" fmla="*/ 107966 h 89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895384">
                <a:moveTo>
                  <a:pt x="12191999" y="0"/>
                </a:moveTo>
                <a:lnTo>
                  <a:pt x="12191999" y="107966"/>
                </a:lnTo>
                <a:lnTo>
                  <a:pt x="12192000" y="107966"/>
                </a:lnTo>
                <a:lnTo>
                  <a:pt x="12192000" y="895384"/>
                </a:lnTo>
                <a:lnTo>
                  <a:pt x="0" y="895384"/>
                </a:lnTo>
                <a:lnTo>
                  <a:pt x="0" y="107966"/>
                </a:lnTo>
                <a:lnTo>
                  <a:pt x="11953874" y="10796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30" name="Rechthoek 29">
            <a:extLst>
              <a:ext uri="{FF2B5EF4-FFF2-40B4-BE49-F238E27FC236}">
                <a16:creationId xmlns:a16="http://schemas.microsoft.com/office/drawing/2014/main" id="{0843E241-E93D-8445-8CE0-DF6468918E75}"/>
              </a:ext>
            </a:extLst>
          </p:cNvPr>
          <p:cNvSpPr/>
          <p:nvPr userDrawn="1"/>
        </p:nvSpPr>
        <p:spPr>
          <a:xfrm>
            <a:off x="6046367"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1" name="Rechthoek 30">
            <a:extLst>
              <a:ext uri="{FF2B5EF4-FFF2-40B4-BE49-F238E27FC236}">
                <a16:creationId xmlns:a16="http://schemas.microsoft.com/office/drawing/2014/main" id="{AD79A547-A27F-B148-809B-3373CD24929D}"/>
              </a:ext>
            </a:extLst>
          </p:cNvPr>
          <p:cNvSpPr/>
          <p:nvPr userDrawn="1"/>
        </p:nvSpPr>
        <p:spPr>
          <a:xfrm>
            <a:off x="6764986"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Rechthoek 31">
            <a:extLst>
              <a:ext uri="{FF2B5EF4-FFF2-40B4-BE49-F238E27FC236}">
                <a16:creationId xmlns:a16="http://schemas.microsoft.com/office/drawing/2014/main" id="{AAE7EF1A-B46F-3D48-84FD-7298868A7936}"/>
              </a:ext>
            </a:extLst>
          </p:cNvPr>
          <p:cNvSpPr/>
          <p:nvPr userDrawn="1"/>
        </p:nvSpPr>
        <p:spPr>
          <a:xfrm>
            <a:off x="5327748"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Rechthoek 32">
            <a:extLst>
              <a:ext uri="{FF2B5EF4-FFF2-40B4-BE49-F238E27FC236}">
                <a16:creationId xmlns:a16="http://schemas.microsoft.com/office/drawing/2014/main" id="{CA63C914-A240-2745-B569-91B9A04FC774}"/>
              </a:ext>
            </a:extLst>
          </p:cNvPr>
          <p:cNvSpPr/>
          <p:nvPr userDrawn="1"/>
        </p:nvSpPr>
        <p:spPr>
          <a:xfrm>
            <a:off x="3890510"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Rechthoek 33">
            <a:extLst>
              <a:ext uri="{FF2B5EF4-FFF2-40B4-BE49-F238E27FC236}">
                <a16:creationId xmlns:a16="http://schemas.microsoft.com/office/drawing/2014/main" id="{9F935893-26FA-6540-800D-92E0E45DE9F9}"/>
              </a:ext>
            </a:extLst>
          </p:cNvPr>
          <p:cNvSpPr/>
          <p:nvPr userDrawn="1"/>
        </p:nvSpPr>
        <p:spPr>
          <a:xfrm>
            <a:off x="4609129"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Rechthoek 34">
            <a:extLst>
              <a:ext uri="{FF2B5EF4-FFF2-40B4-BE49-F238E27FC236}">
                <a16:creationId xmlns:a16="http://schemas.microsoft.com/office/drawing/2014/main" id="{95F895DA-5506-D343-A914-0D92E3609735}"/>
              </a:ext>
            </a:extLst>
          </p:cNvPr>
          <p:cNvSpPr/>
          <p:nvPr userDrawn="1"/>
        </p:nvSpPr>
        <p:spPr>
          <a:xfrm>
            <a:off x="3171891"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Rechthoek 35">
            <a:extLst>
              <a:ext uri="{FF2B5EF4-FFF2-40B4-BE49-F238E27FC236}">
                <a16:creationId xmlns:a16="http://schemas.microsoft.com/office/drawing/2014/main" id="{121A1C68-E204-1840-B61F-941A7A111A4F}"/>
              </a:ext>
            </a:extLst>
          </p:cNvPr>
          <p:cNvSpPr/>
          <p:nvPr userDrawn="1"/>
        </p:nvSpPr>
        <p:spPr>
          <a:xfrm>
            <a:off x="1734653"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7" name="Rechthoek 36">
            <a:extLst>
              <a:ext uri="{FF2B5EF4-FFF2-40B4-BE49-F238E27FC236}">
                <a16:creationId xmlns:a16="http://schemas.microsoft.com/office/drawing/2014/main" id="{CF0E8064-D5B7-044B-8E4E-9B855A0D894E}"/>
              </a:ext>
            </a:extLst>
          </p:cNvPr>
          <p:cNvSpPr/>
          <p:nvPr userDrawn="1"/>
        </p:nvSpPr>
        <p:spPr>
          <a:xfrm>
            <a:off x="2453272"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Rechthoek 37">
            <a:extLst>
              <a:ext uri="{FF2B5EF4-FFF2-40B4-BE49-F238E27FC236}">
                <a16:creationId xmlns:a16="http://schemas.microsoft.com/office/drawing/2014/main" id="{F6F87D09-D605-864E-BAD4-DA201A1A60B5}"/>
              </a:ext>
            </a:extLst>
          </p:cNvPr>
          <p:cNvSpPr/>
          <p:nvPr userDrawn="1"/>
        </p:nvSpPr>
        <p:spPr>
          <a:xfrm>
            <a:off x="1016034"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Rechthoek 38">
            <a:extLst>
              <a:ext uri="{FF2B5EF4-FFF2-40B4-BE49-F238E27FC236}">
                <a16:creationId xmlns:a16="http://schemas.microsoft.com/office/drawing/2014/main" id="{1FACFF14-C090-CC41-AA7D-0D8DEB546AC8}"/>
              </a:ext>
            </a:extLst>
          </p:cNvPr>
          <p:cNvSpPr/>
          <p:nvPr userDrawn="1"/>
        </p:nvSpPr>
        <p:spPr>
          <a:xfrm>
            <a:off x="297415"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Rechthoek 39">
            <a:extLst>
              <a:ext uri="{FF2B5EF4-FFF2-40B4-BE49-F238E27FC236}">
                <a16:creationId xmlns:a16="http://schemas.microsoft.com/office/drawing/2014/main" id="{E9AEA145-07EA-3144-807B-D2DC8C8924DE}"/>
              </a:ext>
            </a:extLst>
          </p:cNvPr>
          <p:cNvSpPr/>
          <p:nvPr userDrawn="1"/>
        </p:nvSpPr>
        <p:spPr>
          <a:xfrm>
            <a:off x="7483605"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Rechthoek 40">
            <a:extLst>
              <a:ext uri="{FF2B5EF4-FFF2-40B4-BE49-F238E27FC236}">
                <a16:creationId xmlns:a16="http://schemas.microsoft.com/office/drawing/2014/main" id="{A5F264FA-6E92-B542-8C59-C66A9AAE3098}"/>
              </a:ext>
            </a:extLst>
          </p:cNvPr>
          <p:cNvSpPr/>
          <p:nvPr userDrawn="1"/>
        </p:nvSpPr>
        <p:spPr>
          <a:xfrm>
            <a:off x="8202224"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hoek 42">
            <a:extLst>
              <a:ext uri="{FF2B5EF4-FFF2-40B4-BE49-F238E27FC236}">
                <a16:creationId xmlns:a16="http://schemas.microsoft.com/office/drawing/2014/main" id="{71A573F0-E26F-604D-9941-C3CF9C05A5B4}"/>
              </a:ext>
            </a:extLst>
          </p:cNvPr>
          <p:cNvSpPr/>
          <p:nvPr userDrawn="1"/>
        </p:nvSpPr>
        <p:spPr>
          <a:xfrm>
            <a:off x="6046367"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Rechthoek 43">
            <a:extLst>
              <a:ext uri="{FF2B5EF4-FFF2-40B4-BE49-F238E27FC236}">
                <a16:creationId xmlns:a16="http://schemas.microsoft.com/office/drawing/2014/main" id="{C391B043-EB75-AC4C-9C20-42F7719F8852}"/>
              </a:ext>
            </a:extLst>
          </p:cNvPr>
          <p:cNvSpPr/>
          <p:nvPr userDrawn="1"/>
        </p:nvSpPr>
        <p:spPr>
          <a:xfrm>
            <a:off x="6764986"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Rechthoek 44">
            <a:extLst>
              <a:ext uri="{FF2B5EF4-FFF2-40B4-BE49-F238E27FC236}">
                <a16:creationId xmlns:a16="http://schemas.microsoft.com/office/drawing/2014/main" id="{33D1DE09-726C-6341-999D-840021A448AD}"/>
              </a:ext>
            </a:extLst>
          </p:cNvPr>
          <p:cNvSpPr/>
          <p:nvPr userDrawn="1"/>
        </p:nvSpPr>
        <p:spPr>
          <a:xfrm>
            <a:off x="5327748"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Rechthoek 45">
            <a:extLst>
              <a:ext uri="{FF2B5EF4-FFF2-40B4-BE49-F238E27FC236}">
                <a16:creationId xmlns:a16="http://schemas.microsoft.com/office/drawing/2014/main" id="{FAEB82A8-4541-0641-9FBB-D9E6740C9240}"/>
              </a:ext>
            </a:extLst>
          </p:cNvPr>
          <p:cNvSpPr/>
          <p:nvPr userDrawn="1"/>
        </p:nvSpPr>
        <p:spPr>
          <a:xfrm>
            <a:off x="3890510"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Rechthoek 46">
            <a:extLst>
              <a:ext uri="{FF2B5EF4-FFF2-40B4-BE49-F238E27FC236}">
                <a16:creationId xmlns:a16="http://schemas.microsoft.com/office/drawing/2014/main" id="{4F4A2FEF-2A3C-3A44-B529-5D3FA211CF0E}"/>
              </a:ext>
            </a:extLst>
          </p:cNvPr>
          <p:cNvSpPr/>
          <p:nvPr userDrawn="1"/>
        </p:nvSpPr>
        <p:spPr>
          <a:xfrm>
            <a:off x="4609129"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8" name="Rechthoek 47">
            <a:extLst>
              <a:ext uri="{FF2B5EF4-FFF2-40B4-BE49-F238E27FC236}">
                <a16:creationId xmlns:a16="http://schemas.microsoft.com/office/drawing/2014/main" id="{E1354054-A88A-0343-A87B-8F52E23695BD}"/>
              </a:ext>
            </a:extLst>
          </p:cNvPr>
          <p:cNvSpPr/>
          <p:nvPr userDrawn="1"/>
        </p:nvSpPr>
        <p:spPr>
          <a:xfrm>
            <a:off x="3171891"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9" name="Rechthoek 48">
            <a:extLst>
              <a:ext uri="{FF2B5EF4-FFF2-40B4-BE49-F238E27FC236}">
                <a16:creationId xmlns:a16="http://schemas.microsoft.com/office/drawing/2014/main" id="{B08DD33E-8138-3449-BE46-E5DC5BB022FC}"/>
              </a:ext>
            </a:extLst>
          </p:cNvPr>
          <p:cNvSpPr/>
          <p:nvPr userDrawn="1"/>
        </p:nvSpPr>
        <p:spPr>
          <a:xfrm>
            <a:off x="1734653"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0" name="Rechthoek 49">
            <a:extLst>
              <a:ext uri="{FF2B5EF4-FFF2-40B4-BE49-F238E27FC236}">
                <a16:creationId xmlns:a16="http://schemas.microsoft.com/office/drawing/2014/main" id="{92E1D343-2A3B-064B-BBC7-AD10C832DE6F}"/>
              </a:ext>
            </a:extLst>
          </p:cNvPr>
          <p:cNvSpPr/>
          <p:nvPr userDrawn="1"/>
        </p:nvSpPr>
        <p:spPr>
          <a:xfrm>
            <a:off x="2453272"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1" name="Rechthoek 50">
            <a:extLst>
              <a:ext uri="{FF2B5EF4-FFF2-40B4-BE49-F238E27FC236}">
                <a16:creationId xmlns:a16="http://schemas.microsoft.com/office/drawing/2014/main" id="{BCA929E6-071D-BC47-ABBA-0F54BCF08A98}"/>
              </a:ext>
            </a:extLst>
          </p:cNvPr>
          <p:cNvSpPr/>
          <p:nvPr userDrawn="1"/>
        </p:nvSpPr>
        <p:spPr>
          <a:xfrm>
            <a:off x="1016034"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Rechthoek 51">
            <a:extLst>
              <a:ext uri="{FF2B5EF4-FFF2-40B4-BE49-F238E27FC236}">
                <a16:creationId xmlns:a16="http://schemas.microsoft.com/office/drawing/2014/main" id="{41F35419-1F69-554D-83E8-5B9C6E6540C4}"/>
              </a:ext>
            </a:extLst>
          </p:cNvPr>
          <p:cNvSpPr/>
          <p:nvPr userDrawn="1"/>
        </p:nvSpPr>
        <p:spPr>
          <a:xfrm>
            <a:off x="297415"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hthoek 52">
            <a:extLst>
              <a:ext uri="{FF2B5EF4-FFF2-40B4-BE49-F238E27FC236}">
                <a16:creationId xmlns:a16="http://schemas.microsoft.com/office/drawing/2014/main" id="{3FB2D57A-36C2-784C-869D-CCF4F624D61A}"/>
              </a:ext>
            </a:extLst>
          </p:cNvPr>
          <p:cNvSpPr/>
          <p:nvPr userDrawn="1"/>
        </p:nvSpPr>
        <p:spPr>
          <a:xfrm>
            <a:off x="7483605"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Rechthoek 54">
            <a:extLst>
              <a:ext uri="{FF2B5EF4-FFF2-40B4-BE49-F238E27FC236}">
                <a16:creationId xmlns:a16="http://schemas.microsoft.com/office/drawing/2014/main" id="{7CF217BD-864C-AB4C-908D-95388151AD9D}"/>
              </a:ext>
            </a:extLst>
          </p:cNvPr>
          <p:cNvSpPr/>
          <p:nvPr userDrawn="1"/>
        </p:nvSpPr>
        <p:spPr>
          <a:xfrm>
            <a:off x="6046367"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Rechthoek 55">
            <a:extLst>
              <a:ext uri="{FF2B5EF4-FFF2-40B4-BE49-F238E27FC236}">
                <a16:creationId xmlns:a16="http://schemas.microsoft.com/office/drawing/2014/main" id="{A96E1BBE-C7A3-804E-8970-E35A54197280}"/>
              </a:ext>
            </a:extLst>
          </p:cNvPr>
          <p:cNvSpPr/>
          <p:nvPr userDrawn="1"/>
        </p:nvSpPr>
        <p:spPr>
          <a:xfrm>
            <a:off x="6764986"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hthoek 56">
            <a:extLst>
              <a:ext uri="{FF2B5EF4-FFF2-40B4-BE49-F238E27FC236}">
                <a16:creationId xmlns:a16="http://schemas.microsoft.com/office/drawing/2014/main" id="{13501DFA-0001-0C44-8B90-5ABC5B443447}"/>
              </a:ext>
            </a:extLst>
          </p:cNvPr>
          <p:cNvSpPr/>
          <p:nvPr userDrawn="1"/>
        </p:nvSpPr>
        <p:spPr>
          <a:xfrm>
            <a:off x="5327748"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Rechthoek 57">
            <a:extLst>
              <a:ext uri="{FF2B5EF4-FFF2-40B4-BE49-F238E27FC236}">
                <a16:creationId xmlns:a16="http://schemas.microsoft.com/office/drawing/2014/main" id="{04D8DE7B-D0DB-4C4C-839D-F676A60A90D8}"/>
              </a:ext>
            </a:extLst>
          </p:cNvPr>
          <p:cNvSpPr/>
          <p:nvPr userDrawn="1"/>
        </p:nvSpPr>
        <p:spPr>
          <a:xfrm>
            <a:off x="3890510"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hthoek 58">
            <a:extLst>
              <a:ext uri="{FF2B5EF4-FFF2-40B4-BE49-F238E27FC236}">
                <a16:creationId xmlns:a16="http://schemas.microsoft.com/office/drawing/2014/main" id="{2367FD78-54F8-9849-810F-ABFCB5A5241B}"/>
              </a:ext>
            </a:extLst>
          </p:cNvPr>
          <p:cNvSpPr/>
          <p:nvPr userDrawn="1"/>
        </p:nvSpPr>
        <p:spPr>
          <a:xfrm>
            <a:off x="4609129"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0" name="Rechthoek 59">
            <a:extLst>
              <a:ext uri="{FF2B5EF4-FFF2-40B4-BE49-F238E27FC236}">
                <a16:creationId xmlns:a16="http://schemas.microsoft.com/office/drawing/2014/main" id="{F35202B4-F428-4B4C-BAA6-DB0A12CA42D9}"/>
              </a:ext>
            </a:extLst>
          </p:cNvPr>
          <p:cNvSpPr/>
          <p:nvPr userDrawn="1"/>
        </p:nvSpPr>
        <p:spPr>
          <a:xfrm>
            <a:off x="3171891"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hthoek 60">
            <a:extLst>
              <a:ext uri="{FF2B5EF4-FFF2-40B4-BE49-F238E27FC236}">
                <a16:creationId xmlns:a16="http://schemas.microsoft.com/office/drawing/2014/main" id="{CBE1823C-8A1E-7D4E-8899-511CD52A9303}"/>
              </a:ext>
            </a:extLst>
          </p:cNvPr>
          <p:cNvSpPr/>
          <p:nvPr userDrawn="1"/>
        </p:nvSpPr>
        <p:spPr>
          <a:xfrm>
            <a:off x="1734653"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2" name="Rechthoek 61">
            <a:extLst>
              <a:ext uri="{FF2B5EF4-FFF2-40B4-BE49-F238E27FC236}">
                <a16:creationId xmlns:a16="http://schemas.microsoft.com/office/drawing/2014/main" id="{0FF17A95-5C32-754C-B3E2-12F2507F6A43}"/>
              </a:ext>
            </a:extLst>
          </p:cNvPr>
          <p:cNvSpPr/>
          <p:nvPr userDrawn="1"/>
        </p:nvSpPr>
        <p:spPr>
          <a:xfrm>
            <a:off x="2453272"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3" name="Rechthoek 62">
            <a:extLst>
              <a:ext uri="{FF2B5EF4-FFF2-40B4-BE49-F238E27FC236}">
                <a16:creationId xmlns:a16="http://schemas.microsoft.com/office/drawing/2014/main" id="{FC953C7C-C797-354D-BD11-776152287FB9}"/>
              </a:ext>
            </a:extLst>
          </p:cNvPr>
          <p:cNvSpPr/>
          <p:nvPr userDrawn="1"/>
        </p:nvSpPr>
        <p:spPr>
          <a:xfrm>
            <a:off x="1016034"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4" name="Rechthoek 63">
            <a:extLst>
              <a:ext uri="{FF2B5EF4-FFF2-40B4-BE49-F238E27FC236}">
                <a16:creationId xmlns:a16="http://schemas.microsoft.com/office/drawing/2014/main" id="{2576EBDF-5637-A94A-ABF7-4A2F8A15E89A}"/>
              </a:ext>
            </a:extLst>
          </p:cNvPr>
          <p:cNvSpPr/>
          <p:nvPr userDrawn="1"/>
        </p:nvSpPr>
        <p:spPr>
          <a:xfrm>
            <a:off x="297415"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5" name="Rechthoek 64">
            <a:extLst>
              <a:ext uri="{FF2B5EF4-FFF2-40B4-BE49-F238E27FC236}">
                <a16:creationId xmlns:a16="http://schemas.microsoft.com/office/drawing/2014/main" id="{E4D3AEA9-6447-4B4E-B9B7-75FDB54BFF49}"/>
              </a:ext>
            </a:extLst>
          </p:cNvPr>
          <p:cNvSpPr/>
          <p:nvPr userDrawn="1"/>
        </p:nvSpPr>
        <p:spPr>
          <a:xfrm>
            <a:off x="7483605"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0" name="Rechthoek 69">
            <a:extLst>
              <a:ext uri="{FF2B5EF4-FFF2-40B4-BE49-F238E27FC236}">
                <a16:creationId xmlns:a16="http://schemas.microsoft.com/office/drawing/2014/main" id="{6CB30F61-3A27-0E42-803C-6ABE464877E9}"/>
              </a:ext>
            </a:extLst>
          </p:cNvPr>
          <p:cNvSpPr/>
          <p:nvPr userDrawn="1"/>
        </p:nvSpPr>
        <p:spPr>
          <a:xfrm>
            <a:off x="7483605"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1" name="Rechthoek 70">
            <a:extLst>
              <a:ext uri="{FF2B5EF4-FFF2-40B4-BE49-F238E27FC236}">
                <a16:creationId xmlns:a16="http://schemas.microsoft.com/office/drawing/2014/main" id="{A872E4B1-D02A-4444-B351-0D506C1FDFC8}"/>
              </a:ext>
            </a:extLst>
          </p:cNvPr>
          <p:cNvSpPr/>
          <p:nvPr userDrawn="1"/>
        </p:nvSpPr>
        <p:spPr>
          <a:xfrm>
            <a:off x="8202224"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2" name="Rechthoek 71">
            <a:extLst>
              <a:ext uri="{FF2B5EF4-FFF2-40B4-BE49-F238E27FC236}">
                <a16:creationId xmlns:a16="http://schemas.microsoft.com/office/drawing/2014/main" id="{2A4027DC-A368-754E-A85D-1F26C759AFDC}"/>
              </a:ext>
            </a:extLst>
          </p:cNvPr>
          <p:cNvSpPr/>
          <p:nvPr userDrawn="1"/>
        </p:nvSpPr>
        <p:spPr>
          <a:xfrm>
            <a:off x="8920843"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3" name="Rechthoek 72">
            <a:extLst>
              <a:ext uri="{FF2B5EF4-FFF2-40B4-BE49-F238E27FC236}">
                <a16:creationId xmlns:a16="http://schemas.microsoft.com/office/drawing/2014/main" id="{375454C8-AC7F-3744-960C-34163B74CB1A}"/>
              </a:ext>
            </a:extLst>
          </p:cNvPr>
          <p:cNvSpPr/>
          <p:nvPr userDrawn="1"/>
        </p:nvSpPr>
        <p:spPr>
          <a:xfrm>
            <a:off x="9639462"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4" name="Rechthoek 73">
            <a:extLst>
              <a:ext uri="{FF2B5EF4-FFF2-40B4-BE49-F238E27FC236}">
                <a16:creationId xmlns:a16="http://schemas.microsoft.com/office/drawing/2014/main" id="{CBB8B2D2-2F54-3C4E-8C9F-0D212FC7525E}"/>
              </a:ext>
            </a:extLst>
          </p:cNvPr>
          <p:cNvSpPr/>
          <p:nvPr userDrawn="1"/>
        </p:nvSpPr>
        <p:spPr>
          <a:xfrm>
            <a:off x="10358081"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8" name="Rechthoek 77">
            <a:extLst>
              <a:ext uri="{FF2B5EF4-FFF2-40B4-BE49-F238E27FC236}">
                <a16:creationId xmlns:a16="http://schemas.microsoft.com/office/drawing/2014/main" id="{AB4D2F75-761F-8947-99D1-88572C7947C6}"/>
              </a:ext>
            </a:extLst>
          </p:cNvPr>
          <p:cNvSpPr/>
          <p:nvPr userDrawn="1"/>
        </p:nvSpPr>
        <p:spPr>
          <a:xfrm>
            <a:off x="7483605"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9" name="Rechthoek 78">
            <a:extLst>
              <a:ext uri="{FF2B5EF4-FFF2-40B4-BE49-F238E27FC236}">
                <a16:creationId xmlns:a16="http://schemas.microsoft.com/office/drawing/2014/main" id="{01E6BBFB-1EFE-AF44-9E6C-7EA4F897CCA1}"/>
              </a:ext>
            </a:extLst>
          </p:cNvPr>
          <p:cNvSpPr/>
          <p:nvPr userDrawn="1"/>
        </p:nvSpPr>
        <p:spPr>
          <a:xfrm>
            <a:off x="8202224"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0" name="Rechthoek 79">
            <a:extLst>
              <a:ext uri="{FF2B5EF4-FFF2-40B4-BE49-F238E27FC236}">
                <a16:creationId xmlns:a16="http://schemas.microsoft.com/office/drawing/2014/main" id="{A5F844CB-9D5A-3940-8DA2-BB2D6D172F13}"/>
              </a:ext>
            </a:extLst>
          </p:cNvPr>
          <p:cNvSpPr/>
          <p:nvPr userDrawn="1"/>
        </p:nvSpPr>
        <p:spPr>
          <a:xfrm>
            <a:off x="8920843"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1" name="Rechthoek 80">
            <a:extLst>
              <a:ext uri="{FF2B5EF4-FFF2-40B4-BE49-F238E27FC236}">
                <a16:creationId xmlns:a16="http://schemas.microsoft.com/office/drawing/2014/main" id="{6EF32E3F-BCD0-9A49-AAAC-7419A5D2A78D}"/>
              </a:ext>
            </a:extLst>
          </p:cNvPr>
          <p:cNvSpPr/>
          <p:nvPr userDrawn="1"/>
        </p:nvSpPr>
        <p:spPr>
          <a:xfrm>
            <a:off x="9639462"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Rechthoek 81">
            <a:extLst>
              <a:ext uri="{FF2B5EF4-FFF2-40B4-BE49-F238E27FC236}">
                <a16:creationId xmlns:a16="http://schemas.microsoft.com/office/drawing/2014/main" id="{2F0231DE-AF5E-304F-84B8-2AD86B559B83}"/>
              </a:ext>
            </a:extLst>
          </p:cNvPr>
          <p:cNvSpPr/>
          <p:nvPr userDrawn="1"/>
        </p:nvSpPr>
        <p:spPr>
          <a:xfrm>
            <a:off x="10358081"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4" name="Rechthoek 93">
            <a:extLst>
              <a:ext uri="{FF2B5EF4-FFF2-40B4-BE49-F238E27FC236}">
                <a16:creationId xmlns:a16="http://schemas.microsoft.com/office/drawing/2014/main" id="{5954A7C6-9693-3549-9952-7E45482EDB8B}"/>
              </a:ext>
            </a:extLst>
          </p:cNvPr>
          <p:cNvSpPr/>
          <p:nvPr userDrawn="1"/>
        </p:nvSpPr>
        <p:spPr>
          <a:xfrm>
            <a:off x="7483605" y="2623206"/>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5" name="Rechthoek 94">
            <a:extLst>
              <a:ext uri="{FF2B5EF4-FFF2-40B4-BE49-F238E27FC236}">
                <a16:creationId xmlns:a16="http://schemas.microsoft.com/office/drawing/2014/main" id="{F27380EA-1F5B-CA46-A13F-EFFA97380368}"/>
              </a:ext>
            </a:extLst>
          </p:cNvPr>
          <p:cNvSpPr/>
          <p:nvPr userDrawn="1"/>
        </p:nvSpPr>
        <p:spPr>
          <a:xfrm>
            <a:off x="8202224" y="2623206"/>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6" name="Rechthoek 95">
            <a:extLst>
              <a:ext uri="{FF2B5EF4-FFF2-40B4-BE49-F238E27FC236}">
                <a16:creationId xmlns:a16="http://schemas.microsoft.com/office/drawing/2014/main" id="{FF56E1CF-015A-4947-95D3-464FD24716CF}"/>
              </a:ext>
            </a:extLst>
          </p:cNvPr>
          <p:cNvSpPr/>
          <p:nvPr userDrawn="1"/>
        </p:nvSpPr>
        <p:spPr>
          <a:xfrm>
            <a:off x="8920843" y="2623206"/>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7" name="Rechthoek 96">
            <a:extLst>
              <a:ext uri="{FF2B5EF4-FFF2-40B4-BE49-F238E27FC236}">
                <a16:creationId xmlns:a16="http://schemas.microsoft.com/office/drawing/2014/main" id="{F2231E1F-3F7F-1C43-AB61-3E7E502869B2}"/>
              </a:ext>
            </a:extLst>
          </p:cNvPr>
          <p:cNvSpPr/>
          <p:nvPr userDrawn="1"/>
        </p:nvSpPr>
        <p:spPr>
          <a:xfrm>
            <a:off x="9639462" y="2623206"/>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0" name="Rechthoek 99">
            <a:extLst>
              <a:ext uri="{FF2B5EF4-FFF2-40B4-BE49-F238E27FC236}">
                <a16:creationId xmlns:a16="http://schemas.microsoft.com/office/drawing/2014/main" id="{4458D0BE-A164-F04A-84D0-C719D74E5134}"/>
              </a:ext>
            </a:extLst>
          </p:cNvPr>
          <p:cNvSpPr/>
          <p:nvPr userDrawn="1"/>
        </p:nvSpPr>
        <p:spPr>
          <a:xfrm>
            <a:off x="7483605"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1" name="Rechthoek 100">
            <a:extLst>
              <a:ext uri="{FF2B5EF4-FFF2-40B4-BE49-F238E27FC236}">
                <a16:creationId xmlns:a16="http://schemas.microsoft.com/office/drawing/2014/main" id="{C9FF3819-5C14-9A4B-8D39-3A0ABF423618}"/>
              </a:ext>
            </a:extLst>
          </p:cNvPr>
          <p:cNvSpPr/>
          <p:nvPr userDrawn="1"/>
        </p:nvSpPr>
        <p:spPr>
          <a:xfrm>
            <a:off x="8202224"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2" name="Rechthoek 101">
            <a:extLst>
              <a:ext uri="{FF2B5EF4-FFF2-40B4-BE49-F238E27FC236}">
                <a16:creationId xmlns:a16="http://schemas.microsoft.com/office/drawing/2014/main" id="{1250A295-3C96-5E46-8777-9433B8E1E6D0}"/>
              </a:ext>
            </a:extLst>
          </p:cNvPr>
          <p:cNvSpPr/>
          <p:nvPr userDrawn="1"/>
        </p:nvSpPr>
        <p:spPr>
          <a:xfrm>
            <a:off x="8920843"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3" name="Rechthoek 102">
            <a:extLst>
              <a:ext uri="{FF2B5EF4-FFF2-40B4-BE49-F238E27FC236}">
                <a16:creationId xmlns:a16="http://schemas.microsoft.com/office/drawing/2014/main" id="{806F4CCB-BCCB-B841-B969-BD56E00641EB}"/>
              </a:ext>
            </a:extLst>
          </p:cNvPr>
          <p:cNvSpPr/>
          <p:nvPr userDrawn="1"/>
        </p:nvSpPr>
        <p:spPr>
          <a:xfrm>
            <a:off x="9639462"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4" name="Rechthoek 103">
            <a:extLst>
              <a:ext uri="{FF2B5EF4-FFF2-40B4-BE49-F238E27FC236}">
                <a16:creationId xmlns:a16="http://schemas.microsoft.com/office/drawing/2014/main" id="{03D3E625-FB6C-D842-A109-C88E19DB7E79}"/>
              </a:ext>
            </a:extLst>
          </p:cNvPr>
          <p:cNvSpPr/>
          <p:nvPr userDrawn="1"/>
        </p:nvSpPr>
        <p:spPr>
          <a:xfrm>
            <a:off x="10358081"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5" name="Rechthoek 104">
            <a:extLst>
              <a:ext uri="{FF2B5EF4-FFF2-40B4-BE49-F238E27FC236}">
                <a16:creationId xmlns:a16="http://schemas.microsoft.com/office/drawing/2014/main" id="{180FF53F-5D62-C440-9FD2-77A2B37D133F}"/>
              </a:ext>
            </a:extLst>
          </p:cNvPr>
          <p:cNvSpPr/>
          <p:nvPr userDrawn="1"/>
        </p:nvSpPr>
        <p:spPr>
          <a:xfrm>
            <a:off x="11076700"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6" name="Rechthoek 105">
            <a:extLst>
              <a:ext uri="{FF2B5EF4-FFF2-40B4-BE49-F238E27FC236}">
                <a16:creationId xmlns:a16="http://schemas.microsoft.com/office/drawing/2014/main" id="{380C17DC-8BB0-6B48-968C-D008C62C7BA2}"/>
              </a:ext>
            </a:extLst>
          </p:cNvPr>
          <p:cNvSpPr/>
          <p:nvPr userDrawn="1"/>
        </p:nvSpPr>
        <p:spPr>
          <a:xfrm>
            <a:off x="11795326"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0" name="Rechthoek 109">
            <a:extLst>
              <a:ext uri="{FF2B5EF4-FFF2-40B4-BE49-F238E27FC236}">
                <a16:creationId xmlns:a16="http://schemas.microsoft.com/office/drawing/2014/main" id="{E757839B-6183-8144-BE5B-46EE2CBB7469}"/>
              </a:ext>
            </a:extLst>
          </p:cNvPr>
          <p:cNvSpPr/>
          <p:nvPr userDrawn="1"/>
        </p:nvSpPr>
        <p:spPr>
          <a:xfrm>
            <a:off x="7483605"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1" name="Rechthoek 110">
            <a:extLst>
              <a:ext uri="{FF2B5EF4-FFF2-40B4-BE49-F238E27FC236}">
                <a16:creationId xmlns:a16="http://schemas.microsoft.com/office/drawing/2014/main" id="{A9370DB2-82AD-2A46-BB97-3685094C3EB0}"/>
              </a:ext>
            </a:extLst>
          </p:cNvPr>
          <p:cNvSpPr/>
          <p:nvPr userDrawn="1"/>
        </p:nvSpPr>
        <p:spPr>
          <a:xfrm>
            <a:off x="8202224"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2" name="Rechthoek 111">
            <a:extLst>
              <a:ext uri="{FF2B5EF4-FFF2-40B4-BE49-F238E27FC236}">
                <a16:creationId xmlns:a16="http://schemas.microsoft.com/office/drawing/2014/main" id="{F489BB25-8D0F-9346-AB3D-39BADF9F6058}"/>
              </a:ext>
            </a:extLst>
          </p:cNvPr>
          <p:cNvSpPr/>
          <p:nvPr userDrawn="1"/>
        </p:nvSpPr>
        <p:spPr>
          <a:xfrm>
            <a:off x="8920843"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3" name="Rechthoek 112">
            <a:extLst>
              <a:ext uri="{FF2B5EF4-FFF2-40B4-BE49-F238E27FC236}">
                <a16:creationId xmlns:a16="http://schemas.microsoft.com/office/drawing/2014/main" id="{55A0D827-F304-6D45-ACD3-825897EAFBAC}"/>
              </a:ext>
            </a:extLst>
          </p:cNvPr>
          <p:cNvSpPr/>
          <p:nvPr userDrawn="1"/>
        </p:nvSpPr>
        <p:spPr>
          <a:xfrm>
            <a:off x="9639462"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4" name="Rechthoek 113">
            <a:extLst>
              <a:ext uri="{FF2B5EF4-FFF2-40B4-BE49-F238E27FC236}">
                <a16:creationId xmlns:a16="http://schemas.microsoft.com/office/drawing/2014/main" id="{C068AE08-99A1-7D4D-97E1-E2BFF462F174}"/>
              </a:ext>
            </a:extLst>
          </p:cNvPr>
          <p:cNvSpPr/>
          <p:nvPr userDrawn="1"/>
        </p:nvSpPr>
        <p:spPr>
          <a:xfrm>
            <a:off x="10358081"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5" name="Rechthoek 114">
            <a:extLst>
              <a:ext uri="{FF2B5EF4-FFF2-40B4-BE49-F238E27FC236}">
                <a16:creationId xmlns:a16="http://schemas.microsoft.com/office/drawing/2014/main" id="{83E07369-0BAF-E449-94AA-05C93F2F6B13}"/>
              </a:ext>
            </a:extLst>
          </p:cNvPr>
          <p:cNvSpPr/>
          <p:nvPr userDrawn="1"/>
        </p:nvSpPr>
        <p:spPr>
          <a:xfrm>
            <a:off x="11076700"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6" name="Rechthoek 115">
            <a:extLst>
              <a:ext uri="{FF2B5EF4-FFF2-40B4-BE49-F238E27FC236}">
                <a16:creationId xmlns:a16="http://schemas.microsoft.com/office/drawing/2014/main" id="{A84E5EE5-FFD3-B14C-BB93-59BDAAFD8D91}"/>
              </a:ext>
            </a:extLst>
          </p:cNvPr>
          <p:cNvSpPr/>
          <p:nvPr userDrawn="1"/>
        </p:nvSpPr>
        <p:spPr>
          <a:xfrm>
            <a:off x="11795326"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28" name="Ovaal 127">
            <a:extLst>
              <a:ext uri="{FF2B5EF4-FFF2-40B4-BE49-F238E27FC236}">
                <a16:creationId xmlns:a16="http://schemas.microsoft.com/office/drawing/2014/main" id="{C8B441F9-F3D4-F943-A778-44E7B5399ED4}"/>
              </a:ext>
            </a:extLst>
          </p:cNvPr>
          <p:cNvSpPr/>
          <p:nvPr userDrawn="1"/>
        </p:nvSpPr>
        <p:spPr>
          <a:xfrm>
            <a:off x="9612898" y="1877219"/>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29" name="Ovaal 128">
            <a:extLst>
              <a:ext uri="{FF2B5EF4-FFF2-40B4-BE49-F238E27FC236}">
                <a16:creationId xmlns:a16="http://schemas.microsoft.com/office/drawing/2014/main" id="{FED21BBF-9F1D-8345-ABC7-475568A9C93A}"/>
              </a:ext>
            </a:extLst>
          </p:cNvPr>
          <p:cNvSpPr/>
          <p:nvPr userDrawn="1"/>
        </p:nvSpPr>
        <p:spPr>
          <a:xfrm>
            <a:off x="9571334" y="1119611"/>
            <a:ext cx="240146" cy="2401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0" name="Ovaal 129">
            <a:extLst>
              <a:ext uri="{FF2B5EF4-FFF2-40B4-BE49-F238E27FC236}">
                <a16:creationId xmlns:a16="http://schemas.microsoft.com/office/drawing/2014/main" id="{5A0FA6A2-2992-6343-BF45-102D488AA69C}"/>
              </a:ext>
            </a:extLst>
          </p:cNvPr>
          <p:cNvSpPr/>
          <p:nvPr userDrawn="1"/>
        </p:nvSpPr>
        <p:spPr>
          <a:xfrm>
            <a:off x="9522843" y="348597"/>
            <a:ext cx="337128" cy="3371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1" name="Ovaal 130">
            <a:extLst>
              <a:ext uri="{FF2B5EF4-FFF2-40B4-BE49-F238E27FC236}">
                <a16:creationId xmlns:a16="http://schemas.microsoft.com/office/drawing/2014/main" id="{BB10A178-2A3D-2F40-9C72-3C6B245804A4}"/>
              </a:ext>
            </a:extLst>
          </p:cNvPr>
          <p:cNvSpPr/>
          <p:nvPr userDrawn="1"/>
        </p:nvSpPr>
        <p:spPr>
          <a:xfrm>
            <a:off x="8853936" y="397088"/>
            <a:ext cx="240146" cy="2401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2" name="Ovaal 131">
            <a:extLst>
              <a:ext uri="{FF2B5EF4-FFF2-40B4-BE49-F238E27FC236}">
                <a16:creationId xmlns:a16="http://schemas.microsoft.com/office/drawing/2014/main" id="{0DBE8DA3-EA8A-F04D-A074-500253759E94}"/>
              </a:ext>
            </a:extLst>
          </p:cNvPr>
          <p:cNvSpPr/>
          <p:nvPr userDrawn="1"/>
        </p:nvSpPr>
        <p:spPr>
          <a:xfrm>
            <a:off x="8895500" y="1161175"/>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3" name="Ovaal 132">
            <a:extLst>
              <a:ext uri="{FF2B5EF4-FFF2-40B4-BE49-F238E27FC236}">
                <a16:creationId xmlns:a16="http://schemas.microsoft.com/office/drawing/2014/main" id="{C31E7AF1-8C1F-3E4B-9E49-0B5E891B0FD5}"/>
              </a:ext>
            </a:extLst>
          </p:cNvPr>
          <p:cNvSpPr/>
          <p:nvPr userDrawn="1"/>
        </p:nvSpPr>
        <p:spPr>
          <a:xfrm>
            <a:off x="8177720" y="1161175"/>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4" name="Ovaal 133">
            <a:extLst>
              <a:ext uri="{FF2B5EF4-FFF2-40B4-BE49-F238E27FC236}">
                <a16:creationId xmlns:a16="http://schemas.microsoft.com/office/drawing/2014/main" id="{DF7666BC-022A-8C46-ACC4-A71C36E94516}"/>
              </a:ext>
            </a:extLst>
          </p:cNvPr>
          <p:cNvSpPr/>
          <p:nvPr userDrawn="1"/>
        </p:nvSpPr>
        <p:spPr>
          <a:xfrm>
            <a:off x="8177720" y="438652"/>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5" name="Ovaal 134">
            <a:extLst>
              <a:ext uri="{FF2B5EF4-FFF2-40B4-BE49-F238E27FC236}">
                <a16:creationId xmlns:a16="http://schemas.microsoft.com/office/drawing/2014/main" id="{C0982F5C-1BF9-354E-A1BF-EAA08C5E3B6E}"/>
              </a:ext>
            </a:extLst>
          </p:cNvPr>
          <p:cNvSpPr/>
          <p:nvPr userDrawn="1"/>
        </p:nvSpPr>
        <p:spPr>
          <a:xfrm>
            <a:off x="10208586" y="313962"/>
            <a:ext cx="406399" cy="4063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6" name="Ovaal 135">
            <a:extLst>
              <a:ext uri="{FF2B5EF4-FFF2-40B4-BE49-F238E27FC236}">
                <a16:creationId xmlns:a16="http://schemas.microsoft.com/office/drawing/2014/main" id="{DFD2077E-F5C2-0C49-B90B-03BC0A7B78DD}"/>
              </a:ext>
            </a:extLst>
          </p:cNvPr>
          <p:cNvSpPr/>
          <p:nvPr userDrawn="1"/>
        </p:nvSpPr>
        <p:spPr>
          <a:xfrm>
            <a:off x="10243221" y="1071120"/>
            <a:ext cx="337128" cy="3371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7" name="Ovaal 136">
            <a:extLst>
              <a:ext uri="{FF2B5EF4-FFF2-40B4-BE49-F238E27FC236}">
                <a16:creationId xmlns:a16="http://schemas.microsoft.com/office/drawing/2014/main" id="{187F3C62-904C-FD48-9D2D-1233E66F6F2E}"/>
              </a:ext>
            </a:extLst>
          </p:cNvPr>
          <p:cNvSpPr/>
          <p:nvPr userDrawn="1"/>
        </p:nvSpPr>
        <p:spPr>
          <a:xfrm>
            <a:off x="10291712" y="1835655"/>
            <a:ext cx="240146" cy="2401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8" name="Ovaal 137">
            <a:extLst>
              <a:ext uri="{FF2B5EF4-FFF2-40B4-BE49-F238E27FC236}">
                <a16:creationId xmlns:a16="http://schemas.microsoft.com/office/drawing/2014/main" id="{0B9A7D32-CFB0-D548-8356-F6883A5F180C}"/>
              </a:ext>
            </a:extLst>
          </p:cNvPr>
          <p:cNvSpPr/>
          <p:nvPr userDrawn="1"/>
        </p:nvSpPr>
        <p:spPr>
          <a:xfrm>
            <a:off x="10333276" y="2600542"/>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9" name="Ovaal 138">
            <a:extLst>
              <a:ext uri="{FF2B5EF4-FFF2-40B4-BE49-F238E27FC236}">
                <a16:creationId xmlns:a16="http://schemas.microsoft.com/office/drawing/2014/main" id="{5E036ACC-C1CC-3B48-9705-B400BE551B61}"/>
              </a:ext>
            </a:extLst>
          </p:cNvPr>
          <p:cNvSpPr/>
          <p:nvPr userDrawn="1"/>
        </p:nvSpPr>
        <p:spPr>
          <a:xfrm>
            <a:off x="11050827" y="3317053"/>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0" name="Ovaal 139">
            <a:extLst>
              <a:ext uri="{FF2B5EF4-FFF2-40B4-BE49-F238E27FC236}">
                <a16:creationId xmlns:a16="http://schemas.microsoft.com/office/drawing/2014/main" id="{18C3E024-E9B8-3745-BACC-B9ED7714BF00}"/>
              </a:ext>
            </a:extLst>
          </p:cNvPr>
          <p:cNvSpPr/>
          <p:nvPr userDrawn="1"/>
        </p:nvSpPr>
        <p:spPr>
          <a:xfrm>
            <a:off x="11050827" y="4037345"/>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1" name="Ovaal 140">
            <a:extLst>
              <a:ext uri="{FF2B5EF4-FFF2-40B4-BE49-F238E27FC236}">
                <a16:creationId xmlns:a16="http://schemas.microsoft.com/office/drawing/2014/main" id="{A49F7E9A-271F-BD45-BFC7-43537BAAD27D}"/>
              </a:ext>
            </a:extLst>
          </p:cNvPr>
          <p:cNvSpPr/>
          <p:nvPr userDrawn="1"/>
        </p:nvSpPr>
        <p:spPr>
          <a:xfrm>
            <a:off x="11770047" y="3317053"/>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2" name="Ovaal 141">
            <a:extLst>
              <a:ext uri="{FF2B5EF4-FFF2-40B4-BE49-F238E27FC236}">
                <a16:creationId xmlns:a16="http://schemas.microsoft.com/office/drawing/2014/main" id="{9C2A2A33-80AE-994F-956C-B1943A57C275}"/>
              </a:ext>
            </a:extLst>
          </p:cNvPr>
          <p:cNvSpPr/>
          <p:nvPr userDrawn="1"/>
        </p:nvSpPr>
        <p:spPr>
          <a:xfrm>
            <a:off x="11770047" y="4037345"/>
            <a:ext cx="157018" cy="157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3" name="Ovaal 142">
            <a:extLst>
              <a:ext uri="{FF2B5EF4-FFF2-40B4-BE49-F238E27FC236}">
                <a16:creationId xmlns:a16="http://schemas.microsoft.com/office/drawing/2014/main" id="{FA63890E-3D97-8C4F-ADD6-1C8F9574611A}"/>
              </a:ext>
            </a:extLst>
          </p:cNvPr>
          <p:cNvSpPr/>
          <p:nvPr userDrawn="1"/>
        </p:nvSpPr>
        <p:spPr>
          <a:xfrm>
            <a:off x="11009263" y="2558978"/>
            <a:ext cx="240146" cy="2401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4" name="Ovaal 143">
            <a:extLst>
              <a:ext uri="{FF2B5EF4-FFF2-40B4-BE49-F238E27FC236}">
                <a16:creationId xmlns:a16="http://schemas.microsoft.com/office/drawing/2014/main" id="{4B4170E4-71F5-6141-8614-27E40F42F226}"/>
              </a:ext>
            </a:extLst>
          </p:cNvPr>
          <p:cNvSpPr/>
          <p:nvPr userDrawn="1"/>
        </p:nvSpPr>
        <p:spPr>
          <a:xfrm>
            <a:off x="11679992" y="2510487"/>
            <a:ext cx="337128" cy="3371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5" name="Ovaal 144">
            <a:extLst>
              <a:ext uri="{FF2B5EF4-FFF2-40B4-BE49-F238E27FC236}">
                <a16:creationId xmlns:a16="http://schemas.microsoft.com/office/drawing/2014/main" id="{9B471073-E618-6A4D-A1E1-C0B962A48421}"/>
              </a:ext>
            </a:extLst>
          </p:cNvPr>
          <p:cNvSpPr/>
          <p:nvPr userDrawn="1"/>
        </p:nvSpPr>
        <p:spPr>
          <a:xfrm>
            <a:off x="10960772" y="1787164"/>
            <a:ext cx="337128" cy="3371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6" name="Ovaal 145">
            <a:extLst>
              <a:ext uri="{FF2B5EF4-FFF2-40B4-BE49-F238E27FC236}">
                <a16:creationId xmlns:a16="http://schemas.microsoft.com/office/drawing/2014/main" id="{41C05114-3E63-8444-AC64-8D7FAFB56ACF}"/>
              </a:ext>
            </a:extLst>
          </p:cNvPr>
          <p:cNvSpPr/>
          <p:nvPr userDrawn="1"/>
        </p:nvSpPr>
        <p:spPr>
          <a:xfrm>
            <a:off x="11645357" y="1752529"/>
            <a:ext cx="406399" cy="4063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7" name="Ovaal 146">
            <a:extLst>
              <a:ext uri="{FF2B5EF4-FFF2-40B4-BE49-F238E27FC236}">
                <a16:creationId xmlns:a16="http://schemas.microsoft.com/office/drawing/2014/main" id="{228DFFFE-243D-2542-B22F-1507FB174083}"/>
              </a:ext>
            </a:extLst>
          </p:cNvPr>
          <p:cNvSpPr/>
          <p:nvPr userDrawn="1"/>
        </p:nvSpPr>
        <p:spPr>
          <a:xfrm>
            <a:off x="10926137" y="1036485"/>
            <a:ext cx="406399" cy="4063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8" name="Ovaal 147">
            <a:extLst>
              <a:ext uri="{FF2B5EF4-FFF2-40B4-BE49-F238E27FC236}">
                <a16:creationId xmlns:a16="http://schemas.microsoft.com/office/drawing/2014/main" id="{CEF2863A-4545-E941-BDED-BC92FD985DBF}"/>
              </a:ext>
            </a:extLst>
          </p:cNvPr>
          <p:cNvSpPr/>
          <p:nvPr userDrawn="1"/>
        </p:nvSpPr>
        <p:spPr>
          <a:xfrm>
            <a:off x="10904200" y="292025"/>
            <a:ext cx="450272" cy="4502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9" name="Ovaal 148">
            <a:extLst>
              <a:ext uri="{FF2B5EF4-FFF2-40B4-BE49-F238E27FC236}">
                <a16:creationId xmlns:a16="http://schemas.microsoft.com/office/drawing/2014/main" id="{6FE2F393-8444-AA48-8F53-002E9EDA54AF}"/>
              </a:ext>
            </a:extLst>
          </p:cNvPr>
          <p:cNvSpPr/>
          <p:nvPr userDrawn="1"/>
        </p:nvSpPr>
        <p:spPr>
          <a:xfrm>
            <a:off x="11623420" y="1014548"/>
            <a:ext cx="450272" cy="4502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0" name="Ovaal 149">
            <a:extLst>
              <a:ext uri="{FF2B5EF4-FFF2-40B4-BE49-F238E27FC236}">
                <a16:creationId xmlns:a16="http://schemas.microsoft.com/office/drawing/2014/main" id="{176197ED-098E-624F-9DD6-DE3F3FFDB585}"/>
              </a:ext>
            </a:extLst>
          </p:cNvPr>
          <p:cNvSpPr/>
          <p:nvPr userDrawn="1"/>
        </p:nvSpPr>
        <p:spPr>
          <a:xfrm>
            <a:off x="11589570" y="258175"/>
            <a:ext cx="517973" cy="5179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1" name="Rechthoek 150">
            <a:extLst>
              <a:ext uri="{FF2B5EF4-FFF2-40B4-BE49-F238E27FC236}">
                <a16:creationId xmlns:a16="http://schemas.microsoft.com/office/drawing/2014/main" id="{9096D610-01A6-2048-A72F-E98D2D00ED27}"/>
              </a:ext>
            </a:extLst>
          </p:cNvPr>
          <p:cNvSpPr/>
          <p:nvPr userDrawn="1"/>
        </p:nvSpPr>
        <p:spPr>
          <a:xfrm>
            <a:off x="8920843"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3" name="Rechte verbindingslijn 2">
            <a:extLst>
              <a:ext uri="{FF2B5EF4-FFF2-40B4-BE49-F238E27FC236}">
                <a16:creationId xmlns:a16="http://schemas.microsoft.com/office/drawing/2014/main" id="{08F81A43-1C37-DD4A-9DDD-FB037562FA22}"/>
              </a:ext>
            </a:extLst>
          </p:cNvPr>
          <p:cNvCxnSpPr/>
          <p:nvPr userDrawn="1"/>
        </p:nvCxnSpPr>
        <p:spPr>
          <a:xfrm>
            <a:off x="0" y="51767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Rechte verbindingslijn 152">
            <a:extLst>
              <a:ext uri="{FF2B5EF4-FFF2-40B4-BE49-F238E27FC236}">
                <a16:creationId xmlns:a16="http://schemas.microsoft.com/office/drawing/2014/main" id="{28E030FA-7EFA-A44B-BF59-F330E53F00B7}"/>
              </a:ext>
            </a:extLst>
          </p:cNvPr>
          <p:cNvCxnSpPr/>
          <p:nvPr userDrawn="1"/>
        </p:nvCxnSpPr>
        <p:spPr>
          <a:xfrm>
            <a:off x="0" y="123710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Rechte verbindingslijn 154">
            <a:extLst>
              <a:ext uri="{FF2B5EF4-FFF2-40B4-BE49-F238E27FC236}">
                <a16:creationId xmlns:a16="http://schemas.microsoft.com/office/drawing/2014/main" id="{06AAAE0D-5D05-274C-88DC-E9BDA5471EDC}"/>
              </a:ext>
            </a:extLst>
          </p:cNvPr>
          <p:cNvCxnSpPr/>
          <p:nvPr userDrawn="1"/>
        </p:nvCxnSpPr>
        <p:spPr>
          <a:xfrm>
            <a:off x="0" y="1956539"/>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3" name="Groep 122">
            <a:extLst>
              <a:ext uri="{FF2B5EF4-FFF2-40B4-BE49-F238E27FC236}">
                <a16:creationId xmlns:a16="http://schemas.microsoft.com/office/drawing/2014/main" id="{2BC53B00-8287-D34C-9F03-4A3B355E1219}"/>
              </a:ext>
            </a:extLst>
          </p:cNvPr>
          <p:cNvGrpSpPr/>
          <p:nvPr userDrawn="1"/>
        </p:nvGrpSpPr>
        <p:grpSpPr>
          <a:xfrm>
            <a:off x="7569200" y="2675973"/>
            <a:ext cx="4622800" cy="2877733"/>
            <a:chOff x="7569200" y="2675973"/>
            <a:chExt cx="4622800" cy="2877733"/>
          </a:xfrm>
        </p:grpSpPr>
        <p:cxnSp>
          <p:nvCxnSpPr>
            <p:cNvPr id="156" name="Rechte verbindingslijn 155">
              <a:extLst>
                <a:ext uri="{FF2B5EF4-FFF2-40B4-BE49-F238E27FC236}">
                  <a16:creationId xmlns:a16="http://schemas.microsoft.com/office/drawing/2014/main" id="{7A15C41D-1C60-EA48-B260-99FEEEE447CA}"/>
                </a:ext>
              </a:extLst>
            </p:cNvPr>
            <p:cNvCxnSpPr>
              <a:cxnSpLocks/>
              <a:stCxn id="94" idx="3"/>
            </p:cNvCxnSpPr>
            <p:nvPr userDrawn="1"/>
          </p:nvCxnSpPr>
          <p:spPr>
            <a:xfrm flipV="1">
              <a:off x="7591978" y="2675973"/>
              <a:ext cx="4600022" cy="142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Rechte verbindingslijn 151">
              <a:extLst>
                <a:ext uri="{FF2B5EF4-FFF2-40B4-BE49-F238E27FC236}">
                  <a16:creationId xmlns:a16="http://schemas.microsoft.com/office/drawing/2014/main" id="{4CA93E74-E642-C44B-A498-3789A76C05D8}"/>
                </a:ext>
              </a:extLst>
            </p:cNvPr>
            <p:cNvCxnSpPr/>
            <p:nvPr userDrawn="1"/>
          </p:nvCxnSpPr>
          <p:spPr>
            <a:xfrm>
              <a:off x="7569200" y="5553706"/>
              <a:ext cx="46228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CA41BF2-E985-C242-8DA7-8C1CFEF17EAD}"/>
                </a:ext>
              </a:extLst>
            </p:cNvPr>
            <p:cNvCxnSpPr/>
            <p:nvPr userDrawn="1"/>
          </p:nvCxnSpPr>
          <p:spPr>
            <a:xfrm>
              <a:off x="7569200" y="3395405"/>
              <a:ext cx="46228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98A0910C-C282-3346-BB10-01494C2B6F0C}"/>
                </a:ext>
              </a:extLst>
            </p:cNvPr>
            <p:cNvCxnSpPr/>
            <p:nvPr userDrawn="1"/>
          </p:nvCxnSpPr>
          <p:spPr>
            <a:xfrm>
              <a:off x="7569200" y="4114838"/>
              <a:ext cx="46228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B1C06D9-BAC1-714E-AFD3-0564827B161C}"/>
                </a:ext>
              </a:extLst>
            </p:cNvPr>
            <p:cNvCxnSpPr/>
            <p:nvPr userDrawn="1"/>
          </p:nvCxnSpPr>
          <p:spPr>
            <a:xfrm>
              <a:off x="7569200" y="4834271"/>
              <a:ext cx="46228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 name="Groep 4">
            <a:extLst>
              <a:ext uri="{FF2B5EF4-FFF2-40B4-BE49-F238E27FC236}">
                <a16:creationId xmlns:a16="http://schemas.microsoft.com/office/drawing/2014/main" id="{B4C25F80-0AA2-D546-90B8-DBEAE05A9043}"/>
              </a:ext>
            </a:extLst>
          </p:cNvPr>
          <p:cNvGrpSpPr/>
          <p:nvPr userDrawn="1"/>
        </p:nvGrpSpPr>
        <p:grpSpPr>
          <a:xfrm>
            <a:off x="351601" y="0"/>
            <a:ext cx="5029794" cy="1900837"/>
            <a:chOff x="351601" y="0"/>
            <a:chExt cx="5029794" cy="6066994"/>
          </a:xfrm>
        </p:grpSpPr>
        <p:cxnSp>
          <p:nvCxnSpPr>
            <p:cNvPr id="160" name="Rechte verbindingslijn 159">
              <a:extLst>
                <a:ext uri="{FF2B5EF4-FFF2-40B4-BE49-F238E27FC236}">
                  <a16:creationId xmlns:a16="http://schemas.microsoft.com/office/drawing/2014/main" id="{9084ECBC-8B80-EE4C-A686-3D14A22D19A8}"/>
                </a:ext>
              </a:extLst>
            </p:cNvPr>
            <p:cNvCxnSpPr>
              <a:cxnSpLocks/>
            </p:cNvCxnSpPr>
            <p:nvPr userDrawn="1"/>
          </p:nvCxnSpPr>
          <p:spPr>
            <a:xfrm>
              <a:off x="351601"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Rechte verbindingslijn 160">
              <a:extLst>
                <a:ext uri="{FF2B5EF4-FFF2-40B4-BE49-F238E27FC236}">
                  <a16:creationId xmlns:a16="http://schemas.microsoft.com/office/drawing/2014/main" id="{2A4F2F9B-CC07-FA41-B48E-576DE755868D}"/>
                </a:ext>
              </a:extLst>
            </p:cNvPr>
            <p:cNvCxnSpPr>
              <a:cxnSpLocks/>
            </p:cNvCxnSpPr>
            <p:nvPr userDrawn="1"/>
          </p:nvCxnSpPr>
          <p:spPr>
            <a:xfrm>
              <a:off x="1070143"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2" name="Rechte verbindingslijn 161">
              <a:extLst>
                <a:ext uri="{FF2B5EF4-FFF2-40B4-BE49-F238E27FC236}">
                  <a16:creationId xmlns:a16="http://schemas.microsoft.com/office/drawing/2014/main" id="{B4E4141B-55F5-7B46-82B3-EB5B2A55EC52}"/>
                </a:ext>
              </a:extLst>
            </p:cNvPr>
            <p:cNvCxnSpPr>
              <a:cxnSpLocks/>
            </p:cNvCxnSpPr>
            <p:nvPr userDrawn="1"/>
          </p:nvCxnSpPr>
          <p:spPr>
            <a:xfrm>
              <a:off x="1788685"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3" name="Rechte verbindingslijn 162">
              <a:extLst>
                <a:ext uri="{FF2B5EF4-FFF2-40B4-BE49-F238E27FC236}">
                  <a16:creationId xmlns:a16="http://schemas.microsoft.com/office/drawing/2014/main" id="{D97D76F6-3381-CA4E-B8FB-DFB308669D0E}"/>
                </a:ext>
              </a:extLst>
            </p:cNvPr>
            <p:cNvCxnSpPr>
              <a:cxnSpLocks/>
            </p:cNvCxnSpPr>
            <p:nvPr userDrawn="1"/>
          </p:nvCxnSpPr>
          <p:spPr>
            <a:xfrm>
              <a:off x="2507227"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4" name="Rechte verbindingslijn 163">
              <a:extLst>
                <a:ext uri="{FF2B5EF4-FFF2-40B4-BE49-F238E27FC236}">
                  <a16:creationId xmlns:a16="http://schemas.microsoft.com/office/drawing/2014/main" id="{F453A32B-7BDF-AB4B-85FD-50828AD7FC0E}"/>
                </a:ext>
              </a:extLst>
            </p:cNvPr>
            <p:cNvCxnSpPr>
              <a:cxnSpLocks/>
            </p:cNvCxnSpPr>
            <p:nvPr userDrawn="1"/>
          </p:nvCxnSpPr>
          <p:spPr>
            <a:xfrm>
              <a:off x="3225769"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Rechte verbindingslijn 164">
              <a:extLst>
                <a:ext uri="{FF2B5EF4-FFF2-40B4-BE49-F238E27FC236}">
                  <a16:creationId xmlns:a16="http://schemas.microsoft.com/office/drawing/2014/main" id="{E64DEEC8-76C9-5940-9E03-139236257ED7}"/>
                </a:ext>
              </a:extLst>
            </p:cNvPr>
            <p:cNvCxnSpPr>
              <a:cxnSpLocks/>
            </p:cNvCxnSpPr>
            <p:nvPr userDrawn="1"/>
          </p:nvCxnSpPr>
          <p:spPr>
            <a:xfrm>
              <a:off x="3944311"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id="{909519FF-8387-A54F-98A9-17FC08888FAD}"/>
                </a:ext>
              </a:extLst>
            </p:cNvPr>
            <p:cNvCxnSpPr>
              <a:cxnSpLocks/>
            </p:cNvCxnSpPr>
            <p:nvPr userDrawn="1"/>
          </p:nvCxnSpPr>
          <p:spPr>
            <a:xfrm>
              <a:off x="4662853"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7" name="Rechte verbindingslijn 166">
              <a:extLst>
                <a:ext uri="{FF2B5EF4-FFF2-40B4-BE49-F238E27FC236}">
                  <a16:creationId xmlns:a16="http://schemas.microsoft.com/office/drawing/2014/main" id="{B8CB9DD3-6756-2F4C-8A39-E3444D116DF3}"/>
                </a:ext>
              </a:extLst>
            </p:cNvPr>
            <p:cNvCxnSpPr>
              <a:cxnSpLocks/>
            </p:cNvCxnSpPr>
            <p:nvPr userDrawn="1"/>
          </p:nvCxnSpPr>
          <p:spPr>
            <a:xfrm>
              <a:off x="5381395"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68" name="Rechte verbindingslijn 167">
            <a:extLst>
              <a:ext uri="{FF2B5EF4-FFF2-40B4-BE49-F238E27FC236}">
                <a16:creationId xmlns:a16="http://schemas.microsoft.com/office/drawing/2014/main" id="{D7191A19-BE2B-7142-B341-5CC3B301CFF2}"/>
              </a:ext>
            </a:extLst>
          </p:cNvPr>
          <p:cNvCxnSpPr>
            <a:cxnSpLocks/>
          </p:cNvCxnSpPr>
          <p:nvPr userDrawn="1"/>
        </p:nvCxnSpPr>
        <p:spPr>
          <a:xfrm>
            <a:off x="6099937" y="1"/>
            <a:ext cx="0" cy="1900838"/>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A36499FC-EDBA-D443-ACDB-96E8DBB1D053}"/>
              </a:ext>
            </a:extLst>
          </p:cNvPr>
          <p:cNvCxnSpPr>
            <a:cxnSpLocks/>
          </p:cNvCxnSpPr>
          <p:nvPr userDrawn="1"/>
        </p:nvCxnSpPr>
        <p:spPr>
          <a:xfrm>
            <a:off x="6818479" y="1"/>
            <a:ext cx="0" cy="1900838"/>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0" name="Rechte verbindingslijn 169">
            <a:extLst>
              <a:ext uri="{FF2B5EF4-FFF2-40B4-BE49-F238E27FC236}">
                <a16:creationId xmlns:a16="http://schemas.microsoft.com/office/drawing/2014/main" id="{9BC8AC53-6781-204B-8D5D-79445943BAAA}"/>
              </a:ext>
            </a:extLst>
          </p:cNvPr>
          <p:cNvCxnSpPr>
            <a:cxnSpLocks/>
          </p:cNvCxnSpPr>
          <p:nvPr userDrawn="1"/>
        </p:nvCxnSpPr>
        <p:spPr>
          <a:xfrm>
            <a:off x="7537021"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Rechte verbindingslijn 170">
            <a:extLst>
              <a:ext uri="{FF2B5EF4-FFF2-40B4-BE49-F238E27FC236}">
                <a16:creationId xmlns:a16="http://schemas.microsoft.com/office/drawing/2014/main" id="{1D2D6E7F-8E88-5349-8861-E5BFDE0F81F2}"/>
              </a:ext>
            </a:extLst>
          </p:cNvPr>
          <p:cNvCxnSpPr>
            <a:cxnSpLocks/>
          </p:cNvCxnSpPr>
          <p:nvPr userDrawn="1"/>
        </p:nvCxnSpPr>
        <p:spPr>
          <a:xfrm>
            <a:off x="8255563"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8D02B05F-7C0D-EA41-9240-1BFB1769572D}"/>
              </a:ext>
            </a:extLst>
          </p:cNvPr>
          <p:cNvCxnSpPr>
            <a:cxnSpLocks/>
          </p:cNvCxnSpPr>
          <p:nvPr userDrawn="1"/>
        </p:nvCxnSpPr>
        <p:spPr>
          <a:xfrm>
            <a:off x="8974105"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Rechte verbindingslijn 172">
            <a:extLst>
              <a:ext uri="{FF2B5EF4-FFF2-40B4-BE49-F238E27FC236}">
                <a16:creationId xmlns:a16="http://schemas.microsoft.com/office/drawing/2014/main" id="{12B6274F-6939-3142-883F-376629314F15}"/>
              </a:ext>
            </a:extLst>
          </p:cNvPr>
          <p:cNvCxnSpPr>
            <a:cxnSpLocks/>
          </p:cNvCxnSpPr>
          <p:nvPr userDrawn="1"/>
        </p:nvCxnSpPr>
        <p:spPr>
          <a:xfrm>
            <a:off x="9692647"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Rechte verbindingslijn 173">
            <a:extLst>
              <a:ext uri="{FF2B5EF4-FFF2-40B4-BE49-F238E27FC236}">
                <a16:creationId xmlns:a16="http://schemas.microsoft.com/office/drawing/2014/main" id="{CCF9CA99-F55A-D44E-8ABD-C16AABD7CFC8}"/>
              </a:ext>
            </a:extLst>
          </p:cNvPr>
          <p:cNvCxnSpPr>
            <a:cxnSpLocks/>
          </p:cNvCxnSpPr>
          <p:nvPr userDrawn="1"/>
        </p:nvCxnSpPr>
        <p:spPr>
          <a:xfrm>
            <a:off x="10411189"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Rechte verbindingslijn 174">
            <a:extLst>
              <a:ext uri="{FF2B5EF4-FFF2-40B4-BE49-F238E27FC236}">
                <a16:creationId xmlns:a16="http://schemas.microsoft.com/office/drawing/2014/main" id="{FB315C66-EB86-184C-B8C3-73C9691FDDAB}"/>
              </a:ext>
            </a:extLst>
          </p:cNvPr>
          <p:cNvCxnSpPr>
            <a:cxnSpLocks/>
          </p:cNvCxnSpPr>
          <p:nvPr userDrawn="1"/>
        </p:nvCxnSpPr>
        <p:spPr>
          <a:xfrm>
            <a:off x="11129731"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Rechte verbindingslijn 175">
            <a:extLst>
              <a:ext uri="{FF2B5EF4-FFF2-40B4-BE49-F238E27FC236}">
                <a16:creationId xmlns:a16="http://schemas.microsoft.com/office/drawing/2014/main" id="{0796196D-AABF-D34C-9A60-A52EDA0E7E00}"/>
              </a:ext>
            </a:extLst>
          </p:cNvPr>
          <p:cNvCxnSpPr>
            <a:cxnSpLocks/>
          </p:cNvCxnSpPr>
          <p:nvPr userDrawn="1"/>
        </p:nvCxnSpPr>
        <p:spPr>
          <a:xfrm>
            <a:off x="11848276"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86" name="Tekstvak 185">
            <a:extLst>
              <a:ext uri="{FF2B5EF4-FFF2-40B4-BE49-F238E27FC236}">
                <a16:creationId xmlns:a16="http://schemas.microsoft.com/office/drawing/2014/main" id="{E641D28A-7AE5-3C43-83B5-2E56C4F2926C}"/>
              </a:ext>
            </a:extLst>
          </p:cNvPr>
          <p:cNvSpPr txBox="1"/>
          <p:nvPr userDrawn="1"/>
        </p:nvSpPr>
        <p:spPr bwMode="auto">
          <a:xfrm>
            <a:off x="12429807" y="-2"/>
            <a:ext cx="2670175" cy="6858001"/>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fontAlgn="auto">
              <a:spcBef>
                <a:spcPts val="0"/>
              </a:spcBef>
              <a:spcAft>
                <a:spcPts val="0"/>
              </a:spcAft>
              <a:defRPr/>
            </a:pPr>
            <a:r>
              <a:rPr lang="en-GB" sz="1400" b="0" noProof="0" dirty="0">
                <a:solidFill>
                  <a:schemeClr val="tx2"/>
                </a:solidFill>
                <a:latin typeface="+mn-lt"/>
                <a:cs typeface="+mn-cs"/>
              </a:rPr>
              <a:t>The title slides in this template have a background image</a:t>
            </a:r>
          </a:p>
          <a:p>
            <a:pPr>
              <a:spcAft>
                <a:spcPts val="600"/>
              </a:spcAft>
            </a:pPr>
            <a:endParaRPr lang="en-GB" sz="1200" noProof="0" dirty="0">
              <a:solidFill>
                <a:schemeClr val="tx2"/>
              </a:solidFill>
            </a:endParaRPr>
          </a:p>
          <a:p>
            <a:pPr marL="228600" indent="-228600">
              <a:spcAft>
                <a:spcPts val="600"/>
              </a:spcAft>
              <a:buFont typeface="Arial" panose="020B0604020202020204" pitchFamily="34" charset="0"/>
              <a:buChar char="•"/>
            </a:pPr>
            <a:r>
              <a:rPr lang="en-GB" sz="1200" noProof="0" dirty="0">
                <a:solidFill>
                  <a:schemeClr val="tx2"/>
                </a:solidFill>
              </a:rPr>
              <a:t>To change or insert a background image, right click your mouse on the picture and select Format background.</a:t>
            </a:r>
          </a:p>
          <a:p>
            <a:pPr marL="228600" indent="-228600">
              <a:spcAft>
                <a:spcPts val="600"/>
              </a:spcAft>
              <a:buFont typeface="Arial" panose="020B0604020202020204" pitchFamily="34" charset="0"/>
              <a:buChar char="•"/>
            </a:pPr>
            <a:r>
              <a:rPr lang="en-GB" sz="1200" noProof="0" dirty="0">
                <a:solidFill>
                  <a:schemeClr val="tx2"/>
                </a:solidFill>
              </a:rPr>
              <a:t>A Format Background dialogue box appears on the right of your screen.</a:t>
            </a:r>
          </a:p>
          <a:p>
            <a:pPr marL="228600" indent="-228600">
              <a:spcAft>
                <a:spcPts val="600"/>
              </a:spcAft>
              <a:buFont typeface="Arial" panose="020B0604020202020204" pitchFamily="34" charset="0"/>
              <a:buChar char="•"/>
            </a:pPr>
            <a:r>
              <a:rPr lang="en-GB" sz="1200" noProof="0" dirty="0">
                <a:solidFill>
                  <a:schemeClr val="tx2"/>
                </a:solidFill>
              </a:rPr>
              <a:t>Select Picture or texture fill.</a:t>
            </a:r>
          </a:p>
          <a:p>
            <a:pPr marL="228600" indent="-228600">
              <a:spcAft>
                <a:spcPts val="600"/>
              </a:spcAft>
              <a:buFont typeface="Arial" panose="020B0604020202020204" pitchFamily="34" charset="0"/>
              <a:buChar char="•"/>
            </a:pPr>
            <a:r>
              <a:rPr lang="en-GB" sz="1200" noProof="0" dirty="0">
                <a:solidFill>
                  <a:schemeClr val="tx2"/>
                </a:solidFill>
              </a:rPr>
              <a:t>Click on the Insert button and browse to your image of choice and click OK.</a:t>
            </a:r>
          </a:p>
          <a:p>
            <a:pPr marL="228600" indent="-228600">
              <a:spcAft>
                <a:spcPts val="600"/>
              </a:spcAft>
              <a:buFont typeface="Arial" panose="020B0604020202020204" pitchFamily="34" charset="0"/>
              <a:buChar char="•"/>
            </a:pPr>
            <a:r>
              <a:rPr lang="en-GB" sz="1200" b="1" noProof="0" dirty="0">
                <a:solidFill>
                  <a:schemeClr val="tx2"/>
                </a:solidFill>
                <a:latin typeface="+mn-lt"/>
                <a:cs typeface="+mn-cs"/>
              </a:rPr>
              <a:t>Make sure that your image has the ratio 4x3 for a standard presentation and 16x9 for a widescreen presentation for the best result</a:t>
            </a:r>
            <a:r>
              <a:rPr lang="en-GB" sz="1200" b="0" noProof="0" dirty="0">
                <a:solidFill>
                  <a:schemeClr val="tx2"/>
                </a:solidFill>
                <a:latin typeface="+mn-lt"/>
                <a:cs typeface="+mn-cs"/>
              </a:rPr>
              <a:t>. </a:t>
            </a:r>
          </a:p>
          <a:p>
            <a:pPr marL="0" indent="0" algn="l">
              <a:spcAft>
                <a:spcPts val="600"/>
              </a:spcAft>
              <a:buFont typeface="Arial" panose="020B0604020202020204" pitchFamily="34" charset="0"/>
              <a:buNone/>
            </a:pPr>
            <a:endParaRPr lang="en-GB" sz="1200" b="1" noProof="0" dirty="0">
              <a:solidFill>
                <a:schemeClr val="tx2"/>
              </a:solidFill>
              <a:latin typeface="+mn-lt"/>
              <a:cs typeface="+mn-cs"/>
            </a:endParaRPr>
          </a:p>
        </p:txBody>
      </p:sp>
      <p:grpSp>
        <p:nvGrpSpPr>
          <p:cNvPr id="177" name="Groep 126">
            <a:extLst>
              <a:ext uri="{FF2B5EF4-FFF2-40B4-BE49-F238E27FC236}">
                <a16:creationId xmlns:a16="http://schemas.microsoft.com/office/drawing/2014/main" id="{25C2CC19-1F54-475D-95DE-ADCD84207ECC}"/>
              </a:ext>
            </a:extLst>
          </p:cNvPr>
          <p:cNvGrpSpPr/>
          <p:nvPr userDrawn="1"/>
        </p:nvGrpSpPr>
        <p:grpSpPr>
          <a:xfrm>
            <a:off x="1" y="2675973"/>
            <a:ext cx="7481598" cy="2877733"/>
            <a:chOff x="1" y="2675973"/>
            <a:chExt cx="7481385" cy="2877733"/>
          </a:xfrm>
        </p:grpSpPr>
        <p:cxnSp>
          <p:nvCxnSpPr>
            <p:cNvPr id="187" name="Rechte verbindingslijn 186">
              <a:extLst>
                <a:ext uri="{FF2B5EF4-FFF2-40B4-BE49-F238E27FC236}">
                  <a16:creationId xmlns:a16="http://schemas.microsoft.com/office/drawing/2014/main" id="{F467200E-D6B0-4417-96D2-CAB9380E1C71}"/>
                </a:ext>
              </a:extLst>
            </p:cNvPr>
            <p:cNvCxnSpPr>
              <a:cxnSpLocks/>
            </p:cNvCxnSpPr>
            <p:nvPr userDrawn="1"/>
          </p:nvCxnSpPr>
          <p:spPr>
            <a:xfrm>
              <a:off x="1" y="5553706"/>
              <a:ext cx="7481385"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88" name="Rechte verbindingslijn 187">
              <a:extLst>
                <a:ext uri="{FF2B5EF4-FFF2-40B4-BE49-F238E27FC236}">
                  <a16:creationId xmlns:a16="http://schemas.microsoft.com/office/drawing/2014/main" id="{F5D9A748-8634-4CBE-BD69-003AD4278220}"/>
                </a:ext>
              </a:extLst>
            </p:cNvPr>
            <p:cNvCxnSpPr>
              <a:cxnSpLocks/>
            </p:cNvCxnSpPr>
            <p:nvPr userDrawn="1"/>
          </p:nvCxnSpPr>
          <p:spPr>
            <a:xfrm>
              <a:off x="1" y="3395405"/>
              <a:ext cx="7481385"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89" name="Rechte verbindingslijn 188">
              <a:extLst>
                <a:ext uri="{FF2B5EF4-FFF2-40B4-BE49-F238E27FC236}">
                  <a16:creationId xmlns:a16="http://schemas.microsoft.com/office/drawing/2014/main" id="{36823429-95FE-4DE3-9397-9F18944D1FC7}"/>
                </a:ext>
              </a:extLst>
            </p:cNvPr>
            <p:cNvCxnSpPr>
              <a:cxnSpLocks/>
            </p:cNvCxnSpPr>
            <p:nvPr userDrawn="1"/>
          </p:nvCxnSpPr>
          <p:spPr>
            <a:xfrm>
              <a:off x="1" y="4114838"/>
              <a:ext cx="7481385"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189">
              <a:extLst>
                <a:ext uri="{FF2B5EF4-FFF2-40B4-BE49-F238E27FC236}">
                  <a16:creationId xmlns:a16="http://schemas.microsoft.com/office/drawing/2014/main" id="{1EC71CB3-54CD-4B1E-9F8A-78D23B7CD286}"/>
                </a:ext>
              </a:extLst>
            </p:cNvPr>
            <p:cNvCxnSpPr>
              <a:cxnSpLocks/>
            </p:cNvCxnSpPr>
            <p:nvPr userDrawn="1"/>
          </p:nvCxnSpPr>
          <p:spPr>
            <a:xfrm>
              <a:off x="1" y="4834271"/>
              <a:ext cx="7481385"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91" name="Rechte verbindingslijn 190">
              <a:extLst>
                <a:ext uri="{FF2B5EF4-FFF2-40B4-BE49-F238E27FC236}">
                  <a16:creationId xmlns:a16="http://schemas.microsoft.com/office/drawing/2014/main" id="{8E31C141-C6BE-4385-AFF3-C9AAFEC34128}"/>
                </a:ext>
              </a:extLst>
            </p:cNvPr>
            <p:cNvCxnSpPr>
              <a:cxnSpLocks/>
            </p:cNvCxnSpPr>
            <p:nvPr userDrawn="1"/>
          </p:nvCxnSpPr>
          <p:spPr>
            <a:xfrm>
              <a:off x="1" y="2675973"/>
              <a:ext cx="7480800"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sp>
        <p:nvSpPr>
          <p:cNvPr id="11" name="Titel 10">
            <a:extLst>
              <a:ext uri="{FF2B5EF4-FFF2-40B4-BE49-F238E27FC236}">
                <a16:creationId xmlns:a16="http://schemas.microsoft.com/office/drawing/2014/main" id="{7D4D8FBA-07B7-494E-BE30-19D2A1867136}"/>
              </a:ext>
            </a:extLst>
          </p:cNvPr>
          <p:cNvSpPr>
            <a:spLocks noGrp="1"/>
          </p:cNvSpPr>
          <p:nvPr userDrawn="1">
            <p:ph type="ctrTitle"/>
          </p:nvPr>
        </p:nvSpPr>
        <p:spPr>
          <a:xfrm>
            <a:off x="454698" y="2348489"/>
            <a:ext cx="6685177" cy="2354244"/>
          </a:xfrm>
          <a:prstGeom prst="rect">
            <a:avLst/>
          </a:prstGeom>
          <a:noFill/>
        </p:spPr>
        <p:txBody>
          <a:bodyPr wrap="square" lIns="0" rIns="0" bIns="0" anchor="b">
            <a:noAutofit/>
          </a:bodyPr>
          <a:lstStyle>
            <a:lvl1pPr algn="l">
              <a:defRPr sz="4800" b="1">
                <a:solidFill>
                  <a:schemeClr val="bg1"/>
                </a:solidFill>
              </a:defRPr>
            </a:lvl1pPr>
          </a:lstStyle>
          <a:p>
            <a:r>
              <a:rPr lang="de-DE" noProof="0"/>
              <a:t>Mastertitelformat bearbeiten</a:t>
            </a:r>
            <a:endParaRPr lang="en-GB" noProof="0" dirty="0"/>
          </a:p>
        </p:txBody>
      </p:sp>
      <p:sp>
        <p:nvSpPr>
          <p:cNvPr id="9" name="Ondertitel 2">
            <a:extLst>
              <a:ext uri="{FF2B5EF4-FFF2-40B4-BE49-F238E27FC236}">
                <a16:creationId xmlns:a16="http://schemas.microsoft.com/office/drawing/2014/main" id="{E25C2218-6731-6548-8649-FC497F84CD34}"/>
              </a:ext>
            </a:extLst>
          </p:cNvPr>
          <p:cNvSpPr>
            <a:spLocks noGrp="1"/>
          </p:cNvSpPr>
          <p:nvPr userDrawn="1">
            <p:ph type="subTitle" idx="1" hasCustomPrompt="1"/>
          </p:nvPr>
        </p:nvSpPr>
        <p:spPr>
          <a:xfrm>
            <a:off x="454698" y="4933790"/>
            <a:ext cx="6685169" cy="253692"/>
          </a:xfrm>
          <a:prstGeom prst="rect">
            <a:avLst/>
          </a:prstGeom>
        </p:spPr>
        <p:txBody>
          <a:bodyPr anchor="b">
            <a:noAutofit/>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 presenter</a:t>
            </a:r>
          </a:p>
        </p:txBody>
      </p:sp>
      <p:sp>
        <p:nvSpPr>
          <p:cNvPr id="194" name="Tijdelijke aanduiding voor tekst 2">
            <a:extLst>
              <a:ext uri="{FF2B5EF4-FFF2-40B4-BE49-F238E27FC236}">
                <a16:creationId xmlns:a16="http://schemas.microsoft.com/office/drawing/2014/main" id="{922807D7-B6BF-7647-A1EE-F2C422BD143B}"/>
              </a:ext>
            </a:extLst>
          </p:cNvPr>
          <p:cNvSpPr>
            <a:spLocks noGrp="1"/>
          </p:cNvSpPr>
          <p:nvPr userDrawn="1">
            <p:ph type="body" sz="quarter" idx="19" hasCustomPrompt="1"/>
          </p:nvPr>
        </p:nvSpPr>
        <p:spPr>
          <a:xfrm>
            <a:off x="454697" y="5228780"/>
            <a:ext cx="6685169" cy="211432"/>
          </a:xfrm>
          <a:prstGeom prst="rect">
            <a:avLst/>
          </a:prstGeom>
        </p:spPr>
        <p:txBody>
          <a:bodyPr anchor="t">
            <a:noAutofit/>
          </a:bodyPr>
          <a:lstStyle>
            <a:lvl1pPr marL="0" indent="0">
              <a:spcBef>
                <a:spcPts val="0"/>
              </a:spcBef>
              <a:buNone/>
              <a:defRPr sz="2000">
                <a:solidFill>
                  <a:schemeClr val="bg1"/>
                </a:solidFill>
              </a:defRPr>
            </a:lvl1pPr>
          </a:lstStyle>
          <a:p>
            <a:pPr lvl="0"/>
            <a:r>
              <a:rPr lang="en-GB" noProof="0"/>
              <a:t>Job title</a:t>
            </a:r>
          </a:p>
        </p:txBody>
      </p:sp>
      <p:pic>
        <p:nvPicPr>
          <p:cNvPr id="193" name="Afbeelding 176">
            <a:extLst>
              <a:ext uri="{FF2B5EF4-FFF2-40B4-BE49-F238E27FC236}">
                <a16:creationId xmlns:a16="http://schemas.microsoft.com/office/drawing/2014/main" id="{AAF622F1-FBBC-4D2C-A3FF-64C4531E05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77948" y="6339141"/>
            <a:ext cx="1369142" cy="258353"/>
          </a:xfrm>
          <a:prstGeom prst="rect">
            <a:avLst/>
          </a:prstGeom>
        </p:spPr>
      </p:pic>
      <p:sp>
        <p:nvSpPr>
          <p:cNvPr id="2" name="Date Placeholder 1">
            <a:extLst>
              <a:ext uri="{FF2B5EF4-FFF2-40B4-BE49-F238E27FC236}">
                <a16:creationId xmlns:a16="http://schemas.microsoft.com/office/drawing/2014/main" id="{C9023F1D-054B-4D82-BD99-3FDF6F9C37D6}"/>
              </a:ext>
            </a:extLst>
          </p:cNvPr>
          <p:cNvSpPr>
            <a:spLocks noGrp="1"/>
          </p:cNvSpPr>
          <p:nvPr>
            <p:ph type="dt" sz="half" idx="20"/>
          </p:nvPr>
        </p:nvSpPr>
        <p:spPr>
          <a:xfrm>
            <a:off x="454698" y="6378834"/>
            <a:ext cx="1528579" cy="365125"/>
          </a:xfrm>
        </p:spPr>
        <p:txBody>
          <a:bodyPr/>
          <a:lstStyle/>
          <a:p>
            <a:fld id="{21B588D0-01E6-4909-AB37-8779286C2624}" type="datetime4">
              <a:rPr lang="en-GB" noProof="0" smtClean="0"/>
              <a:t>23 January 2025</a:t>
            </a:fld>
            <a:endParaRPr lang="en-US" noProof="0" dirty="0"/>
          </a:p>
        </p:txBody>
      </p:sp>
      <p:sp>
        <p:nvSpPr>
          <p:cNvPr id="4" name="Footer Placeholder 3">
            <a:extLst>
              <a:ext uri="{FF2B5EF4-FFF2-40B4-BE49-F238E27FC236}">
                <a16:creationId xmlns:a16="http://schemas.microsoft.com/office/drawing/2014/main" id="{93A51311-2361-462E-97C8-6C8BF5D7D81A}"/>
              </a:ext>
            </a:extLst>
          </p:cNvPr>
          <p:cNvSpPr>
            <a:spLocks noGrp="1"/>
          </p:cNvSpPr>
          <p:nvPr>
            <p:ph type="ftr" sz="quarter" idx="21"/>
          </p:nvPr>
        </p:nvSpPr>
        <p:spPr>
          <a:xfrm>
            <a:off x="2258853" y="6378834"/>
            <a:ext cx="4616234" cy="365125"/>
          </a:xfrm>
        </p:spPr>
        <p:txBody>
          <a:bodyPr/>
          <a:lstStyle/>
          <a:p>
            <a:r>
              <a:rPr lang="en-US" noProof="0" dirty="0"/>
              <a:t>Confidentiality</a:t>
            </a:r>
          </a:p>
        </p:txBody>
      </p:sp>
    </p:spTree>
    <p:extLst>
      <p:ext uri="{BB962C8B-B14F-4D97-AF65-F5344CB8AC3E}">
        <p14:creationId xmlns:p14="http://schemas.microsoft.com/office/powerpoint/2010/main" val="1912930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Header - Tex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E7AB7653-4981-4828-A6B9-EE7E5674770B}"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dirty="0"/>
              <a:t>Intraday Capacity Calculation</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2" name="Titel 1">
            <a:extLst>
              <a:ext uri="{FF2B5EF4-FFF2-40B4-BE49-F238E27FC236}">
                <a16:creationId xmlns:a16="http://schemas.microsoft.com/office/drawing/2014/main" id="{61F1B79E-2B92-7E4E-81D7-C8B718D42786}"/>
              </a:ext>
            </a:extLst>
          </p:cNvPr>
          <p:cNvSpPr>
            <a:spLocks noGrp="1"/>
          </p:cNvSpPr>
          <p:nvPr>
            <p:ph type="title"/>
          </p:nvPr>
        </p:nvSpPr>
        <p:spPr/>
        <p:txBody>
          <a:bodyPr/>
          <a:lstStyle>
            <a:lvl1pPr marL="0" indent="0">
              <a:tabLst/>
              <a:defRPr/>
            </a:lvl1pPr>
          </a:lstStyle>
          <a:p>
            <a:r>
              <a:rPr lang="de-DE" noProof="0"/>
              <a:t>Mastertitelformat bearbeiten</a:t>
            </a:r>
            <a:endParaRPr lang="en-GB" noProof="0"/>
          </a:p>
        </p:txBody>
      </p:sp>
      <p:sp>
        <p:nvSpPr>
          <p:cNvPr id="13" name="Text Placeholder 8">
            <a:extLst>
              <a:ext uri="{FF2B5EF4-FFF2-40B4-BE49-F238E27FC236}">
                <a16:creationId xmlns:a16="http://schemas.microsoft.com/office/drawing/2014/main" id="{5B6299C4-E2BA-4F38-9738-2CBCC3867A76}"/>
              </a:ext>
            </a:extLst>
          </p:cNvPr>
          <p:cNvSpPr>
            <a:spLocks noGrp="1"/>
          </p:cNvSpPr>
          <p:nvPr>
            <p:ph type="body" sz="quarter" idx="13"/>
          </p:nvPr>
        </p:nvSpPr>
        <p:spPr>
          <a:xfrm>
            <a:off x="1347788" y="1376364"/>
            <a:ext cx="10390187" cy="46989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8" name="Tekstvak 7">
            <a:extLst>
              <a:ext uri="{FF2B5EF4-FFF2-40B4-BE49-F238E27FC236}">
                <a16:creationId xmlns:a16="http://schemas.microsoft.com/office/drawing/2014/main" id="{7692EA5D-D7C6-384E-BAAE-1F5AB7CBBE92}"/>
              </a:ext>
            </a:extLst>
          </p:cNvPr>
          <p:cNvSpPr txBox="1"/>
          <p:nvPr userDrawn="1"/>
        </p:nvSpPr>
        <p:spPr bwMode="auto">
          <a:xfrm>
            <a:off x="-2921308" y="0"/>
            <a:ext cx="2670175" cy="6858000"/>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body text has </a:t>
            </a:r>
            <a:br>
              <a:rPr lang="en-GB" sz="1400" b="1" noProof="0">
                <a:solidFill>
                  <a:schemeClr val="tx2"/>
                </a:solidFill>
              </a:rPr>
            </a:br>
            <a:r>
              <a:rPr lang="en-GB" sz="1400" b="1" noProof="0">
                <a:solidFill>
                  <a:schemeClr val="tx2"/>
                </a:solidFill>
              </a:rPr>
              <a:t>3 list levels:</a:t>
            </a:r>
          </a:p>
          <a:p>
            <a:pPr>
              <a:defRPr/>
            </a:pPr>
            <a:endParaRPr lang="en-GB" sz="1200" noProof="0">
              <a:solidFill>
                <a:schemeClr val="tx2"/>
              </a:solidFill>
            </a:endParaRPr>
          </a:p>
          <a:p>
            <a:pPr marL="108000" indent="-108000">
              <a:buFont typeface="Wingdings" pitchFamily="2" charset="2"/>
              <a:buChar char="§"/>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108000" indent="-108000">
              <a:buFont typeface="Wingdings" pitchFamily="2" charset="2"/>
              <a:buChar char="§"/>
              <a:defRPr/>
            </a:pPr>
            <a:endParaRPr lang="en-GB" sz="900" noProof="0">
              <a:solidFill>
                <a:schemeClr val="tx2"/>
              </a:solidFill>
            </a:endParaRPr>
          </a:p>
          <a:p>
            <a:pPr marL="216000" indent="-108000">
              <a:buFont typeface=".Lucida Grande UI Regular"/>
              <a:buChar char="▫"/>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324000" indent="-108000">
              <a:buFont typeface=".Lucida Grande UI Regular"/>
              <a:buChar char="▫"/>
              <a:defRPr/>
            </a:pPr>
            <a:r>
              <a:rPr lang="en-GB" sz="1200" noProof="0">
                <a:solidFill>
                  <a:schemeClr val="tx2"/>
                </a:solidFill>
              </a:rPr>
              <a:t>Regular text (level 3)</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0" indent="0">
              <a:buFont typeface=".Lucida Grande UI Regular"/>
              <a:buNone/>
              <a:tabLst/>
              <a:defRPr/>
            </a:pPr>
            <a:r>
              <a:rPr lang="en-GB"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a:solidFill>
                <a:schemeClr val="tx2"/>
              </a:solidFill>
            </a:endParaRPr>
          </a:p>
          <a:p>
            <a:pPr marL="0" indent="0">
              <a:buFont typeface=".Lucida Grande UI Regular"/>
              <a:buNone/>
              <a:tabLst/>
              <a:defRPr/>
            </a:pPr>
            <a:r>
              <a:rPr lang="en-GB" sz="1200" noProof="0">
                <a:solidFill>
                  <a:schemeClr val="tx2"/>
                </a:solidFill>
              </a:rPr>
              <a:t>Keep your titles short and to the point. They will not become smaller.</a:t>
            </a:r>
          </a:p>
        </p:txBody>
      </p:sp>
    </p:spTree>
    <p:extLst>
      <p:ext uri="{BB962C8B-B14F-4D97-AF65-F5344CB8AC3E}">
        <p14:creationId xmlns:p14="http://schemas.microsoft.com/office/powerpoint/2010/main" val="87432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Header - Tex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dirty="0"/>
              <a:t>Intraday Capacity Calculation</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0187" cy="432000"/>
          </a:xfrm>
          <a:prstGeom prst="rect">
            <a:avLst/>
          </a:prstGeom>
        </p:spPr>
        <p:txBody>
          <a:bodyPr>
            <a:noAutofit/>
          </a:bodyPr>
          <a:lstStyle>
            <a:lvl1pPr marL="0" indent="0">
              <a:spcBef>
                <a:spcPts val="0"/>
              </a:spcBef>
              <a:buNone/>
              <a:tabLst/>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61F1B79E-2B92-7E4E-81D7-C8B718D42786}"/>
              </a:ext>
            </a:extLst>
          </p:cNvPr>
          <p:cNvSpPr>
            <a:spLocks noGrp="1"/>
          </p:cNvSpPr>
          <p:nvPr>
            <p:ph type="title"/>
          </p:nvPr>
        </p:nvSpPr>
        <p:spPr/>
        <p:txBody>
          <a:bodyPr/>
          <a:lstStyle>
            <a:lvl1pPr marL="0" indent="0">
              <a:tabLst/>
              <a:defRPr/>
            </a:lvl1pPr>
          </a:lstStyle>
          <a:p>
            <a:r>
              <a:rPr lang="de-DE" noProof="0"/>
              <a:t>Mastertitelformat bearbeiten</a:t>
            </a:r>
            <a:endParaRPr lang="en-GB" noProof="0"/>
          </a:p>
        </p:txBody>
      </p:sp>
      <p:sp>
        <p:nvSpPr>
          <p:cNvPr id="13" name="Tekstvak 12">
            <a:extLst>
              <a:ext uri="{FF2B5EF4-FFF2-40B4-BE49-F238E27FC236}">
                <a16:creationId xmlns:a16="http://schemas.microsoft.com/office/drawing/2014/main" id="{D50C8C1C-5582-2946-85D0-9992EA3B97DD}"/>
              </a:ext>
            </a:extLst>
          </p:cNvPr>
          <p:cNvSpPr txBox="1"/>
          <p:nvPr userDrawn="1"/>
        </p:nvSpPr>
        <p:spPr bwMode="auto">
          <a:xfrm>
            <a:off x="-2921308" y="0"/>
            <a:ext cx="2670175" cy="6858000"/>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body text has </a:t>
            </a:r>
            <a:br>
              <a:rPr lang="en-GB" sz="1400" b="1" noProof="0">
                <a:solidFill>
                  <a:schemeClr val="tx2"/>
                </a:solidFill>
              </a:rPr>
            </a:br>
            <a:r>
              <a:rPr lang="en-GB" sz="1400" b="1" noProof="0">
                <a:solidFill>
                  <a:schemeClr val="tx2"/>
                </a:solidFill>
              </a:rPr>
              <a:t>3 list levels:</a:t>
            </a:r>
          </a:p>
          <a:p>
            <a:pPr>
              <a:defRPr/>
            </a:pPr>
            <a:endParaRPr lang="en-GB" sz="1200" noProof="0">
              <a:solidFill>
                <a:schemeClr val="tx2"/>
              </a:solidFill>
            </a:endParaRPr>
          </a:p>
          <a:p>
            <a:pPr marL="108000" indent="-108000">
              <a:buFont typeface="Wingdings" pitchFamily="2" charset="2"/>
              <a:buChar char="§"/>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108000" indent="-108000">
              <a:buFont typeface="Wingdings" pitchFamily="2" charset="2"/>
              <a:buChar char="§"/>
              <a:defRPr/>
            </a:pPr>
            <a:endParaRPr lang="en-GB" sz="900" noProof="0">
              <a:solidFill>
                <a:schemeClr val="tx2"/>
              </a:solidFill>
            </a:endParaRPr>
          </a:p>
          <a:p>
            <a:pPr marL="216000" indent="-108000">
              <a:buFont typeface=".Lucida Grande UI Regular"/>
              <a:buChar char="▫"/>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324000" indent="-108000">
              <a:buFont typeface=".Lucida Grande UI Regular"/>
              <a:buChar char="▫"/>
              <a:defRPr/>
            </a:pPr>
            <a:r>
              <a:rPr lang="en-GB" sz="1200" noProof="0">
                <a:solidFill>
                  <a:schemeClr val="tx2"/>
                </a:solidFill>
              </a:rPr>
              <a:t>Regular text (level 3)</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0" indent="0">
              <a:buFont typeface=".Lucida Grande UI Regular"/>
              <a:buNone/>
              <a:tabLst/>
              <a:defRPr/>
            </a:pPr>
            <a:r>
              <a:rPr lang="en-GB"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a:solidFill>
                <a:schemeClr val="tx2"/>
              </a:solidFill>
            </a:endParaRPr>
          </a:p>
          <a:p>
            <a:pPr marL="0" indent="0">
              <a:buFont typeface=".Lucida Grande UI Regular"/>
              <a:buNone/>
              <a:tabLst/>
              <a:defRPr/>
            </a:pPr>
            <a:r>
              <a:rPr lang="en-GB" sz="1200" noProof="0">
                <a:solidFill>
                  <a:schemeClr val="tx2"/>
                </a:solidFill>
              </a:rPr>
              <a:t>Keep your titles short and to the point. They will not become smaller.</a:t>
            </a:r>
          </a:p>
        </p:txBody>
      </p:sp>
      <p:sp>
        <p:nvSpPr>
          <p:cNvPr id="9" name="Text Placeholder 8">
            <a:extLst>
              <a:ext uri="{FF2B5EF4-FFF2-40B4-BE49-F238E27FC236}">
                <a16:creationId xmlns:a16="http://schemas.microsoft.com/office/drawing/2014/main" id="{9215F966-D415-43BC-9A7F-8508FF77EA2B}"/>
              </a:ext>
            </a:extLst>
          </p:cNvPr>
          <p:cNvSpPr>
            <a:spLocks noGrp="1"/>
          </p:cNvSpPr>
          <p:nvPr>
            <p:ph type="body" sz="quarter" idx="14"/>
          </p:nvPr>
        </p:nvSpPr>
        <p:spPr>
          <a:xfrm>
            <a:off x="1347788" y="1822450"/>
            <a:ext cx="10390187" cy="425291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Tree>
    <p:extLst>
      <p:ext uri="{BB962C8B-B14F-4D97-AF65-F5344CB8AC3E}">
        <p14:creationId xmlns:p14="http://schemas.microsoft.com/office/powerpoint/2010/main" val="40826909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Header Short - Text/Image">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069529D5-3790-459D-9D97-5B91C2EB4E1B}"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dirty="0"/>
              <a:t>Intraday Capacity Calculation</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12" name="Tijdelijke aanduiding voor afbeelding 8">
            <a:extLst>
              <a:ext uri="{FF2B5EF4-FFF2-40B4-BE49-F238E27FC236}">
                <a16:creationId xmlns:a16="http://schemas.microsoft.com/office/drawing/2014/main" id="{3228ACAD-C0CC-E34D-89C2-9986AA8B07AA}"/>
              </a:ext>
            </a:extLst>
          </p:cNvPr>
          <p:cNvSpPr>
            <a:spLocks noGrp="1"/>
          </p:cNvSpPr>
          <p:nvPr>
            <p:ph type="pic" sz="quarter" idx="15"/>
          </p:nvPr>
        </p:nvSpPr>
        <p:spPr>
          <a:xfrm>
            <a:off x="6199211" y="518400"/>
            <a:ext cx="5548313" cy="5545138"/>
          </a:xfrm>
          <a:custGeom>
            <a:avLst/>
            <a:gdLst>
              <a:gd name="connsiteX0" fmla="*/ 0 w 5548313"/>
              <a:gd name="connsiteY0" fmla="*/ 0 h 5545138"/>
              <a:gd name="connsiteX1" fmla="*/ 5548313 w 5548313"/>
              <a:gd name="connsiteY1" fmla="*/ 0 h 5545138"/>
              <a:gd name="connsiteX2" fmla="*/ 5548313 w 5548313"/>
              <a:gd name="connsiteY2" fmla="*/ 5330151 h 5545138"/>
              <a:gd name="connsiteX3" fmla="*/ 5074148 w 5548313"/>
              <a:gd name="connsiteY3" fmla="*/ 5545138 h 5545138"/>
              <a:gd name="connsiteX4" fmla="*/ 0 w 5548313"/>
              <a:gd name="connsiteY4" fmla="*/ 5545138 h 554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5545138">
                <a:moveTo>
                  <a:pt x="0" y="0"/>
                </a:moveTo>
                <a:lnTo>
                  <a:pt x="5548313" y="0"/>
                </a:lnTo>
                <a:lnTo>
                  <a:pt x="5548313" y="5330151"/>
                </a:lnTo>
                <a:lnTo>
                  <a:pt x="5074148" y="5545138"/>
                </a:lnTo>
                <a:lnTo>
                  <a:pt x="0" y="5545138"/>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 name="Titel 1">
            <a:extLst>
              <a:ext uri="{FF2B5EF4-FFF2-40B4-BE49-F238E27FC236}">
                <a16:creationId xmlns:a16="http://schemas.microsoft.com/office/drawing/2014/main" id="{5C6FCEB6-2511-5C40-A5E6-E1899BDC7C63}"/>
              </a:ext>
            </a:extLst>
          </p:cNvPr>
          <p:cNvSpPr>
            <a:spLocks noGrp="1"/>
          </p:cNvSpPr>
          <p:nvPr>
            <p:ph type="title" hasCustomPrompt="1"/>
          </p:nvPr>
        </p:nvSpPr>
        <p:spPr>
          <a:xfrm>
            <a:off x="1347597" y="518822"/>
            <a:ext cx="4644969" cy="430503"/>
          </a:xfrm>
        </p:spPr>
        <p:txBody>
          <a:bodyPr/>
          <a:lstStyle/>
          <a:p>
            <a:r>
              <a:rPr lang="en-GB" noProof="0" dirty="0"/>
              <a:t>Click here</a:t>
            </a:r>
          </a:p>
        </p:txBody>
      </p:sp>
      <p:sp>
        <p:nvSpPr>
          <p:cNvPr id="19" name="Text Placeholder 8">
            <a:extLst>
              <a:ext uri="{FF2B5EF4-FFF2-40B4-BE49-F238E27FC236}">
                <a16:creationId xmlns:a16="http://schemas.microsoft.com/office/drawing/2014/main" id="{3586C01C-496E-4EF3-B72D-68EFD993F776}"/>
              </a:ext>
            </a:extLst>
          </p:cNvPr>
          <p:cNvSpPr>
            <a:spLocks noGrp="1"/>
          </p:cNvSpPr>
          <p:nvPr>
            <p:ph type="body" sz="quarter" idx="13"/>
          </p:nvPr>
        </p:nvSpPr>
        <p:spPr>
          <a:xfrm>
            <a:off x="1347789" y="1376364"/>
            <a:ext cx="4644777" cy="46989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grpSp>
        <p:nvGrpSpPr>
          <p:cNvPr id="16" name="Groep 15">
            <a:extLst>
              <a:ext uri="{FF2B5EF4-FFF2-40B4-BE49-F238E27FC236}">
                <a16:creationId xmlns:a16="http://schemas.microsoft.com/office/drawing/2014/main" id="{3E729480-D353-A742-825A-FA2059CF68D4}"/>
              </a:ext>
            </a:extLst>
          </p:cNvPr>
          <p:cNvGrpSpPr/>
          <p:nvPr userDrawn="1"/>
        </p:nvGrpSpPr>
        <p:grpSpPr>
          <a:xfrm>
            <a:off x="12443133" y="-1"/>
            <a:ext cx="2670175" cy="6875997"/>
            <a:chOff x="12443133" y="-1"/>
            <a:chExt cx="2670175" cy="6875997"/>
          </a:xfrm>
        </p:grpSpPr>
        <p:sp>
          <p:nvSpPr>
            <p:cNvPr id="18" name="Tekstvak 17">
              <a:extLst>
                <a:ext uri="{FF2B5EF4-FFF2-40B4-BE49-F238E27FC236}">
                  <a16:creationId xmlns:a16="http://schemas.microsoft.com/office/drawing/2014/main" id="{5EDC4911-8422-CA40-96C3-FC09D8C30130}"/>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0" name="Afbeelding 19">
              <a:extLst>
                <a:ext uri="{FF2B5EF4-FFF2-40B4-BE49-F238E27FC236}">
                  <a16:creationId xmlns:a16="http://schemas.microsoft.com/office/drawing/2014/main" id="{EBCBBD01-2601-4E4F-8140-7BEE59CF985A}"/>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 name="Afbeelding 20">
            <a:extLst>
              <a:ext uri="{FF2B5EF4-FFF2-40B4-BE49-F238E27FC236}">
                <a16:creationId xmlns:a16="http://schemas.microsoft.com/office/drawing/2014/main" id="{53A0AAE4-26E7-B348-9741-D9EF6ECC6CD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kstvak 21">
            <a:extLst>
              <a:ext uri="{FF2B5EF4-FFF2-40B4-BE49-F238E27FC236}">
                <a16:creationId xmlns:a16="http://schemas.microsoft.com/office/drawing/2014/main" id="{0CBB1CD5-E56C-734C-8A90-72188AF78AC2}"/>
              </a:ext>
            </a:extLst>
          </p:cNvPr>
          <p:cNvSpPr txBox="1"/>
          <p:nvPr userDrawn="1"/>
        </p:nvSpPr>
        <p:spPr bwMode="auto">
          <a:xfrm>
            <a:off x="-2921308" y="1"/>
            <a:ext cx="2670175" cy="6876002"/>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body text has </a:t>
            </a:r>
            <a:br>
              <a:rPr lang="en-GB" sz="1400" b="1" noProof="0" dirty="0">
                <a:solidFill>
                  <a:schemeClr val="tx2"/>
                </a:solidFill>
              </a:rPr>
            </a:br>
            <a:r>
              <a:rPr lang="en-GB" sz="1400" b="1" noProof="0" dirty="0">
                <a:solidFill>
                  <a:schemeClr val="tx2"/>
                </a:solidFill>
              </a:rPr>
              <a:t>3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20pt, 80% dark grey</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324000" indent="-108000">
              <a:buFont typeface=".Lucida Grande UI Regular"/>
              <a:buChar char="▫"/>
              <a:defRPr/>
            </a:pPr>
            <a:r>
              <a:rPr lang="en-GB" sz="1200" noProof="0" dirty="0">
                <a:solidFill>
                  <a:schemeClr val="tx2"/>
                </a:solidFill>
              </a:rPr>
              <a:t>Regular text (level 3)</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Keep your titles short and to the point. They will not become smaller.</a:t>
            </a:r>
          </a:p>
          <a:p>
            <a:pPr marL="0" indent="0">
              <a:buFont typeface=".Lucida Grande UI Regular"/>
              <a:buNone/>
              <a:tabLst/>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in </a:t>
            </a:r>
            <a:br>
              <a:rPr lang="en-GB" sz="1200" noProof="0" dirty="0">
                <a:solidFill>
                  <a:schemeClr val="tx2"/>
                </a:solidFill>
              </a:rPr>
            </a:br>
            <a:r>
              <a:rPr lang="en-GB" sz="1200" noProof="0" dirty="0">
                <a:solidFill>
                  <a:schemeClr val="tx2"/>
                </a:solidFill>
              </a:rPr>
              <a:t>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pic>
        <p:nvPicPr>
          <p:cNvPr id="24" name="Picture 22">
            <a:extLst>
              <a:ext uri="{FF2B5EF4-FFF2-40B4-BE49-F238E27FC236}">
                <a16:creationId xmlns:a16="http://schemas.microsoft.com/office/drawing/2014/main" id="{E9E013F9-1C73-C746-8140-4B0493CBB8B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4665008"/>
            <a:ext cx="1689394" cy="312049"/>
          </a:xfrm>
          <a:prstGeom prst="rect">
            <a:avLst/>
          </a:prstGeom>
        </p:spPr>
      </p:pic>
    </p:spTree>
    <p:extLst>
      <p:ext uri="{BB962C8B-B14F-4D97-AF65-F5344CB8AC3E}">
        <p14:creationId xmlns:p14="http://schemas.microsoft.com/office/powerpoint/2010/main" val="10702562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Header Short - Text/Image">
    <p:spTree>
      <p:nvGrpSpPr>
        <p:cNvPr id="1" name=""/>
        <p:cNvGrpSpPr/>
        <p:nvPr/>
      </p:nvGrpSpPr>
      <p:grpSpPr>
        <a:xfrm>
          <a:off x="0" y="0"/>
          <a:ext cx="0" cy="0"/>
          <a:chOff x="0" y="0"/>
          <a:chExt cx="0" cy="0"/>
        </a:xfrm>
      </p:grpSpPr>
      <p:sp>
        <p:nvSpPr>
          <p:cNvPr id="15" name="Tekstvak 21">
            <a:extLst>
              <a:ext uri="{FF2B5EF4-FFF2-40B4-BE49-F238E27FC236}">
                <a16:creationId xmlns:a16="http://schemas.microsoft.com/office/drawing/2014/main" id="{C99B3674-C0C9-4809-85C6-5DB62D5E9DEB}"/>
              </a:ext>
            </a:extLst>
          </p:cNvPr>
          <p:cNvSpPr txBox="1"/>
          <p:nvPr userDrawn="1"/>
        </p:nvSpPr>
        <p:spPr bwMode="auto">
          <a:xfrm>
            <a:off x="-2921308" y="1"/>
            <a:ext cx="2670175" cy="6876002"/>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body text has </a:t>
            </a:r>
            <a:br>
              <a:rPr lang="en-GB" sz="1400" b="1" noProof="0" dirty="0">
                <a:solidFill>
                  <a:schemeClr val="tx2"/>
                </a:solidFill>
              </a:rPr>
            </a:br>
            <a:r>
              <a:rPr lang="en-GB" sz="1400" b="1" noProof="0" dirty="0">
                <a:solidFill>
                  <a:schemeClr val="tx2"/>
                </a:solidFill>
              </a:rPr>
              <a:t>3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20pt, 80% dark grey</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324000" indent="-108000">
              <a:buFont typeface=".Lucida Grande UI Regular"/>
              <a:buChar char="▫"/>
              <a:defRPr/>
            </a:pPr>
            <a:r>
              <a:rPr lang="en-GB" sz="1200" noProof="0" dirty="0">
                <a:solidFill>
                  <a:schemeClr val="tx2"/>
                </a:solidFill>
              </a:rPr>
              <a:t>Regular text (level 3)</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Keep your titles short and to the point. They will not become smaller.</a:t>
            </a:r>
          </a:p>
          <a:p>
            <a:pPr marL="0" indent="0">
              <a:buFont typeface=".Lucida Grande UI Regular"/>
              <a:buNone/>
              <a:tabLst/>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in </a:t>
            </a:r>
            <a:br>
              <a:rPr lang="en-GB" sz="1200" noProof="0" dirty="0">
                <a:solidFill>
                  <a:schemeClr val="tx2"/>
                </a:solidFill>
              </a:rPr>
            </a:br>
            <a:r>
              <a:rPr lang="en-GB" sz="1200" noProof="0" dirty="0">
                <a:solidFill>
                  <a:schemeClr val="tx2"/>
                </a:solidFill>
              </a:rPr>
              <a:t>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hasCustomPrompt="1"/>
          </p:nvPr>
        </p:nvSpPr>
        <p:spPr>
          <a:xfrm>
            <a:off x="1347788" y="953522"/>
            <a:ext cx="4644969" cy="432000"/>
          </a:xfrm>
          <a:prstGeom prst="rect">
            <a:avLst/>
          </a:prstGeom>
        </p:spPr>
        <p:txBody>
          <a:bodyPr>
            <a:noAutofit/>
          </a:bodyPr>
          <a:lstStyle>
            <a:lvl1pPr marL="0" indent="0">
              <a:spcBef>
                <a:spcPts val="0"/>
              </a:spcBef>
              <a:buNone/>
              <a:tabLst/>
              <a:defRPr sz="3000" b="0"/>
            </a:lvl1pPr>
          </a:lstStyle>
          <a:p>
            <a:pPr lvl="0"/>
            <a:r>
              <a:rPr lang="en-GB" noProof="0" dirty="0"/>
              <a:t>Click here</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F874E383-383C-41ED-93C6-7EFECD6FBF09}"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12" name="Tijdelijke aanduiding voor afbeelding 8">
            <a:extLst>
              <a:ext uri="{FF2B5EF4-FFF2-40B4-BE49-F238E27FC236}">
                <a16:creationId xmlns:a16="http://schemas.microsoft.com/office/drawing/2014/main" id="{3228ACAD-C0CC-E34D-89C2-9986AA8B07AA}"/>
              </a:ext>
            </a:extLst>
          </p:cNvPr>
          <p:cNvSpPr>
            <a:spLocks noGrp="1"/>
          </p:cNvSpPr>
          <p:nvPr>
            <p:ph type="pic" sz="quarter" idx="15"/>
          </p:nvPr>
        </p:nvSpPr>
        <p:spPr>
          <a:xfrm>
            <a:off x="6199243" y="518400"/>
            <a:ext cx="5548313" cy="5545138"/>
          </a:xfrm>
          <a:custGeom>
            <a:avLst/>
            <a:gdLst>
              <a:gd name="connsiteX0" fmla="*/ 0 w 5548313"/>
              <a:gd name="connsiteY0" fmla="*/ 0 h 5545138"/>
              <a:gd name="connsiteX1" fmla="*/ 5548313 w 5548313"/>
              <a:gd name="connsiteY1" fmla="*/ 0 h 5545138"/>
              <a:gd name="connsiteX2" fmla="*/ 5548313 w 5548313"/>
              <a:gd name="connsiteY2" fmla="*/ 5330151 h 5545138"/>
              <a:gd name="connsiteX3" fmla="*/ 5074148 w 5548313"/>
              <a:gd name="connsiteY3" fmla="*/ 5545138 h 5545138"/>
              <a:gd name="connsiteX4" fmla="*/ 0 w 5548313"/>
              <a:gd name="connsiteY4" fmla="*/ 5545138 h 554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5545138">
                <a:moveTo>
                  <a:pt x="0" y="0"/>
                </a:moveTo>
                <a:lnTo>
                  <a:pt x="5548313" y="0"/>
                </a:lnTo>
                <a:lnTo>
                  <a:pt x="5548313" y="5330151"/>
                </a:lnTo>
                <a:lnTo>
                  <a:pt x="5074148" y="5545138"/>
                </a:lnTo>
                <a:lnTo>
                  <a:pt x="0" y="5545138"/>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 name="Titel 1">
            <a:extLst>
              <a:ext uri="{FF2B5EF4-FFF2-40B4-BE49-F238E27FC236}">
                <a16:creationId xmlns:a16="http://schemas.microsoft.com/office/drawing/2014/main" id="{5C6FCEB6-2511-5C40-A5E6-E1899BDC7C63}"/>
              </a:ext>
            </a:extLst>
          </p:cNvPr>
          <p:cNvSpPr>
            <a:spLocks noGrp="1"/>
          </p:cNvSpPr>
          <p:nvPr>
            <p:ph type="title" hasCustomPrompt="1"/>
          </p:nvPr>
        </p:nvSpPr>
        <p:spPr>
          <a:xfrm>
            <a:off x="1347597" y="518822"/>
            <a:ext cx="4644969" cy="430503"/>
          </a:xfrm>
        </p:spPr>
        <p:txBody>
          <a:bodyPr/>
          <a:lstStyle/>
          <a:p>
            <a:r>
              <a:rPr lang="en-GB" noProof="0" dirty="0"/>
              <a:t>Click here</a:t>
            </a:r>
          </a:p>
        </p:txBody>
      </p:sp>
      <p:sp>
        <p:nvSpPr>
          <p:cNvPr id="13" name="Text Placeholder 8">
            <a:extLst>
              <a:ext uri="{FF2B5EF4-FFF2-40B4-BE49-F238E27FC236}">
                <a16:creationId xmlns:a16="http://schemas.microsoft.com/office/drawing/2014/main" id="{7047F2F8-72BD-4ABB-B14F-C76FAD06760C}"/>
              </a:ext>
            </a:extLst>
          </p:cNvPr>
          <p:cNvSpPr>
            <a:spLocks noGrp="1"/>
          </p:cNvSpPr>
          <p:nvPr>
            <p:ph type="body" sz="quarter" idx="16"/>
          </p:nvPr>
        </p:nvSpPr>
        <p:spPr>
          <a:xfrm>
            <a:off x="1347789" y="1822450"/>
            <a:ext cx="4644777" cy="425291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grpSp>
        <p:nvGrpSpPr>
          <p:cNvPr id="23" name="Groep 22">
            <a:extLst>
              <a:ext uri="{FF2B5EF4-FFF2-40B4-BE49-F238E27FC236}">
                <a16:creationId xmlns:a16="http://schemas.microsoft.com/office/drawing/2014/main" id="{84359B87-C901-6240-AFE4-503077DCBA58}"/>
              </a:ext>
            </a:extLst>
          </p:cNvPr>
          <p:cNvGrpSpPr/>
          <p:nvPr userDrawn="1"/>
        </p:nvGrpSpPr>
        <p:grpSpPr>
          <a:xfrm>
            <a:off x="12443133" y="-1"/>
            <a:ext cx="2670175" cy="6875997"/>
            <a:chOff x="12443133" y="-1"/>
            <a:chExt cx="2670175" cy="6875997"/>
          </a:xfrm>
        </p:grpSpPr>
        <p:sp>
          <p:nvSpPr>
            <p:cNvPr id="24" name="Tekstvak 23">
              <a:extLst>
                <a:ext uri="{FF2B5EF4-FFF2-40B4-BE49-F238E27FC236}">
                  <a16:creationId xmlns:a16="http://schemas.microsoft.com/office/drawing/2014/main" id="{3E560C3B-F37B-B84A-B510-0D1E788E5AB8}"/>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5" name="Afbeelding 24">
              <a:extLst>
                <a:ext uri="{FF2B5EF4-FFF2-40B4-BE49-F238E27FC236}">
                  <a16:creationId xmlns:a16="http://schemas.microsoft.com/office/drawing/2014/main" id="{1A39DE57-59FB-B343-934C-CF9FF48C2CB1}"/>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6" name="Afbeelding 25">
            <a:extLst>
              <a:ext uri="{FF2B5EF4-FFF2-40B4-BE49-F238E27FC236}">
                <a16:creationId xmlns:a16="http://schemas.microsoft.com/office/drawing/2014/main" id="{0FC96F24-45F0-0A44-AC52-5959168BEA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2">
            <a:extLst>
              <a:ext uri="{FF2B5EF4-FFF2-40B4-BE49-F238E27FC236}">
                <a16:creationId xmlns:a16="http://schemas.microsoft.com/office/drawing/2014/main" id="{9B126949-0948-D349-8CBE-317BA329C85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4665008"/>
            <a:ext cx="1689394" cy="312049"/>
          </a:xfrm>
          <a:prstGeom prst="rect">
            <a:avLst/>
          </a:prstGeom>
        </p:spPr>
      </p:pic>
    </p:spTree>
    <p:extLst>
      <p:ext uri="{BB962C8B-B14F-4D97-AF65-F5344CB8AC3E}">
        <p14:creationId xmlns:p14="http://schemas.microsoft.com/office/powerpoint/2010/main" val="384686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Header Long - Text/Image">
    <p:spTree>
      <p:nvGrpSpPr>
        <p:cNvPr id="1" name=""/>
        <p:cNvGrpSpPr/>
        <p:nvPr/>
      </p:nvGrpSpPr>
      <p:grpSpPr>
        <a:xfrm>
          <a:off x="0" y="0"/>
          <a:ext cx="0" cy="0"/>
          <a:chOff x="0" y="0"/>
          <a:chExt cx="0" cy="0"/>
        </a:xfrm>
      </p:grpSpPr>
      <p:sp>
        <p:nvSpPr>
          <p:cNvPr id="15" name="Tekstvak 21">
            <a:extLst>
              <a:ext uri="{FF2B5EF4-FFF2-40B4-BE49-F238E27FC236}">
                <a16:creationId xmlns:a16="http://schemas.microsoft.com/office/drawing/2014/main" id="{89B2A042-FCA2-4411-875E-F5EC2F4EE725}"/>
              </a:ext>
            </a:extLst>
          </p:cNvPr>
          <p:cNvSpPr txBox="1"/>
          <p:nvPr userDrawn="1"/>
        </p:nvSpPr>
        <p:spPr bwMode="auto">
          <a:xfrm>
            <a:off x="-2921308" y="1"/>
            <a:ext cx="2670175" cy="6876002"/>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body text has </a:t>
            </a:r>
            <a:br>
              <a:rPr lang="en-GB" sz="1400" b="1" noProof="0" dirty="0">
                <a:solidFill>
                  <a:schemeClr val="tx2"/>
                </a:solidFill>
              </a:rPr>
            </a:br>
            <a:r>
              <a:rPr lang="en-GB" sz="1400" b="1" noProof="0" dirty="0">
                <a:solidFill>
                  <a:schemeClr val="tx2"/>
                </a:solidFill>
              </a:rPr>
              <a:t>3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20pt, 80% dark grey</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324000" indent="-108000">
              <a:buFont typeface=".Lucida Grande UI Regular"/>
              <a:buChar char="▫"/>
              <a:defRPr/>
            </a:pPr>
            <a:r>
              <a:rPr lang="en-GB" sz="1200" noProof="0" dirty="0">
                <a:solidFill>
                  <a:schemeClr val="tx2"/>
                </a:solidFill>
              </a:rPr>
              <a:t>Regular text (level 3)</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Keep your titles short and to the point. They will not become smaller.</a:t>
            </a:r>
          </a:p>
          <a:p>
            <a:pPr marL="0" indent="0">
              <a:buFont typeface=".Lucida Grande UI Regular"/>
              <a:buNone/>
              <a:tabLst/>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in </a:t>
            </a:r>
            <a:br>
              <a:rPr lang="en-GB" sz="1200" noProof="0" dirty="0">
                <a:solidFill>
                  <a:schemeClr val="tx2"/>
                </a:solidFill>
              </a:rPr>
            </a:br>
            <a:r>
              <a:rPr lang="en-GB" sz="1200" noProof="0" dirty="0">
                <a:solidFill>
                  <a:schemeClr val="tx2"/>
                </a:solidFill>
              </a:rPr>
              <a:t>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FB275AF3-0F3A-4FBE-869F-BA73DBC5E162}"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2" name="Titel 1">
            <a:extLst>
              <a:ext uri="{FF2B5EF4-FFF2-40B4-BE49-F238E27FC236}">
                <a16:creationId xmlns:a16="http://schemas.microsoft.com/office/drawing/2014/main" id="{5C6FCEB6-2511-5C40-A5E6-E1899BDC7C63}"/>
              </a:ext>
            </a:extLst>
          </p:cNvPr>
          <p:cNvSpPr>
            <a:spLocks noGrp="1"/>
          </p:cNvSpPr>
          <p:nvPr>
            <p:ph type="title"/>
          </p:nvPr>
        </p:nvSpPr>
        <p:spPr>
          <a:xfrm>
            <a:off x="1347597" y="518822"/>
            <a:ext cx="10399927" cy="430503"/>
          </a:xfrm>
        </p:spPr>
        <p:txBody>
          <a:bodyPr/>
          <a:lstStyle/>
          <a:p>
            <a:r>
              <a:rPr lang="de-DE" noProof="0"/>
              <a:t>Mastertitelformat bearbeiten</a:t>
            </a:r>
            <a:endParaRPr lang="en-GB" noProof="0" dirty="0"/>
          </a:p>
        </p:txBody>
      </p:sp>
      <p:sp>
        <p:nvSpPr>
          <p:cNvPr id="13" name="Tijdelijke aanduiding voor afbeelding 12">
            <a:extLst>
              <a:ext uri="{FF2B5EF4-FFF2-40B4-BE49-F238E27FC236}">
                <a16:creationId xmlns:a16="http://schemas.microsoft.com/office/drawing/2014/main" id="{E553CA7C-CCB9-5A4B-B116-33C8702F3B7C}"/>
              </a:ext>
            </a:extLst>
          </p:cNvPr>
          <p:cNvSpPr>
            <a:spLocks noGrp="1"/>
          </p:cNvSpPr>
          <p:nvPr>
            <p:ph type="pic" sz="quarter" idx="15"/>
          </p:nvPr>
        </p:nvSpPr>
        <p:spPr>
          <a:xfrm>
            <a:off x="6199211" y="1376364"/>
            <a:ext cx="5548313" cy="4687174"/>
          </a:xfrm>
          <a:custGeom>
            <a:avLst/>
            <a:gdLst>
              <a:gd name="connsiteX0" fmla="*/ 0 w 5548313"/>
              <a:gd name="connsiteY0" fmla="*/ 0 h 4687174"/>
              <a:gd name="connsiteX1" fmla="*/ 5548313 w 5548313"/>
              <a:gd name="connsiteY1" fmla="*/ 0 h 4687174"/>
              <a:gd name="connsiteX2" fmla="*/ 5548313 w 5548313"/>
              <a:gd name="connsiteY2" fmla="*/ 446086 h 4687174"/>
              <a:gd name="connsiteX3" fmla="*/ 5548313 w 5548313"/>
              <a:gd name="connsiteY3" fmla="*/ 925522 h 4687174"/>
              <a:gd name="connsiteX4" fmla="*/ 5548313 w 5548313"/>
              <a:gd name="connsiteY4" fmla="*/ 4472187 h 4687174"/>
              <a:gd name="connsiteX5" fmla="*/ 5074148 w 5548313"/>
              <a:gd name="connsiteY5" fmla="*/ 4687174 h 4687174"/>
              <a:gd name="connsiteX6" fmla="*/ 0 w 5548313"/>
              <a:gd name="connsiteY6" fmla="*/ 4687174 h 4687174"/>
              <a:gd name="connsiteX7" fmla="*/ 0 w 5548313"/>
              <a:gd name="connsiteY7" fmla="*/ 925522 h 4687174"/>
              <a:gd name="connsiteX8" fmla="*/ 0 w 5548313"/>
              <a:gd name="connsiteY8" fmla="*/ 446086 h 468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313" h="4687174">
                <a:moveTo>
                  <a:pt x="0" y="0"/>
                </a:moveTo>
                <a:lnTo>
                  <a:pt x="5548313" y="0"/>
                </a:lnTo>
                <a:lnTo>
                  <a:pt x="5548313" y="446086"/>
                </a:lnTo>
                <a:lnTo>
                  <a:pt x="5548313" y="925522"/>
                </a:lnTo>
                <a:lnTo>
                  <a:pt x="5548313" y="4472187"/>
                </a:lnTo>
                <a:lnTo>
                  <a:pt x="5074148" y="4687174"/>
                </a:lnTo>
                <a:lnTo>
                  <a:pt x="0" y="4687174"/>
                </a:lnTo>
                <a:lnTo>
                  <a:pt x="0" y="925522"/>
                </a:lnTo>
                <a:lnTo>
                  <a:pt x="0" y="446086"/>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14" name="Text Placeholder 8">
            <a:extLst>
              <a:ext uri="{FF2B5EF4-FFF2-40B4-BE49-F238E27FC236}">
                <a16:creationId xmlns:a16="http://schemas.microsoft.com/office/drawing/2014/main" id="{0160EFA5-5574-42CC-941D-CB31F2CF30FA}"/>
              </a:ext>
            </a:extLst>
          </p:cNvPr>
          <p:cNvSpPr>
            <a:spLocks noGrp="1"/>
          </p:cNvSpPr>
          <p:nvPr>
            <p:ph type="body" sz="quarter" idx="13"/>
          </p:nvPr>
        </p:nvSpPr>
        <p:spPr>
          <a:xfrm>
            <a:off x="1347789" y="1376364"/>
            <a:ext cx="4644777" cy="46989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grpSp>
        <p:nvGrpSpPr>
          <p:cNvPr id="18" name="Groep 17">
            <a:extLst>
              <a:ext uri="{FF2B5EF4-FFF2-40B4-BE49-F238E27FC236}">
                <a16:creationId xmlns:a16="http://schemas.microsoft.com/office/drawing/2014/main" id="{E88249DB-49F7-4D44-A320-38B0B839B701}"/>
              </a:ext>
            </a:extLst>
          </p:cNvPr>
          <p:cNvGrpSpPr/>
          <p:nvPr userDrawn="1"/>
        </p:nvGrpSpPr>
        <p:grpSpPr>
          <a:xfrm>
            <a:off x="12443133" y="-1"/>
            <a:ext cx="2670175" cy="6875997"/>
            <a:chOff x="12443133" y="-1"/>
            <a:chExt cx="2670175" cy="6875997"/>
          </a:xfrm>
        </p:grpSpPr>
        <p:sp>
          <p:nvSpPr>
            <p:cNvPr id="20" name="Tekstvak 19">
              <a:extLst>
                <a:ext uri="{FF2B5EF4-FFF2-40B4-BE49-F238E27FC236}">
                  <a16:creationId xmlns:a16="http://schemas.microsoft.com/office/drawing/2014/main" id="{BB3A50A8-C9C3-FB4C-B828-F3A489B917E5}"/>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1" name="Afbeelding 20">
              <a:extLst>
                <a:ext uri="{FF2B5EF4-FFF2-40B4-BE49-F238E27FC236}">
                  <a16:creationId xmlns:a16="http://schemas.microsoft.com/office/drawing/2014/main" id="{EC2B45F5-8E5A-8D4B-A92D-4B41341E1BFF}"/>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 name="Afbeelding 21">
            <a:extLst>
              <a:ext uri="{FF2B5EF4-FFF2-40B4-BE49-F238E27FC236}">
                <a16:creationId xmlns:a16="http://schemas.microsoft.com/office/drawing/2014/main" id="{A8B3A6E6-BBF1-244D-8743-C1C88E5BF71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2">
            <a:extLst>
              <a:ext uri="{FF2B5EF4-FFF2-40B4-BE49-F238E27FC236}">
                <a16:creationId xmlns:a16="http://schemas.microsoft.com/office/drawing/2014/main" id="{E9BFF753-EEDE-524C-BD58-85568542B26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4665008"/>
            <a:ext cx="1689394" cy="312049"/>
          </a:xfrm>
          <a:prstGeom prst="rect">
            <a:avLst/>
          </a:prstGeom>
        </p:spPr>
      </p:pic>
    </p:spTree>
    <p:extLst>
      <p:ext uri="{BB962C8B-B14F-4D97-AF65-F5344CB8AC3E}">
        <p14:creationId xmlns:p14="http://schemas.microsoft.com/office/powerpoint/2010/main" val="31191050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Header Long - Text/Image">
    <p:spTree>
      <p:nvGrpSpPr>
        <p:cNvPr id="1" name=""/>
        <p:cNvGrpSpPr/>
        <p:nvPr/>
      </p:nvGrpSpPr>
      <p:grpSpPr>
        <a:xfrm>
          <a:off x="0" y="0"/>
          <a:ext cx="0" cy="0"/>
          <a:chOff x="0" y="0"/>
          <a:chExt cx="0" cy="0"/>
        </a:xfrm>
      </p:grpSpPr>
      <p:sp>
        <p:nvSpPr>
          <p:cNvPr id="15" name="Tekstvak 21">
            <a:extLst>
              <a:ext uri="{FF2B5EF4-FFF2-40B4-BE49-F238E27FC236}">
                <a16:creationId xmlns:a16="http://schemas.microsoft.com/office/drawing/2014/main" id="{C47F425B-DC83-4CEB-9D30-7BB7D361F962}"/>
              </a:ext>
            </a:extLst>
          </p:cNvPr>
          <p:cNvSpPr txBox="1"/>
          <p:nvPr userDrawn="1"/>
        </p:nvSpPr>
        <p:spPr bwMode="auto">
          <a:xfrm>
            <a:off x="-2921308" y="1"/>
            <a:ext cx="2670175" cy="6876002"/>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body text has </a:t>
            </a:r>
            <a:br>
              <a:rPr lang="en-GB" sz="1400" b="1" noProof="0" dirty="0">
                <a:solidFill>
                  <a:schemeClr val="tx2"/>
                </a:solidFill>
              </a:rPr>
            </a:br>
            <a:r>
              <a:rPr lang="en-GB" sz="1400" b="1" noProof="0" dirty="0">
                <a:solidFill>
                  <a:schemeClr val="tx2"/>
                </a:solidFill>
              </a:rPr>
              <a:t>3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20pt, 80% dark grey</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324000" indent="-108000">
              <a:buFont typeface=".Lucida Grande UI Regular"/>
              <a:buChar char="▫"/>
              <a:defRPr/>
            </a:pPr>
            <a:r>
              <a:rPr lang="en-GB" sz="1200" noProof="0" dirty="0">
                <a:solidFill>
                  <a:schemeClr val="tx2"/>
                </a:solidFill>
              </a:rPr>
              <a:t>Regular text (level 3)</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Keep your titles short and to the point. They will not become smaller.</a:t>
            </a:r>
          </a:p>
          <a:p>
            <a:pPr marL="0" indent="0">
              <a:buFont typeface=".Lucida Grande UI Regular"/>
              <a:buNone/>
              <a:tabLst/>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in </a:t>
            </a:r>
            <a:br>
              <a:rPr lang="en-GB" sz="1200" noProof="0" dirty="0">
                <a:solidFill>
                  <a:schemeClr val="tx2"/>
                </a:solidFill>
              </a:rPr>
            </a:br>
            <a:r>
              <a:rPr lang="en-GB" sz="1200" noProof="0" dirty="0">
                <a:solidFill>
                  <a:schemeClr val="tx2"/>
                </a:solidFill>
              </a:rPr>
              <a:t>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927" cy="432000"/>
          </a:xfrm>
          <a:prstGeom prst="rect">
            <a:avLst/>
          </a:prstGeom>
        </p:spPr>
        <p:txBody>
          <a:bodyPr>
            <a:noAutofit/>
          </a:bodyPr>
          <a:lstStyle>
            <a:lvl1pPr marL="0" indent="0">
              <a:spcBef>
                <a:spcPts val="0"/>
              </a:spcBef>
              <a:buNone/>
              <a:tabLst/>
              <a:defRPr sz="3000" b="0"/>
            </a:lvl1pPr>
          </a:lstStyle>
          <a:p>
            <a:pPr lvl="0"/>
            <a:r>
              <a:rPr lang="de-DE" noProof="0"/>
              <a:t>Mastertextformat bearbeiten</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BC57CD69-263E-4C8A-A15A-5C5DDE1144C1}"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13" name="Tijdelijke aanduiding voor afbeelding 12">
            <a:extLst>
              <a:ext uri="{FF2B5EF4-FFF2-40B4-BE49-F238E27FC236}">
                <a16:creationId xmlns:a16="http://schemas.microsoft.com/office/drawing/2014/main" id="{06F03CB9-1364-2247-BD37-343277DD2F0A}"/>
              </a:ext>
            </a:extLst>
          </p:cNvPr>
          <p:cNvSpPr>
            <a:spLocks noGrp="1"/>
          </p:cNvSpPr>
          <p:nvPr>
            <p:ph type="pic" sz="quarter" idx="15"/>
          </p:nvPr>
        </p:nvSpPr>
        <p:spPr>
          <a:xfrm>
            <a:off x="6199211" y="1822450"/>
            <a:ext cx="5548313" cy="4241088"/>
          </a:xfrm>
          <a:custGeom>
            <a:avLst/>
            <a:gdLst>
              <a:gd name="connsiteX0" fmla="*/ 0 w 5548313"/>
              <a:gd name="connsiteY0" fmla="*/ 0 h 4241088"/>
              <a:gd name="connsiteX1" fmla="*/ 5548313 w 5548313"/>
              <a:gd name="connsiteY1" fmla="*/ 0 h 4241088"/>
              <a:gd name="connsiteX2" fmla="*/ 5548313 w 5548313"/>
              <a:gd name="connsiteY2" fmla="*/ 4026101 h 4241088"/>
              <a:gd name="connsiteX3" fmla="*/ 5074148 w 5548313"/>
              <a:gd name="connsiteY3" fmla="*/ 4241088 h 4241088"/>
              <a:gd name="connsiteX4" fmla="*/ 0 w 5548313"/>
              <a:gd name="connsiteY4" fmla="*/ 4241088 h 4241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4241088">
                <a:moveTo>
                  <a:pt x="0" y="0"/>
                </a:moveTo>
                <a:lnTo>
                  <a:pt x="5548313" y="0"/>
                </a:lnTo>
                <a:lnTo>
                  <a:pt x="5548313" y="4026101"/>
                </a:lnTo>
                <a:lnTo>
                  <a:pt x="5074148" y="4241088"/>
                </a:lnTo>
                <a:lnTo>
                  <a:pt x="0" y="4241088"/>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 name="Titel 1">
            <a:extLst>
              <a:ext uri="{FF2B5EF4-FFF2-40B4-BE49-F238E27FC236}">
                <a16:creationId xmlns:a16="http://schemas.microsoft.com/office/drawing/2014/main" id="{5C6FCEB6-2511-5C40-A5E6-E1899BDC7C63}"/>
              </a:ext>
            </a:extLst>
          </p:cNvPr>
          <p:cNvSpPr>
            <a:spLocks noGrp="1"/>
          </p:cNvSpPr>
          <p:nvPr>
            <p:ph type="title"/>
          </p:nvPr>
        </p:nvSpPr>
        <p:spPr>
          <a:xfrm>
            <a:off x="1347597" y="518822"/>
            <a:ext cx="10399927" cy="430503"/>
          </a:xfrm>
        </p:spPr>
        <p:txBody>
          <a:bodyPr/>
          <a:lstStyle/>
          <a:p>
            <a:r>
              <a:rPr lang="de-DE" noProof="0"/>
              <a:t>Mastertitelformat bearbeiten</a:t>
            </a:r>
            <a:endParaRPr lang="en-GB" noProof="0" dirty="0"/>
          </a:p>
        </p:txBody>
      </p:sp>
      <p:sp>
        <p:nvSpPr>
          <p:cNvPr id="14" name="Text Placeholder 8">
            <a:extLst>
              <a:ext uri="{FF2B5EF4-FFF2-40B4-BE49-F238E27FC236}">
                <a16:creationId xmlns:a16="http://schemas.microsoft.com/office/drawing/2014/main" id="{76C3F405-ADC2-44E3-B47C-08A60F8CE8BF}"/>
              </a:ext>
            </a:extLst>
          </p:cNvPr>
          <p:cNvSpPr>
            <a:spLocks noGrp="1"/>
          </p:cNvSpPr>
          <p:nvPr>
            <p:ph type="body" sz="quarter" idx="16"/>
          </p:nvPr>
        </p:nvSpPr>
        <p:spPr>
          <a:xfrm>
            <a:off x="1347789" y="1822450"/>
            <a:ext cx="4644777" cy="425291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grpSp>
        <p:nvGrpSpPr>
          <p:cNvPr id="19" name="Groep 18">
            <a:extLst>
              <a:ext uri="{FF2B5EF4-FFF2-40B4-BE49-F238E27FC236}">
                <a16:creationId xmlns:a16="http://schemas.microsoft.com/office/drawing/2014/main" id="{68551961-95DA-8B43-912C-E28CE8CD4248}"/>
              </a:ext>
            </a:extLst>
          </p:cNvPr>
          <p:cNvGrpSpPr/>
          <p:nvPr userDrawn="1"/>
        </p:nvGrpSpPr>
        <p:grpSpPr>
          <a:xfrm>
            <a:off x="12443133" y="-1"/>
            <a:ext cx="2670175" cy="6875997"/>
            <a:chOff x="12443133" y="-1"/>
            <a:chExt cx="2670175" cy="6875997"/>
          </a:xfrm>
        </p:grpSpPr>
        <p:sp>
          <p:nvSpPr>
            <p:cNvPr id="21" name="Tekstvak 20">
              <a:extLst>
                <a:ext uri="{FF2B5EF4-FFF2-40B4-BE49-F238E27FC236}">
                  <a16:creationId xmlns:a16="http://schemas.microsoft.com/office/drawing/2014/main" id="{79494F6C-7A33-5C40-A304-5E800C333C0C}"/>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2" name="Afbeelding 21">
              <a:extLst>
                <a:ext uri="{FF2B5EF4-FFF2-40B4-BE49-F238E27FC236}">
                  <a16:creationId xmlns:a16="http://schemas.microsoft.com/office/drawing/2014/main" id="{12393E10-CC8E-9F47-B732-DB2E9968541F}"/>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3" name="Afbeelding 22">
            <a:extLst>
              <a:ext uri="{FF2B5EF4-FFF2-40B4-BE49-F238E27FC236}">
                <a16:creationId xmlns:a16="http://schemas.microsoft.com/office/drawing/2014/main" id="{865099CB-5AA7-E54C-8971-F6BF905556C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a:extLst>
              <a:ext uri="{FF2B5EF4-FFF2-40B4-BE49-F238E27FC236}">
                <a16:creationId xmlns:a16="http://schemas.microsoft.com/office/drawing/2014/main" id="{73472EF6-7DC8-DE48-9214-057AB36D35E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4665008"/>
            <a:ext cx="1689394" cy="312049"/>
          </a:xfrm>
          <a:prstGeom prst="rect">
            <a:avLst/>
          </a:prstGeom>
        </p:spPr>
      </p:pic>
    </p:spTree>
    <p:extLst>
      <p:ext uri="{BB962C8B-B14F-4D97-AF65-F5344CB8AC3E}">
        <p14:creationId xmlns:p14="http://schemas.microsoft.com/office/powerpoint/2010/main" val="21902440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Header Short - Text/Images ">
    <p:spTree>
      <p:nvGrpSpPr>
        <p:cNvPr id="1" name=""/>
        <p:cNvGrpSpPr/>
        <p:nvPr/>
      </p:nvGrpSpPr>
      <p:grpSpPr>
        <a:xfrm>
          <a:off x="0" y="0"/>
          <a:ext cx="0" cy="0"/>
          <a:chOff x="0" y="0"/>
          <a:chExt cx="0" cy="0"/>
        </a:xfrm>
      </p:grpSpPr>
      <p:sp>
        <p:nvSpPr>
          <p:cNvPr id="18" name="Tekstvak 21">
            <a:extLst>
              <a:ext uri="{FF2B5EF4-FFF2-40B4-BE49-F238E27FC236}">
                <a16:creationId xmlns:a16="http://schemas.microsoft.com/office/drawing/2014/main" id="{59DAA1ED-E753-4A67-9A3B-14AAAABABFEA}"/>
              </a:ext>
            </a:extLst>
          </p:cNvPr>
          <p:cNvSpPr txBox="1"/>
          <p:nvPr userDrawn="1"/>
        </p:nvSpPr>
        <p:spPr bwMode="auto">
          <a:xfrm>
            <a:off x="-2921308" y="1"/>
            <a:ext cx="2670175" cy="6876002"/>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body text has </a:t>
            </a:r>
            <a:br>
              <a:rPr lang="en-GB" sz="1400" b="1" noProof="0" dirty="0">
                <a:solidFill>
                  <a:schemeClr val="tx2"/>
                </a:solidFill>
              </a:rPr>
            </a:br>
            <a:r>
              <a:rPr lang="en-GB" sz="1400" b="1" noProof="0" dirty="0">
                <a:solidFill>
                  <a:schemeClr val="tx2"/>
                </a:solidFill>
              </a:rPr>
              <a:t>3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20pt, 80% dark grey</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324000" indent="-108000">
              <a:buFont typeface=".Lucida Grande UI Regular"/>
              <a:buChar char="▫"/>
              <a:defRPr/>
            </a:pPr>
            <a:r>
              <a:rPr lang="en-GB" sz="1200" noProof="0" dirty="0">
                <a:solidFill>
                  <a:schemeClr val="tx2"/>
                </a:solidFill>
              </a:rPr>
              <a:t>Regular text (level 3)</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Keep your titles short and to the point. They will not become smaller.</a:t>
            </a:r>
          </a:p>
          <a:p>
            <a:pPr marL="0" indent="0">
              <a:buFont typeface=".Lucida Grande UI Regular"/>
              <a:buNone/>
              <a:tabLst/>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in </a:t>
            </a:r>
            <a:br>
              <a:rPr lang="en-GB" sz="1200" noProof="0" dirty="0">
                <a:solidFill>
                  <a:schemeClr val="tx2"/>
                </a:solidFill>
              </a:rPr>
            </a:br>
            <a:r>
              <a:rPr lang="en-GB" sz="1200" noProof="0" dirty="0">
                <a:solidFill>
                  <a:schemeClr val="tx2"/>
                </a:solidFill>
              </a:rPr>
              <a:t>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sp>
        <p:nvSpPr>
          <p:cNvPr id="16" name="Tijdelijke aanduiding voor afbeelding 15">
            <a:extLst>
              <a:ext uri="{FF2B5EF4-FFF2-40B4-BE49-F238E27FC236}">
                <a16:creationId xmlns:a16="http://schemas.microsoft.com/office/drawing/2014/main" id="{FF1290AE-5C12-F740-A68F-68F8CE6C567D}"/>
              </a:ext>
            </a:extLst>
          </p:cNvPr>
          <p:cNvSpPr>
            <a:spLocks noGrp="1"/>
          </p:cNvSpPr>
          <p:nvPr>
            <p:ph type="pic" sz="quarter" idx="18"/>
          </p:nvPr>
        </p:nvSpPr>
        <p:spPr>
          <a:xfrm>
            <a:off x="6199211" y="3387012"/>
            <a:ext cx="5548313" cy="2676526"/>
          </a:xfrm>
          <a:custGeom>
            <a:avLst/>
            <a:gdLst>
              <a:gd name="connsiteX0" fmla="*/ 0 w 5548313"/>
              <a:gd name="connsiteY0" fmla="*/ 0 h 2676526"/>
              <a:gd name="connsiteX1" fmla="*/ 5548313 w 5548313"/>
              <a:gd name="connsiteY1" fmla="*/ 0 h 2676526"/>
              <a:gd name="connsiteX2" fmla="*/ 5548313 w 5548313"/>
              <a:gd name="connsiteY2" fmla="*/ 2461539 h 2676526"/>
              <a:gd name="connsiteX3" fmla="*/ 5074148 w 5548313"/>
              <a:gd name="connsiteY3" fmla="*/ 2676526 h 2676526"/>
              <a:gd name="connsiteX4" fmla="*/ 0 w 5548313"/>
              <a:gd name="connsiteY4" fmla="*/ 2676526 h 2676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2676526">
                <a:moveTo>
                  <a:pt x="0" y="0"/>
                </a:moveTo>
                <a:lnTo>
                  <a:pt x="5548313" y="0"/>
                </a:lnTo>
                <a:lnTo>
                  <a:pt x="5548313" y="2461539"/>
                </a:lnTo>
                <a:lnTo>
                  <a:pt x="5074148" y="2676526"/>
                </a:lnTo>
                <a:lnTo>
                  <a:pt x="0" y="2676526"/>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5EB9C396-5077-49A5-AF8F-6DAAB749A651}"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2" name="Titel 1">
            <a:extLst>
              <a:ext uri="{FF2B5EF4-FFF2-40B4-BE49-F238E27FC236}">
                <a16:creationId xmlns:a16="http://schemas.microsoft.com/office/drawing/2014/main" id="{38DE48DA-EB3C-F347-8DB3-2229CD0E8E77}"/>
              </a:ext>
            </a:extLst>
          </p:cNvPr>
          <p:cNvSpPr>
            <a:spLocks noGrp="1"/>
          </p:cNvSpPr>
          <p:nvPr>
            <p:ph type="title" hasCustomPrompt="1"/>
          </p:nvPr>
        </p:nvSpPr>
        <p:spPr>
          <a:xfrm>
            <a:off x="1347597" y="518822"/>
            <a:ext cx="4644969" cy="430503"/>
          </a:xfrm>
        </p:spPr>
        <p:txBody>
          <a:bodyPr/>
          <a:lstStyle/>
          <a:p>
            <a:r>
              <a:rPr lang="en-GB" noProof="0" dirty="0"/>
              <a:t>Click here</a:t>
            </a:r>
          </a:p>
        </p:txBody>
      </p:sp>
      <p:sp>
        <p:nvSpPr>
          <p:cNvPr id="17" name="Tijdelijke aanduiding voor afbeelding 16">
            <a:extLst>
              <a:ext uri="{FF2B5EF4-FFF2-40B4-BE49-F238E27FC236}">
                <a16:creationId xmlns:a16="http://schemas.microsoft.com/office/drawing/2014/main" id="{BB7A4D4B-401E-FB43-BC36-9E5B3C034E1D}"/>
              </a:ext>
            </a:extLst>
          </p:cNvPr>
          <p:cNvSpPr>
            <a:spLocks noGrp="1"/>
          </p:cNvSpPr>
          <p:nvPr>
            <p:ph type="pic" sz="quarter" idx="19"/>
          </p:nvPr>
        </p:nvSpPr>
        <p:spPr>
          <a:xfrm>
            <a:off x="6199211" y="518822"/>
            <a:ext cx="5548313" cy="2676526"/>
          </a:xfrm>
          <a:custGeom>
            <a:avLst/>
            <a:gdLst>
              <a:gd name="connsiteX0" fmla="*/ 0 w 5548313"/>
              <a:gd name="connsiteY0" fmla="*/ 0 h 2676526"/>
              <a:gd name="connsiteX1" fmla="*/ 5548313 w 5548313"/>
              <a:gd name="connsiteY1" fmla="*/ 0 h 2676526"/>
              <a:gd name="connsiteX2" fmla="*/ 5548313 w 5548313"/>
              <a:gd name="connsiteY2" fmla="*/ 2461539 h 2676526"/>
              <a:gd name="connsiteX3" fmla="*/ 5074148 w 5548313"/>
              <a:gd name="connsiteY3" fmla="*/ 2676526 h 2676526"/>
              <a:gd name="connsiteX4" fmla="*/ 0 w 5548313"/>
              <a:gd name="connsiteY4" fmla="*/ 2676526 h 2676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2676526">
                <a:moveTo>
                  <a:pt x="0" y="0"/>
                </a:moveTo>
                <a:lnTo>
                  <a:pt x="5548313" y="0"/>
                </a:lnTo>
                <a:lnTo>
                  <a:pt x="5548313" y="2461539"/>
                </a:lnTo>
                <a:lnTo>
                  <a:pt x="5074148" y="2676526"/>
                </a:lnTo>
                <a:lnTo>
                  <a:pt x="0" y="2676526"/>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13" name="Text Placeholder 8">
            <a:extLst>
              <a:ext uri="{FF2B5EF4-FFF2-40B4-BE49-F238E27FC236}">
                <a16:creationId xmlns:a16="http://schemas.microsoft.com/office/drawing/2014/main" id="{85B8CD79-687C-49A4-B36B-E2A2EC9FCB0C}"/>
              </a:ext>
            </a:extLst>
          </p:cNvPr>
          <p:cNvSpPr>
            <a:spLocks noGrp="1"/>
          </p:cNvSpPr>
          <p:nvPr>
            <p:ph type="body" sz="quarter" idx="13"/>
          </p:nvPr>
        </p:nvSpPr>
        <p:spPr>
          <a:xfrm>
            <a:off x="1347789" y="1376364"/>
            <a:ext cx="4644777" cy="46989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grpSp>
        <p:nvGrpSpPr>
          <p:cNvPr id="15" name="Groep 14">
            <a:extLst>
              <a:ext uri="{FF2B5EF4-FFF2-40B4-BE49-F238E27FC236}">
                <a16:creationId xmlns:a16="http://schemas.microsoft.com/office/drawing/2014/main" id="{A2EF0ACA-5D38-6549-AD9A-AD1CC9C7DBEF}"/>
              </a:ext>
            </a:extLst>
          </p:cNvPr>
          <p:cNvGrpSpPr/>
          <p:nvPr userDrawn="1"/>
        </p:nvGrpSpPr>
        <p:grpSpPr>
          <a:xfrm>
            <a:off x="12443133" y="-1"/>
            <a:ext cx="2670175" cy="6875997"/>
            <a:chOff x="12443133" y="-1"/>
            <a:chExt cx="2670175" cy="6875997"/>
          </a:xfrm>
        </p:grpSpPr>
        <p:sp>
          <p:nvSpPr>
            <p:cNvPr id="19" name="Tekstvak 18">
              <a:extLst>
                <a:ext uri="{FF2B5EF4-FFF2-40B4-BE49-F238E27FC236}">
                  <a16:creationId xmlns:a16="http://schemas.microsoft.com/office/drawing/2014/main" id="{CC09FA1D-F080-8943-AD48-12BEEB5B858F}"/>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0" name="Afbeelding 19">
              <a:extLst>
                <a:ext uri="{FF2B5EF4-FFF2-40B4-BE49-F238E27FC236}">
                  <a16:creationId xmlns:a16="http://schemas.microsoft.com/office/drawing/2014/main" id="{24175A50-5324-1241-B88A-8BE9746D2D12}"/>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 name="Afbeelding 20">
            <a:extLst>
              <a:ext uri="{FF2B5EF4-FFF2-40B4-BE49-F238E27FC236}">
                <a16:creationId xmlns:a16="http://schemas.microsoft.com/office/drawing/2014/main" id="{AAE8A4A8-2495-E44E-91A8-48BF7D5B3F5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2">
            <a:extLst>
              <a:ext uri="{FF2B5EF4-FFF2-40B4-BE49-F238E27FC236}">
                <a16:creationId xmlns:a16="http://schemas.microsoft.com/office/drawing/2014/main" id="{EA0F16F3-6EFB-FB47-9598-E94D52AE6A5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4665008"/>
            <a:ext cx="1689394" cy="312049"/>
          </a:xfrm>
          <a:prstGeom prst="rect">
            <a:avLst/>
          </a:prstGeom>
        </p:spPr>
      </p:pic>
    </p:spTree>
    <p:extLst>
      <p:ext uri="{BB962C8B-B14F-4D97-AF65-F5344CB8AC3E}">
        <p14:creationId xmlns:p14="http://schemas.microsoft.com/office/powerpoint/2010/main" val="27213330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Header Short - Text/Images ">
    <p:spTree>
      <p:nvGrpSpPr>
        <p:cNvPr id="1" name=""/>
        <p:cNvGrpSpPr/>
        <p:nvPr/>
      </p:nvGrpSpPr>
      <p:grpSpPr>
        <a:xfrm>
          <a:off x="0" y="0"/>
          <a:ext cx="0" cy="0"/>
          <a:chOff x="0" y="0"/>
          <a:chExt cx="0" cy="0"/>
        </a:xfrm>
      </p:grpSpPr>
      <p:sp>
        <p:nvSpPr>
          <p:cNvPr id="18" name="Tekstvak 21">
            <a:extLst>
              <a:ext uri="{FF2B5EF4-FFF2-40B4-BE49-F238E27FC236}">
                <a16:creationId xmlns:a16="http://schemas.microsoft.com/office/drawing/2014/main" id="{9D9A632E-004F-43F5-BC31-0C2E9D25D793}"/>
              </a:ext>
            </a:extLst>
          </p:cNvPr>
          <p:cNvSpPr txBox="1"/>
          <p:nvPr userDrawn="1"/>
        </p:nvSpPr>
        <p:spPr bwMode="auto">
          <a:xfrm>
            <a:off x="-2921308" y="1"/>
            <a:ext cx="2670175" cy="6876002"/>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body text has </a:t>
            </a:r>
            <a:br>
              <a:rPr lang="en-GB" sz="1400" b="1" noProof="0" dirty="0">
                <a:solidFill>
                  <a:schemeClr val="tx2"/>
                </a:solidFill>
              </a:rPr>
            </a:br>
            <a:r>
              <a:rPr lang="en-GB" sz="1400" b="1" noProof="0" dirty="0">
                <a:solidFill>
                  <a:schemeClr val="tx2"/>
                </a:solidFill>
              </a:rPr>
              <a:t>3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20pt, 80% dark grey</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324000" indent="-108000">
              <a:buFont typeface=".Lucida Grande UI Regular"/>
              <a:buChar char="▫"/>
              <a:defRPr/>
            </a:pPr>
            <a:r>
              <a:rPr lang="en-GB" sz="1200" noProof="0" dirty="0">
                <a:solidFill>
                  <a:schemeClr val="tx2"/>
                </a:solidFill>
              </a:rPr>
              <a:t>Regular text (level 3)</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Keep your titles short and to the point. They will not become smaller.</a:t>
            </a:r>
          </a:p>
          <a:p>
            <a:pPr marL="0" indent="0">
              <a:buFont typeface=".Lucida Grande UI Regular"/>
              <a:buNone/>
              <a:tabLst/>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in </a:t>
            </a:r>
            <a:br>
              <a:rPr lang="en-GB" sz="1200" noProof="0" dirty="0">
                <a:solidFill>
                  <a:schemeClr val="tx2"/>
                </a:solidFill>
              </a:rPr>
            </a:br>
            <a:r>
              <a:rPr lang="en-GB" sz="1200" noProof="0" dirty="0">
                <a:solidFill>
                  <a:schemeClr val="tx2"/>
                </a:solidFill>
              </a:rPr>
              <a:t>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sp>
        <p:nvSpPr>
          <p:cNvPr id="16" name="Tijdelijke aanduiding voor afbeelding 15">
            <a:extLst>
              <a:ext uri="{FF2B5EF4-FFF2-40B4-BE49-F238E27FC236}">
                <a16:creationId xmlns:a16="http://schemas.microsoft.com/office/drawing/2014/main" id="{FF1290AE-5C12-F740-A68F-68F8CE6C567D}"/>
              </a:ext>
            </a:extLst>
          </p:cNvPr>
          <p:cNvSpPr>
            <a:spLocks noGrp="1"/>
          </p:cNvSpPr>
          <p:nvPr>
            <p:ph type="pic" sz="quarter" idx="18"/>
          </p:nvPr>
        </p:nvSpPr>
        <p:spPr>
          <a:xfrm>
            <a:off x="6199211" y="3387012"/>
            <a:ext cx="5548313" cy="2676526"/>
          </a:xfrm>
          <a:custGeom>
            <a:avLst/>
            <a:gdLst>
              <a:gd name="connsiteX0" fmla="*/ 0 w 5548313"/>
              <a:gd name="connsiteY0" fmla="*/ 0 h 2676526"/>
              <a:gd name="connsiteX1" fmla="*/ 5548313 w 5548313"/>
              <a:gd name="connsiteY1" fmla="*/ 0 h 2676526"/>
              <a:gd name="connsiteX2" fmla="*/ 5548313 w 5548313"/>
              <a:gd name="connsiteY2" fmla="*/ 2461539 h 2676526"/>
              <a:gd name="connsiteX3" fmla="*/ 5074148 w 5548313"/>
              <a:gd name="connsiteY3" fmla="*/ 2676526 h 2676526"/>
              <a:gd name="connsiteX4" fmla="*/ 0 w 5548313"/>
              <a:gd name="connsiteY4" fmla="*/ 2676526 h 2676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2676526">
                <a:moveTo>
                  <a:pt x="0" y="0"/>
                </a:moveTo>
                <a:lnTo>
                  <a:pt x="5548313" y="0"/>
                </a:lnTo>
                <a:lnTo>
                  <a:pt x="5548313" y="2461539"/>
                </a:lnTo>
                <a:lnTo>
                  <a:pt x="5074148" y="2676526"/>
                </a:lnTo>
                <a:lnTo>
                  <a:pt x="0" y="2676526"/>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ED77DDA7-F07A-46FF-B748-FFE9311FF21A}"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hasCustomPrompt="1"/>
          </p:nvPr>
        </p:nvSpPr>
        <p:spPr>
          <a:xfrm>
            <a:off x="1347788" y="953522"/>
            <a:ext cx="4644969" cy="432000"/>
          </a:xfrm>
          <a:prstGeom prst="rect">
            <a:avLst/>
          </a:prstGeom>
        </p:spPr>
        <p:txBody>
          <a:bodyPr>
            <a:noAutofit/>
          </a:bodyPr>
          <a:lstStyle>
            <a:lvl1pPr marL="0" indent="0">
              <a:spcBef>
                <a:spcPts val="0"/>
              </a:spcBef>
              <a:buNone/>
              <a:defRPr sz="3000" b="0"/>
            </a:lvl1pPr>
          </a:lstStyle>
          <a:p>
            <a:pPr lvl="0"/>
            <a:r>
              <a:rPr lang="en-GB" noProof="0" dirty="0"/>
              <a:t>Click here</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hasCustomPrompt="1"/>
          </p:nvPr>
        </p:nvSpPr>
        <p:spPr>
          <a:xfrm>
            <a:off x="1347597" y="518822"/>
            <a:ext cx="4644969" cy="430503"/>
          </a:xfrm>
        </p:spPr>
        <p:txBody>
          <a:bodyPr/>
          <a:lstStyle/>
          <a:p>
            <a:r>
              <a:rPr lang="en-GB" noProof="0" dirty="0"/>
              <a:t>Click here</a:t>
            </a:r>
          </a:p>
        </p:txBody>
      </p:sp>
      <p:sp>
        <p:nvSpPr>
          <p:cNvPr id="17" name="Tijdelijke aanduiding voor afbeelding 16">
            <a:extLst>
              <a:ext uri="{FF2B5EF4-FFF2-40B4-BE49-F238E27FC236}">
                <a16:creationId xmlns:a16="http://schemas.microsoft.com/office/drawing/2014/main" id="{BB7A4D4B-401E-FB43-BC36-9E5B3C034E1D}"/>
              </a:ext>
            </a:extLst>
          </p:cNvPr>
          <p:cNvSpPr>
            <a:spLocks noGrp="1"/>
          </p:cNvSpPr>
          <p:nvPr>
            <p:ph type="pic" sz="quarter" idx="19"/>
          </p:nvPr>
        </p:nvSpPr>
        <p:spPr>
          <a:xfrm>
            <a:off x="6199211" y="518822"/>
            <a:ext cx="5548313" cy="2676526"/>
          </a:xfrm>
          <a:custGeom>
            <a:avLst/>
            <a:gdLst>
              <a:gd name="connsiteX0" fmla="*/ 0 w 5548313"/>
              <a:gd name="connsiteY0" fmla="*/ 0 h 2676526"/>
              <a:gd name="connsiteX1" fmla="*/ 5548313 w 5548313"/>
              <a:gd name="connsiteY1" fmla="*/ 0 h 2676526"/>
              <a:gd name="connsiteX2" fmla="*/ 5548313 w 5548313"/>
              <a:gd name="connsiteY2" fmla="*/ 2461539 h 2676526"/>
              <a:gd name="connsiteX3" fmla="*/ 5074148 w 5548313"/>
              <a:gd name="connsiteY3" fmla="*/ 2676526 h 2676526"/>
              <a:gd name="connsiteX4" fmla="*/ 0 w 5548313"/>
              <a:gd name="connsiteY4" fmla="*/ 2676526 h 2676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2676526">
                <a:moveTo>
                  <a:pt x="0" y="0"/>
                </a:moveTo>
                <a:lnTo>
                  <a:pt x="5548313" y="0"/>
                </a:lnTo>
                <a:lnTo>
                  <a:pt x="5548313" y="2461539"/>
                </a:lnTo>
                <a:lnTo>
                  <a:pt x="5074148" y="2676526"/>
                </a:lnTo>
                <a:lnTo>
                  <a:pt x="0" y="2676526"/>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14" name="Text Placeholder 8">
            <a:extLst>
              <a:ext uri="{FF2B5EF4-FFF2-40B4-BE49-F238E27FC236}">
                <a16:creationId xmlns:a16="http://schemas.microsoft.com/office/drawing/2014/main" id="{474438E4-75DF-429D-BB15-CD61456420C3}"/>
              </a:ext>
            </a:extLst>
          </p:cNvPr>
          <p:cNvSpPr>
            <a:spLocks noGrp="1"/>
          </p:cNvSpPr>
          <p:nvPr>
            <p:ph type="body" sz="quarter" idx="16"/>
          </p:nvPr>
        </p:nvSpPr>
        <p:spPr>
          <a:xfrm>
            <a:off x="1347789" y="1822450"/>
            <a:ext cx="4644777" cy="425291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grpSp>
        <p:nvGrpSpPr>
          <p:cNvPr id="15" name="Groep 14">
            <a:extLst>
              <a:ext uri="{FF2B5EF4-FFF2-40B4-BE49-F238E27FC236}">
                <a16:creationId xmlns:a16="http://schemas.microsoft.com/office/drawing/2014/main" id="{25033DA0-3E35-1342-B2CA-67FA3358C834}"/>
              </a:ext>
            </a:extLst>
          </p:cNvPr>
          <p:cNvGrpSpPr/>
          <p:nvPr userDrawn="1"/>
        </p:nvGrpSpPr>
        <p:grpSpPr>
          <a:xfrm>
            <a:off x="12443133" y="-1"/>
            <a:ext cx="2670175" cy="6875997"/>
            <a:chOff x="12443133" y="-1"/>
            <a:chExt cx="2670175" cy="6875997"/>
          </a:xfrm>
        </p:grpSpPr>
        <p:sp>
          <p:nvSpPr>
            <p:cNvPr id="20" name="Tekstvak 19">
              <a:extLst>
                <a:ext uri="{FF2B5EF4-FFF2-40B4-BE49-F238E27FC236}">
                  <a16:creationId xmlns:a16="http://schemas.microsoft.com/office/drawing/2014/main" id="{1B56C5BD-4343-8C44-A1C0-7E4CFB4A2BAF}"/>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1" name="Afbeelding 20">
              <a:extLst>
                <a:ext uri="{FF2B5EF4-FFF2-40B4-BE49-F238E27FC236}">
                  <a16:creationId xmlns:a16="http://schemas.microsoft.com/office/drawing/2014/main" id="{E4F55A0A-D558-6543-852A-4194D3DD4825}"/>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 name="Afbeelding 21">
            <a:extLst>
              <a:ext uri="{FF2B5EF4-FFF2-40B4-BE49-F238E27FC236}">
                <a16:creationId xmlns:a16="http://schemas.microsoft.com/office/drawing/2014/main" id="{26A49AFE-E897-4549-92A1-D022B644E5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2">
            <a:extLst>
              <a:ext uri="{FF2B5EF4-FFF2-40B4-BE49-F238E27FC236}">
                <a16:creationId xmlns:a16="http://schemas.microsoft.com/office/drawing/2014/main" id="{816FCCBE-8347-2D49-928F-0311DB789DD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4665008"/>
            <a:ext cx="1689394" cy="312049"/>
          </a:xfrm>
          <a:prstGeom prst="rect">
            <a:avLst/>
          </a:prstGeom>
        </p:spPr>
      </p:pic>
    </p:spTree>
    <p:extLst>
      <p:ext uri="{BB962C8B-B14F-4D97-AF65-F5344CB8AC3E}">
        <p14:creationId xmlns:p14="http://schemas.microsoft.com/office/powerpoint/2010/main" val="5642143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Header Long - Text/Images ">
    <p:spTree>
      <p:nvGrpSpPr>
        <p:cNvPr id="1" name=""/>
        <p:cNvGrpSpPr/>
        <p:nvPr/>
      </p:nvGrpSpPr>
      <p:grpSpPr>
        <a:xfrm>
          <a:off x="0" y="0"/>
          <a:ext cx="0" cy="0"/>
          <a:chOff x="0" y="0"/>
          <a:chExt cx="0" cy="0"/>
        </a:xfrm>
      </p:grpSpPr>
      <p:sp>
        <p:nvSpPr>
          <p:cNvPr id="16" name="Tekstvak 21">
            <a:extLst>
              <a:ext uri="{FF2B5EF4-FFF2-40B4-BE49-F238E27FC236}">
                <a16:creationId xmlns:a16="http://schemas.microsoft.com/office/drawing/2014/main" id="{6A1FEE6C-C3D4-46B9-A21A-E829531DA0DD}"/>
              </a:ext>
            </a:extLst>
          </p:cNvPr>
          <p:cNvSpPr txBox="1"/>
          <p:nvPr userDrawn="1"/>
        </p:nvSpPr>
        <p:spPr bwMode="auto">
          <a:xfrm>
            <a:off x="-2921308" y="1"/>
            <a:ext cx="2670175" cy="6876002"/>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body text has </a:t>
            </a:r>
            <a:br>
              <a:rPr lang="en-GB" sz="1400" b="1" noProof="0" dirty="0">
                <a:solidFill>
                  <a:schemeClr val="tx2"/>
                </a:solidFill>
              </a:rPr>
            </a:br>
            <a:r>
              <a:rPr lang="en-GB" sz="1400" b="1" noProof="0" dirty="0">
                <a:solidFill>
                  <a:schemeClr val="tx2"/>
                </a:solidFill>
              </a:rPr>
              <a:t>3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20pt, 80% dark grey</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324000" indent="-108000">
              <a:buFont typeface=".Lucida Grande UI Regular"/>
              <a:buChar char="▫"/>
              <a:defRPr/>
            </a:pPr>
            <a:r>
              <a:rPr lang="en-GB" sz="1200" noProof="0" dirty="0">
                <a:solidFill>
                  <a:schemeClr val="tx2"/>
                </a:solidFill>
              </a:rPr>
              <a:t>Regular text (level 3)</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Keep your titles short and to the point. They will not become smaller.</a:t>
            </a:r>
          </a:p>
          <a:p>
            <a:pPr marL="0" indent="0">
              <a:buFont typeface=".Lucida Grande UI Regular"/>
              <a:buNone/>
              <a:tabLst/>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in </a:t>
            </a:r>
            <a:br>
              <a:rPr lang="en-GB" sz="1200" noProof="0" dirty="0">
                <a:solidFill>
                  <a:schemeClr val="tx2"/>
                </a:solidFill>
              </a:rPr>
            </a:br>
            <a:r>
              <a:rPr lang="en-GB" sz="1200" noProof="0" dirty="0">
                <a:solidFill>
                  <a:schemeClr val="tx2"/>
                </a:solidFill>
              </a:rPr>
              <a:t>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sp>
        <p:nvSpPr>
          <p:cNvPr id="13" name="Tijdelijke aanduiding voor afbeelding 12">
            <a:extLst>
              <a:ext uri="{FF2B5EF4-FFF2-40B4-BE49-F238E27FC236}">
                <a16:creationId xmlns:a16="http://schemas.microsoft.com/office/drawing/2014/main" id="{977F4E4F-B960-6A4D-A6B1-96319A27032B}"/>
              </a:ext>
            </a:extLst>
          </p:cNvPr>
          <p:cNvSpPr>
            <a:spLocks noGrp="1"/>
          </p:cNvSpPr>
          <p:nvPr>
            <p:ph type="pic" sz="quarter" idx="18"/>
          </p:nvPr>
        </p:nvSpPr>
        <p:spPr>
          <a:xfrm>
            <a:off x="6199018" y="3808306"/>
            <a:ext cx="5548314" cy="2255232"/>
          </a:xfrm>
          <a:custGeom>
            <a:avLst/>
            <a:gdLst>
              <a:gd name="connsiteX0" fmla="*/ 0 w 5548314"/>
              <a:gd name="connsiteY0" fmla="*/ 0 h 2255232"/>
              <a:gd name="connsiteX1" fmla="*/ 5548313 w 5548314"/>
              <a:gd name="connsiteY1" fmla="*/ 0 h 2255232"/>
              <a:gd name="connsiteX2" fmla="*/ 5548313 w 5548314"/>
              <a:gd name="connsiteY2" fmla="*/ 211652 h 2255232"/>
              <a:gd name="connsiteX3" fmla="*/ 5548314 w 5548314"/>
              <a:gd name="connsiteY3" fmla="*/ 211652 h 2255232"/>
              <a:gd name="connsiteX4" fmla="*/ 5548314 w 5548314"/>
              <a:gd name="connsiteY4" fmla="*/ 2040245 h 2255232"/>
              <a:gd name="connsiteX5" fmla="*/ 5074149 w 5548314"/>
              <a:gd name="connsiteY5" fmla="*/ 2255232 h 2255232"/>
              <a:gd name="connsiteX6" fmla="*/ 1 w 5548314"/>
              <a:gd name="connsiteY6" fmla="*/ 2255232 h 2255232"/>
              <a:gd name="connsiteX7" fmla="*/ 1 w 5548314"/>
              <a:gd name="connsiteY7" fmla="*/ 649394 h 2255232"/>
              <a:gd name="connsiteX8" fmla="*/ 0 w 5548314"/>
              <a:gd name="connsiteY8" fmla="*/ 649394 h 225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314" h="2255232">
                <a:moveTo>
                  <a:pt x="0" y="0"/>
                </a:moveTo>
                <a:lnTo>
                  <a:pt x="5548313" y="0"/>
                </a:lnTo>
                <a:lnTo>
                  <a:pt x="5548313" y="211652"/>
                </a:lnTo>
                <a:lnTo>
                  <a:pt x="5548314" y="211652"/>
                </a:lnTo>
                <a:lnTo>
                  <a:pt x="5548314" y="2040245"/>
                </a:lnTo>
                <a:lnTo>
                  <a:pt x="5074149" y="2255232"/>
                </a:lnTo>
                <a:lnTo>
                  <a:pt x="1" y="2255232"/>
                </a:lnTo>
                <a:lnTo>
                  <a:pt x="1" y="649394"/>
                </a:lnTo>
                <a:lnTo>
                  <a:pt x="0" y="649394"/>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5411ED8A-C4BD-4F75-8BF1-6851A71021E4}"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14" name="Tijdelijke aanduiding voor afbeelding 13">
            <a:extLst>
              <a:ext uri="{FF2B5EF4-FFF2-40B4-BE49-F238E27FC236}">
                <a16:creationId xmlns:a16="http://schemas.microsoft.com/office/drawing/2014/main" id="{FC590109-C7FC-694C-BBA7-A54C5B14EB5F}"/>
              </a:ext>
            </a:extLst>
          </p:cNvPr>
          <p:cNvSpPr>
            <a:spLocks noGrp="1"/>
          </p:cNvSpPr>
          <p:nvPr>
            <p:ph type="pic" sz="quarter" idx="19"/>
          </p:nvPr>
        </p:nvSpPr>
        <p:spPr>
          <a:xfrm>
            <a:off x="6199018" y="1376364"/>
            <a:ext cx="5548314" cy="2255232"/>
          </a:xfrm>
          <a:custGeom>
            <a:avLst/>
            <a:gdLst>
              <a:gd name="connsiteX0" fmla="*/ 0 w 5548314"/>
              <a:gd name="connsiteY0" fmla="*/ 0 h 2255232"/>
              <a:gd name="connsiteX1" fmla="*/ 5548313 w 5548314"/>
              <a:gd name="connsiteY1" fmla="*/ 0 h 2255232"/>
              <a:gd name="connsiteX2" fmla="*/ 5548313 w 5548314"/>
              <a:gd name="connsiteY2" fmla="*/ 211652 h 2255232"/>
              <a:gd name="connsiteX3" fmla="*/ 5548314 w 5548314"/>
              <a:gd name="connsiteY3" fmla="*/ 211652 h 2255232"/>
              <a:gd name="connsiteX4" fmla="*/ 5548314 w 5548314"/>
              <a:gd name="connsiteY4" fmla="*/ 2040245 h 2255232"/>
              <a:gd name="connsiteX5" fmla="*/ 5074149 w 5548314"/>
              <a:gd name="connsiteY5" fmla="*/ 2255232 h 2255232"/>
              <a:gd name="connsiteX6" fmla="*/ 1 w 5548314"/>
              <a:gd name="connsiteY6" fmla="*/ 2255232 h 2255232"/>
              <a:gd name="connsiteX7" fmla="*/ 1 w 5548314"/>
              <a:gd name="connsiteY7" fmla="*/ 649394 h 2255232"/>
              <a:gd name="connsiteX8" fmla="*/ 0 w 5548314"/>
              <a:gd name="connsiteY8" fmla="*/ 649394 h 225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314" h="2255232">
                <a:moveTo>
                  <a:pt x="0" y="0"/>
                </a:moveTo>
                <a:lnTo>
                  <a:pt x="5548313" y="0"/>
                </a:lnTo>
                <a:lnTo>
                  <a:pt x="5548313" y="211652"/>
                </a:lnTo>
                <a:lnTo>
                  <a:pt x="5548314" y="211652"/>
                </a:lnTo>
                <a:lnTo>
                  <a:pt x="5548314" y="2040245"/>
                </a:lnTo>
                <a:lnTo>
                  <a:pt x="5074149" y="2255232"/>
                </a:lnTo>
                <a:lnTo>
                  <a:pt x="1" y="2255232"/>
                </a:lnTo>
                <a:lnTo>
                  <a:pt x="1" y="649394"/>
                </a:lnTo>
                <a:lnTo>
                  <a:pt x="0" y="649394"/>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15" name="Text Placeholder 8">
            <a:extLst>
              <a:ext uri="{FF2B5EF4-FFF2-40B4-BE49-F238E27FC236}">
                <a16:creationId xmlns:a16="http://schemas.microsoft.com/office/drawing/2014/main" id="{934B2B54-1431-4F0A-8BAF-A57697C3B7CA}"/>
              </a:ext>
            </a:extLst>
          </p:cNvPr>
          <p:cNvSpPr>
            <a:spLocks noGrp="1"/>
          </p:cNvSpPr>
          <p:nvPr>
            <p:ph type="body" sz="quarter" idx="13"/>
          </p:nvPr>
        </p:nvSpPr>
        <p:spPr>
          <a:xfrm>
            <a:off x="1347789" y="1376364"/>
            <a:ext cx="4644777" cy="46989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grpSp>
        <p:nvGrpSpPr>
          <p:cNvPr id="21" name="Groep 20">
            <a:extLst>
              <a:ext uri="{FF2B5EF4-FFF2-40B4-BE49-F238E27FC236}">
                <a16:creationId xmlns:a16="http://schemas.microsoft.com/office/drawing/2014/main" id="{976CD3A5-E578-2D4B-9880-5C4194DB5CA6}"/>
              </a:ext>
            </a:extLst>
          </p:cNvPr>
          <p:cNvGrpSpPr/>
          <p:nvPr userDrawn="1"/>
        </p:nvGrpSpPr>
        <p:grpSpPr>
          <a:xfrm>
            <a:off x="12443133" y="-1"/>
            <a:ext cx="2670175" cy="6875997"/>
            <a:chOff x="12443133" y="-1"/>
            <a:chExt cx="2670175" cy="6875997"/>
          </a:xfrm>
        </p:grpSpPr>
        <p:sp>
          <p:nvSpPr>
            <p:cNvPr id="22" name="Tekstvak 21">
              <a:extLst>
                <a:ext uri="{FF2B5EF4-FFF2-40B4-BE49-F238E27FC236}">
                  <a16:creationId xmlns:a16="http://schemas.microsoft.com/office/drawing/2014/main" id="{96BED34B-601B-CB47-B33D-73820A34CBC1}"/>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3" name="Afbeelding 22">
              <a:extLst>
                <a:ext uri="{FF2B5EF4-FFF2-40B4-BE49-F238E27FC236}">
                  <a16:creationId xmlns:a16="http://schemas.microsoft.com/office/drawing/2014/main" id="{FA84EF4A-420A-0148-B31B-BBAC8C594A01}"/>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4" name="Afbeelding 23">
            <a:extLst>
              <a:ext uri="{FF2B5EF4-FFF2-40B4-BE49-F238E27FC236}">
                <a16:creationId xmlns:a16="http://schemas.microsoft.com/office/drawing/2014/main" id="{6B916C39-89E1-504E-9317-0438038D731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2">
            <a:extLst>
              <a:ext uri="{FF2B5EF4-FFF2-40B4-BE49-F238E27FC236}">
                <a16:creationId xmlns:a16="http://schemas.microsoft.com/office/drawing/2014/main" id="{F45679F5-4BAB-F045-9266-B6461422E14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4665008"/>
            <a:ext cx="1689394" cy="312049"/>
          </a:xfrm>
          <a:prstGeom prst="rect">
            <a:avLst/>
          </a:prstGeom>
        </p:spPr>
      </p:pic>
    </p:spTree>
    <p:extLst>
      <p:ext uri="{BB962C8B-B14F-4D97-AF65-F5344CB8AC3E}">
        <p14:creationId xmlns:p14="http://schemas.microsoft.com/office/powerpoint/2010/main" val="9551377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Header Long - Text/Images ">
    <p:spTree>
      <p:nvGrpSpPr>
        <p:cNvPr id="1" name=""/>
        <p:cNvGrpSpPr/>
        <p:nvPr/>
      </p:nvGrpSpPr>
      <p:grpSpPr>
        <a:xfrm>
          <a:off x="0" y="0"/>
          <a:ext cx="0" cy="0"/>
          <a:chOff x="0" y="0"/>
          <a:chExt cx="0" cy="0"/>
        </a:xfrm>
      </p:grpSpPr>
      <p:sp>
        <p:nvSpPr>
          <p:cNvPr id="16" name="Tekstvak 21">
            <a:extLst>
              <a:ext uri="{FF2B5EF4-FFF2-40B4-BE49-F238E27FC236}">
                <a16:creationId xmlns:a16="http://schemas.microsoft.com/office/drawing/2014/main" id="{2AC33EF9-889D-46B2-8541-5A9E6CC5DD4D}"/>
              </a:ext>
            </a:extLst>
          </p:cNvPr>
          <p:cNvSpPr txBox="1"/>
          <p:nvPr userDrawn="1"/>
        </p:nvSpPr>
        <p:spPr bwMode="auto">
          <a:xfrm>
            <a:off x="-2921308" y="1"/>
            <a:ext cx="2670175" cy="6876002"/>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body text has </a:t>
            </a:r>
            <a:br>
              <a:rPr lang="en-GB" sz="1400" b="1" noProof="0" dirty="0">
                <a:solidFill>
                  <a:schemeClr val="tx2"/>
                </a:solidFill>
              </a:rPr>
            </a:br>
            <a:r>
              <a:rPr lang="en-GB" sz="1400" b="1" noProof="0" dirty="0">
                <a:solidFill>
                  <a:schemeClr val="tx2"/>
                </a:solidFill>
              </a:rPr>
              <a:t>3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20pt, 80% dark grey</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324000" indent="-108000">
              <a:buFont typeface=".Lucida Grande UI Regular"/>
              <a:buChar char="▫"/>
              <a:defRPr/>
            </a:pPr>
            <a:r>
              <a:rPr lang="en-GB" sz="1200" noProof="0" dirty="0">
                <a:solidFill>
                  <a:schemeClr val="tx2"/>
                </a:solidFill>
              </a:rPr>
              <a:t>Regular text (level 3)</a:t>
            </a:r>
            <a:br>
              <a:rPr lang="en-GB" sz="1200" noProof="0" dirty="0">
                <a:solidFill>
                  <a:schemeClr val="tx2"/>
                </a:solidFill>
              </a:rPr>
            </a:br>
            <a:r>
              <a:rPr lang="en-GB" sz="1200" noProof="0" dirty="0">
                <a:solidFill>
                  <a:schemeClr val="tx2"/>
                </a:solidFill>
              </a:rPr>
              <a:t>Arial, 20pt, 80% dark grey</a:t>
            </a:r>
          </a:p>
          <a:p>
            <a:pPr marL="285750" indent="-171450">
              <a:buFont typeface=".Lucida Grande UI Regular"/>
              <a:buChar char="▫"/>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dirty="0">
              <a:solidFill>
                <a:schemeClr val="tx2"/>
              </a:solidFill>
            </a:endParaRPr>
          </a:p>
          <a:p>
            <a:pPr marL="0" indent="0">
              <a:buFont typeface=".Lucida Grande UI Regular"/>
              <a:buNone/>
              <a:tabLst/>
              <a:defRPr/>
            </a:pPr>
            <a:r>
              <a:rPr lang="en-GB" sz="1200" noProof="0" dirty="0">
                <a:solidFill>
                  <a:schemeClr val="tx2"/>
                </a:solidFill>
              </a:rPr>
              <a:t>Keep your titles short and to the point. They will not become smaller.</a:t>
            </a:r>
          </a:p>
          <a:p>
            <a:pPr marL="0" indent="0">
              <a:buFont typeface=".Lucida Grande UI Regular"/>
              <a:buNone/>
              <a:tabLst/>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in </a:t>
            </a:r>
            <a:br>
              <a:rPr lang="en-GB" sz="1200" noProof="0" dirty="0">
                <a:solidFill>
                  <a:schemeClr val="tx2"/>
                </a:solidFill>
              </a:rPr>
            </a:br>
            <a:r>
              <a:rPr lang="en-GB" sz="1200" noProof="0" dirty="0">
                <a:solidFill>
                  <a:schemeClr val="tx2"/>
                </a:solidFill>
              </a:rPr>
              <a:t>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sp>
        <p:nvSpPr>
          <p:cNvPr id="21" name="Tijdelijke aanduiding voor afbeelding 20">
            <a:extLst>
              <a:ext uri="{FF2B5EF4-FFF2-40B4-BE49-F238E27FC236}">
                <a16:creationId xmlns:a16="http://schemas.microsoft.com/office/drawing/2014/main" id="{7E843ADC-57D2-1A4B-81E3-76E505A4FA0F}"/>
              </a:ext>
            </a:extLst>
          </p:cNvPr>
          <p:cNvSpPr>
            <a:spLocks noGrp="1"/>
          </p:cNvSpPr>
          <p:nvPr>
            <p:ph type="pic" sz="quarter" idx="18"/>
          </p:nvPr>
        </p:nvSpPr>
        <p:spPr>
          <a:xfrm>
            <a:off x="6199020" y="4019958"/>
            <a:ext cx="5548313" cy="2043580"/>
          </a:xfrm>
          <a:custGeom>
            <a:avLst/>
            <a:gdLst>
              <a:gd name="connsiteX0" fmla="*/ 0 w 5548313"/>
              <a:gd name="connsiteY0" fmla="*/ 0 h 2043580"/>
              <a:gd name="connsiteX1" fmla="*/ 5548313 w 5548313"/>
              <a:gd name="connsiteY1" fmla="*/ 0 h 2043580"/>
              <a:gd name="connsiteX2" fmla="*/ 5548313 w 5548313"/>
              <a:gd name="connsiteY2" fmla="*/ 1828593 h 2043580"/>
              <a:gd name="connsiteX3" fmla="*/ 5074148 w 5548313"/>
              <a:gd name="connsiteY3" fmla="*/ 2043580 h 2043580"/>
              <a:gd name="connsiteX4" fmla="*/ 0 w 5548313"/>
              <a:gd name="connsiteY4" fmla="*/ 2043580 h 20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2043580">
                <a:moveTo>
                  <a:pt x="0" y="0"/>
                </a:moveTo>
                <a:lnTo>
                  <a:pt x="5548313" y="0"/>
                </a:lnTo>
                <a:lnTo>
                  <a:pt x="5548313" y="1828593"/>
                </a:lnTo>
                <a:lnTo>
                  <a:pt x="5074148" y="2043580"/>
                </a:lnTo>
                <a:lnTo>
                  <a:pt x="0" y="204358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953850B4-46CF-413B-A064-631615F9B6C5}"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22" name="Tijdelijke aanduiding voor afbeelding 21">
            <a:extLst>
              <a:ext uri="{FF2B5EF4-FFF2-40B4-BE49-F238E27FC236}">
                <a16:creationId xmlns:a16="http://schemas.microsoft.com/office/drawing/2014/main" id="{972E832B-45B5-F343-8B6D-A8D608DFE2FB}"/>
              </a:ext>
            </a:extLst>
          </p:cNvPr>
          <p:cNvSpPr>
            <a:spLocks noGrp="1"/>
          </p:cNvSpPr>
          <p:nvPr>
            <p:ph type="pic" sz="quarter" idx="19"/>
          </p:nvPr>
        </p:nvSpPr>
        <p:spPr>
          <a:xfrm>
            <a:off x="6199020" y="1816252"/>
            <a:ext cx="5548313" cy="2043580"/>
          </a:xfrm>
          <a:custGeom>
            <a:avLst/>
            <a:gdLst>
              <a:gd name="connsiteX0" fmla="*/ 0 w 5548313"/>
              <a:gd name="connsiteY0" fmla="*/ 0 h 2043580"/>
              <a:gd name="connsiteX1" fmla="*/ 5548313 w 5548313"/>
              <a:gd name="connsiteY1" fmla="*/ 0 h 2043580"/>
              <a:gd name="connsiteX2" fmla="*/ 5548313 w 5548313"/>
              <a:gd name="connsiteY2" fmla="*/ 1828593 h 2043580"/>
              <a:gd name="connsiteX3" fmla="*/ 5074148 w 5548313"/>
              <a:gd name="connsiteY3" fmla="*/ 2043580 h 2043580"/>
              <a:gd name="connsiteX4" fmla="*/ 0 w 5548313"/>
              <a:gd name="connsiteY4" fmla="*/ 2043580 h 20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8313" h="2043580">
                <a:moveTo>
                  <a:pt x="0" y="0"/>
                </a:moveTo>
                <a:lnTo>
                  <a:pt x="5548313" y="0"/>
                </a:lnTo>
                <a:lnTo>
                  <a:pt x="5548313" y="1828593"/>
                </a:lnTo>
                <a:lnTo>
                  <a:pt x="5074148" y="2043580"/>
                </a:lnTo>
                <a:lnTo>
                  <a:pt x="0" y="204358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14" name="Text Placeholder 8">
            <a:extLst>
              <a:ext uri="{FF2B5EF4-FFF2-40B4-BE49-F238E27FC236}">
                <a16:creationId xmlns:a16="http://schemas.microsoft.com/office/drawing/2014/main" id="{0B578E03-D6B4-4F67-AAEC-EE6F8F419942}"/>
              </a:ext>
            </a:extLst>
          </p:cNvPr>
          <p:cNvSpPr>
            <a:spLocks noGrp="1"/>
          </p:cNvSpPr>
          <p:nvPr>
            <p:ph type="body" sz="quarter" idx="16"/>
          </p:nvPr>
        </p:nvSpPr>
        <p:spPr>
          <a:xfrm>
            <a:off x="1347789" y="1822450"/>
            <a:ext cx="4644777" cy="425291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grpSp>
        <p:nvGrpSpPr>
          <p:cNvPr id="15" name="Groep 14">
            <a:extLst>
              <a:ext uri="{FF2B5EF4-FFF2-40B4-BE49-F238E27FC236}">
                <a16:creationId xmlns:a16="http://schemas.microsoft.com/office/drawing/2014/main" id="{B28E847D-CF4E-A349-8ED7-92400251D45C}"/>
              </a:ext>
            </a:extLst>
          </p:cNvPr>
          <p:cNvGrpSpPr/>
          <p:nvPr userDrawn="1"/>
        </p:nvGrpSpPr>
        <p:grpSpPr>
          <a:xfrm>
            <a:off x="12443133" y="-1"/>
            <a:ext cx="2670175" cy="6875997"/>
            <a:chOff x="12443133" y="-1"/>
            <a:chExt cx="2670175" cy="6875997"/>
          </a:xfrm>
        </p:grpSpPr>
        <p:sp>
          <p:nvSpPr>
            <p:cNvPr id="23" name="Tekstvak 22">
              <a:extLst>
                <a:ext uri="{FF2B5EF4-FFF2-40B4-BE49-F238E27FC236}">
                  <a16:creationId xmlns:a16="http://schemas.microsoft.com/office/drawing/2014/main" id="{EE53AF3E-CB5B-B74A-8CE2-0CC8E755B8F0}"/>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4" name="Afbeelding 23">
              <a:extLst>
                <a:ext uri="{FF2B5EF4-FFF2-40B4-BE49-F238E27FC236}">
                  <a16:creationId xmlns:a16="http://schemas.microsoft.com/office/drawing/2014/main" id="{897DE720-D30D-C442-9725-7F4BF8B7BB4F}"/>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Afbeelding 24">
            <a:extLst>
              <a:ext uri="{FF2B5EF4-FFF2-40B4-BE49-F238E27FC236}">
                <a16:creationId xmlns:a16="http://schemas.microsoft.com/office/drawing/2014/main" id="{D3A43C07-38EC-1B49-A3B5-CBE433EC54D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a:extLst>
              <a:ext uri="{FF2B5EF4-FFF2-40B4-BE49-F238E27FC236}">
                <a16:creationId xmlns:a16="http://schemas.microsoft.com/office/drawing/2014/main" id="{90F7B11C-EC18-604C-B5EA-0A4B6EF516E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4665008"/>
            <a:ext cx="1689394" cy="312049"/>
          </a:xfrm>
          <a:prstGeom prst="rect">
            <a:avLst/>
          </a:prstGeom>
        </p:spPr>
      </p:pic>
    </p:spTree>
    <p:extLst>
      <p:ext uri="{BB962C8B-B14F-4D97-AF65-F5344CB8AC3E}">
        <p14:creationId xmlns:p14="http://schemas.microsoft.com/office/powerpoint/2010/main" val="24056896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rgbClr val="EAEEF0"/>
        </a:solidFill>
        <a:effectLst/>
      </p:bgPr>
    </p:bg>
    <p:spTree>
      <p:nvGrpSpPr>
        <p:cNvPr id="1" name=""/>
        <p:cNvGrpSpPr/>
        <p:nvPr/>
      </p:nvGrpSpPr>
      <p:grpSpPr>
        <a:xfrm>
          <a:off x="0" y="0"/>
          <a:ext cx="0" cy="0"/>
          <a:chOff x="0" y="0"/>
          <a:chExt cx="0" cy="0"/>
        </a:xfrm>
      </p:grpSpPr>
      <p:pic>
        <p:nvPicPr>
          <p:cNvPr id="82" name="Picture 81" descr="A close up of a logo&#10;&#10;Description automatically generated">
            <a:extLst>
              <a:ext uri="{FF2B5EF4-FFF2-40B4-BE49-F238E27FC236}">
                <a16:creationId xmlns:a16="http://schemas.microsoft.com/office/drawing/2014/main" id="{3F744EDE-D865-2344-BEAE-CF6E9F5A94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4" name="Vrije vorm 153">
            <a:extLst>
              <a:ext uri="{FF2B5EF4-FFF2-40B4-BE49-F238E27FC236}">
                <a16:creationId xmlns:a16="http://schemas.microsoft.com/office/drawing/2014/main" id="{C0902E77-316B-C548-A0DF-98BE72EB39CC}"/>
              </a:ext>
            </a:extLst>
          </p:cNvPr>
          <p:cNvSpPr/>
          <p:nvPr userDrawn="1"/>
        </p:nvSpPr>
        <p:spPr>
          <a:xfrm>
            <a:off x="0" y="5962615"/>
            <a:ext cx="12192000" cy="895384"/>
          </a:xfrm>
          <a:custGeom>
            <a:avLst/>
            <a:gdLst>
              <a:gd name="connsiteX0" fmla="*/ 12191999 w 12192000"/>
              <a:gd name="connsiteY0" fmla="*/ 0 h 895384"/>
              <a:gd name="connsiteX1" fmla="*/ 12191999 w 12192000"/>
              <a:gd name="connsiteY1" fmla="*/ 107966 h 895384"/>
              <a:gd name="connsiteX2" fmla="*/ 12192000 w 12192000"/>
              <a:gd name="connsiteY2" fmla="*/ 107966 h 895384"/>
              <a:gd name="connsiteX3" fmla="*/ 12192000 w 12192000"/>
              <a:gd name="connsiteY3" fmla="*/ 895384 h 895384"/>
              <a:gd name="connsiteX4" fmla="*/ 0 w 12192000"/>
              <a:gd name="connsiteY4" fmla="*/ 895384 h 895384"/>
              <a:gd name="connsiteX5" fmla="*/ 0 w 12192000"/>
              <a:gd name="connsiteY5" fmla="*/ 107966 h 895384"/>
              <a:gd name="connsiteX6" fmla="*/ 11953874 w 12192000"/>
              <a:gd name="connsiteY6" fmla="*/ 107966 h 89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895384">
                <a:moveTo>
                  <a:pt x="12191999" y="0"/>
                </a:moveTo>
                <a:lnTo>
                  <a:pt x="12191999" y="107966"/>
                </a:lnTo>
                <a:lnTo>
                  <a:pt x="12192000" y="107966"/>
                </a:lnTo>
                <a:lnTo>
                  <a:pt x="12192000" y="895384"/>
                </a:lnTo>
                <a:lnTo>
                  <a:pt x="0" y="895384"/>
                </a:lnTo>
                <a:lnTo>
                  <a:pt x="0" y="107966"/>
                </a:lnTo>
                <a:lnTo>
                  <a:pt x="11953874" y="10796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30" name="Rechthoek 29">
            <a:extLst>
              <a:ext uri="{FF2B5EF4-FFF2-40B4-BE49-F238E27FC236}">
                <a16:creationId xmlns:a16="http://schemas.microsoft.com/office/drawing/2014/main" id="{0843E241-E93D-8445-8CE0-DF6468918E75}"/>
              </a:ext>
            </a:extLst>
          </p:cNvPr>
          <p:cNvSpPr/>
          <p:nvPr userDrawn="1"/>
        </p:nvSpPr>
        <p:spPr>
          <a:xfrm>
            <a:off x="6046746"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1" name="Rechthoek 30">
            <a:extLst>
              <a:ext uri="{FF2B5EF4-FFF2-40B4-BE49-F238E27FC236}">
                <a16:creationId xmlns:a16="http://schemas.microsoft.com/office/drawing/2014/main" id="{AD79A547-A27F-B148-809B-3373CD24929D}"/>
              </a:ext>
            </a:extLst>
          </p:cNvPr>
          <p:cNvSpPr/>
          <p:nvPr userDrawn="1"/>
        </p:nvSpPr>
        <p:spPr>
          <a:xfrm>
            <a:off x="6765348"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Rechthoek 31">
            <a:extLst>
              <a:ext uri="{FF2B5EF4-FFF2-40B4-BE49-F238E27FC236}">
                <a16:creationId xmlns:a16="http://schemas.microsoft.com/office/drawing/2014/main" id="{AAE7EF1A-B46F-3D48-84FD-7298868A7936}"/>
              </a:ext>
            </a:extLst>
          </p:cNvPr>
          <p:cNvSpPr/>
          <p:nvPr userDrawn="1"/>
        </p:nvSpPr>
        <p:spPr>
          <a:xfrm>
            <a:off x="5328147"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Rechthoek 32">
            <a:extLst>
              <a:ext uri="{FF2B5EF4-FFF2-40B4-BE49-F238E27FC236}">
                <a16:creationId xmlns:a16="http://schemas.microsoft.com/office/drawing/2014/main" id="{CA63C914-A240-2745-B569-91B9A04FC774}"/>
              </a:ext>
            </a:extLst>
          </p:cNvPr>
          <p:cNvSpPr/>
          <p:nvPr userDrawn="1"/>
        </p:nvSpPr>
        <p:spPr>
          <a:xfrm>
            <a:off x="3891236"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Rechthoek 33">
            <a:extLst>
              <a:ext uri="{FF2B5EF4-FFF2-40B4-BE49-F238E27FC236}">
                <a16:creationId xmlns:a16="http://schemas.microsoft.com/office/drawing/2014/main" id="{9F935893-26FA-6540-800D-92E0E45DE9F9}"/>
              </a:ext>
            </a:extLst>
          </p:cNvPr>
          <p:cNvSpPr/>
          <p:nvPr userDrawn="1"/>
        </p:nvSpPr>
        <p:spPr>
          <a:xfrm>
            <a:off x="4609835"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Rechthoek 34">
            <a:extLst>
              <a:ext uri="{FF2B5EF4-FFF2-40B4-BE49-F238E27FC236}">
                <a16:creationId xmlns:a16="http://schemas.microsoft.com/office/drawing/2014/main" id="{95F895DA-5506-D343-A914-0D92E3609735}"/>
              </a:ext>
            </a:extLst>
          </p:cNvPr>
          <p:cNvSpPr/>
          <p:nvPr userDrawn="1"/>
        </p:nvSpPr>
        <p:spPr>
          <a:xfrm>
            <a:off x="3172847"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Rechthoek 35">
            <a:extLst>
              <a:ext uri="{FF2B5EF4-FFF2-40B4-BE49-F238E27FC236}">
                <a16:creationId xmlns:a16="http://schemas.microsoft.com/office/drawing/2014/main" id="{121A1C68-E204-1840-B61F-941A7A111A4F}"/>
              </a:ext>
            </a:extLst>
          </p:cNvPr>
          <p:cNvSpPr/>
          <p:nvPr userDrawn="1"/>
        </p:nvSpPr>
        <p:spPr>
          <a:xfrm>
            <a:off x="1735395"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7" name="Rechthoek 36">
            <a:extLst>
              <a:ext uri="{FF2B5EF4-FFF2-40B4-BE49-F238E27FC236}">
                <a16:creationId xmlns:a16="http://schemas.microsoft.com/office/drawing/2014/main" id="{CF0E8064-D5B7-044B-8E4E-9B855A0D894E}"/>
              </a:ext>
            </a:extLst>
          </p:cNvPr>
          <p:cNvSpPr/>
          <p:nvPr userDrawn="1"/>
        </p:nvSpPr>
        <p:spPr>
          <a:xfrm>
            <a:off x="2454538"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Rechthoek 37">
            <a:extLst>
              <a:ext uri="{FF2B5EF4-FFF2-40B4-BE49-F238E27FC236}">
                <a16:creationId xmlns:a16="http://schemas.microsoft.com/office/drawing/2014/main" id="{F6F87D09-D605-864E-BAD4-DA201A1A60B5}"/>
              </a:ext>
            </a:extLst>
          </p:cNvPr>
          <p:cNvSpPr/>
          <p:nvPr userDrawn="1"/>
        </p:nvSpPr>
        <p:spPr>
          <a:xfrm>
            <a:off x="1017006"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Rechthoek 38">
            <a:extLst>
              <a:ext uri="{FF2B5EF4-FFF2-40B4-BE49-F238E27FC236}">
                <a16:creationId xmlns:a16="http://schemas.microsoft.com/office/drawing/2014/main" id="{1FACFF14-C090-CC41-AA7D-0D8DEB546AC8}"/>
              </a:ext>
            </a:extLst>
          </p:cNvPr>
          <p:cNvSpPr/>
          <p:nvPr userDrawn="1"/>
        </p:nvSpPr>
        <p:spPr>
          <a:xfrm>
            <a:off x="298697"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Rechthoek 39">
            <a:extLst>
              <a:ext uri="{FF2B5EF4-FFF2-40B4-BE49-F238E27FC236}">
                <a16:creationId xmlns:a16="http://schemas.microsoft.com/office/drawing/2014/main" id="{E9AEA145-07EA-3144-807B-D2DC8C8924DE}"/>
              </a:ext>
            </a:extLst>
          </p:cNvPr>
          <p:cNvSpPr/>
          <p:nvPr userDrawn="1"/>
        </p:nvSpPr>
        <p:spPr>
          <a:xfrm>
            <a:off x="7483605"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Rechthoek 40">
            <a:extLst>
              <a:ext uri="{FF2B5EF4-FFF2-40B4-BE49-F238E27FC236}">
                <a16:creationId xmlns:a16="http://schemas.microsoft.com/office/drawing/2014/main" id="{A5F264FA-6E92-B542-8C59-C66A9AAE3098}"/>
              </a:ext>
            </a:extLst>
          </p:cNvPr>
          <p:cNvSpPr/>
          <p:nvPr userDrawn="1"/>
        </p:nvSpPr>
        <p:spPr>
          <a:xfrm>
            <a:off x="8201604"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hoek 42">
            <a:extLst>
              <a:ext uri="{FF2B5EF4-FFF2-40B4-BE49-F238E27FC236}">
                <a16:creationId xmlns:a16="http://schemas.microsoft.com/office/drawing/2014/main" id="{71A573F0-E26F-604D-9941-C3CF9C05A5B4}"/>
              </a:ext>
            </a:extLst>
          </p:cNvPr>
          <p:cNvSpPr/>
          <p:nvPr userDrawn="1"/>
        </p:nvSpPr>
        <p:spPr>
          <a:xfrm>
            <a:off x="6046746"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Rechthoek 43">
            <a:extLst>
              <a:ext uri="{FF2B5EF4-FFF2-40B4-BE49-F238E27FC236}">
                <a16:creationId xmlns:a16="http://schemas.microsoft.com/office/drawing/2014/main" id="{C391B043-EB75-AC4C-9C20-42F7719F8852}"/>
              </a:ext>
            </a:extLst>
          </p:cNvPr>
          <p:cNvSpPr/>
          <p:nvPr userDrawn="1"/>
        </p:nvSpPr>
        <p:spPr>
          <a:xfrm>
            <a:off x="6765348"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Rechthoek 44">
            <a:extLst>
              <a:ext uri="{FF2B5EF4-FFF2-40B4-BE49-F238E27FC236}">
                <a16:creationId xmlns:a16="http://schemas.microsoft.com/office/drawing/2014/main" id="{33D1DE09-726C-6341-999D-840021A448AD}"/>
              </a:ext>
            </a:extLst>
          </p:cNvPr>
          <p:cNvSpPr/>
          <p:nvPr userDrawn="1"/>
        </p:nvSpPr>
        <p:spPr>
          <a:xfrm>
            <a:off x="5328147"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Rechthoek 45">
            <a:extLst>
              <a:ext uri="{FF2B5EF4-FFF2-40B4-BE49-F238E27FC236}">
                <a16:creationId xmlns:a16="http://schemas.microsoft.com/office/drawing/2014/main" id="{FAEB82A8-4541-0641-9FBB-D9E6740C9240}"/>
              </a:ext>
            </a:extLst>
          </p:cNvPr>
          <p:cNvSpPr/>
          <p:nvPr userDrawn="1"/>
        </p:nvSpPr>
        <p:spPr>
          <a:xfrm>
            <a:off x="3891236"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Rechthoek 46">
            <a:extLst>
              <a:ext uri="{FF2B5EF4-FFF2-40B4-BE49-F238E27FC236}">
                <a16:creationId xmlns:a16="http://schemas.microsoft.com/office/drawing/2014/main" id="{4F4A2FEF-2A3C-3A44-B529-5D3FA211CF0E}"/>
              </a:ext>
            </a:extLst>
          </p:cNvPr>
          <p:cNvSpPr/>
          <p:nvPr userDrawn="1"/>
        </p:nvSpPr>
        <p:spPr>
          <a:xfrm>
            <a:off x="4609835"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8" name="Rechthoek 47">
            <a:extLst>
              <a:ext uri="{FF2B5EF4-FFF2-40B4-BE49-F238E27FC236}">
                <a16:creationId xmlns:a16="http://schemas.microsoft.com/office/drawing/2014/main" id="{E1354054-A88A-0343-A87B-8F52E23695BD}"/>
              </a:ext>
            </a:extLst>
          </p:cNvPr>
          <p:cNvSpPr/>
          <p:nvPr userDrawn="1"/>
        </p:nvSpPr>
        <p:spPr>
          <a:xfrm>
            <a:off x="3172847"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9" name="Rechthoek 48">
            <a:extLst>
              <a:ext uri="{FF2B5EF4-FFF2-40B4-BE49-F238E27FC236}">
                <a16:creationId xmlns:a16="http://schemas.microsoft.com/office/drawing/2014/main" id="{B08DD33E-8138-3449-BE46-E5DC5BB022FC}"/>
              </a:ext>
            </a:extLst>
          </p:cNvPr>
          <p:cNvSpPr/>
          <p:nvPr userDrawn="1"/>
        </p:nvSpPr>
        <p:spPr>
          <a:xfrm>
            <a:off x="1735395"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0" name="Rechthoek 49">
            <a:extLst>
              <a:ext uri="{FF2B5EF4-FFF2-40B4-BE49-F238E27FC236}">
                <a16:creationId xmlns:a16="http://schemas.microsoft.com/office/drawing/2014/main" id="{92E1D343-2A3B-064B-BBC7-AD10C832DE6F}"/>
              </a:ext>
            </a:extLst>
          </p:cNvPr>
          <p:cNvSpPr/>
          <p:nvPr userDrawn="1"/>
        </p:nvSpPr>
        <p:spPr>
          <a:xfrm>
            <a:off x="2454538"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1" name="Rechthoek 50">
            <a:extLst>
              <a:ext uri="{FF2B5EF4-FFF2-40B4-BE49-F238E27FC236}">
                <a16:creationId xmlns:a16="http://schemas.microsoft.com/office/drawing/2014/main" id="{BCA929E6-071D-BC47-ABBA-0F54BCF08A98}"/>
              </a:ext>
            </a:extLst>
          </p:cNvPr>
          <p:cNvSpPr/>
          <p:nvPr userDrawn="1"/>
        </p:nvSpPr>
        <p:spPr>
          <a:xfrm>
            <a:off x="1017006"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Rechthoek 51">
            <a:extLst>
              <a:ext uri="{FF2B5EF4-FFF2-40B4-BE49-F238E27FC236}">
                <a16:creationId xmlns:a16="http://schemas.microsoft.com/office/drawing/2014/main" id="{41F35419-1F69-554D-83E8-5B9C6E6540C4}"/>
              </a:ext>
            </a:extLst>
          </p:cNvPr>
          <p:cNvSpPr/>
          <p:nvPr userDrawn="1"/>
        </p:nvSpPr>
        <p:spPr>
          <a:xfrm>
            <a:off x="298697"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hthoek 52">
            <a:extLst>
              <a:ext uri="{FF2B5EF4-FFF2-40B4-BE49-F238E27FC236}">
                <a16:creationId xmlns:a16="http://schemas.microsoft.com/office/drawing/2014/main" id="{3FB2D57A-36C2-784C-869D-CCF4F624D61A}"/>
              </a:ext>
            </a:extLst>
          </p:cNvPr>
          <p:cNvSpPr/>
          <p:nvPr userDrawn="1"/>
        </p:nvSpPr>
        <p:spPr>
          <a:xfrm>
            <a:off x="7483605"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Rechthoek 54">
            <a:extLst>
              <a:ext uri="{FF2B5EF4-FFF2-40B4-BE49-F238E27FC236}">
                <a16:creationId xmlns:a16="http://schemas.microsoft.com/office/drawing/2014/main" id="{7CF217BD-864C-AB4C-908D-95388151AD9D}"/>
              </a:ext>
            </a:extLst>
          </p:cNvPr>
          <p:cNvSpPr/>
          <p:nvPr userDrawn="1"/>
        </p:nvSpPr>
        <p:spPr>
          <a:xfrm>
            <a:off x="6046746"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Rechthoek 55">
            <a:extLst>
              <a:ext uri="{FF2B5EF4-FFF2-40B4-BE49-F238E27FC236}">
                <a16:creationId xmlns:a16="http://schemas.microsoft.com/office/drawing/2014/main" id="{A96E1BBE-C7A3-804E-8970-E35A54197280}"/>
              </a:ext>
            </a:extLst>
          </p:cNvPr>
          <p:cNvSpPr/>
          <p:nvPr userDrawn="1"/>
        </p:nvSpPr>
        <p:spPr>
          <a:xfrm>
            <a:off x="6765348"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hthoek 56">
            <a:extLst>
              <a:ext uri="{FF2B5EF4-FFF2-40B4-BE49-F238E27FC236}">
                <a16:creationId xmlns:a16="http://schemas.microsoft.com/office/drawing/2014/main" id="{13501DFA-0001-0C44-8B90-5ABC5B443447}"/>
              </a:ext>
            </a:extLst>
          </p:cNvPr>
          <p:cNvSpPr/>
          <p:nvPr userDrawn="1"/>
        </p:nvSpPr>
        <p:spPr>
          <a:xfrm>
            <a:off x="5328147"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Rechthoek 57">
            <a:extLst>
              <a:ext uri="{FF2B5EF4-FFF2-40B4-BE49-F238E27FC236}">
                <a16:creationId xmlns:a16="http://schemas.microsoft.com/office/drawing/2014/main" id="{04D8DE7B-D0DB-4C4C-839D-F676A60A90D8}"/>
              </a:ext>
            </a:extLst>
          </p:cNvPr>
          <p:cNvSpPr/>
          <p:nvPr userDrawn="1"/>
        </p:nvSpPr>
        <p:spPr>
          <a:xfrm>
            <a:off x="3891236"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hthoek 58">
            <a:extLst>
              <a:ext uri="{FF2B5EF4-FFF2-40B4-BE49-F238E27FC236}">
                <a16:creationId xmlns:a16="http://schemas.microsoft.com/office/drawing/2014/main" id="{2367FD78-54F8-9849-810F-ABFCB5A5241B}"/>
              </a:ext>
            </a:extLst>
          </p:cNvPr>
          <p:cNvSpPr/>
          <p:nvPr userDrawn="1"/>
        </p:nvSpPr>
        <p:spPr>
          <a:xfrm>
            <a:off x="4609835"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0" name="Rechthoek 59">
            <a:extLst>
              <a:ext uri="{FF2B5EF4-FFF2-40B4-BE49-F238E27FC236}">
                <a16:creationId xmlns:a16="http://schemas.microsoft.com/office/drawing/2014/main" id="{F35202B4-F428-4B4C-BAA6-DB0A12CA42D9}"/>
              </a:ext>
            </a:extLst>
          </p:cNvPr>
          <p:cNvSpPr/>
          <p:nvPr userDrawn="1"/>
        </p:nvSpPr>
        <p:spPr>
          <a:xfrm>
            <a:off x="3172847"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hthoek 60">
            <a:extLst>
              <a:ext uri="{FF2B5EF4-FFF2-40B4-BE49-F238E27FC236}">
                <a16:creationId xmlns:a16="http://schemas.microsoft.com/office/drawing/2014/main" id="{CBE1823C-8A1E-7D4E-8899-511CD52A9303}"/>
              </a:ext>
            </a:extLst>
          </p:cNvPr>
          <p:cNvSpPr/>
          <p:nvPr userDrawn="1"/>
        </p:nvSpPr>
        <p:spPr>
          <a:xfrm>
            <a:off x="1735395"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2" name="Rechthoek 61">
            <a:extLst>
              <a:ext uri="{FF2B5EF4-FFF2-40B4-BE49-F238E27FC236}">
                <a16:creationId xmlns:a16="http://schemas.microsoft.com/office/drawing/2014/main" id="{0FF17A95-5C32-754C-B3E2-12F2507F6A43}"/>
              </a:ext>
            </a:extLst>
          </p:cNvPr>
          <p:cNvSpPr/>
          <p:nvPr userDrawn="1"/>
        </p:nvSpPr>
        <p:spPr>
          <a:xfrm>
            <a:off x="2454538"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3" name="Rechthoek 62">
            <a:extLst>
              <a:ext uri="{FF2B5EF4-FFF2-40B4-BE49-F238E27FC236}">
                <a16:creationId xmlns:a16="http://schemas.microsoft.com/office/drawing/2014/main" id="{FC953C7C-C797-354D-BD11-776152287FB9}"/>
              </a:ext>
            </a:extLst>
          </p:cNvPr>
          <p:cNvSpPr/>
          <p:nvPr userDrawn="1"/>
        </p:nvSpPr>
        <p:spPr>
          <a:xfrm>
            <a:off x="1017006"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4" name="Rechthoek 63">
            <a:extLst>
              <a:ext uri="{FF2B5EF4-FFF2-40B4-BE49-F238E27FC236}">
                <a16:creationId xmlns:a16="http://schemas.microsoft.com/office/drawing/2014/main" id="{2576EBDF-5637-A94A-ABF7-4A2F8A15E89A}"/>
              </a:ext>
            </a:extLst>
          </p:cNvPr>
          <p:cNvSpPr/>
          <p:nvPr userDrawn="1"/>
        </p:nvSpPr>
        <p:spPr>
          <a:xfrm>
            <a:off x="298697"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5" name="Rechthoek 64">
            <a:extLst>
              <a:ext uri="{FF2B5EF4-FFF2-40B4-BE49-F238E27FC236}">
                <a16:creationId xmlns:a16="http://schemas.microsoft.com/office/drawing/2014/main" id="{E4D3AEA9-6447-4B4E-B9B7-75FDB54BFF49}"/>
              </a:ext>
            </a:extLst>
          </p:cNvPr>
          <p:cNvSpPr/>
          <p:nvPr userDrawn="1"/>
        </p:nvSpPr>
        <p:spPr>
          <a:xfrm>
            <a:off x="7483605"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1" name="Rechthoek 150">
            <a:extLst>
              <a:ext uri="{FF2B5EF4-FFF2-40B4-BE49-F238E27FC236}">
                <a16:creationId xmlns:a16="http://schemas.microsoft.com/office/drawing/2014/main" id="{9096D610-01A6-2048-A72F-E98D2D00ED27}"/>
              </a:ext>
            </a:extLst>
          </p:cNvPr>
          <p:cNvSpPr/>
          <p:nvPr userDrawn="1"/>
        </p:nvSpPr>
        <p:spPr>
          <a:xfrm>
            <a:off x="8919762"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3" name="Rechte verbindingslijn 2">
            <a:extLst>
              <a:ext uri="{FF2B5EF4-FFF2-40B4-BE49-F238E27FC236}">
                <a16:creationId xmlns:a16="http://schemas.microsoft.com/office/drawing/2014/main" id="{08F81A43-1C37-DD4A-9DDD-FB037562FA22}"/>
              </a:ext>
            </a:extLst>
          </p:cNvPr>
          <p:cNvCxnSpPr>
            <a:cxnSpLocks/>
          </p:cNvCxnSpPr>
          <p:nvPr userDrawn="1"/>
        </p:nvCxnSpPr>
        <p:spPr>
          <a:xfrm>
            <a:off x="0" y="519378"/>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Rechte verbindingslijn 152">
            <a:extLst>
              <a:ext uri="{FF2B5EF4-FFF2-40B4-BE49-F238E27FC236}">
                <a16:creationId xmlns:a16="http://schemas.microsoft.com/office/drawing/2014/main" id="{28E030FA-7EFA-A44B-BF59-F330E53F00B7}"/>
              </a:ext>
            </a:extLst>
          </p:cNvPr>
          <p:cNvCxnSpPr>
            <a:cxnSpLocks/>
          </p:cNvCxnSpPr>
          <p:nvPr userDrawn="1"/>
        </p:nvCxnSpPr>
        <p:spPr>
          <a:xfrm>
            <a:off x="0" y="123871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Rechte verbindingslijn 154">
            <a:extLst>
              <a:ext uri="{FF2B5EF4-FFF2-40B4-BE49-F238E27FC236}">
                <a16:creationId xmlns:a16="http://schemas.microsoft.com/office/drawing/2014/main" id="{06AAAE0D-5D05-274C-88DC-E9BDA5471EDC}"/>
              </a:ext>
            </a:extLst>
          </p:cNvPr>
          <p:cNvCxnSpPr>
            <a:cxnSpLocks/>
          </p:cNvCxnSpPr>
          <p:nvPr userDrawn="1"/>
        </p:nvCxnSpPr>
        <p:spPr>
          <a:xfrm>
            <a:off x="0" y="1958054"/>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0" name="Rechte verbindingslijn 159">
            <a:extLst>
              <a:ext uri="{FF2B5EF4-FFF2-40B4-BE49-F238E27FC236}">
                <a16:creationId xmlns:a16="http://schemas.microsoft.com/office/drawing/2014/main" id="{9084ECBC-8B80-EE4C-A686-3D14A22D19A8}"/>
              </a:ext>
            </a:extLst>
          </p:cNvPr>
          <p:cNvCxnSpPr>
            <a:cxnSpLocks/>
          </p:cNvCxnSpPr>
          <p:nvPr userDrawn="1"/>
        </p:nvCxnSpPr>
        <p:spPr>
          <a:xfrm>
            <a:off x="352883" y="0"/>
            <a:ext cx="0" cy="190385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Rechte verbindingslijn 160">
            <a:extLst>
              <a:ext uri="{FF2B5EF4-FFF2-40B4-BE49-F238E27FC236}">
                <a16:creationId xmlns:a16="http://schemas.microsoft.com/office/drawing/2014/main" id="{2A4F2F9B-CC07-FA41-B48E-576DE755868D}"/>
              </a:ext>
            </a:extLst>
          </p:cNvPr>
          <p:cNvCxnSpPr>
            <a:cxnSpLocks/>
          </p:cNvCxnSpPr>
          <p:nvPr userDrawn="1"/>
        </p:nvCxnSpPr>
        <p:spPr>
          <a:xfrm>
            <a:off x="1071192" y="0"/>
            <a:ext cx="0" cy="190385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2" name="Rechte verbindingslijn 161">
            <a:extLst>
              <a:ext uri="{FF2B5EF4-FFF2-40B4-BE49-F238E27FC236}">
                <a16:creationId xmlns:a16="http://schemas.microsoft.com/office/drawing/2014/main" id="{B4E4141B-55F5-7B46-82B3-EB5B2A55EC52}"/>
              </a:ext>
            </a:extLst>
          </p:cNvPr>
          <p:cNvCxnSpPr>
            <a:cxnSpLocks/>
          </p:cNvCxnSpPr>
          <p:nvPr userDrawn="1"/>
        </p:nvCxnSpPr>
        <p:spPr>
          <a:xfrm>
            <a:off x="1789581" y="0"/>
            <a:ext cx="0" cy="190385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3" name="Rechte verbindingslijn 162">
            <a:extLst>
              <a:ext uri="{FF2B5EF4-FFF2-40B4-BE49-F238E27FC236}">
                <a16:creationId xmlns:a16="http://schemas.microsoft.com/office/drawing/2014/main" id="{D97D76F6-3381-CA4E-B8FB-DFB308669D0E}"/>
              </a:ext>
            </a:extLst>
          </p:cNvPr>
          <p:cNvCxnSpPr>
            <a:cxnSpLocks/>
          </p:cNvCxnSpPr>
          <p:nvPr userDrawn="1"/>
        </p:nvCxnSpPr>
        <p:spPr>
          <a:xfrm>
            <a:off x="2508724" y="0"/>
            <a:ext cx="0" cy="190385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4" name="Rechte verbindingslijn 163">
            <a:extLst>
              <a:ext uri="{FF2B5EF4-FFF2-40B4-BE49-F238E27FC236}">
                <a16:creationId xmlns:a16="http://schemas.microsoft.com/office/drawing/2014/main" id="{F453A32B-7BDF-AB4B-85FD-50828AD7FC0E}"/>
              </a:ext>
            </a:extLst>
          </p:cNvPr>
          <p:cNvCxnSpPr>
            <a:cxnSpLocks/>
          </p:cNvCxnSpPr>
          <p:nvPr userDrawn="1"/>
        </p:nvCxnSpPr>
        <p:spPr>
          <a:xfrm>
            <a:off x="3227033" y="0"/>
            <a:ext cx="0" cy="190385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Rechte verbindingslijn 164">
            <a:extLst>
              <a:ext uri="{FF2B5EF4-FFF2-40B4-BE49-F238E27FC236}">
                <a16:creationId xmlns:a16="http://schemas.microsoft.com/office/drawing/2014/main" id="{E64DEEC8-76C9-5940-9E03-139236257ED7}"/>
              </a:ext>
            </a:extLst>
          </p:cNvPr>
          <p:cNvCxnSpPr>
            <a:cxnSpLocks/>
          </p:cNvCxnSpPr>
          <p:nvPr userDrawn="1"/>
        </p:nvCxnSpPr>
        <p:spPr>
          <a:xfrm>
            <a:off x="3945422" y="0"/>
            <a:ext cx="0" cy="190385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id="{909519FF-8387-A54F-98A9-17FC08888FAD}"/>
              </a:ext>
            </a:extLst>
          </p:cNvPr>
          <p:cNvCxnSpPr>
            <a:cxnSpLocks/>
          </p:cNvCxnSpPr>
          <p:nvPr userDrawn="1"/>
        </p:nvCxnSpPr>
        <p:spPr>
          <a:xfrm>
            <a:off x="4664021" y="0"/>
            <a:ext cx="0" cy="190385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7" name="Rechte verbindingslijn 166">
            <a:extLst>
              <a:ext uri="{FF2B5EF4-FFF2-40B4-BE49-F238E27FC236}">
                <a16:creationId xmlns:a16="http://schemas.microsoft.com/office/drawing/2014/main" id="{B8CB9DD3-6756-2F4C-8A39-E3444D116DF3}"/>
              </a:ext>
            </a:extLst>
          </p:cNvPr>
          <p:cNvCxnSpPr>
            <a:cxnSpLocks/>
          </p:cNvCxnSpPr>
          <p:nvPr userDrawn="1"/>
        </p:nvCxnSpPr>
        <p:spPr>
          <a:xfrm>
            <a:off x="5382333" y="0"/>
            <a:ext cx="0" cy="190385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8" name="Rechte verbindingslijn 167">
            <a:extLst>
              <a:ext uri="{FF2B5EF4-FFF2-40B4-BE49-F238E27FC236}">
                <a16:creationId xmlns:a16="http://schemas.microsoft.com/office/drawing/2014/main" id="{D7191A19-BE2B-7142-B341-5CC3B301CFF2}"/>
              </a:ext>
            </a:extLst>
          </p:cNvPr>
          <p:cNvCxnSpPr>
            <a:cxnSpLocks/>
          </p:cNvCxnSpPr>
          <p:nvPr userDrawn="1"/>
        </p:nvCxnSpPr>
        <p:spPr>
          <a:xfrm>
            <a:off x="6100932" y="0"/>
            <a:ext cx="0" cy="190386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A36499FC-EDBA-D443-ACDB-96E8DBB1D053}"/>
              </a:ext>
            </a:extLst>
          </p:cNvPr>
          <p:cNvCxnSpPr>
            <a:cxnSpLocks/>
          </p:cNvCxnSpPr>
          <p:nvPr userDrawn="1"/>
        </p:nvCxnSpPr>
        <p:spPr>
          <a:xfrm>
            <a:off x="6819534" y="0"/>
            <a:ext cx="0" cy="190386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0" name="Rechte verbindingslijn 169">
            <a:extLst>
              <a:ext uri="{FF2B5EF4-FFF2-40B4-BE49-F238E27FC236}">
                <a16:creationId xmlns:a16="http://schemas.microsoft.com/office/drawing/2014/main" id="{9BC8AC53-6781-204B-8D5D-79445943BAAA}"/>
              </a:ext>
            </a:extLst>
          </p:cNvPr>
          <p:cNvCxnSpPr>
            <a:cxnSpLocks/>
          </p:cNvCxnSpPr>
          <p:nvPr userDrawn="1"/>
        </p:nvCxnSpPr>
        <p:spPr>
          <a:xfrm>
            <a:off x="7537791" y="0"/>
            <a:ext cx="0" cy="190386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Rechte verbindingslijn 170">
            <a:extLst>
              <a:ext uri="{FF2B5EF4-FFF2-40B4-BE49-F238E27FC236}">
                <a16:creationId xmlns:a16="http://schemas.microsoft.com/office/drawing/2014/main" id="{1D2D6E7F-8E88-5349-8861-E5BFDE0F81F2}"/>
              </a:ext>
            </a:extLst>
          </p:cNvPr>
          <p:cNvCxnSpPr>
            <a:cxnSpLocks/>
          </p:cNvCxnSpPr>
          <p:nvPr userDrawn="1"/>
        </p:nvCxnSpPr>
        <p:spPr>
          <a:xfrm>
            <a:off x="8255790" y="0"/>
            <a:ext cx="0" cy="190386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8D02B05F-7C0D-EA41-9240-1BFB1769572D}"/>
              </a:ext>
            </a:extLst>
          </p:cNvPr>
          <p:cNvCxnSpPr>
            <a:cxnSpLocks/>
          </p:cNvCxnSpPr>
          <p:nvPr userDrawn="1"/>
        </p:nvCxnSpPr>
        <p:spPr>
          <a:xfrm>
            <a:off x="8973948" y="0"/>
            <a:ext cx="0" cy="190386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Rechte verbindingslijn 172">
            <a:extLst>
              <a:ext uri="{FF2B5EF4-FFF2-40B4-BE49-F238E27FC236}">
                <a16:creationId xmlns:a16="http://schemas.microsoft.com/office/drawing/2014/main" id="{12B6274F-6939-3142-883F-376629314F15}"/>
              </a:ext>
            </a:extLst>
          </p:cNvPr>
          <p:cNvCxnSpPr>
            <a:cxnSpLocks/>
          </p:cNvCxnSpPr>
          <p:nvPr userDrawn="1"/>
        </p:nvCxnSpPr>
        <p:spPr>
          <a:xfrm>
            <a:off x="9692528" y="0"/>
            <a:ext cx="0" cy="190386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Rechte verbindingslijn 173">
            <a:extLst>
              <a:ext uri="{FF2B5EF4-FFF2-40B4-BE49-F238E27FC236}">
                <a16:creationId xmlns:a16="http://schemas.microsoft.com/office/drawing/2014/main" id="{CCF9CA99-F55A-D44E-8ABD-C16AABD7CFC8}"/>
              </a:ext>
            </a:extLst>
          </p:cNvPr>
          <p:cNvCxnSpPr>
            <a:cxnSpLocks/>
          </p:cNvCxnSpPr>
          <p:nvPr userDrawn="1"/>
        </p:nvCxnSpPr>
        <p:spPr>
          <a:xfrm>
            <a:off x="10410532" y="0"/>
            <a:ext cx="0" cy="190386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Rechte verbindingslijn 174">
            <a:extLst>
              <a:ext uri="{FF2B5EF4-FFF2-40B4-BE49-F238E27FC236}">
                <a16:creationId xmlns:a16="http://schemas.microsoft.com/office/drawing/2014/main" id="{FB315C66-EB86-184C-B8C3-73C9691FDDAB}"/>
              </a:ext>
            </a:extLst>
          </p:cNvPr>
          <p:cNvCxnSpPr>
            <a:cxnSpLocks/>
          </p:cNvCxnSpPr>
          <p:nvPr userDrawn="1"/>
        </p:nvCxnSpPr>
        <p:spPr>
          <a:xfrm>
            <a:off x="11129112" y="0"/>
            <a:ext cx="0" cy="190386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Rechte verbindingslijn 175">
            <a:extLst>
              <a:ext uri="{FF2B5EF4-FFF2-40B4-BE49-F238E27FC236}">
                <a16:creationId xmlns:a16="http://schemas.microsoft.com/office/drawing/2014/main" id="{0796196D-AABF-D34C-9A60-A52EDA0E7E00}"/>
              </a:ext>
            </a:extLst>
          </p:cNvPr>
          <p:cNvCxnSpPr>
            <a:cxnSpLocks/>
          </p:cNvCxnSpPr>
          <p:nvPr userDrawn="1"/>
        </p:nvCxnSpPr>
        <p:spPr>
          <a:xfrm>
            <a:off x="11847696" y="0"/>
            <a:ext cx="0" cy="190386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93" name="Rechthoek 192">
            <a:extLst>
              <a:ext uri="{FF2B5EF4-FFF2-40B4-BE49-F238E27FC236}">
                <a16:creationId xmlns:a16="http://schemas.microsoft.com/office/drawing/2014/main" id="{106EF714-5836-8849-9247-3F3099F60BA9}"/>
              </a:ext>
            </a:extLst>
          </p:cNvPr>
          <p:cNvSpPr/>
          <p:nvPr userDrawn="1"/>
        </p:nvSpPr>
        <p:spPr>
          <a:xfrm>
            <a:off x="8201604"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98" name="Rechthoek 197">
            <a:extLst>
              <a:ext uri="{FF2B5EF4-FFF2-40B4-BE49-F238E27FC236}">
                <a16:creationId xmlns:a16="http://schemas.microsoft.com/office/drawing/2014/main" id="{3949CC4E-E31E-B348-8EE0-344794EC51A9}"/>
              </a:ext>
            </a:extLst>
          </p:cNvPr>
          <p:cNvSpPr/>
          <p:nvPr userDrawn="1"/>
        </p:nvSpPr>
        <p:spPr>
          <a:xfrm>
            <a:off x="8201604"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99" name="Rechthoek 198">
            <a:extLst>
              <a:ext uri="{FF2B5EF4-FFF2-40B4-BE49-F238E27FC236}">
                <a16:creationId xmlns:a16="http://schemas.microsoft.com/office/drawing/2014/main" id="{80F6EC44-1F58-964D-9059-E52CE6DCB5B3}"/>
              </a:ext>
            </a:extLst>
          </p:cNvPr>
          <p:cNvSpPr/>
          <p:nvPr userDrawn="1"/>
        </p:nvSpPr>
        <p:spPr>
          <a:xfrm>
            <a:off x="8919762"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0" name="Rechthoek 199">
            <a:extLst>
              <a:ext uri="{FF2B5EF4-FFF2-40B4-BE49-F238E27FC236}">
                <a16:creationId xmlns:a16="http://schemas.microsoft.com/office/drawing/2014/main" id="{D4F52283-5F4E-DB41-B539-D7A76B4EA5E8}"/>
              </a:ext>
            </a:extLst>
          </p:cNvPr>
          <p:cNvSpPr/>
          <p:nvPr userDrawn="1"/>
        </p:nvSpPr>
        <p:spPr>
          <a:xfrm>
            <a:off x="8919762"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1" name="Rechthoek 200">
            <a:extLst>
              <a:ext uri="{FF2B5EF4-FFF2-40B4-BE49-F238E27FC236}">
                <a16:creationId xmlns:a16="http://schemas.microsoft.com/office/drawing/2014/main" id="{EFB2774C-60EE-4440-83DD-E4DCFF4474BA}"/>
              </a:ext>
            </a:extLst>
          </p:cNvPr>
          <p:cNvSpPr/>
          <p:nvPr userDrawn="1"/>
        </p:nvSpPr>
        <p:spPr>
          <a:xfrm>
            <a:off x="9638342"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2" name="Rechthoek 201">
            <a:extLst>
              <a:ext uri="{FF2B5EF4-FFF2-40B4-BE49-F238E27FC236}">
                <a16:creationId xmlns:a16="http://schemas.microsoft.com/office/drawing/2014/main" id="{59295579-802E-FD4D-B67C-534F87415BC8}"/>
              </a:ext>
            </a:extLst>
          </p:cNvPr>
          <p:cNvSpPr/>
          <p:nvPr userDrawn="1"/>
        </p:nvSpPr>
        <p:spPr>
          <a:xfrm>
            <a:off x="9638342"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3" name="Rechthoek 202">
            <a:extLst>
              <a:ext uri="{FF2B5EF4-FFF2-40B4-BE49-F238E27FC236}">
                <a16:creationId xmlns:a16="http://schemas.microsoft.com/office/drawing/2014/main" id="{0FD6F20D-991B-E646-AE35-590BC8E51C6B}"/>
              </a:ext>
            </a:extLst>
          </p:cNvPr>
          <p:cNvSpPr/>
          <p:nvPr userDrawn="1"/>
        </p:nvSpPr>
        <p:spPr>
          <a:xfrm>
            <a:off x="9638342"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6" name="Rechthoek 205">
            <a:extLst>
              <a:ext uri="{FF2B5EF4-FFF2-40B4-BE49-F238E27FC236}">
                <a16:creationId xmlns:a16="http://schemas.microsoft.com/office/drawing/2014/main" id="{9CD9CE5E-0CF1-DD41-8DCE-5272A6051A9C}"/>
              </a:ext>
            </a:extLst>
          </p:cNvPr>
          <p:cNvSpPr/>
          <p:nvPr userDrawn="1"/>
        </p:nvSpPr>
        <p:spPr>
          <a:xfrm>
            <a:off x="10356346"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7" name="Rechthoek 206">
            <a:extLst>
              <a:ext uri="{FF2B5EF4-FFF2-40B4-BE49-F238E27FC236}">
                <a16:creationId xmlns:a16="http://schemas.microsoft.com/office/drawing/2014/main" id="{593BF631-3067-5B49-B473-B3EE7A1EE32E}"/>
              </a:ext>
            </a:extLst>
          </p:cNvPr>
          <p:cNvSpPr/>
          <p:nvPr userDrawn="1"/>
        </p:nvSpPr>
        <p:spPr>
          <a:xfrm>
            <a:off x="10356346"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8" name="Rechthoek 207">
            <a:extLst>
              <a:ext uri="{FF2B5EF4-FFF2-40B4-BE49-F238E27FC236}">
                <a16:creationId xmlns:a16="http://schemas.microsoft.com/office/drawing/2014/main" id="{5FFB3878-EF4C-D545-AE2F-1E7B2EA8D222}"/>
              </a:ext>
            </a:extLst>
          </p:cNvPr>
          <p:cNvSpPr/>
          <p:nvPr userDrawn="1"/>
        </p:nvSpPr>
        <p:spPr>
          <a:xfrm>
            <a:off x="10356346"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0" name="Rechthoek 209">
            <a:extLst>
              <a:ext uri="{FF2B5EF4-FFF2-40B4-BE49-F238E27FC236}">
                <a16:creationId xmlns:a16="http://schemas.microsoft.com/office/drawing/2014/main" id="{C5D2AC67-B248-7142-BD4C-B410C713F1E0}"/>
              </a:ext>
            </a:extLst>
          </p:cNvPr>
          <p:cNvSpPr/>
          <p:nvPr userDrawn="1"/>
        </p:nvSpPr>
        <p:spPr>
          <a:xfrm>
            <a:off x="11074926"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1" name="Rechthoek 210">
            <a:extLst>
              <a:ext uri="{FF2B5EF4-FFF2-40B4-BE49-F238E27FC236}">
                <a16:creationId xmlns:a16="http://schemas.microsoft.com/office/drawing/2014/main" id="{158F5BD3-BBAB-E348-8943-BFC1CF0E7615}"/>
              </a:ext>
            </a:extLst>
          </p:cNvPr>
          <p:cNvSpPr/>
          <p:nvPr userDrawn="1"/>
        </p:nvSpPr>
        <p:spPr>
          <a:xfrm>
            <a:off x="11074926"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2" name="Rechthoek 211">
            <a:extLst>
              <a:ext uri="{FF2B5EF4-FFF2-40B4-BE49-F238E27FC236}">
                <a16:creationId xmlns:a16="http://schemas.microsoft.com/office/drawing/2014/main" id="{C8C9E515-07DF-2743-BAE7-E7E7DFB07177}"/>
              </a:ext>
            </a:extLst>
          </p:cNvPr>
          <p:cNvSpPr/>
          <p:nvPr userDrawn="1"/>
        </p:nvSpPr>
        <p:spPr>
          <a:xfrm>
            <a:off x="11074926"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4" name="Rechthoek 213">
            <a:extLst>
              <a:ext uri="{FF2B5EF4-FFF2-40B4-BE49-F238E27FC236}">
                <a16:creationId xmlns:a16="http://schemas.microsoft.com/office/drawing/2014/main" id="{04D4890E-363D-4146-A95A-80DBF665CC4F}"/>
              </a:ext>
            </a:extLst>
          </p:cNvPr>
          <p:cNvSpPr/>
          <p:nvPr userDrawn="1"/>
        </p:nvSpPr>
        <p:spPr>
          <a:xfrm>
            <a:off x="11793510"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5" name="Rechthoek 214">
            <a:extLst>
              <a:ext uri="{FF2B5EF4-FFF2-40B4-BE49-F238E27FC236}">
                <a16:creationId xmlns:a16="http://schemas.microsoft.com/office/drawing/2014/main" id="{1EBFAB7B-C6B9-4741-B26F-58877A68951C}"/>
              </a:ext>
            </a:extLst>
          </p:cNvPr>
          <p:cNvSpPr/>
          <p:nvPr userDrawn="1"/>
        </p:nvSpPr>
        <p:spPr>
          <a:xfrm>
            <a:off x="11793510"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6" name="Rechthoek 215">
            <a:extLst>
              <a:ext uri="{FF2B5EF4-FFF2-40B4-BE49-F238E27FC236}">
                <a16:creationId xmlns:a16="http://schemas.microsoft.com/office/drawing/2014/main" id="{9EBDB85B-3009-FE41-BF98-B4BFF4696743}"/>
              </a:ext>
            </a:extLst>
          </p:cNvPr>
          <p:cNvSpPr/>
          <p:nvPr userDrawn="1"/>
        </p:nvSpPr>
        <p:spPr>
          <a:xfrm>
            <a:off x="11793510"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Ondertitel 2">
            <a:extLst>
              <a:ext uri="{FF2B5EF4-FFF2-40B4-BE49-F238E27FC236}">
                <a16:creationId xmlns:a16="http://schemas.microsoft.com/office/drawing/2014/main" id="{E25C2218-6731-6548-8649-FC497F84CD34}"/>
              </a:ext>
            </a:extLst>
          </p:cNvPr>
          <p:cNvSpPr>
            <a:spLocks noGrp="1"/>
          </p:cNvSpPr>
          <p:nvPr userDrawn="1">
            <p:ph type="subTitle" idx="1" hasCustomPrompt="1"/>
          </p:nvPr>
        </p:nvSpPr>
        <p:spPr>
          <a:xfrm>
            <a:off x="454698" y="4933790"/>
            <a:ext cx="9955822" cy="253692"/>
          </a:xfrm>
          <a:prstGeom prst="rect">
            <a:avLst/>
          </a:prstGeom>
        </p:spPr>
        <p:txBody>
          <a:bodyPr anchor="b">
            <a:noAutofit/>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 presenter</a:t>
            </a:r>
          </a:p>
        </p:txBody>
      </p:sp>
      <p:sp>
        <p:nvSpPr>
          <p:cNvPr id="308" name="Titel 10">
            <a:extLst>
              <a:ext uri="{FF2B5EF4-FFF2-40B4-BE49-F238E27FC236}">
                <a16:creationId xmlns:a16="http://schemas.microsoft.com/office/drawing/2014/main" id="{AEA3059D-9D3D-1E43-9012-6F21ADEA9B0E}"/>
              </a:ext>
            </a:extLst>
          </p:cNvPr>
          <p:cNvSpPr>
            <a:spLocks noGrp="1"/>
          </p:cNvSpPr>
          <p:nvPr userDrawn="1">
            <p:ph type="ctrTitle"/>
          </p:nvPr>
        </p:nvSpPr>
        <p:spPr>
          <a:xfrm>
            <a:off x="454698" y="2348489"/>
            <a:ext cx="9955834" cy="2354244"/>
          </a:xfrm>
          <a:prstGeom prst="rect">
            <a:avLst/>
          </a:prstGeom>
          <a:noFill/>
        </p:spPr>
        <p:txBody>
          <a:bodyPr wrap="square" lIns="0" rIns="0" bIns="0" anchor="b">
            <a:noAutofit/>
          </a:bodyPr>
          <a:lstStyle>
            <a:lvl1pPr algn="l">
              <a:defRPr sz="4800" b="1">
                <a:solidFill>
                  <a:schemeClr val="bg1"/>
                </a:solidFill>
              </a:defRPr>
            </a:lvl1pPr>
          </a:lstStyle>
          <a:p>
            <a:r>
              <a:rPr lang="de-DE" noProof="0"/>
              <a:t>Mastertitelformat bearbeiten</a:t>
            </a:r>
            <a:endParaRPr lang="en-GB" noProof="0"/>
          </a:p>
        </p:txBody>
      </p:sp>
      <p:sp>
        <p:nvSpPr>
          <p:cNvPr id="83" name="Tijdelijke aanduiding voor tekst 2">
            <a:extLst>
              <a:ext uri="{FF2B5EF4-FFF2-40B4-BE49-F238E27FC236}">
                <a16:creationId xmlns:a16="http://schemas.microsoft.com/office/drawing/2014/main" id="{50E67DB8-8826-9A41-85D6-BB3E9EF740CA}"/>
              </a:ext>
            </a:extLst>
          </p:cNvPr>
          <p:cNvSpPr>
            <a:spLocks noGrp="1"/>
          </p:cNvSpPr>
          <p:nvPr>
            <p:ph type="body" sz="quarter" idx="19" hasCustomPrompt="1"/>
          </p:nvPr>
        </p:nvSpPr>
        <p:spPr>
          <a:xfrm>
            <a:off x="454697" y="5228780"/>
            <a:ext cx="9955822" cy="211432"/>
          </a:xfrm>
          <a:prstGeom prst="rect">
            <a:avLst/>
          </a:prstGeom>
        </p:spPr>
        <p:txBody>
          <a:bodyPr anchor="t">
            <a:noAutofit/>
          </a:bodyPr>
          <a:lstStyle>
            <a:lvl1pPr marL="0" indent="0">
              <a:spcBef>
                <a:spcPts val="0"/>
              </a:spcBef>
              <a:buNone/>
              <a:defRPr sz="2000">
                <a:solidFill>
                  <a:schemeClr val="bg1"/>
                </a:solidFill>
              </a:defRPr>
            </a:lvl1pPr>
          </a:lstStyle>
          <a:p>
            <a:pPr lvl="0"/>
            <a:r>
              <a:rPr lang="en-GB" noProof="0"/>
              <a:t>Job title</a:t>
            </a:r>
          </a:p>
        </p:txBody>
      </p:sp>
      <p:sp>
        <p:nvSpPr>
          <p:cNvPr id="85" name="Tekstvak 185">
            <a:extLst>
              <a:ext uri="{FF2B5EF4-FFF2-40B4-BE49-F238E27FC236}">
                <a16:creationId xmlns:a16="http://schemas.microsoft.com/office/drawing/2014/main" id="{C41B0BB6-8997-4D44-A531-8F37DFA9DE68}"/>
              </a:ext>
            </a:extLst>
          </p:cNvPr>
          <p:cNvSpPr txBox="1"/>
          <p:nvPr userDrawn="1"/>
        </p:nvSpPr>
        <p:spPr bwMode="auto">
          <a:xfrm>
            <a:off x="12429807" y="-2"/>
            <a:ext cx="2670175" cy="6858001"/>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fontAlgn="auto">
              <a:spcBef>
                <a:spcPts val="0"/>
              </a:spcBef>
              <a:spcAft>
                <a:spcPts val="0"/>
              </a:spcAft>
              <a:defRPr/>
            </a:pPr>
            <a:r>
              <a:rPr lang="en-GB" sz="1400" b="0" noProof="0" dirty="0">
                <a:solidFill>
                  <a:schemeClr val="tx2"/>
                </a:solidFill>
                <a:latin typeface="+mn-lt"/>
                <a:cs typeface="+mn-cs"/>
              </a:rPr>
              <a:t>The title slides in this template have a background image</a:t>
            </a:r>
          </a:p>
          <a:p>
            <a:pPr>
              <a:spcAft>
                <a:spcPts val="600"/>
              </a:spcAft>
            </a:pPr>
            <a:endParaRPr lang="en-GB" sz="1200" noProof="0" dirty="0">
              <a:solidFill>
                <a:schemeClr val="tx2"/>
              </a:solidFill>
            </a:endParaRPr>
          </a:p>
          <a:p>
            <a:pPr marL="228600" indent="-228600">
              <a:spcAft>
                <a:spcPts val="600"/>
              </a:spcAft>
              <a:buFont typeface="Arial" panose="020B0604020202020204" pitchFamily="34" charset="0"/>
              <a:buChar char="•"/>
            </a:pPr>
            <a:r>
              <a:rPr lang="en-GB" sz="1200" noProof="0" dirty="0">
                <a:solidFill>
                  <a:schemeClr val="tx2"/>
                </a:solidFill>
              </a:rPr>
              <a:t>To change or insert a background image, right click your mouse on the picture and select Format background.</a:t>
            </a:r>
          </a:p>
          <a:p>
            <a:pPr marL="228600" indent="-228600">
              <a:spcAft>
                <a:spcPts val="600"/>
              </a:spcAft>
              <a:buFont typeface="Arial" panose="020B0604020202020204" pitchFamily="34" charset="0"/>
              <a:buChar char="•"/>
            </a:pPr>
            <a:r>
              <a:rPr lang="en-GB" sz="1200" noProof="0" dirty="0">
                <a:solidFill>
                  <a:schemeClr val="tx2"/>
                </a:solidFill>
              </a:rPr>
              <a:t>A Format Background dialogue box appears on the right of your screen.</a:t>
            </a:r>
          </a:p>
          <a:p>
            <a:pPr marL="228600" indent="-228600">
              <a:spcAft>
                <a:spcPts val="600"/>
              </a:spcAft>
              <a:buFont typeface="Arial" panose="020B0604020202020204" pitchFamily="34" charset="0"/>
              <a:buChar char="•"/>
            </a:pPr>
            <a:r>
              <a:rPr lang="en-GB" sz="1200" noProof="0" dirty="0">
                <a:solidFill>
                  <a:schemeClr val="tx2"/>
                </a:solidFill>
              </a:rPr>
              <a:t>Select Picture or texture fill.</a:t>
            </a:r>
          </a:p>
          <a:p>
            <a:pPr marL="228600" indent="-228600">
              <a:spcAft>
                <a:spcPts val="600"/>
              </a:spcAft>
              <a:buFont typeface="Arial" panose="020B0604020202020204" pitchFamily="34" charset="0"/>
              <a:buChar char="•"/>
            </a:pPr>
            <a:r>
              <a:rPr lang="en-GB" sz="1200" noProof="0" dirty="0">
                <a:solidFill>
                  <a:schemeClr val="tx2"/>
                </a:solidFill>
              </a:rPr>
              <a:t>Click on the Insert button and browse to your image of choice and click OK.</a:t>
            </a:r>
          </a:p>
          <a:p>
            <a:pPr marL="228600" indent="-228600">
              <a:spcAft>
                <a:spcPts val="600"/>
              </a:spcAft>
              <a:buFont typeface="Arial" panose="020B0604020202020204" pitchFamily="34" charset="0"/>
              <a:buChar char="•"/>
            </a:pPr>
            <a:r>
              <a:rPr lang="en-GB" sz="1200" b="1" noProof="0" dirty="0">
                <a:solidFill>
                  <a:schemeClr val="tx2"/>
                </a:solidFill>
                <a:latin typeface="+mn-lt"/>
                <a:cs typeface="+mn-cs"/>
              </a:rPr>
              <a:t>Make sure that your image has the ratio 4x3 for a standard presentation and 16x9 for a widescreen presentation for the best result</a:t>
            </a:r>
            <a:r>
              <a:rPr lang="en-GB" sz="1200" b="0" noProof="0" dirty="0">
                <a:solidFill>
                  <a:schemeClr val="tx2"/>
                </a:solidFill>
                <a:latin typeface="+mn-lt"/>
                <a:cs typeface="+mn-cs"/>
              </a:rPr>
              <a:t>. </a:t>
            </a:r>
          </a:p>
          <a:p>
            <a:pPr marL="0" indent="0" algn="l">
              <a:spcAft>
                <a:spcPts val="600"/>
              </a:spcAft>
              <a:buFont typeface="Arial" panose="020B0604020202020204" pitchFamily="34" charset="0"/>
              <a:buNone/>
            </a:pPr>
            <a:endParaRPr lang="en-GB" sz="1200" b="1" noProof="0" dirty="0">
              <a:solidFill>
                <a:schemeClr val="tx2"/>
              </a:solidFill>
              <a:latin typeface="+mn-lt"/>
              <a:cs typeface="+mn-cs"/>
            </a:endParaRPr>
          </a:p>
        </p:txBody>
      </p:sp>
      <p:pic>
        <p:nvPicPr>
          <p:cNvPr id="84" name="Afbeelding 176">
            <a:extLst>
              <a:ext uri="{FF2B5EF4-FFF2-40B4-BE49-F238E27FC236}">
                <a16:creationId xmlns:a16="http://schemas.microsoft.com/office/drawing/2014/main" id="{B6DA064D-C5A9-4FB5-AEFC-6D6B3E16DF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77948" y="6339141"/>
            <a:ext cx="1369142" cy="258353"/>
          </a:xfrm>
          <a:prstGeom prst="rect">
            <a:avLst/>
          </a:prstGeom>
        </p:spPr>
      </p:pic>
      <p:sp>
        <p:nvSpPr>
          <p:cNvPr id="86" name="Date Placeholder 1">
            <a:extLst>
              <a:ext uri="{FF2B5EF4-FFF2-40B4-BE49-F238E27FC236}">
                <a16:creationId xmlns:a16="http://schemas.microsoft.com/office/drawing/2014/main" id="{B26CA7C1-69CA-46B8-A7DC-FDA89D80DD8C}"/>
              </a:ext>
            </a:extLst>
          </p:cNvPr>
          <p:cNvSpPr>
            <a:spLocks noGrp="1"/>
          </p:cNvSpPr>
          <p:nvPr>
            <p:ph type="dt" sz="half" idx="20"/>
          </p:nvPr>
        </p:nvSpPr>
        <p:spPr>
          <a:xfrm>
            <a:off x="454698" y="6378834"/>
            <a:ext cx="1528579" cy="365125"/>
          </a:xfrm>
        </p:spPr>
        <p:txBody>
          <a:bodyPr/>
          <a:lstStyle/>
          <a:p>
            <a:fld id="{D6F0CD37-C37B-40C1-9198-DF0454BBA6F7}" type="datetime4">
              <a:rPr lang="en-GB" noProof="0" smtClean="0"/>
              <a:t>23 January 2025</a:t>
            </a:fld>
            <a:endParaRPr lang="en-US" noProof="0" dirty="0"/>
          </a:p>
        </p:txBody>
      </p:sp>
      <p:sp>
        <p:nvSpPr>
          <p:cNvPr id="87" name="Footer Placeholder 3">
            <a:extLst>
              <a:ext uri="{FF2B5EF4-FFF2-40B4-BE49-F238E27FC236}">
                <a16:creationId xmlns:a16="http://schemas.microsoft.com/office/drawing/2014/main" id="{135DBB9B-EF02-4B87-A7DC-2F432A3F8A3F}"/>
              </a:ext>
            </a:extLst>
          </p:cNvPr>
          <p:cNvSpPr>
            <a:spLocks noGrp="1"/>
          </p:cNvSpPr>
          <p:nvPr>
            <p:ph type="ftr" sz="quarter" idx="21"/>
          </p:nvPr>
        </p:nvSpPr>
        <p:spPr>
          <a:xfrm>
            <a:off x="2258853" y="6378834"/>
            <a:ext cx="4616234" cy="365125"/>
          </a:xfrm>
        </p:spPr>
        <p:txBody>
          <a:bodyPr/>
          <a:lstStyle/>
          <a:p>
            <a:r>
              <a:rPr lang="en-US" noProof="0"/>
              <a:t>Confidentiality</a:t>
            </a:r>
          </a:p>
        </p:txBody>
      </p:sp>
    </p:spTree>
    <p:extLst>
      <p:ext uri="{BB962C8B-B14F-4D97-AF65-F5344CB8AC3E}">
        <p14:creationId xmlns:p14="http://schemas.microsoft.com/office/powerpoint/2010/main" val="4097879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Header Long - 1 Image">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0BF44B32-E7BA-4716-8858-92EC6CD95069}"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50" name="Tijdelijke aanduiding voor tekst 10">
            <a:extLst>
              <a:ext uri="{FF2B5EF4-FFF2-40B4-BE49-F238E27FC236}">
                <a16:creationId xmlns:a16="http://schemas.microsoft.com/office/drawing/2014/main" id="{CC4353C8-2AF6-934C-B0AA-D7BB19E85327}"/>
              </a:ext>
            </a:extLst>
          </p:cNvPr>
          <p:cNvSpPr>
            <a:spLocks noGrp="1"/>
          </p:cNvSpPr>
          <p:nvPr>
            <p:ph type="body" sz="quarter" idx="32" hasCustomPrompt="1"/>
          </p:nvPr>
        </p:nvSpPr>
        <p:spPr>
          <a:xfrm>
            <a:off x="1347598" y="5786438"/>
            <a:ext cx="10399736"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15" name="Tijdelijke aanduiding voor afbeelding 14">
            <a:extLst>
              <a:ext uri="{FF2B5EF4-FFF2-40B4-BE49-F238E27FC236}">
                <a16:creationId xmlns:a16="http://schemas.microsoft.com/office/drawing/2014/main" id="{9F6F8B6E-41A5-FA4D-A95C-2129BC1C3856}"/>
              </a:ext>
            </a:extLst>
          </p:cNvPr>
          <p:cNvSpPr>
            <a:spLocks noGrp="1"/>
          </p:cNvSpPr>
          <p:nvPr>
            <p:ph type="pic" sz="quarter" idx="33"/>
          </p:nvPr>
        </p:nvSpPr>
        <p:spPr>
          <a:xfrm>
            <a:off x="1347597" y="1822450"/>
            <a:ext cx="10399736" cy="3880353"/>
          </a:xfrm>
          <a:custGeom>
            <a:avLst/>
            <a:gdLst>
              <a:gd name="connsiteX0" fmla="*/ 0 w 10399736"/>
              <a:gd name="connsiteY0" fmla="*/ 0 h 3880353"/>
              <a:gd name="connsiteX1" fmla="*/ 5368592 w 10399736"/>
              <a:gd name="connsiteY1" fmla="*/ 0 h 3880353"/>
              <a:gd name="connsiteX2" fmla="*/ 5548503 w 10399736"/>
              <a:gd name="connsiteY2" fmla="*/ 0 h 3880353"/>
              <a:gd name="connsiteX3" fmla="*/ 10399736 w 10399736"/>
              <a:gd name="connsiteY3" fmla="*/ 0 h 3880353"/>
              <a:gd name="connsiteX4" fmla="*/ 10399736 w 10399736"/>
              <a:gd name="connsiteY4" fmla="*/ 2273803 h 3880353"/>
              <a:gd name="connsiteX5" fmla="*/ 10399736 w 10399736"/>
              <a:gd name="connsiteY5" fmla="*/ 2597150 h 3880353"/>
              <a:gd name="connsiteX6" fmla="*/ 10399736 w 10399736"/>
              <a:gd name="connsiteY6" fmla="*/ 3708902 h 3880353"/>
              <a:gd name="connsiteX7" fmla="*/ 10021592 w 10399736"/>
              <a:gd name="connsiteY7" fmla="*/ 3880353 h 3880353"/>
              <a:gd name="connsiteX8" fmla="*/ 5548503 w 10399736"/>
              <a:gd name="connsiteY8" fmla="*/ 3880353 h 3880353"/>
              <a:gd name="connsiteX9" fmla="*/ 5368592 w 10399736"/>
              <a:gd name="connsiteY9" fmla="*/ 3880353 h 3880353"/>
              <a:gd name="connsiteX10" fmla="*/ 0 w 10399736"/>
              <a:gd name="connsiteY10" fmla="*/ 3880353 h 38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99736" h="3880353">
                <a:moveTo>
                  <a:pt x="0" y="0"/>
                </a:moveTo>
                <a:lnTo>
                  <a:pt x="5368592" y="0"/>
                </a:lnTo>
                <a:lnTo>
                  <a:pt x="5548503" y="0"/>
                </a:lnTo>
                <a:lnTo>
                  <a:pt x="10399736" y="0"/>
                </a:lnTo>
                <a:lnTo>
                  <a:pt x="10399736" y="2273803"/>
                </a:lnTo>
                <a:lnTo>
                  <a:pt x="10399736" y="2597150"/>
                </a:lnTo>
                <a:lnTo>
                  <a:pt x="10399736" y="3708902"/>
                </a:lnTo>
                <a:lnTo>
                  <a:pt x="10021592" y="3880353"/>
                </a:lnTo>
                <a:lnTo>
                  <a:pt x="5548503" y="3880353"/>
                </a:lnTo>
                <a:lnTo>
                  <a:pt x="5368592" y="3880353"/>
                </a:lnTo>
                <a:lnTo>
                  <a:pt x="0" y="3880353"/>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14" name="Groep 13">
            <a:extLst>
              <a:ext uri="{FF2B5EF4-FFF2-40B4-BE49-F238E27FC236}">
                <a16:creationId xmlns:a16="http://schemas.microsoft.com/office/drawing/2014/main" id="{CFD92875-EAD2-DE49-8376-DDA995636740}"/>
              </a:ext>
            </a:extLst>
          </p:cNvPr>
          <p:cNvGrpSpPr/>
          <p:nvPr userDrawn="1"/>
        </p:nvGrpSpPr>
        <p:grpSpPr>
          <a:xfrm>
            <a:off x="12443133" y="-1"/>
            <a:ext cx="2670175" cy="6875997"/>
            <a:chOff x="12443133" y="-1"/>
            <a:chExt cx="2670175" cy="6875997"/>
          </a:xfrm>
        </p:grpSpPr>
        <p:sp>
          <p:nvSpPr>
            <p:cNvPr id="16" name="Tekstvak 15">
              <a:extLst>
                <a:ext uri="{FF2B5EF4-FFF2-40B4-BE49-F238E27FC236}">
                  <a16:creationId xmlns:a16="http://schemas.microsoft.com/office/drawing/2014/main" id="{298BEE03-C13D-244C-868E-8280B86D7A99}"/>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19" name="Afbeelding 18">
              <a:extLst>
                <a:ext uri="{FF2B5EF4-FFF2-40B4-BE49-F238E27FC236}">
                  <a16:creationId xmlns:a16="http://schemas.microsoft.com/office/drawing/2014/main" id="{2871F9C2-5F07-8648-AFB2-1099DA495D20}"/>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 name="Afbeelding 20">
            <a:extLst>
              <a:ext uri="{FF2B5EF4-FFF2-40B4-BE49-F238E27FC236}">
                <a16:creationId xmlns:a16="http://schemas.microsoft.com/office/drawing/2014/main" id="{7BA6B208-18EE-2649-8030-D353CA72524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kstvak 16">
            <a:extLst>
              <a:ext uri="{FF2B5EF4-FFF2-40B4-BE49-F238E27FC236}">
                <a16:creationId xmlns:a16="http://schemas.microsoft.com/office/drawing/2014/main" id="{8735D553-AF9D-F542-9FA1-A6A5C4B09882}"/>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pic>
        <p:nvPicPr>
          <p:cNvPr id="23" name="Picture 12">
            <a:extLst>
              <a:ext uri="{FF2B5EF4-FFF2-40B4-BE49-F238E27FC236}">
                <a16:creationId xmlns:a16="http://schemas.microsoft.com/office/drawing/2014/main" id="{8528F37B-4875-E742-8066-4D84925D66D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748788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Header Long - 2 Images ">
    <p:spTree>
      <p:nvGrpSpPr>
        <p:cNvPr id="1" name=""/>
        <p:cNvGrpSpPr/>
        <p:nvPr/>
      </p:nvGrpSpPr>
      <p:grpSpPr>
        <a:xfrm>
          <a:off x="0" y="0"/>
          <a:ext cx="0" cy="0"/>
          <a:chOff x="0" y="0"/>
          <a:chExt cx="0" cy="0"/>
        </a:xfrm>
      </p:grpSpPr>
      <p:sp>
        <p:nvSpPr>
          <p:cNvPr id="17" name="Tekstvak 16">
            <a:extLst>
              <a:ext uri="{FF2B5EF4-FFF2-40B4-BE49-F238E27FC236}">
                <a16:creationId xmlns:a16="http://schemas.microsoft.com/office/drawing/2014/main" id="{EA87790B-107B-446D-9B30-11E2974308A8}"/>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50981AB9-75F9-4DD3-B43A-8D56214DEEC8}"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50" name="Tijdelijke aanduiding voor tekst 10">
            <a:extLst>
              <a:ext uri="{FF2B5EF4-FFF2-40B4-BE49-F238E27FC236}">
                <a16:creationId xmlns:a16="http://schemas.microsoft.com/office/drawing/2014/main" id="{CC4353C8-2AF6-934C-B0AA-D7BB19E85327}"/>
              </a:ext>
            </a:extLst>
          </p:cNvPr>
          <p:cNvSpPr>
            <a:spLocks noGrp="1"/>
          </p:cNvSpPr>
          <p:nvPr>
            <p:ph type="body" sz="quarter" idx="32" hasCustomPrompt="1"/>
          </p:nvPr>
        </p:nvSpPr>
        <p:spPr>
          <a:xfrm>
            <a:off x="6716546" y="5786438"/>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21" name="Tijdelijke aanduiding voor afbeelding 20">
            <a:extLst>
              <a:ext uri="{FF2B5EF4-FFF2-40B4-BE49-F238E27FC236}">
                <a16:creationId xmlns:a16="http://schemas.microsoft.com/office/drawing/2014/main" id="{99CC54FF-C810-9047-97F4-B3F044A01062}"/>
              </a:ext>
            </a:extLst>
          </p:cNvPr>
          <p:cNvSpPr>
            <a:spLocks noGrp="1"/>
          </p:cNvSpPr>
          <p:nvPr>
            <p:ph type="pic" sz="quarter" idx="33"/>
          </p:nvPr>
        </p:nvSpPr>
        <p:spPr>
          <a:xfrm>
            <a:off x="6716189" y="1822450"/>
            <a:ext cx="5031144" cy="3880353"/>
          </a:xfrm>
          <a:custGeom>
            <a:avLst/>
            <a:gdLst>
              <a:gd name="connsiteX0" fmla="*/ 0 w 5031144"/>
              <a:gd name="connsiteY0" fmla="*/ 0 h 3880353"/>
              <a:gd name="connsiteX1" fmla="*/ 5031144 w 5031144"/>
              <a:gd name="connsiteY1" fmla="*/ 0 h 3880353"/>
              <a:gd name="connsiteX2" fmla="*/ 5031144 w 5031144"/>
              <a:gd name="connsiteY2" fmla="*/ 2273803 h 3880353"/>
              <a:gd name="connsiteX3" fmla="*/ 5031144 w 5031144"/>
              <a:gd name="connsiteY3" fmla="*/ 2597150 h 3880353"/>
              <a:gd name="connsiteX4" fmla="*/ 5031144 w 5031144"/>
              <a:gd name="connsiteY4" fmla="*/ 3708902 h 3880353"/>
              <a:gd name="connsiteX5" fmla="*/ 4653000 w 5031144"/>
              <a:gd name="connsiteY5" fmla="*/ 3880353 h 3880353"/>
              <a:gd name="connsiteX6" fmla="*/ 0 w 5031144"/>
              <a:gd name="connsiteY6" fmla="*/ 3880353 h 3880353"/>
              <a:gd name="connsiteX7" fmla="*/ 0 w 5031144"/>
              <a:gd name="connsiteY7" fmla="*/ 2597150 h 3880353"/>
              <a:gd name="connsiteX8" fmla="*/ 0 w 5031144"/>
              <a:gd name="connsiteY8" fmla="*/ 2273803 h 38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1144" h="3880353">
                <a:moveTo>
                  <a:pt x="0" y="0"/>
                </a:moveTo>
                <a:lnTo>
                  <a:pt x="5031144" y="0"/>
                </a:lnTo>
                <a:lnTo>
                  <a:pt x="5031144" y="2273803"/>
                </a:lnTo>
                <a:lnTo>
                  <a:pt x="5031144" y="2597150"/>
                </a:lnTo>
                <a:lnTo>
                  <a:pt x="5031144" y="3708902"/>
                </a:lnTo>
                <a:lnTo>
                  <a:pt x="4653000" y="3880353"/>
                </a:lnTo>
                <a:lnTo>
                  <a:pt x="0" y="3880353"/>
                </a:lnTo>
                <a:lnTo>
                  <a:pt x="0" y="2597150"/>
                </a:lnTo>
                <a:lnTo>
                  <a:pt x="0" y="2273803"/>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16" name="Tijdelijke aanduiding voor tekst 10">
            <a:extLst>
              <a:ext uri="{FF2B5EF4-FFF2-40B4-BE49-F238E27FC236}">
                <a16:creationId xmlns:a16="http://schemas.microsoft.com/office/drawing/2014/main" id="{5E204469-F2CB-9842-B8B3-2C62437BF449}"/>
              </a:ext>
            </a:extLst>
          </p:cNvPr>
          <p:cNvSpPr>
            <a:spLocks noGrp="1"/>
          </p:cNvSpPr>
          <p:nvPr>
            <p:ph type="body" sz="quarter" idx="34" hasCustomPrompt="1"/>
          </p:nvPr>
        </p:nvSpPr>
        <p:spPr>
          <a:xfrm>
            <a:off x="1347954" y="5786438"/>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19" name="Tijdelijke aanduiding voor afbeelding 20">
            <a:extLst>
              <a:ext uri="{FF2B5EF4-FFF2-40B4-BE49-F238E27FC236}">
                <a16:creationId xmlns:a16="http://schemas.microsoft.com/office/drawing/2014/main" id="{D2C7139F-3321-D44A-BEAD-CB34AC638909}"/>
              </a:ext>
            </a:extLst>
          </p:cNvPr>
          <p:cNvSpPr>
            <a:spLocks noGrp="1"/>
          </p:cNvSpPr>
          <p:nvPr>
            <p:ph type="pic" sz="quarter" idx="35"/>
          </p:nvPr>
        </p:nvSpPr>
        <p:spPr>
          <a:xfrm>
            <a:off x="1347597" y="1822450"/>
            <a:ext cx="5031144" cy="3880353"/>
          </a:xfrm>
          <a:custGeom>
            <a:avLst/>
            <a:gdLst>
              <a:gd name="connsiteX0" fmla="*/ 0 w 5031144"/>
              <a:gd name="connsiteY0" fmla="*/ 0 h 3880353"/>
              <a:gd name="connsiteX1" fmla="*/ 5031144 w 5031144"/>
              <a:gd name="connsiteY1" fmla="*/ 0 h 3880353"/>
              <a:gd name="connsiteX2" fmla="*/ 5031144 w 5031144"/>
              <a:gd name="connsiteY2" fmla="*/ 2273803 h 3880353"/>
              <a:gd name="connsiteX3" fmla="*/ 5031144 w 5031144"/>
              <a:gd name="connsiteY3" fmla="*/ 2597150 h 3880353"/>
              <a:gd name="connsiteX4" fmla="*/ 5031144 w 5031144"/>
              <a:gd name="connsiteY4" fmla="*/ 3708902 h 3880353"/>
              <a:gd name="connsiteX5" fmla="*/ 4653000 w 5031144"/>
              <a:gd name="connsiteY5" fmla="*/ 3880353 h 3880353"/>
              <a:gd name="connsiteX6" fmla="*/ 0 w 5031144"/>
              <a:gd name="connsiteY6" fmla="*/ 3880353 h 3880353"/>
              <a:gd name="connsiteX7" fmla="*/ 0 w 5031144"/>
              <a:gd name="connsiteY7" fmla="*/ 2597150 h 3880353"/>
              <a:gd name="connsiteX8" fmla="*/ 0 w 5031144"/>
              <a:gd name="connsiteY8" fmla="*/ 2273803 h 38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1144" h="3880353">
                <a:moveTo>
                  <a:pt x="0" y="0"/>
                </a:moveTo>
                <a:lnTo>
                  <a:pt x="5031144" y="0"/>
                </a:lnTo>
                <a:lnTo>
                  <a:pt x="5031144" y="2273803"/>
                </a:lnTo>
                <a:lnTo>
                  <a:pt x="5031144" y="2597150"/>
                </a:lnTo>
                <a:lnTo>
                  <a:pt x="5031144" y="3708902"/>
                </a:lnTo>
                <a:lnTo>
                  <a:pt x="4653000" y="3880353"/>
                </a:lnTo>
                <a:lnTo>
                  <a:pt x="0" y="3880353"/>
                </a:lnTo>
                <a:lnTo>
                  <a:pt x="0" y="2597150"/>
                </a:lnTo>
                <a:lnTo>
                  <a:pt x="0" y="2273803"/>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22" name="Groep 21">
            <a:extLst>
              <a:ext uri="{FF2B5EF4-FFF2-40B4-BE49-F238E27FC236}">
                <a16:creationId xmlns:a16="http://schemas.microsoft.com/office/drawing/2014/main" id="{29A30EFB-4D5C-B643-94EC-E7F9C91FB279}"/>
              </a:ext>
            </a:extLst>
          </p:cNvPr>
          <p:cNvGrpSpPr/>
          <p:nvPr userDrawn="1"/>
        </p:nvGrpSpPr>
        <p:grpSpPr>
          <a:xfrm>
            <a:off x="12443133" y="-1"/>
            <a:ext cx="2670175" cy="6875997"/>
            <a:chOff x="12443133" y="-1"/>
            <a:chExt cx="2670175" cy="6875997"/>
          </a:xfrm>
        </p:grpSpPr>
        <p:sp>
          <p:nvSpPr>
            <p:cNvPr id="23" name="Tekstvak 22">
              <a:extLst>
                <a:ext uri="{FF2B5EF4-FFF2-40B4-BE49-F238E27FC236}">
                  <a16:creationId xmlns:a16="http://schemas.microsoft.com/office/drawing/2014/main" id="{D7316DA1-97F5-2740-8712-8327E47A4013}"/>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4" name="Afbeelding 23">
              <a:extLst>
                <a:ext uri="{FF2B5EF4-FFF2-40B4-BE49-F238E27FC236}">
                  <a16:creationId xmlns:a16="http://schemas.microsoft.com/office/drawing/2014/main" id="{804E250A-0FDB-0A47-85F3-F2E812481857}"/>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Afbeelding 24">
            <a:extLst>
              <a:ext uri="{FF2B5EF4-FFF2-40B4-BE49-F238E27FC236}">
                <a16:creationId xmlns:a16="http://schemas.microsoft.com/office/drawing/2014/main" id="{BBE921E0-A3A5-0541-A7AC-CD948F360B6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2">
            <a:extLst>
              <a:ext uri="{FF2B5EF4-FFF2-40B4-BE49-F238E27FC236}">
                <a16:creationId xmlns:a16="http://schemas.microsoft.com/office/drawing/2014/main" id="{D1723254-D8A3-2046-8775-D7FF982F756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3404912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Header Long - 3 Images ">
    <p:spTree>
      <p:nvGrpSpPr>
        <p:cNvPr id="1" name=""/>
        <p:cNvGrpSpPr/>
        <p:nvPr/>
      </p:nvGrpSpPr>
      <p:grpSpPr>
        <a:xfrm>
          <a:off x="0" y="0"/>
          <a:ext cx="0" cy="0"/>
          <a:chOff x="0" y="0"/>
          <a:chExt cx="0" cy="0"/>
        </a:xfrm>
      </p:grpSpPr>
      <p:sp>
        <p:nvSpPr>
          <p:cNvPr id="19" name="Tekstvak 16">
            <a:extLst>
              <a:ext uri="{FF2B5EF4-FFF2-40B4-BE49-F238E27FC236}">
                <a16:creationId xmlns:a16="http://schemas.microsoft.com/office/drawing/2014/main" id="{11444BB2-ED8E-4626-B775-B643DBDB4300}"/>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600327DC-E917-4D0F-AB33-0F4C76EBCACD}"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46" name="Tijdelijke aanduiding voor afbeelding 45">
            <a:extLst>
              <a:ext uri="{FF2B5EF4-FFF2-40B4-BE49-F238E27FC236}">
                <a16:creationId xmlns:a16="http://schemas.microsoft.com/office/drawing/2014/main" id="{36E75C72-1B5F-0B49-A87A-028C713FCB98}"/>
              </a:ext>
            </a:extLst>
          </p:cNvPr>
          <p:cNvSpPr>
            <a:spLocks noGrp="1"/>
          </p:cNvSpPr>
          <p:nvPr>
            <p:ph type="pic" sz="quarter" idx="20"/>
          </p:nvPr>
        </p:nvSpPr>
        <p:spPr>
          <a:xfrm>
            <a:off x="1347597" y="1822450"/>
            <a:ext cx="5031144" cy="1606550"/>
          </a:xfrm>
          <a:custGeom>
            <a:avLst/>
            <a:gdLst>
              <a:gd name="connsiteX0" fmla="*/ 0 w 5031144"/>
              <a:gd name="connsiteY0" fmla="*/ 0 h 1606550"/>
              <a:gd name="connsiteX1" fmla="*/ 5031144 w 5031144"/>
              <a:gd name="connsiteY1" fmla="*/ 0 h 1606550"/>
              <a:gd name="connsiteX2" fmla="*/ 5031144 w 5031144"/>
              <a:gd name="connsiteY2" fmla="*/ 1435099 h 1606550"/>
              <a:gd name="connsiteX3" fmla="*/ 4653000 w 5031144"/>
              <a:gd name="connsiteY3" fmla="*/ 1606550 h 1606550"/>
              <a:gd name="connsiteX4" fmla="*/ 0 w 5031144"/>
              <a:gd name="connsiteY4" fmla="*/ 160655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144" h="1606550">
                <a:moveTo>
                  <a:pt x="0" y="0"/>
                </a:moveTo>
                <a:lnTo>
                  <a:pt x="5031144" y="0"/>
                </a:lnTo>
                <a:lnTo>
                  <a:pt x="5031144" y="1435099"/>
                </a:lnTo>
                <a:lnTo>
                  <a:pt x="4653000"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11" name="Tijdelijke aanduiding voor tekst 10">
            <a:extLst>
              <a:ext uri="{FF2B5EF4-FFF2-40B4-BE49-F238E27FC236}">
                <a16:creationId xmlns:a16="http://schemas.microsoft.com/office/drawing/2014/main" id="{E97E176E-035B-C648-B0ED-06B21897FA41}"/>
              </a:ext>
            </a:extLst>
          </p:cNvPr>
          <p:cNvSpPr>
            <a:spLocks noGrp="1"/>
          </p:cNvSpPr>
          <p:nvPr>
            <p:ph type="body" sz="quarter" idx="23" hasCustomPrompt="1"/>
          </p:nvPr>
        </p:nvSpPr>
        <p:spPr>
          <a:xfrm>
            <a:off x="1347788" y="3512635"/>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48" name="Tijdelijke aanduiding voor afbeelding 47">
            <a:extLst>
              <a:ext uri="{FF2B5EF4-FFF2-40B4-BE49-F238E27FC236}">
                <a16:creationId xmlns:a16="http://schemas.microsoft.com/office/drawing/2014/main" id="{E31C1E05-D498-D84E-A570-3A4B566DA5EC}"/>
              </a:ext>
            </a:extLst>
          </p:cNvPr>
          <p:cNvSpPr>
            <a:spLocks noGrp="1"/>
          </p:cNvSpPr>
          <p:nvPr>
            <p:ph type="pic" sz="quarter" idx="30"/>
          </p:nvPr>
        </p:nvSpPr>
        <p:spPr>
          <a:xfrm>
            <a:off x="1347597" y="4096253"/>
            <a:ext cx="5031144" cy="1606550"/>
          </a:xfrm>
          <a:custGeom>
            <a:avLst/>
            <a:gdLst>
              <a:gd name="connsiteX0" fmla="*/ 0 w 5031144"/>
              <a:gd name="connsiteY0" fmla="*/ 0 h 1606550"/>
              <a:gd name="connsiteX1" fmla="*/ 5031144 w 5031144"/>
              <a:gd name="connsiteY1" fmla="*/ 0 h 1606550"/>
              <a:gd name="connsiteX2" fmla="*/ 5031144 w 5031144"/>
              <a:gd name="connsiteY2" fmla="*/ 1435099 h 1606550"/>
              <a:gd name="connsiteX3" fmla="*/ 4653000 w 5031144"/>
              <a:gd name="connsiteY3" fmla="*/ 1606550 h 1606550"/>
              <a:gd name="connsiteX4" fmla="*/ 0 w 5031144"/>
              <a:gd name="connsiteY4" fmla="*/ 160655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144" h="1606550">
                <a:moveTo>
                  <a:pt x="0" y="0"/>
                </a:moveTo>
                <a:lnTo>
                  <a:pt x="5031144" y="0"/>
                </a:lnTo>
                <a:lnTo>
                  <a:pt x="5031144" y="1435099"/>
                </a:lnTo>
                <a:lnTo>
                  <a:pt x="4653000"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9" name="Tijdelijke aanduiding voor tekst 10">
            <a:extLst>
              <a:ext uri="{FF2B5EF4-FFF2-40B4-BE49-F238E27FC236}">
                <a16:creationId xmlns:a16="http://schemas.microsoft.com/office/drawing/2014/main" id="{2FA673F6-3392-2E47-8E7D-A8F408A5AFA5}"/>
              </a:ext>
            </a:extLst>
          </p:cNvPr>
          <p:cNvSpPr>
            <a:spLocks noGrp="1"/>
          </p:cNvSpPr>
          <p:nvPr>
            <p:ph type="body" sz="quarter" idx="31" hasCustomPrompt="1"/>
          </p:nvPr>
        </p:nvSpPr>
        <p:spPr>
          <a:xfrm>
            <a:off x="1347788" y="5786438"/>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50" name="Tijdelijke aanduiding voor tekst 10">
            <a:extLst>
              <a:ext uri="{FF2B5EF4-FFF2-40B4-BE49-F238E27FC236}">
                <a16:creationId xmlns:a16="http://schemas.microsoft.com/office/drawing/2014/main" id="{CC4353C8-2AF6-934C-B0AA-D7BB19E85327}"/>
              </a:ext>
            </a:extLst>
          </p:cNvPr>
          <p:cNvSpPr>
            <a:spLocks noGrp="1"/>
          </p:cNvSpPr>
          <p:nvPr>
            <p:ph type="body" sz="quarter" idx="32" hasCustomPrompt="1"/>
          </p:nvPr>
        </p:nvSpPr>
        <p:spPr>
          <a:xfrm>
            <a:off x="6716546" y="5786438"/>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21" name="Tijdelijke aanduiding voor afbeelding 20">
            <a:extLst>
              <a:ext uri="{FF2B5EF4-FFF2-40B4-BE49-F238E27FC236}">
                <a16:creationId xmlns:a16="http://schemas.microsoft.com/office/drawing/2014/main" id="{99CC54FF-C810-9047-97F4-B3F044A01062}"/>
              </a:ext>
            </a:extLst>
          </p:cNvPr>
          <p:cNvSpPr>
            <a:spLocks noGrp="1"/>
          </p:cNvSpPr>
          <p:nvPr>
            <p:ph type="pic" sz="quarter" idx="33"/>
          </p:nvPr>
        </p:nvSpPr>
        <p:spPr>
          <a:xfrm>
            <a:off x="6716189" y="1822450"/>
            <a:ext cx="5031144" cy="3880353"/>
          </a:xfrm>
          <a:custGeom>
            <a:avLst/>
            <a:gdLst>
              <a:gd name="connsiteX0" fmla="*/ 0 w 5031144"/>
              <a:gd name="connsiteY0" fmla="*/ 0 h 3880353"/>
              <a:gd name="connsiteX1" fmla="*/ 5031144 w 5031144"/>
              <a:gd name="connsiteY1" fmla="*/ 0 h 3880353"/>
              <a:gd name="connsiteX2" fmla="*/ 5031144 w 5031144"/>
              <a:gd name="connsiteY2" fmla="*/ 2273803 h 3880353"/>
              <a:gd name="connsiteX3" fmla="*/ 5031144 w 5031144"/>
              <a:gd name="connsiteY3" fmla="*/ 2597150 h 3880353"/>
              <a:gd name="connsiteX4" fmla="*/ 5031144 w 5031144"/>
              <a:gd name="connsiteY4" fmla="*/ 3708902 h 3880353"/>
              <a:gd name="connsiteX5" fmla="*/ 4653000 w 5031144"/>
              <a:gd name="connsiteY5" fmla="*/ 3880353 h 3880353"/>
              <a:gd name="connsiteX6" fmla="*/ 0 w 5031144"/>
              <a:gd name="connsiteY6" fmla="*/ 3880353 h 3880353"/>
              <a:gd name="connsiteX7" fmla="*/ 0 w 5031144"/>
              <a:gd name="connsiteY7" fmla="*/ 2597150 h 3880353"/>
              <a:gd name="connsiteX8" fmla="*/ 0 w 5031144"/>
              <a:gd name="connsiteY8" fmla="*/ 2273803 h 38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1144" h="3880353">
                <a:moveTo>
                  <a:pt x="0" y="0"/>
                </a:moveTo>
                <a:lnTo>
                  <a:pt x="5031144" y="0"/>
                </a:lnTo>
                <a:lnTo>
                  <a:pt x="5031144" y="2273803"/>
                </a:lnTo>
                <a:lnTo>
                  <a:pt x="5031144" y="2597150"/>
                </a:lnTo>
                <a:lnTo>
                  <a:pt x="5031144" y="3708902"/>
                </a:lnTo>
                <a:lnTo>
                  <a:pt x="4653000" y="3880353"/>
                </a:lnTo>
                <a:lnTo>
                  <a:pt x="0" y="3880353"/>
                </a:lnTo>
                <a:lnTo>
                  <a:pt x="0" y="2597150"/>
                </a:lnTo>
                <a:lnTo>
                  <a:pt x="0" y="2273803"/>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22" name="Groep 21">
            <a:extLst>
              <a:ext uri="{FF2B5EF4-FFF2-40B4-BE49-F238E27FC236}">
                <a16:creationId xmlns:a16="http://schemas.microsoft.com/office/drawing/2014/main" id="{D40513D3-C976-0D4B-980D-E3813942EFF7}"/>
              </a:ext>
            </a:extLst>
          </p:cNvPr>
          <p:cNvGrpSpPr/>
          <p:nvPr userDrawn="1"/>
        </p:nvGrpSpPr>
        <p:grpSpPr>
          <a:xfrm>
            <a:off x="12443133" y="-1"/>
            <a:ext cx="2670175" cy="6875997"/>
            <a:chOff x="12443133" y="-1"/>
            <a:chExt cx="2670175" cy="6875997"/>
          </a:xfrm>
        </p:grpSpPr>
        <p:sp>
          <p:nvSpPr>
            <p:cNvPr id="23" name="Tekstvak 22">
              <a:extLst>
                <a:ext uri="{FF2B5EF4-FFF2-40B4-BE49-F238E27FC236}">
                  <a16:creationId xmlns:a16="http://schemas.microsoft.com/office/drawing/2014/main" id="{00600259-7252-F746-B472-BB6FDD432DB4}"/>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4" name="Afbeelding 23">
              <a:extLst>
                <a:ext uri="{FF2B5EF4-FFF2-40B4-BE49-F238E27FC236}">
                  <a16:creationId xmlns:a16="http://schemas.microsoft.com/office/drawing/2014/main" id="{8FD745C2-0E79-3E45-A908-9F7EA5A842DE}"/>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Afbeelding 24">
            <a:extLst>
              <a:ext uri="{FF2B5EF4-FFF2-40B4-BE49-F238E27FC236}">
                <a16:creationId xmlns:a16="http://schemas.microsoft.com/office/drawing/2014/main" id="{B753ABA5-64D2-2A4E-B079-923C6D56498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2">
            <a:extLst>
              <a:ext uri="{FF2B5EF4-FFF2-40B4-BE49-F238E27FC236}">
                <a16:creationId xmlns:a16="http://schemas.microsoft.com/office/drawing/2014/main" id="{FBDDC09F-C6B3-674E-867C-933627A211D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15489036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Header Long - 3 Images Portrait">
    <p:spTree>
      <p:nvGrpSpPr>
        <p:cNvPr id="1" name=""/>
        <p:cNvGrpSpPr/>
        <p:nvPr/>
      </p:nvGrpSpPr>
      <p:grpSpPr>
        <a:xfrm>
          <a:off x="0" y="0"/>
          <a:ext cx="0" cy="0"/>
          <a:chOff x="0" y="0"/>
          <a:chExt cx="0" cy="0"/>
        </a:xfrm>
      </p:grpSpPr>
      <p:sp>
        <p:nvSpPr>
          <p:cNvPr id="19" name="Tekstvak 16">
            <a:extLst>
              <a:ext uri="{FF2B5EF4-FFF2-40B4-BE49-F238E27FC236}">
                <a16:creationId xmlns:a16="http://schemas.microsoft.com/office/drawing/2014/main" id="{EDF8B532-6B43-40B3-9281-A94768FBB877}"/>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55826B92-DE45-4BC1-B633-2D7719627D25}"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50" name="Tijdelijke aanduiding voor tekst 10">
            <a:extLst>
              <a:ext uri="{FF2B5EF4-FFF2-40B4-BE49-F238E27FC236}">
                <a16:creationId xmlns:a16="http://schemas.microsoft.com/office/drawing/2014/main" id="{CC4353C8-2AF6-934C-B0AA-D7BB19E85327}"/>
              </a:ext>
            </a:extLst>
          </p:cNvPr>
          <p:cNvSpPr>
            <a:spLocks noGrp="1"/>
          </p:cNvSpPr>
          <p:nvPr>
            <p:ph type="body" sz="quarter" idx="32" hasCustomPrompt="1"/>
          </p:nvPr>
        </p:nvSpPr>
        <p:spPr>
          <a:xfrm>
            <a:off x="8523668"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3" name="Tijdelijke aanduiding voor afbeelding 22">
            <a:extLst>
              <a:ext uri="{FF2B5EF4-FFF2-40B4-BE49-F238E27FC236}">
                <a16:creationId xmlns:a16="http://schemas.microsoft.com/office/drawing/2014/main" id="{971D4E4C-B911-CF4D-8B88-4F6D60EB8D87}"/>
              </a:ext>
            </a:extLst>
          </p:cNvPr>
          <p:cNvSpPr>
            <a:spLocks noGrp="1"/>
          </p:cNvSpPr>
          <p:nvPr>
            <p:ph type="pic" sz="quarter" idx="33"/>
          </p:nvPr>
        </p:nvSpPr>
        <p:spPr>
          <a:xfrm>
            <a:off x="8523669" y="1822450"/>
            <a:ext cx="3223665" cy="3880353"/>
          </a:xfrm>
          <a:custGeom>
            <a:avLst/>
            <a:gdLst>
              <a:gd name="connsiteX0" fmla="*/ 0 w 3223665"/>
              <a:gd name="connsiteY0" fmla="*/ 0 h 3880353"/>
              <a:gd name="connsiteX1" fmla="*/ 3223665 w 3223665"/>
              <a:gd name="connsiteY1" fmla="*/ 0 h 3880353"/>
              <a:gd name="connsiteX2" fmla="*/ 3223665 w 3223665"/>
              <a:gd name="connsiteY2" fmla="*/ 2273803 h 3880353"/>
              <a:gd name="connsiteX3" fmla="*/ 3223665 w 3223665"/>
              <a:gd name="connsiteY3" fmla="*/ 2597150 h 3880353"/>
              <a:gd name="connsiteX4" fmla="*/ 3223665 w 3223665"/>
              <a:gd name="connsiteY4" fmla="*/ 3708902 h 3880353"/>
              <a:gd name="connsiteX5" fmla="*/ 2845521 w 3223665"/>
              <a:gd name="connsiteY5" fmla="*/ 3880353 h 3880353"/>
              <a:gd name="connsiteX6" fmla="*/ 0 w 3223665"/>
              <a:gd name="connsiteY6" fmla="*/ 3880353 h 38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3665" h="3880353">
                <a:moveTo>
                  <a:pt x="0" y="0"/>
                </a:moveTo>
                <a:lnTo>
                  <a:pt x="3223665" y="0"/>
                </a:lnTo>
                <a:lnTo>
                  <a:pt x="3223665" y="2273803"/>
                </a:lnTo>
                <a:lnTo>
                  <a:pt x="3223665" y="2597150"/>
                </a:lnTo>
                <a:lnTo>
                  <a:pt x="3223665" y="3708902"/>
                </a:lnTo>
                <a:lnTo>
                  <a:pt x="2845521" y="3880353"/>
                </a:lnTo>
                <a:lnTo>
                  <a:pt x="0" y="3880353"/>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5" name="Tijdelijke aanduiding voor tekst 10">
            <a:extLst>
              <a:ext uri="{FF2B5EF4-FFF2-40B4-BE49-F238E27FC236}">
                <a16:creationId xmlns:a16="http://schemas.microsoft.com/office/drawing/2014/main" id="{DEDFCCB7-9F84-0944-982E-5C3ECD502FD7}"/>
              </a:ext>
            </a:extLst>
          </p:cNvPr>
          <p:cNvSpPr>
            <a:spLocks noGrp="1"/>
          </p:cNvSpPr>
          <p:nvPr>
            <p:ph type="body" sz="quarter" idx="34" hasCustomPrompt="1"/>
          </p:nvPr>
        </p:nvSpPr>
        <p:spPr>
          <a:xfrm>
            <a:off x="4935632"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6" name="Tijdelijke aanduiding voor afbeelding 25">
            <a:extLst>
              <a:ext uri="{FF2B5EF4-FFF2-40B4-BE49-F238E27FC236}">
                <a16:creationId xmlns:a16="http://schemas.microsoft.com/office/drawing/2014/main" id="{963E9D08-44CE-9D4E-A63B-01A1D791EDBF}"/>
              </a:ext>
            </a:extLst>
          </p:cNvPr>
          <p:cNvSpPr>
            <a:spLocks noGrp="1"/>
          </p:cNvSpPr>
          <p:nvPr>
            <p:ph type="pic" sz="quarter" idx="35"/>
          </p:nvPr>
        </p:nvSpPr>
        <p:spPr>
          <a:xfrm>
            <a:off x="4935633" y="1822450"/>
            <a:ext cx="3223665" cy="3880353"/>
          </a:xfrm>
          <a:custGeom>
            <a:avLst/>
            <a:gdLst>
              <a:gd name="connsiteX0" fmla="*/ 0 w 3223665"/>
              <a:gd name="connsiteY0" fmla="*/ 0 h 3880353"/>
              <a:gd name="connsiteX1" fmla="*/ 3223665 w 3223665"/>
              <a:gd name="connsiteY1" fmla="*/ 0 h 3880353"/>
              <a:gd name="connsiteX2" fmla="*/ 3223665 w 3223665"/>
              <a:gd name="connsiteY2" fmla="*/ 2273803 h 3880353"/>
              <a:gd name="connsiteX3" fmla="*/ 3223665 w 3223665"/>
              <a:gd name="connsiteY3" fmla="*/ 2597150 h 3880353"/>
              <a:gd name="connsiteX4" fmla="*/ 3223665 w 3223665"/>
              <a:gd name="connsiteY4" fmla="*/ 3708902 h 3880353"/>
              <a:gd name="connsiteX5" fmla="*/ 2845521 w 3223665"/>
              <a:gd name="connsiteY5" fmla="*/ 3880353 h 3880353"/>
              <a:gd name="connsiteX6" fmla="*/ 0 w 3223665"/>
              <a:gd name="connsiteY6" fmla="*/ 3880353 h 38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3665" h="3880353">
                <a:moveTo>
                  <a:pt x="0" y="0"/>
                </a:moveTo>
                <a:lnTo>
                  <a:pt x="3223665" y="0"/>
                </a:lnTo>
                <a:lnTo>
                  <a:pt x="3223665" y="2273803"/>
                </a:lnTo>
                <a:lnTo>
                  <a:pt x="3223665" y="2597150"/>
                </a:lnTo>
                <a:lnTo>
                  <a:pt x="3223665" y="3708902"/>
                </a:lnTo>
                <a:lnTo>
                  <a:pt x="2845521" y="3880353"/>
                </a:lnTo>
                <a:lnTo>
                  <a:pt x="0" y="3880353"/>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7" name="Tijdelijke aanduiding voor tekst 10">
            <a:extLst>
              <a:ext uri="{FF2B5EF4-FFF2-40B4-BE49-F238E27FC236}">
                <a16:creationId xmlns:a16="http://schemas.microsoft.com/office/drawing/2014/main" id="{F4766FAC-686E-9941-AE91-CE97DD8EDB60}"/>
              </a:ext>
            </a:extLst>
          </p:cNvPr>
          <p:cNvSpPr>
            <a:spLocks noGrp="1"/>
          </p:cNvSpPr>
          <p:nvPr>
            <p:ph type="body" sz="quarter" idx="36" hasCustomPrompt="1"/>
          </p:nvPr>
        </p:nvSpPr>
        <p:spPr>
          <a:xfrm>
            <a:off x="1347593"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8" name="Tijdelijke aanduiding voor afbeelding 27">
            <a:extLst>
              <a:ext uri="{FF2B5EF4-FFF2-40B4-BE49-F238E27FC236}">
                <a16:creationId xmlns:a16="http://schemas.microsoft.com/office/drawing/2014/main" id="{F2607CA3-E112-8645-A00A-3DEA00B4587C}"/>
              </a:ext>
            </a:extLst>
          </p:cNvPr>
          <p:cNvSpPr>
            <a:spLocks noGrp="1"/>
          </p:cNvSpPr>
          <p:nvPr>
            <p:ph type="pic" sz="quarter" idx="37"/>
          </p:nvPr>
        </p:nvSpPr>
        <p:spPr>
          <a:xfrm>
            <a:off x="1347594" y="1822450"/>
            <a:ext cx="3223665" cy="3880353"/>
          </a:xfrm>
          <a:custGeom>
            <a:avLst/>
            <a:gdLst>
              <a:gd name="connsiteX0" fmla="*/ 0 w 3223665"/>
              <a:gd name="connsiteY0" fmla="*/ 0 h 3880353"/>
              <a:gd name="connsiteX1" fmla="*/ 3223665 w 3223665"/>
              <a:gd name="connsiteY1" fmla="*/ 0 h 3880353"/>
              <a:gd name="connsiteX2" fmla="*/ 3223665 w 3223665"/>
              <a:gd name="connsiteY2" fmla="*/ 2273803 h 3880353"/>
              <a:gd name="connsiteX3" fmla="*/ 3223665 w 3223665"/>
              <a:gd name="connsiteY3" fmla="*/ 2597150 h 3880353"/>
              <a:gd name="connsiteX4" fmla="*/ 3223665 w 3223665"/>
              <a:gd name="connsiteY4" fmla="*/ 3708902 h 3880353"/>
              <a:gd name="connsiteX5" fmla="*/ 2845521 w 3223665"/>
              <a:gd name="connsiteY5" fmla="*/ 3880353 h 3880353"/>
              <a:gd name="connsiteX6" fmla="*/ 0 w 3223665"/>
              <a:gd name="connsiteY6" fmla="*/ 3880353 h 38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3665" h="3880353">
                <a:moveTo>
                  <a:pt x="0" y="0"/>
                </a:moveTo>
                <a:lnTo>
                  <a:pt x="3223665" y="0"/>
                </a:lnTo>
                <a:lnTo>
                  <a:pt x="3223665" y="2273803"/>
                </a:lnTo>
                <a:lnTo>
                  <a:pt x="3223665" y="2597150"/>
                </a:lnTo>
                <a:lnTo>
                  <a:pt x="3223665" y="3708902"/>
                </a:lnTo>
                <a:lnTo>
                  <a:pt x="2845521" y="3880353"/>
                </a:lnTo>
                <a:lnTo>
                  <a:pt x="0" y="3880353"/>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21" name="Groep 20">
            <a:extLst>
              <a:ext uri="{FF2B5EF4-FFF2-40B4-BE49-F238E27FC236}">
                <a16:creationId xmlns:a16="http://schemas.microsoft.com/office/drawing/2014/main" id="{1C4D8E97-CF1C-6340-8EA0-7FF20A58AFA8}"/>
              </a:ext>
            </a:extLst>
          </p:cNvPr>
          <p:cNvGrpSpPr/>
          <p:nvPr userDrawn="1"/>
        </p:nvGrpSpPr>
        <p:grpSpPr>
          <a:xfrm>
            <a:off x="12443133" y="-1"/>
            <a:ext cx="2670175" cy="6875997"/>
            <a:chOff x="12443133" y="-1"/>
            <a:chExt cx="2670175" cy="6875997"/>
          </a:xfrm>
        </p:grpSpPr>
        <p:sp>
          <p:nvSpPr>
            <p:cNvPr id="22" name="Tekstvak 21">
              <a:extLst>
                <a:ext uri="{FF2B5EF4-FFF2-40B4-BE49-F238E27FC236}">
                  <a16:creationId xmlns:a16="http://schemas.microsoft.com/office/drawing/2014/main" id="{02445066-DD52-A14F-A495-097DC1962B21}"/>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4" name="Afbeelding 23">
              <a:extLst>
                <a:ext uri="{FF2B5EF4-FFF2-40B4-BE49-F238E27FC236}">
                  <a16:creationId xmlns:a16="http://schemas.microsoft.com/office/drawing/2014/main" id="{CF5F77F7-F67B-3F49-8F3D-FEA0EE54327F}"/>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9" name="Afbeelding 28">
            <a:extLst>
              <a:ext uri="{FF2B5EF4-FFF2-40B4-BE49-F238E27FC236}">
                <a16:creationId xmlns:a16="http://schemas.microsoft.com/office/drawing/2014/main" id="{EC5AFE5A-0DBA-0841-9C3A-CCC838522E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12">
            <a:extLst>
              <a:ext uri="{FF2B5EF4-FFF2-40B4-BE49-F238E27FC236}">
                <a16:creationId xmlns:a16="http://schemas.microsoft.com/office/drawing/2014/main" id="{76A160DE-B129-8B40-B750-6C507716A48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30602300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Header Long - 4 Images ">
    <p:spTree>
      <p:nvGrpSpPr>
        <p:cNvPr id="1" name=""/>
        <p:cNvGrpSpPr/>
        <p:nvPr/>
      </p:nvGrpSpPr>
      <p:grpSpPr>
        <a:xfrm>
          <a:off x="0" y="0"/>
          <a:ext cx="0" cy="0"/>
          <a:chOff x="0" y="0"/>
          <a:chExt cx="0" cy="0"/>
        </a:xfrm>
      </p:grpSpPr>
      <p:sp>
        <p:nvSpPr>
          <p:cNvPr id="21" name="Tekstvak 16">
            <a:extLst>
              <a:ext uri="{FF2B5EF4-FFF2-40B4-BE49-F238E27FC236}">
                <a16:creationId xmlns:a16="http://schemas.microsoft.com/office/drawing/2014/main" id="{BAF01BD8-0F91-45EA-8FB5-B59C496F6EC3}"/>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88F10B3D-4357-4004-B814-C15E0CD5413E}"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46" name="Tijdelijke aanduiding voor afbeelding 45">
            <a:extLst>
              <a:ext uri="{FF2B5EF4-FFF2-40B4-BE49-F238E27FC236}">
                <a16:creationId xmlns:a16="http://schemas.microsoft.com/office/drawing/2014/main" id="{36E75C72-1B5F-0B49-A87A-028C713FCB98}"/>
              </a:ext>
            </a:extLst>
          </p:cNvPr>
          <p:cNvSpPr>
            <a:spLocks noGrp="1"/>
          </p:cNvSpPr>
          <p:nvPr>
            <p:ph type="pic" sz="quarter" idx="20"/>
          </p:nvPr>
        </p:nvSpPr>
        <p:spPr>
          <a:xfrm>
            <a:off x="1347597" y="1822450"/>
            <a:ext cx="5031144" cy="1606550"/>
          </a:xfrm>
          <a:custGeom>
            <a:avLst/>
            <a:gdLst>
              <a:gd name="connsiteX0" fmla="*/ 0 w 5031144"/>
              <a:gd name="connsiteY0" fmla="*/ 0 h 1606550"/>
              <a:gd name="connsiteX1" fmla="*/ 5031144 w 5031144"/>
              <a:gd name="connsiteY1" fmla="*/ 0 h 1606550"/>
              <a:gd name="connsiteX2" fmla="*/ 5031144 w 5031144"/>
              <a:gd name="connsiteY2" fmla="*/ 1435099 h 1606550"/>
              <a:gd name="connsiteX3" fmla="*/ 4653000 w 5031144"/>
              <a:gd name="connsiteY3" fmla="*/ 1606550 h 1606550"/>
              <a:gd name="connsiteX4" fmla="*/ 0 w 5031144"/>
              <a:gd name="connsiteY4" fmla="*/ 160655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144" h="1606550">
                <a:moveTo>
                  <a:pt x="0" y="0"/>
                </a:moveTo>
                <a:lnTo>
                  <a:pt x="5031144" y="0"/>
                </a:lnTo>
                <a:lnTo>
                  <a:pt x="5031144" y="1435099"/>
                </a:lnTo>
                <a:lnTo>
                  <a:pt x="4653000"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11" name="Tijdelijke aanduiding voor tekst 10">
            <a:extLst>
              <a:ext uri="{FF2B5EF4-FFF2-40B4-BE49-F238E27FC236}">
                <a16:creationId xmlns:a16="http://schemas.microsoft.com/office/drawing/2014/main" id="{E97E176E-035B-C648-B0ED-06B21897FA41}"/>
              </a:ext>
            </a:extLst>
          </p:cNvPr>
          <p:cNvSpPr>
            <a:spLocks noGrp="1"/>
          </p:cNvSpPr>
          <p:nvPr>
            <p:ph type="body" sz="quarter" idx="23" hasCustomPrompt="1"/>
          </p:nvPr>
        </p:nvSpPr>
        <p:spPr>
          <a:xfrm>
            <a:off x="1347788" y="3512635"/>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34" name="Tijdelijke aanduiding voor tekst 10">
            <a:extLst>
              <a:ext uri="{FF2B5EF4-FFF2-40B4-BE49-F238E27FC236}">
                <a16:creationId xmlns:a16="http://schemas.microsoft.com/office/drawing/2014/main" id="{1AD03C89-9A82-CE44-B9CE-C2C77DC95D79}"/>
              </a:ext>
            </a:extLst>
          </p:cNvPr>
          <p:cNvSpPr>
            <a:spLocks noGrp="1"/>
          </p:cNvSpPr>
          <p:nvPr>
            <p:ph type="body" sz="quarter" idx="24" hasCustomPrompt="1"/>
          </p:nvPr>
        </p:nvSpPr>
        <p:spPr>
          <a:xfrm>
            <a:off x="6716546" y="3512635"/>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47" name="Tijdelijke aanduiding voor afbeelding 46">
            <a:extLst>
              <a:ext uri="{FF2B5EF4-FFF2-40B4-BE49-F238E27FC236}">
                <a16:creationId xmlns:a16="http://schemas.microsoft.com/office/drawing/2014/main" id="{CC16BDA2-166E-3247-ACE4-1CA7F61BFC05}"/>
              </a:ext>
            </a:extLst>
          </p:cNvPr>
          <p:cNvSpPr>
            <a:spLocks noGrp="1"/>
          </p:cNvSpPr>
          <p:nvPr>
            <p:ph type="pic" sz="quarter" idx="29"/>
          </p:nvPr>
        </p:nvSpPr>
        <p:spPr>
          <a:xfrm>
            <a:off x="6716189" y="1822450"/>
            <a:ext cx="5031144" cy="1606550"/>
          </a:xfrm>
          <a:custGeom>
            <a:avLst/>
            <a:gdLst>
              <a:gd name="connsiteX0" fmla="*/ 0 w 5031144"/>
              <a:gd name="connsiteY0" fmla="*/ 0 h 1606550"/>
              <a:gd name="connsiteX1" fmla="*/ 5031144 w 5031144"/>
              <a:gd name="connsiteY1" fmla="*/ 0 h 1606550"/>
              <a:gd name="connsiteX2" fmla="*/ 5031144 w 5031144"/>
              <a:gd name="connsiteY2" fmla="*/ 1435099 h 1606550"/>
              <a:gd name="connsiteX3" fmla="*/ 4653000 w 5031144"/>
              <a:gd name="connsiteY3" fmla="*/ 1606550 h 1606550"/>
              <a:gd name="connsiteX4" fmla="*/ 0 w 5031144"/>
              <a:gd name="connsiteY4" fmla="*/ 160655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144" h="1606550">
                <a:moveTo>
                  <a:pt x="0" y="0"/>
                </a:moveTo>
                <a:lnTo>
                  <a:pt x="5031144" y="0"/>
                </a:lnTo>
                <a:lnTo>
                  <a:pt x="5031144" y="1435099"/>
                </a:lnTo>
                <a:lnTo>
                  <a:pt x="4653000"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8" name="Tijdelijke aanduiding voor afbeelding 47">
            <a:extLst>
              <a:ext uri="{FF2B5EF4-FFF2-40B4-BE49-F238E27FC236}">
                <a16:creationId xmlns:a16="http://schemas.microsoft.com/office/drawing/2014/main" id="{E31C1E05-D498-D84E-A570-3A4B566DA5EC}"/>
              </a:ext>
            </a:extLst>
          </p:cNvPr>
          <p:cNvSpPr>
            <a:spLocks noGrp="1"/>
          </p:cNvSpPr>
          <p:nvPr>
            <p:ph type="pic" sz="quarter" idx="30"/>
          </p:nvPr>
        </p:nvSpPr>
        <p:spPr>
          <a:xfrm>
            <a:off x="1347597" y="4096253"/>
            <a:ext cx="5031144" cy="1606550"/>
          </a:xfrm>
          <a:custGeom>
            <a:avLst/>
            <a:gdLst>
              <a:gd name="connsiteX0" fmla="*/ 0 w 5031144"/>
              <a:gd name="connsiteY0" fmla="*/ 0 h 1606550"/>
              <a:gd name="connsiteX1" fmla="*/ 5031144 w 5031144"/>
              <a:gd name="connsiteY1" fmla="*/ 0 h 1606550"/>
              <a:gd name="connsiteX2" fmla="*/ 5031144 w 5031144"/>
              <a:gd name="connsiteY2" fmla="*/ 1435099 h 1606550"/>
              <a:gd name="connsiteX3" fmla="*/ 4653000 w 5031144"/>
              <a:gd name="connsiteY3" fmla="*/ 1606550 h 1606550"/>
              <a:gd name="connsiteX4" fmla="*/ 0 w 5031144"/>
              <a:gd name="connsiteY4" fmla="*/ 160655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144" h="1606550">
                <a:moveTo>
                  <a:pt x="0" y="0"/>
                </a:moveTo>
                <a:lnTo>
                  <a:pt x="5031144" y="0"/>
                </a:lnTo>
                <a:lnTo>
                  <a:pt x="5031144" y="1435099"/>
                </a:lnTo>
                <a:lnTo>
                  <a:pt x="4653000"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9" name="Tijdelijke aanduiding voor tekst 10">
            <a:extLst>
              <a:ext uri="{FF2B5EF4-FFF2-40B4-BE49-F238E27FC236}">
                <a16:creationId xmlns:a16="http://schemas.microsoft.com/office/drawing/2014/main" id="{2FA673F6-3392-2E47-8E7D-A8F408A5AFA5}"/>
              </a:ext>
            </a:extLst>
          </p:cNvPr>
          <p:cNvSpPr>
            <a:spLocks noGrp="1"/>
          </p:cNvSpPr>
          <p:nvPr>
            <p:ph type="body" sz="quarter" idx="31" hasCustomPrompt="1"/>
          </p:nvPr>
        </p:nvSpPr>
        <p:spPr>
          <a:xfrm>
            <a:off x="1347788" y="5786438"/>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50" name="Tijdelijke aanduiding voor tekst 10">
            <a:extLst>
              <a:ext uri="{FF2B5EF4-FFF2-40B4-BE49-F238E27FC236}">
                <a16:creationId xmlns:a16="http://schemas.microsoft.com/office/drawing/2014/main" id="{CC4353C8-2AF6-934C-B0AA-D7BB19E85327}"/>
              </a:ext>
            </a:extLst>
          </p:cNvPr>
          <p:cNvSpPr>
            <a:spLocks noGrp="1"/>
          </p:cNvSpPr>
          <p:nvPr>
            <p:ph type="body" sz="quarter" idx="32" hasCustomPrompt="1"/>
          </p:nvPr>
        </p:nvSpPr>
        <p:spPr>
          <a:xfrm>
            <a:off x="6716546" y="5786438"/>
            <a:ext cx="5030787" cy="288925"/>
          </a:xfrm>
          <a:prstGeom prst="rect">
            <a:avLst/>
          </a:prstGeom>
        </p:spPr>
        <p:txBody>
          <a:bodyPr>
            <a:noAutofit/>
          </a:bodyPr>
          <a:lstStyle>
            <a:lvl1pPr marL="11113" indent="-11113">
              <a:buNone/>
              <a:tabLst/>
              <a:defRPr sz="1400"/>
            </a:lvl1pPr>
          </a:lstStyle>
          <a:p>
            <a:pPr lvl="0"/>
            <a:r>
              <a:rPr lang="en-GB" noProof="0" dirty="0"/>
              <a:t>Click here</a:t>
            </a:r>
          </a:p>
        </p:txBody>
      </p:sp>
      <p:sp>
        <p:nvSpPr>
          <p:cNvPr id="51" name="Tijdelijke aanduiding voor afbeelding 50">
            <a:extLst>
              <a:ext uri="{FF2B5EF4-FFF2-40B4-BE49-F238E27FC236}">
                <a16:creationId xmlns:a16="http://schemas.microsoft.com/office/drawing/2014/main" id="{86608F4D-A231-174E-9FD8-BC26B1AEF6E3}"/>
              </a:ext>
            </a:extLst>
          </p:cNvPr>
          <p:cNvSpPr>
            <a:spLocks noGrp="1"/>
          </p:cNvSpPr>
          <p:nvPr>
            <p:ph type="pic" sz="quarter" idx="33"/>
          </p:nvPr>
        </p:nvSpPr>
        <p:spPr>
          <a:xfrm>
            <a:off x="6716189" y="4096253"/>
            <a:ext cx="5031144" cy="1606550"/>
          </a:xfrm>
          <a:custGeom>
            <a:avLst/>
            <a:gdLst>
              <a:gd name="connsiteX0" fmla="*/ 0 w 5031144"/>
              <a:gd name="connsiteY0" fmla="*/ 0 h 1606550"/>
              <a:gd name="connsiteX1" fmla="*/ 5031144 w 5031144"/>
              <a:gd name="connsiteY1" fmla="*/ 0 h 1606550"/>
              <a:gd name="connsiteX2" fmla="*/ 5031144 w 5031144"/>
              <a:gd name="connsiteY2" fmla="*/ 1435099 h 1606550"/>
              <a:gd name="connsiteX3" fmla="*/ 4653000 w 5031144"/>
              <a:gd name="connsiteY3" fmla="*/ 1606550 h 1606550"/>
              <a:gd name="connsiteX4" fmla="*/ 0 w 5031144"/>
              <a:gd name="connsiteY4" fmla="*/ 160655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144" h="1606550">
                <a:moveTo>
                  <a:pt x="0" y="0"/>
                </a:moveTo>
                <a:lnTo>
                  <a:pt x="5031144" y="0"/>
                </a:lnTo>
                <a:lnTo>
                  <a:pt x="5031144" y="1435099"/>
                </a:lnTo>
                <a:lnTo>
                  <a:pt x="4653000"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22" name="Groep 21">
            <a:extLst>
              <a:ext uri="{FF2B5EF4-FFF2-40B4-BE49-F238E27FC236}">
                <a16:creationId xmlns:a16="http://schemas.microsoft.com/office/drawing/2014/main" id="{832A703B-3EE1-D543-A894-B6305B8CBBC0}"/>
              </a:ext>
            </a:extLst>
          </p:cNvPr>
          <p:cNvGrpSpPr/>
          <p:nvPr userDrawn="1"/>
        </p:nvGrpSpPr>
        <p:grpSpPr>
          <a:xfrm>
            <a:off x="12443133" y="-1"/>
            <a:ext cx="2670175" cy="6875997"/>
            <a:chOff x="12443133" y="-1"/>
            <a:chExt cx="2670175" cy="6875997"/>
          </a:xfrm>
        </p:grpSpPr>
        <p:sp>
          <p:nvSpPr>
            <p:cNvPr id="23" name="Tekstvak 22">
              <a:extLst>
                <a:ext uri="{FF2B5EF4-FFF2-40B4-BE49-F238E27FC236}">
                  <a16:creationId xmlns:a16="http://schemas.microsoft.com/office/drawing/2014/main" id="{1CD150F8-20FC-424A-A426-D6FFB36E5923}"/>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4" name="Afbeelding 23">
              <a:extLst>
                <a:ext uri="{FF2B5EF4-FFF2-40B4-BE49-F238E27FC236}">
                  <a16:creationId xmlns:a16="http://schemas.microsoft.com/office/drawing/2014/main" id="{4D2F8389-1265-D44D-A333-1FED4CFE11B2}"/>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Afbeelding 24">
            <a:extLst>
              <a:ext uri="{FF2B5EF4-FFF2-40B4-BE49-F238E27FC236}">
                <a16:creationId xmlns:a16="http://schemas.microsoft.com/office/drawing/2014/main" id="{FD85CD36-0E15-D74F-B898-18593ADB29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2">
            <a:extLst>
              <a:ext uri="{FF2B5EF4-FFF2-40B4-BE49-F238E27FC236}">
                <a16:creationId xmlns:a16="http://schemas.microsoft.com/office/drawing/2014/main" id="{1420C5F5-9585-0E43-AE9C-5121E8BA945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838771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Header Long - 5 Images ">
    <p:spTree>
      <p:nvGrpSpPr>
        <p:cNvPr id="1" name=""/>
        <p:cNvGrpSpPr/>
        <p:nvPr/>
      </p:nvGrpSpPr>
      <p:grpSpPr>
        <a:xfrm>
          <a:off x="0" y="0"/>
          <a:ext cx="0" cy="0"/>
          <a:chOff x="0" y="0"/>
          <a:chExt cx="0" cy="0"/>
        </a:xfrm>
      </p:grpSpPr>
      <p:sp>
        <p:nvSpPr>
          <p:cNvPr id="23" name="Tekstvak 16">
            <a:extLst>
              <a:ext uri="{FF2B5EF4-FFF2-40B4-BE49-F238E27FC236}">
                <a16:creationId xmlns:a16="http://schemas.microsoft.com/office/drawing/2014/main" id="{BBF7AB45-3629-4584-A404-7DC1BF3B23B3}"/>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107C77F4-4BDB-44F1-97CF-14644E3C8B2E}"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19" name="Tijdelijke aanduiding voor tekst 10">
            <a:extLst>
              <a:ext uri="{FF2B5EF4-FFF2-40B4-BE49-F238E27FC236}">
                <a16:creationId xmlns:a16="http://schemas.microsoft.com/office/drawing/2014/main" id="{3A3BF38B-335A-6B41-B33B-9C0ADA83FB9D}"/>
              </a:ext>
            </a:extLst>
          </p:cNvPr>
          <p:cNvSpPr>
            <a:spLocks noGrp="1"/>
          </p:cNvSpPr>
          <p:nvPr>
            <p:ph type="body" sz="quarter" idx="32" hasCustomPrompt="1"/>
          </p:nvPr>
        </p:nvSpPr>
        <p:spPr>
          <a:xfrm>
            <a:off x="8523668"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1" name="Tijdelijke aanduiding voor afbeelding 20">
            <a:extLst>
              <a:ext uri="{FF2B5EF4-FFF2-40B4-BE49-F238E27FC236}">
                <a16:creationId xmlns:a16="http://schemas.microsoft.com/office/drawing/2014/main" id="{11BFCECF-9AA0-D84E-9E77-D6823E96209A}"/>
              </a:ext>
            </a:extLst>
          </p:cNvPr>
          <p:cNvSpPr>
            <a:spLocks noGrp="1"/>
          </p:cNvSpPr>
          <p:nvPr>
            <p:ph type="pic" sz="quarter" idx="33"/>
          </p:nvPr>
        </p:nvSpPr>
        <p:spPr>
          <a:xfrm>
            <a:off x="8523669" y="1822450"/>
            <a:ext cx="3223665" cy="3880353"/>
          </a:xfrm>
          <a:custGeom>
            <a:avLst/>
            <a:gdLst>
              <a:gd name="connsiteX0" fmla="*/ 0 w 3223665"/>
              <a:gd name="connsiteY0" fmla="*/ 0 h 3880353"/>
              <a:gd name="connsiteX1" fmla="*/ 3223665 w 3223665"/>
              <a:gd name="connsiteY1" fmla="*/ 0 h 3880353"/>
              <a:gd name="connsiteX2" fmla="*/ 3223665 w 3223665"/>
              <a:gd name="connsiteY2" fmla="*/ 2273803 h 3880353"/>
              <a:gd name="connsiteX3" fmla="*/ 3223665 w 3223665"/>
              <a:gd name="connsiteY3" fmla="*/ 2597150 h 3880353"/>
              <a:gd name="connsiteX4" fmla="*/ 3223665 w 3223665"/>
              <a:gd name="connsiteY4" fmla="*/ 3708902 h 3880353"/>
              <a:gd name="connsiteX5" fmla="*/ 2845521 w 3223665"/>
              <a:gd name="connsiteY5" fmla="*/ 3880353 h 3880353"/>
              <a:gd name="connsiteX6" fmla="*/ 0 w 3223665"/>
              <a:gd name="connsiteY6" fmla="*/ 3880353 h 38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3665" h="3880353">
                <a:moveTo>
                  <a:pt x="0" y="0"/>
                </a:moveTo>
                <a:lnTo>
                  <a:pt x="3223665" y="0"/>
                </a:lnTo>
                <a:lnTo>
                  <a:pt x="3223665" y="2273803"/>
                </a:lnTo>
                <a:lnTo>
                  <a:pt x="3223665" y="2597150"/>
                </a:lnTo>
                <a:lnTo>
                  <a:pt x="3223665" y="3708902"/>
                </a:lnTo>
                <a:lnTo>
                  <a:pt x="2845521" y="3880353"/>
                </a:lnTo>
                <a:lnTo>
                  <a:pt x="0" y="3880353"/>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2" name="Tijdelijke aanduiding voor tekst 10">
            <a:extLst>
              <a:ext uri="{FF2B5EF4-FFF2-40B4-BE49-F238E27FC236}">
                <a16:creationId xmlns:a16="http://schemas.microsoft.com/office/drawing/2014/main" id="{6DAECEDB-9665-B749-8F1A-23EA6B317DE8}"/>
              </a:ext>
            </a:extLst>
          </p:cNvPr>
          <p:cNvSpPr>
            <a:spLocks noGrp="1"/>
          </p:cNvSpPr>
          <p:nvPr>
            <p:ph type="body" sz="quarter" idx="34" hasCustomPrompt="1"/>
          </p:nvPr>
        </p:nvSpPr>
        <p:spPr>
          <a:xfrm>
            <a:off x="4935632"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4" name="Tijdelijke aanduiding voor afbeelding 23">
            <a:extLst>
              <a:ext uri="{FF2B5EF4-FFF2-40B4-BE49-F238E27FC236}">
                <a16:creationId xmlns:a16="http://schemas.microsoft.com/office/drawing/2014/main" id="{F2E733B6-8AFF-1E42-BE3A-47BDE7E8AE0F}"/>
              </a:ext>
            </a:extLst>
          </p:cNvPr>
          <p:cNvSpPr>
            <a:spLocks noGrp="1"/>
          </p:cNvSpPr>
          <p:nvPr>
            <p:ph type="pic" sz="quarter" idx="35"/>
          </p:nvPr>
        </p:nvSpPr>
        <p:spPr>
          <a:xfrm>
            <a:off x="4935633" y="4096253"/>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5" name="Tijdelijke aanduiding voor tekst 10">
            <a:extLst>
              <a:ext uri="{FF2B5EF4-FFF2-40B4-BE49-F238E27FC236}">
                <a16:creationId xmlns:a16="http://schemas.microsoft.com/office/drawing/2014/main" id="{AA4FEF3F-3863-AD41-AAFC-DB1A75607398}"/>
              </a:ext>
            </a:extLst>
          </p:cNvPr>
          <p:cNvSpPr>
            <a:spLocks noGrp="1"/>
          </p:cNvSpPr>
          <p:nvPr>
            <p:ph type="body" sz="quarter" idx="36" hasCustomPrompt="1"/>
          </p:nvPr>
        </p:nvSpPr>
        <p:spPr>
          <a:xfrm>
            <a:off x="4935632" y="3512635"/>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6" name="Tijdelijke aanduiding voor afbeelding 25">
            <a:extLst>
              <a:ext uri="{FF2B5EF4-FFF2-40B4-BE49-F238E27FC236}">
                <a16:creationId xmlns:a16="http://schemas.microsoft.com/office/drawing/2014/main" id="{80FD56E5-A437-CA4F-A7C4-8BD9239B855A}"/>
              </a:ext>
            </a:extLst>
          </p:cNvPr>
          <p:cNvSpPr>
            <a:spLocks noGrp="1"/>
          </p:cNvSpPr>
          <p:nvPr>
            <p:ph type="pic" sz="quarter" idx="37"/>
          </p:nvPr>
        </p:nvSpPr>
        <p:spPr>
          <a:xfrm>
            <a:off x="4935633" y="1822450"/>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7" name="Tijdelijke aanduiding voor tekst 10">
            <a:extLst>
              <a:ext uri="{FF2B5EF4-FFF2-40B4-BE49-F238E27FC236}">
                <a16:creationId xmlns:a16="http://schemas.microsoft.com/office/drawing/2014/main" id="{3223D7C0-F0F7-DC4B-BDF9-60FEF5B911F3}"/>
              </a:ext>
            </a:extLst>
          </p:cNvPr>
          <p:cNvSpPr>
            <a:spLocks noGrp="1"/>
          </p:cNvSpPr>
          <p:nvPr>
            <p:ph type="body" sz="quarter" idx="38" hasCustomPrompt="1"/>
          </p:nvPr>
        </p:nvSpPr>
        <p:spPr>
          <a:xfrm>
            <a:off x="1346400"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8" name="Tijdelijke aanduiding voor afbeelding 27">
            <a:extLst>
              <a:ext uri="{FF2B5EF4-FFF2-40B4-BE49-F238E27FC236}">
                <a16:creationId xmlns:a16="http://schemas.microsoft.com/office/drawing/2014/main" id="{8A94FC41-BB7D-EE43-A850-AE4F52D9BEE6}"/>
              </a:ext>
            </a:extLst>
          </p:cNvPr>
          <p:cNvSpPr>
            <a:spLocks noGrp="1"/>
          </p:cNvSpPr>
          <p:nvPr>
            <p:ph type="pic" sz="quarter" idx="39"/>
          </p:nvPr>
        </p:nvSpPr>
        <p:spPr>
          <a:xfrm>
            <a:off x="1346400" y="4096253"/>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9" name="Tijdelijke aanduiding voor tekst 10">
            <a:extLst>
              <a:ext uri="{FF2B5EF4-FFF2-40B4-BE49-F238E27FC236}">
                <a16:creationId xmlns:a16="http://schemas.microsoft.com/office/drawing/2014/main" id="{D57B0DCB-EF7C-1D41-AFDD-75CD52B7F806}"/>
              </a:ext>
            </a:extLst>
          </p:cNvPr>
          <p:cNvSpPr>
            <a:spLocks noGrp="1"/>
          </p:cNvSpPr>
          <p:nvPr>
            <p:ph type="body" sz="quarter" idx="40" hasCustomPrompt="1"/>
          </p:nvPr>
        </p:nvSpPr>
        <p:spPr>
          <a:xfrm>
            <a:off x="1346400" y="3512635"/>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30" name="Tijdelijke aanduiding voor afbeelding 29">
            <a:extLst>
              <a:ext uri="{FF2B5EF4-FFF2-40B4-BE49-F238E27FC236}">
                <a16:creationId xmlns:a16="http://schemas.microsoft.com/office/drawing/2014/main" id="{42028FAD-5F72-5D4F-B10F-623637BD5D0F}"/>
              </a:ext>
            </a:extLst>
          </p:cNvPr>
          <p:cNvSpPr>
            <a:spLocks noGrp="1"/>
          </p:cNvSpPr>
          <p:nvPr>
            <p:ph type="pic" sz="quarter" idx="41"/>
          </p:nvPr>
        </p:nvSpPr>
        <p:spPr>
          <a:xfrm>
            <a:off x="1346400" y="1822450"/>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32" name="Groep 31">
            <a:extLst>
              <a:ext uri="{FF2B5EF4-FFF2-40B4-BE49-F238E27FC236}">
                <a16:creationId xmlns:a16="http://schemas.microsoft.com/office/drawing/2014/main" id="{9F6B2ABC-0D24-0943-9F47-7022640237B7}"/>
              </a:ext>
            </a:extLst>
          </p:cNvPr>
          <p:cNvGrpSpPr/>
          <p:nvPr userDrawn="1"/>
        </p:nvGrpSpPr>
        <p:grpSpPr>
          <a:xfrm>
            <a:off x="12443133" y="-1"/>
            <a:ext cx="2670175" cy="6875997"/>
            <a:chOff x="12443133" y="-1"/>
            <a:chExt cx="2670175" cy="6875997"/>
          </a:xfrm>
        </p:grpSpPr>
        <p:sp>
          <p:nvSpPr>
            <p:cNvPr id="33" name="Tekstvak 32">
              <a:extLst>
                <a:ext uri="{FF2B5EF4-FFF2-40B4-BE49-F238E27FC236}">
                  <a16:creationId xmlns:a16="http://schemas.microsoft.com/office/drawing/2014/main" id="{3E5FF215-5685-604E-B9CC-F824E38AE4EA}"/>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34" name="Afbeelding 33">
              <a:extLst>
                <a:ext uri="{FF2B5EF4-FFF2-40B4-BE49-F238E27FC236}">
                  <a16:creationId xmlns:a16="http://schemas.microsoft.com/office/drawing/2014/main" id="{725F9C8C-EFA2-F748-9697-DEBF39FC2A2B}"/>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5" name="Afbeelding 34">
            <a:extLst>
              <a:ext uri="{FF2B5EF4-FFF2-40B4-BE49-F238E27FC236}">
                <a16:creationId xmlns:a16="http://schemas.microsoft.com/office/drawing/2014/main" id="{AA81919E-DAE8-6143-A0C2-CA675742CF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2">
            <a:extLst>
              <a:ext uri="{FF2B5EF4-FFF2-40B4-BE49-F238E27FC236}">
                <a16:creationId xmlns:a16="http://schemas.microsoft.com/office/drawing/2014/main" id="{737845E9-07E9-7F4C-9B74-61865239794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672471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Header Long - 6 Images ">
    <p:spTree>
      <p:nvGrpSpPr>
        <p:cNvPr id="1" name=""/>
        <p:cNvGrpSpPr/>
        <p:nvPr/>
      </p:nvGrpSpPr>
      <p:grpSpPr>
        <a:xfrm>
          <a:off x="0" y="0"/>
          <a:ext cx="0" cy="0"/>
          <a:chOff x="0" y="0"/>
          <a:chExt cx="0" cy="0"/>
        </a:xfrm>
      </p:grpSpPr>
      <p:sp>
        <p:nvSpPr>
          <p:cNvPr id="34" name="Tekstvak 16">
            <a:extLst>
              <a:ext uri="{FF2B5EF4-FFF2-40B4-BE49-F238E27FC236}">
                <a16:creationId xmlns:a16="http://schemas.microsoft.com/office/drawing/2014/main" id="{0E7040C0-EF44-40F3-BED5-B0DAC5932FA9}"/>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F753D39F-2435-4159-967C-7E20976F7F23}"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22" name="Tijdelijke aanduiding voor tekst 10">
            <a:extLst>
              <a:ext uri="{FF2B5EF4-FFF2-40B4-BE49-F238E27FC236}">
                <a16:creationId xmlns:a16="http://schemas.microsoft.com/office/drawing/2014/main" id="{6DAECEDB-9665-B749-8F1A-23EA6B317DE8}"/>
              </a:ext>
            </a:extLst>
          </p:cNvPr>
          <p:cNvSpPr>
            <a:spLocks noGrp="1"/>
          </p:cNvSpPr>
          <p:nvPr>
            <p:ph type="body" sz="quarter" idx="34" hasCustomPrompt="1"/>
          </p:nvPr>
        </p:nvSpPr>
        <p:spPr>
          <a:xfrm>
            <a:off x="4935632"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4" name="Tijdelijke aanduiding voor afbeelding 23">
            <a:extLst>
              <a:ext uri="{FF2B5EF4-FFF2-40B4-BE49-F238E27FC236}">
                <a16:creationId xmlns:a16="http://schemas.microsoft.com/office/drawing/2014/main" id="{F2E733B6-8AFF-1E42-BE3A-47BDE7E8AE0F}"/>
              </a:ext>
            </a:extLst>
          </p:cNvPr>
          <p:cNvSpPr>
            <a:spLocks noGrp="1"/>
          </p:cNvSpPr>
          <p:nvPr>
            <p:ph type="pic" sz="quarter" idx="35"/>
          </p:nvPr>
        </p:nvSpPr>
        <p:spPr>
          <a:xfrm>
            <a:off x="4935633" y="4096253"/>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5" name="Tijdelijke aanduiding voor tekst 10">
            <a:extLst>
              <a:ext uri="{FF2B5EF4-FFF2-40B4-BE49-F238E27FC236}">
                <a16:creationId xmlns:a16="http://schemas.microsoft.com/office/drawing/2014/main" id="{AA4FEF3F-3863-AD41-AAFC-DB1A75607398}"/>
              </a:ext>
            </a:extLst>
          </p:cNvPr>
          <p:cNvSpPr>
            <a:spLocks noGrp="1"/>
          </p:cNvSpPr>
          <p:nvPr>
            <p:ph type="body" sz="quarter" idx="36" hasCustomPrompt="1"/>
          </p:nvPr>
        </p:nvSpPr>
        <p:spPr>
          <a:xfrm>
            <a:off x="4935632" y="3512635"/>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6" name="Tijdelijke aanduiding voor afbeelding 25">
            <a:extLst>
              <a:ext uri="{FF2B5EF4-FFF2-40B4-BE49-F238E27FC236}">
                <a16:creationId xmlns:a16="http://schemas.microsoft.com/office/drawing/2014/main" id="{80FD56E5-A437-CA4F-A7C4-8BD9239B855A}"/>
              </a:ext>
            </a:extLst>
          </p:cNvPr>
          <p:cNvSpPr>
            <a:spLocks noGrp="1"/>
          </p:cNvSpPr>
          <p:nvPr>
            <p:ph type="pic" sz="quarter" idx="37"/>
          </p:nvPr>
        </p:nvSpPr>
        <p:spPr>
          <a:xfrm>
            <a:off x="4935633" y="1822450"/>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7" name="Tijdelijke aanduiding voor tekst 10">
            <a:extLst>
              <a:ext uri="{FF2B5EF4-FFF2-40B4-BE49-F238E27FC236}">
                <a16:creationId xmlns:a16="http://schemas.microsoft.com/office/drawing/2014/main" id="{3223D7C0-F0F7-DC4B-BDF9-60FEF5B911F3}"/>
              </a:ext>
            </a:extLst>
          </p:cNvPr>
          <p:cNvSpPr>
            <a:spLocks noGrp="1"/>
          </p:cNvSpPr>
          <p:nvPr>
            <p:ph type="body" sz="quarter" idx="38" hasCustomPrompt="1"/>
          </p:nvPr>
        </p:nvSpPr>
        <p:spPr>
          <a:xfrm>
            <a:off x="1346400"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28" name="Tijdelijke aanduiding voor afbeelding 27">
            <a:extLst>
              <a:ext uri="{FF2B5EF4-FFF2-40B4-BE49-F238E27FC236}">
                <a16:creationId xmlns:a16="http://schemas.microsoft.com/office/drawing/2014/main" id="{8A94FC41-BB7D-EE43-A850-AE4F52D9BEE6}"/>
              </a:ext>
            </a:extLst>
          </p:cNvPr>
          <p:cNvSpPr>
            <a:spLocks noGrp="1"/>
          </p:cNvSpPr>
          <p:nvPr>
            <p:ph type="pic" sz="quarter" idx="39"/>
          </p:nvPr>
        </p:nvSpPr>
        <p:spPr>
          <a:xfrm>
            <a:off x="1346400" y="4096253"/>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9" name="Tijdelijke aanduiding voor tekst 10">
            <a:extLst>
              <a:ext uri="{FF2B5EF4-FFF2-40B4-BE49-F238E27FC236}">
                <a16:creationId xmlns:a16="http://schemas.microsoft.com/office/drawing/2014/main" id="{D57B0DCB-EF7C-1D41-AFDD-75CD52B7F806}"/>
              </a:ext>
            </a:extLst>
          </p:cNvPr>
          <p:cNvSpPr>
            <a:spLocks noGrp="1"/>
          </p:cNvSpPr>
          <p:nvPr>
            <p:ph type="body" sz="quarter" idx="40" hasCustomPrompt="1"/>
          </p:nvPr>
        </p:nvSpPr>
        <p:spPr>
          <a:xfrm>
            <a:off x="1346400" y="3512635"/>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30" name="Tijdelijke aanduiding voor afbeelding 29">
            <a:extLst>
              <a:ext uri="{FF2B5EF4-FFF2-40B4-BE49-F238E27FC236}">
                <a16:creationId xmlns:a16="http://schemas.microsoft.com/office/drawing/2014/main" id="{42028FAD-5F72-5D4F-B10F-623637BD5D0F}"/>
              </a:ext>
            </a:extLst>
          </p:cNvPr>
          <p:cNvSpPr>
            <a:spLocks noGrp="1"/>
          </p:cNvSpPr>
          <p:nvPr>
            <p:ph type="pic" sz="quarter" idx="41"/>
          </p:nvPr>
        </p:nvSpPr>
        <p:spPr>
          <a:xfrm>
            <a:off x="1346400" y="1822450"/>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3" name="Tijdelijke aanduiding voor tekst 10">
            <a:extLst>
              <a:ext uri="{FF2B5EF4-FFF2-40B4-BE49-F238E27FC236}">
                <a16:creationId xmlns:a16="http://schemas.microsoft.com/office/drawing/2014/main" id="{F957F531-5D0C-2D4A-9AE9-F47941D0E708}"/>
              </a:ext>
            </a:extLst>
          </p:cNvPr>
          <p:cNvSpPr>
            <a:spLocks noGrp="1"/>
          </p:cNvSpPr>
          <p:nvPr>
            <p:ph type="body" sz="quarter" idx="42" hasCustomPrompt="1"/>
          </p:nvPr>
        </p:nvSpPr>
        <p:spPr>
          <a:xfrm>
            <a:off x="8523667" y="5786438"/>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31" name="Tijdelijke aanduiding voor afbeelding 23">
            <a:extLst>
              <a:ext uri="{FF2B5EF4-FFF2-40B4-BE49-F238E27FC236}">
                <a16:creationId xmlns:a16="http://schemas.microsoft.com/office/drawing/2014/main" id="{189F6CBD-DF98-9240-8465-4091F619CDBC}"/>
              </a:ext>
            </a:extLst>
          </p:cNvPr>
          <p:cNvSpPr>
            <a:spLocks noGrp="1"/>
          </p:cNvSpPr>
          <p:nvPr>
            <p:ph type="pic" sz="quarter" idx="43"/>
          </p:nvPr>
        </p:nvSpPr>
        <p:spPr>
          <a:xfrm>
            <a:off x="8523668" y="4096253"/>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2" name="Tijdelijke aanduiding voor tekst 10">
            <a:extLst>
              <a:ext uri="{FF2B5EF4-FFF2-40B4-BE49-F238E27FC236}">
                <a16:creationId xmlns:a16="http://schemas.microsoft.com/office/drawing/2014/main" id="{BFE71A4D-323A-1D4D-BD2E-22356777C70E}"/>
              </a:ext>
            </a:extLst>
          </p:cNvPr>
          <p:cNvSpPr>
            <a:spLocks noGrp="1"/>
          </p:cNvSpPr>
          <p:nvPr>
            <p:ph type="body" sz="quarter" idx="44" hasCustomPrompt="1"/>
          </p:nvPr>
        </p:nvSpPr>
        <p:spPr>
          <a:xfrm>
            <a:off x="8523667" y="3512635"/>
            <a:ext cx="3223665" cy="288926"/>
          </a:xfrm>
          <a:prstGeom prst="rect">
            <a:avLst/>
          </a:prstGeom>
        </p:spPr>
        <p:txBody>
          <a:bodyPr>
            <a:noAutofit/>
          </a:bodyPr>
          <a:lstStyle>
            <a:lvl1pPr marL="11113" indent="-11113">
              <a:buNone/>
              <a:tabLst/>
              <a:defRPr sz="1400"/>
            </a:lvl1pPr>
          </a:lstStyle>
          <a:p>
            <a:pPr lvl="0"/>
            <a:r>
              <a:rPr lang="en-GB" noProof="0" dirty="0"/>
              <a:t>Click here</a:t>
            </a:r>
          </a:p>
        </p:txBody>
      </p:sp>
      <p:sp>
        <p:nvSpPr>
          <p:cNvPr id="33" name="Tijdelijke aanduiding voor afbeelding 25">
            <a:extLst>
              <a:ext uri="{FF2B5EF4-FFF2-40B4-BE49-F238E27FC236}">
                <a16:creationId xmlns:a16="http://schemas.microsoft.com/office/drawing/2014/main" id="{AFDEEFE0-59A6-B54C-A3A8-3A76A5F74D40}"/>
              </a:ext>
            </a:extLst>
          </p:cNvPr>
          <p:cNvSpPr>
            <a:spLocks noGrp="1"/>
          </p:cNvSpPr>
          <p:nvPr>
            <p:ph type="pic" sz="quarter" idx="45"/>
          </p:nvPr>
        </p:nvSpPr>
        <p:spPr>
          <a:xfrm>
            <a:off x="8523668" y="1822450"/>
            <a:ext cx="3223665" cy="1606550"/>
          </a:xfrm>
          <a:custGeom>
            <a:avLst/>
            <a:gdLst>
              <a:gd name="connsiteX0" fmla="*/ 0 w 3223665"/>
              <a:gd name="connsiteY0" fmla="*/ 0 h 1606550"/>
              <a:gd name="connsiteX1" fmla="*/ 3223665 w 3223665"/>
              <a:gd name="connsiteY1" fmla="*/ 0 h 1606550"/>
              <a:gd name="connsiteX2" fmla="*/ 3223665 w 3223665"/>
              <a:gd name="connsiteY2" fmla="*/ 323347 h 1606550"/>
              <a:gd name="connsiteX3" fmla="*/ 3223665 w 3223665"/>
              <a:gd name="connsiteY3" fmla="*/ 1435099 h 1606550"/>
              <a:gd name="connsiteX4" fmla="*/ 2845521 w 3223665"/>
              <a:gd name="connsiteY4" fmla="*/ 1606550 h 1606550"/>
              <a:gd name="connsiteX5" fmla="*/ 0 w 3223665"/>
              <a:gd name="connsiteY5" fmla="*/ 160655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3665" h="1606550">
                <a:moveTo>
                  <a:pt x="0" y="0"/>
                </a:moveTo>
                <a:lnTo>
                  <a:pt x="3223665" y="0"/>
                </a:lnTo>
                <a:lnTo>
                  <a:pt x="3223665" y="323347"/>
                </a:lnTo>
                <a:lnTo>
                  <a:pt x="3223665" y="1435099"/>
                </a:lnTo>
                <a:lnTo>
                  <a:pt x="2845521" y="1606550"/>
                </a:lnTo>
                <a:lnTo>
                  <a:pt x="0" y="1606550"/>
                </a:lnTo>
                <a:close/>
              </a:path>
            </a:pathLst>
          </a:cu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36" name="Groep 35">
            <a:extLst>
              <a:ext uri="{FF2B5EF4-FFF2-40B4-BE49-F238E27FC236}">
                <a16:creationId xmlns:a16="http://schemas.microsoft.com/office/drawing/2014/main" id="{E7FC54AC-3C06-8C40-AE44-0F98D601A0BA}"/>
              </a:ext>
            </a:extLst>
          </p:cNvPr>
          <p:cNvGrpSpPr/>
          <p:nvPr userDrawn="1"/>
        </p:nvGrpSpPr>
        <p:grpSpPr>
          <a:xfrm>
            <a:off x="12443133" y="-1"/>
            <a:ext cx="2670175" cy="6875997"/>
            <a:chOff x="12443133" y="-1"/>
            <a:chExt cx="2670175" cy="6875997"/>
          </a:xfrm>
        </p:grpSpPr>
        <p:sp>
          <p:nvSpPr>
            <p:cNvPr id="37" name="Tekstvak 36">
              <a:extLst>
                <a:ext uri="{FF2B5EF4-FFF2-40B4-BE49-F238E27FC236}">
                  <a16:creationId xmlns:a16="http://schemas.microsoft.com/office/drawing/2014/main" id="{54CCB5D4-404E-E446-8963-EBB330FD63A2}"/>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38" name="Afbeelding 37">
              <a:extLst>
                <a:ext uri="{FF2B5EF4-FFF2-40B4-BE49-F238E27FC236}">
                  <a16:creationId xmlns:a16="http://schemas.microsoft.com/office/drawing/2014/main" id="{F6A25BF4-90E0-F942-9ADB-85C06993899D}"/>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9" name="Afbeelding 38">
            <a:extLst>
              <a:ext uri="{FF2B5EF4-FFF2-40B4-BE49-F238E27FC236}">
                <a16:creationId xmlns:a16="http://schemas.microsoft.com/office/drawing/2014/main" id="{5446C524-C34A-194A-A15D-74167AC4C0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12">
            <a:extLst>
              <a:ext uri="{FF2B5EF4-FFF2-40B4-BE49-F238E27FC236}">
                <a16:creationId xmlns:a16="http://schemas.microsoft.com/office/drawing/2014/main" id="{2FAE4E26-DE95-2941-8C92-E2E6D355199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1337260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Header Long - 1 Circles">
    <p:spTree>
      <p:nvGrpSpPr>
        <p:cNvPr id="1" name=""/>
        <p:cNvGrpSpPr/>
        <p:nvPr/>
      </p:nvGrpSpPr>
      <p:grpSpPr>
        <a:xfrm>
          <a:off x="0" y="0"/>
          <a:ext cx="0" cy="0"/>
          <a:chOff x="0" y="0"/>
          <a:chExt cx="0" cy="0"/>
        </a:xfrm>
      </p:grpSpPr>
      <p:sp>
        <p:nvSpPr>
          <p:cNvPr id="17" name="Tekstvak 16">
            <a:extLst>
              <a:ext uri="{FF2B5EF4-FFF2-40B4-BE49-F238E27FC236}">
                <a16:creationId xmlns:a16="http://schemas.microsoft.com/office/drawing/2014/main" id="{BCFAE265-CADC-4660-8C96-D8C1D78E905A}"/>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6BE3CAC8-45A8-4976-B00F-DF4756A9FA1F}"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32" name="Tijdelijke aanduiding voor tekst 10">
            <a:extLst>
              <a:ext uri="{FF2B5EF4-FFF2-40B4-BE49-F238E27FC236}">
                <a16:creationId xmlns:a16="http://schemas.microsoft.com/office/drawing/2014/main" id="{BFE71A4D-323A-1D4D-BD2E-22356777C70E}"/>
              </a:ext>
            </a:extLst>
          </p:cNvPr>
          <p:cNvSpPr>
            <a:spLocks noGrp="1"/>
          </p:cNvSpPr>
          <p:nvPr>
            <p:ph type="body" sz="quarter" idx="44" hasCustomPrompt="1"/>
          </p:nvPr>
        </p:nvSpPr>
        <p:spPr>
          <a:xfrm>
            <a:off x="4497379" y="5331593"/>
            <a:ext cx="3197239" cy="743770"/>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3" name="Tijdelijke aanduiding voor afbeelding 25">
            <a:extLst>
              <a:ext uri="{FF2B5EF4-FFF2-40B4-BE49-F238E27FC236}">
                <a16:creationId xmlns:a16="http://schemas.microsoft.com/office/drawing/2014/main" id="{AFDEEFE0-59A6-B54C-A3A8-3A76A5F74D40}"/>
              </a:ext>
            </a:extLst>
          </p:cNvPr>
          <p:cNvSpPr>
            <a:spLocks noGrp="1"/>
          </p:cNvSpPr>
          <p:nvPr>
            <p:ph type="pic" sz="quarter" idx="45"/>
          </p:nvPr>
        </p:nvSpPr>
        <p:spPr>
          <a:xfrm>
            <a:off x="4497380" y="1828992"/>
            <a:ext cx="3197239" cy="319913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14" name="Groep 13">
            <a:extLst>
              <a:ext uri="{FF2B5EF4-FFF2-40B4-BE49-F238E27FC236}">
                <a16:creationId xmlns:a16="http://schemas.microsoft.com/office/drawing/2014/main" id="{B47C225F-00F5-624C-BA5C-41A43AC7281E}"/>
              </a:ext>
            </a:extLst>
          </p:cNvPr>
          <p:cNvGrpSpPr/>
          <p:nvPr userDrawn="1"/>
        </p:nvGrpSpPr>
        <p:grpSpPr>
          <a:xfrm>
            <a:off x="12443133" y="-1"/>
            <a:ext cx="2670175" cy="6875997"/>
            <a:chOff x="12443133" y="-1"/>
            <a:chExt cx="2670175" cy="6875997"/>
          </a:xfrm>
        </p:grpSpPr>
        <p:sp>
          <p:nvSpPr>
            <p:cNvPr id="15" name="Tekstvak 14">
              <a:extLst>
                <a:ext uri="{FF2B5EF4-FFF2-40B4-BE49-F238E27FC236}">
                  <a16:creationId xmlns:a16="http://schemas.microsoft.com/office/drawing/2014/main" id="{45F29B7C-946E-3C42-921B-169910BA59BF}"/>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16" name="Afbeelding 15">
              <a:extLst>
                <a:ext uri="{FF2B5EF4-FFF2-40B4-BE49-F238E27FC236}">
                  <a16:creationId xmlns:a16="http://schemas.microsoft.com/office/drawing/2014/main" id="{DE1AE8C6-4B20-D34C-BDA7-38F5D86FC8DA}"/>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Afbeelding 18">
            <a:extLst>
              <a:ext uri="{FF2B5EF4-FFF2-40B4-BE49-F238E27FC236}">
                <a16:creationId xmlns:a16="http://schemas.microsoft.com/office/drawing/2014/main" id="{51D80EB3-9F76-3349-8004-AE30B7EFD81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2">
            <a:extLst>
              <a:ext uri="{FF2B5EF4-FFF2-40B4-BE49-F238E27FC236}">
                <a16:creationId xmlns:a16="http://schemas.microsoft.com/office/drawing/2014/main" id="{0FB2EEFA-E10F-E449-B6E0-0E23A607FCE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22790145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Header Long - 2 Circles">
    <p:spTree>
      <p:nvGrpSpPr>
        <p:cNvPr id="1" name=""/>
        <p:cNvGrpSpPr/>
        <p:nvPr/>
      </p:nvGrpSpPr>
      <p:grpSpPr>
        <a:xfrm>
          <a:off x="0" y="0"/>
          <a:ext cx="0" cy="0"/>
          <a:chOff x="0" y="0"/>
          <a:chExt cx="0" cy="0"/>
        </a:xfrm>
      </p:grpSpPr>
      <p:sp>
        <p:nvSpPr>
          <p:cNvPr id="17" name="Tekstvak 16">
            <a:extLst>
              <a:ext uri="{FF2B5EF4-FFF2-40B4-BE49-F238E27FC236}">
                <a16:creationId xmlns:a16="http://schemas.microsoft.com/office/drawing/2014/main" id="{B9FE900D-9438-4B48-864A-590EA1D334EC}"/>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F0471D34-99AD-4618-9993-F38FC29BE8C1}"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19" name="Tijdelijke aanduiding voor afbeelding 25">
            <a:extLst>
              <a:ext uri="{FF2B5EF4-FFF2-40B4-BE49-F238E27FC236}">
                <a16:creationId xmlns:a16="http://schemas.microsoft.com/office/drawing/2014/main" id="{79BDCAAC-DA89-4848-BA74-98DFB9B54267}"/>
              </a:ext>
            </a:extLst>
          </p:cNvPr>
          <p:cNvSpPr>
            <a:spLocks noGrp="1"/>
          </p:cNvSpPr>
          <p:nvPr>
            <p:ph type="pic" sz="quarter" idx="45"/>
          </p:nvPr>
        </p:nvSpPr>
        <p:spPr>
          <a:xfrm>
            <a:off x="6817427" y="1829435"/>
            <a:ext cx="3197239" cy="319913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1" name="Tijdelijke aanduiding voor tekst 10">
            <a:extLst>
              <a:ext uri="{FF2B5EF4-FFF2-40B4-BE49-F238E27FC236}">
                <a16:creationId xmlns:a16="http://schemas.microsoft.com/office/drawing/2014/main" id="{8B9F0FC1-926D-2F42-9C1C-98DF4D45D8FE}"/>
              </a:ext>
            </a:extLst>
          </p:cNvPr>
          <p:cNvSpPr>
            <a:spLocks noGrp="1"/>
          </p:cNvSpPr>
          <p:nvPr>
            <p:ph type="body" sz="quarter" idx="44" hasCustomPrompt="1"/>
          </p:nvPr>
        </p:nvSpPr>
        <p:spPr>
          <a:xfrm>
            <a:off x="6817427" y="5331593"/>
            <a:ext cx="3197239" cy="743770"/>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2" name="Tijdelijke aanduiding voor afbeelding 25">
            <a:extLst>
              <a:ext uri="{FF2B5EF4-FFF2-40B4-BE49-F238E27FC236}">
                <a16:creationId xmlns:a16="http://schemas.microsoft.com/office/drawing/2014/main" id="{A4D6D21D-3485-0340-90D2-90CFB09D1715}"/>
              </a:ext>
            </a:extLst>
          </p:cNvPr>
          <p:cNvSpPr>
            <a:spLocks noGrp="1"/>
          </p:cNvSpPr>
          <p:nvPr>
            <p:ph type="pic" sz="quarter" idx="46"/>
          </p:nvPr>
        </p:nvSpPr>
        <p:spPr>
          <a:xfrm>
            <a:off x="2177334" y="1829435"/>
            <a:ext cx="3197239" cy="319913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3" name="Tijdelijke aanduiding voor tekst 10">
            <a:extLst>
              <a:ext uri="{FF2B5EF4-FFF2-40B4-BE49-F238E27FC236}">
                <a16:creationId xmlns:a16="http://schemas.microsoft.com/office/drawing/2014/main" id="{6D7EB970-F515-8947-BACC-823F7050C9A1}"/>
              </a:ext>
            </a:extLst>
          </p:cNvPr>
          <p:cNvSpPr>
            <a:spLocks noGrp="1"/>
          </p:cNvSpPr>
          <p:nvPr>
            <p:ph type="body" sz="quarter" idx="47" hasCustomPrompt="1"/>
          </p:nvPr>
        </p:nvSpPr>
        <p:spPr>
          <a:xfrm>
            <a:off x="2177334" y="5331593"/>
            <a:ext cx="3197239" cy="743770"/>
          </a:xfrm>
          <a:prstGeom prst="rect">
            <a:avLst/>
          </a:prstGeom>
        </p:spPr>
        <p:txBody>
          <a:bodyPr>
            <a:noAutofit/>
          </a:bodyPr>
          <a:lstStyle>
            <a:lvl1pPr marL="11113" indent="-11113" algn="ctr">
              <a:buNone/>
              <a:tabLst/>
              <a:defRPr sz="1400" b="1"/>
            </a:lvl1pPr>
          </a:lstStyle>
          <a:p>
            <a:pPr lvl="0"/>
            <a:r>
              <a:rPr lang="en-GB" noProof="0" dirty="0"/>
              <a:t>Click here</a:t>
            </a:r>
          </a:p>
        </p:txBody>
      </p:sp>
      <p:grpSp>
        <p:nvGrpSpPr>
          <p:cNvPr id="16" name="Groep 15">
            <a:extLst>
              <a:ext uri="{FF2B5EF4-FFF2-40B4-BE49-F238E27FC236}">
                <a16:creationId xmlns:a16="http://schemas.microsoft.com/office/drawing/2014/main" id="{9DBED4B1-C1A5-E341-959F-63317F08CFD3}"/>
              </a:ext>
            </a:extLst>
          </p:cNvPr>
          <p:cNvGrpSpPr/>
          <p:nvPr userDrawn="1"/>
        </p:nvGrpSpPr>
        <p:grpSpPr>
          <a:xfrm>
            <a:off x="12443133" y="-1"/>
            <a:ext cx="2670175" cy="6875997"/>
            <a:chOff x="12443133" y="-1"/>
            <a:chExt cx="2670175" cy="6875997"/>
          </a:xfrm>
        </p:grpSpPr>
        <p:sp>
          <p:nvSpPr>
            <p:cNvPr id="24" name="Tekstvak 23">
              <a:extLst>
                <a:ext uri="{FF2B5EF4-FFF2-40B4-BE49-F238E27FC236}">
                  <a16:creationId xmlns:a16="http://schemas.microsoft.com/office/drawing/2014/main" id="{5DD5B9F6-A1D7-7242-B87B-978DBCCCE53C}"/>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5" name="Afbeelding 24">
              <a:extLst>
                <a:ext uri="{FF2B5EF4-FFF2-40B4-BE49-F238E27FC236}">
                  <a16:creationId xmlns:a16="http://schemas.microsoft.com/office/drawing/2014/main" id="{065F12B3-C406-BD4C-850E-F2BA6778A995}"/>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6" name="Afbeelding 25">
            <a:extLst>
              <a:ext uri="{FF2B5EF4-FFF2-40B4-BE49-F238E27FC236}">
                <a16:creationId xmlns:a16="http://schemas.microsoft.com/office/drawing/2014/main" id="{5FA78EDC-E10F-8F4E-B94B-8D8E6431082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12">
            <a:extLst>
              <a:ext uri="{FF2B5EF4-FFF2-40B4-BE49-F238E27FC236}">
                <a16:creationId xmlns:a16="http://schemas.microsoft.com/office/drawing/2014/main" id="{62C14781-DC20-ED4D-9C41-C5D79838187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24373981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Header Long - 3 Circles">
    <p:spTree>
      <p:nvGrpSpPr>
        <p:cNvPr id="1" name=""/>
        <p:cNvGrpSpPr/>
        <p:nvPr/>
      </p:nvGrpSpPr>
      <p:grpSpPr>
        <a:xfrm>
          <a:off x="0" y="0"/>
          <a:ext cx="0" cy="0"/>
          <a:chOff x="0" y="0"/>
          <a:chExt cx="0" cy="0"/>
        </a:xfrm>
      </p:grpSpPr>
      <p:sp>
        <p:nvSpPr>
          <p:cNvPr id="19" name="Tekstvak 16">
            <a:extLst>
              <a:ext uri="{FF2B5EF4-FFF2-40B4-BE49-F238E27FC236}">
                <a16:creationId xmlns:a16="http://schemas.microsoft.com/office/drawing/2014/main" id="{25C1BD5C-8A05-484D-B7B6-BA7D8C29912B}"/>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5A74A20B-37FE-4F8B-B399-9E00C89200EC}"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25" name="Tijdelijke aanduiding voor tekst 10">
            <a:extLst>
              <a:ext uri="{FF2B5EF4-FFF2-40B4-BE49-F238E27FC236}">
                <a16:creationId xmlns:a16="http://schemas.microsoft.com/office/drawing/2014/main" id="{AA4FEF3F-3863-AD41-AAFC-DB1A75607398}"/>
              </a:ext>
            </a:extLst>
          </p:cNvPr>
          <p:cNvSpPr>
            <a:spLocks noGrp="1"/>
          </p:cNvSpPr>
          <p:nvPr>
            <p:ph type="body" sz="quarter" idx="36" hasCustomPrompt="1"/>
          </p:nvPr>
        </p:nvSpPr>
        <p:spPr>
          <a:xfrm>
            <a:off x="5137891" y="5267797"/>
            <a:ext cx="2819148" cy="743770"/>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6" name="Tijdelijke aanduiding voor afbeelding 25">
            <a:extLst>
              <a:ext uri="{FF2B5EF4-FFF2-40B4-BE49-F238E27FC236}">
                <a16:creationId xmlns:a16="http://schemas.microsoft.com/office/drawing/2014/main" id="{80FD56E5-A437-CA4F-A7C4-8BD9239B855A}"/>
              </a:ext>
            </a:extLst>
          </p:cNvPr>
          <p:cNvSpPr>
            <a:spLocks noGrp="1"/>
          </p:cNvSpPr>
          <p:nvPr>
            <p:ph type="pic" sz="quarter" idx="37"/>
          </p:nvPr>
        </p:nvSpPr>
        <p:spPr>
          <a:xfrm>
            <a:off x="5019047" y="1943478"/>
            <a:ext cx="3056834" cy="3058642"/>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9" name="Tijdelijke aanduiding voor tekst 10">
            <a:extLst>
              <a:ext uri="{FF2B5EF4-FFF2-40B4-BE49-F238E27FC236}">
                <a16:creationId xmlns:a16="http://schemas.microsoft.com/office/drawing/2014/main" id="{D57B0DCB-EF7C-1D41-AFDD-75CD52B7F806}"/>
              </a:ext>
            </a:extLst>
          </p:cNvPr>
          <p:cNvSpPr>
            <a:spLocks noGrp="1"/>
          </p:cNvSpPr>
          <p:nvPr>
            <p:ph type="body" sz="quarter" idx="40" hasCustomPrompt="1"/>
          </p:nvPr>
        </p:nvSpPr>
        <p:spPr>
          <a:xfrm>
            <a:off x="1546009" y="5267797"/>
            <a:ext cx="2819148" cy="743770"/>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0" name="Tijdelijke aanduiding voor afbeelding 29">
            <a:extLst>
              <a:ext uri="{FF2B5EF4-FFF2-40B4-BE49-F238E27FC236}">
                <a16:creationId xmlns:a16="http://schemas.microsoft.com/office/drawing/2014/main" id="{42028FAD-5F72-5D4F-B10F-623637BD5D0F}"/>
              </a:ext>
            </a:extLst>
          </p:cNvPr>
          <p:cNvSpPr>
            <a:spLocks noGrp="1"/>
          </p:cNvSpPr>
          <p:nvPr>
            <p:ph type="pic" sz="quarter" idx="41"/>
          </p:nvPr>
        </p:nvSpPr>
        <p:spPr>
          <a:xfrm>
            <a:off x="1427166" y="1943478"/>
            <a:ext cx="3056834" cy="3058642"/>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2" name="Tijdelijke aanduiding voor tekst 10">
            <a:extLst>
              <a:ext uri="{FF2B5EF4-FFF2-40B4-BE49-F238E27FC236}">
                <a16:creationId xmlns:a16="http://schemas.microsoft.com/office/drawing/2014/main" id="{BFE71A4D-323A-1D4D-BD2E-22356777C70E}"/>
              </a:ext>
            </a:extLst>
          </p:cNvPr>
          <p:cNvSpPr>
            <a:spLocks noGrp="1"/>
          </p:cNvSpPr>
          <p:nvPr>
            <p:ph type="body" sz="quarter" idx="44" hasCustomPrompt="1"/>
          </p:nvPr>
        </p:nvSpPr>
        <p:spPr>
          <a:xfrm>
            <a:off x="8725926" y="5267797"/>
            <a:ext cx="2819148" cy="743770"/>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3" name="Tijdelijke aanduiding voor afbeelding 25">
            <a:extLst>
              <a:ext uri="{FF2B5EF4-FFF2-40B4-BE49-F238E27FC236}">
                <a16:creationId xmlns:a16="http://schemas.microsoft.com/office/drawing/2014/main" id="{AFDEEFE0-59A6-B54C-A3A8-3A76A5F74D40}"/>
              </a:ext>
            </a:extLst>
          </p:cNvPr>
          <p:cNvSpPr>
            <a:spLocks noGrp="1"/>
          </p:cNvSpPr>
          <p:nvPr>
            <p:ph type="pic" sz="quarter" idx="45"/>
          </p:nvPr>
        </p:nvSpPr>
        <p:spPr>
          <a:xfrm>
            <a:off x="8607082" y="1943478"/>
            <a:ext cx="3056834" cy="3058642"/>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21" name="Groep 20">
            <a:extLst>
              <a:ext uri="{FF2B5EF4-FFF2-40B4-BE49-F238E27FC236}">
                <a16:creationId xmlns:a16="http://schemas.microsoft.com/office/drawing/2014/main" id="{AD462C2C-B8D8-C246-812F-8CF66BAEC4B5}"/>
              </a:ext>
            </a:extLst>
          </p:cNvPr>
          <p:cNvGrpSpPr/>
          <p:nvPr userDrawn="1"/>
        </p:nvGrpSpPr>
        <p:grpSpPr>
          <a:xfrm>
            <a:off x="12443133" y="-1"/>
            <a:ext cx="2670175" cy="6875997"/>
            <a:chOff x="12443133" y="-1"/>
            <a:chExt cx="2670175" cy="6875997"/>
          </a:xfrm>
        </p:grpSpPr>
        <p:sp>
          <p:nvSpPr>
            <p:cNvPr id="22" name="Tekstvak 21">
              <a:extLst>
                <a:ext uri="{FF2B5EF4-FFF2-40B4-BE49-F238E27FC236}">
                  <a16:creationId xmlns:a16="http://schemas.microsoft.com/office/drawing/2014/main" id="{191C7C1F-2805-8440-A6C7-BC8486B5EF07}"/>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3" name="Afbeelding 22">
              <a:extLst>
                <a:ext uri="{FF2B5EF4-FFF2-40B4-BE49-F238E27FC236}">
                  <a16:creationId xmlns:a16="http://schemas.microsoft.com/office/drawing/2014/main" id="{14A2AD02-302E-D24D-AFCF-E5B739EE2EAE}"/>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4" name="Afbeelding 23">
            <a:extLst>
              <a:ext uri="{FF2B5EF4-FFF2-40B4-BE49-F238E27FC236}">
                <a16:creationId xmlns:a16="http://schemas.microsoft.com/office/drawing/2014/main" id="{9896882B-2A02-594C-89EB-070BDFDC625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2">
            <a:extLst>
              <a:ext uri="{FF2B5EF4-FFF2-40B4-BE49-F238E27FC236}">
                <a16:creationId xmlns:a16="http://schemas.microsoft.com/office/drawing/2014/main" id="{D60731E6-A779-AB41-957B-C50FF494222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3271568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rgbClr val="EAEEF0"/>
        </a:solidFill>
        <a:effectLst/>
      </p:bgPr>
    </p:bg>
    <p:spTree>
      <p:nvGrpSpPr>
        <p:cNvPr id="1" name=""/>
        <p:cNvGrpSpPr/>
        <p:nvPr/>
      </p:nvGrpSpPr>
      <p:grpSpPr>
        <a:xfrm>
          <a:off x="0" y="0"/>
          <a:ext cx="0" cy="0"/>
          <a:chOff x="0" y="0"/>
          <a:chExt cx="0" cy="0"/>
        </a:xfrm>
      </p:grpSpPr>
      <p:pic>
        <p:nvPicPr>
          <p:cNvPr id="84" name="Picture 11" descr="A picture containing laptop, computer, food&#10;&#10;Description automatically generated">
            <a:extLst>
              <a:ext uri="{FF2B5EF4-FFF2-40B4-BE49-F238E27FC236}">
                <a16:creationId xmlns:a16="http://schemas.microsoft.com/office/drawing/2014/main" id="{E3357C86-991B-9644-8FB6-342F9014DE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2"/>
            <a:ext cx="12192000" cy="6858000"/>
          </a:xfrm>
          <a:prstGeom prst="rect">
            <a:avLst/>
          </a:prstGeom>
        </p:spPr>
      </p:pic>
      <p:sp>
        <p:nvSpPr>
          <p:cNvPr id="154" name="Vrije vorm 153">
            <a:extLst>
              <a:ext uri="{FF2B5EF4-FFF2-40B4-BE49-F238E27FC236}">
                <a16:creationId xmlns:a16="http://schemas.microsoft.com/office/drawing/2014/main" id="{C0902E77-316B-C548-A0DF-98BE72EB39CC}"/>
              </a:ext>
            </a:extLst>
          </p:cNvPr>
          <p:cNvSpPr/>
          <p:nvPr userDrawn="1"/>
        </p:nvSpPr>
        <p:spPr>
          <a:xfrm>
            <a:off x="0" y="5962615"/>
            <a:ext cx="12192000" cy="895384"/>
          </a:xfrm>
          <a:custGeom>
            <a:avLst/>
            <a:gdLst>
              <a:gd name="connsiteX0" fmla="*/ 12191999 w 12192000"/>
              <a:gd name="connsiteY0" fmla="*/ 0 h 895384"/>
              <a:gd name="connsiteX1" fmla="*/ 12191999 w 12192000"/>
              <a:gd name="connsiteY1" fmla="*/ 107966 h 895384"/>
              <a:gd name="connsiteX2" fmla="*/ 12192000 w 12192000"/>
              <a:gd name="connsiteY2" fmla="*/ 107966 h 895384"/>
              <a:gd name="connsiteX3" fmla="*/ 12192000 w 12192000"/>
              <a:gd name="connsiteY3" fmla="*/ 895384 h 895384"/>
              <a:gd name="connsiteX4" fmla="*/ 0 w 12192000"/>
              <a:gd name="connsiteY4" fmla="*/ 895384 h 895384"/>
              <a:gd name="connsiteX5" fmla="*/ 0 w 12192000"/>
              <a:gd name="connsiteY5" fmla="*/ 107966 h 895384"/>
              <a:gd name="connsiteX6" fmla="*/ 11953874 w 12192000"/>
              <a:gd name="connsiteY6" fmla="*/ 107966 h 89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895384">
                <a:moveTo>
                  <a:pt x="12191999" y="0"/>
                </a:moveTo>
                <a:lnTo>
                  <a:pt x="12191999" y="107966"/>
                </a:lnTo>
                <a:lnTo>
                  <a:pt x="12192000" y="107966"/>
                </a:lnTo>
                <a:lnTo>
                  <a:pt x="12192000" y="895384"/>
                </a:lnTo>
                <a:lnTo>
                  <a:pt x="0" y="895384"/>
                </a:lnTo>
                <a:lnTo>
                  <a:pt x="0" y="107966"/>
                </a:lnTo>
                <a:lnTo>
                  <a:pt x="11953874" y="10796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70" name="Rechthoek 69">
            <a:extLst>
              <a:ext uri="{FF2B5EF4-FFF2-40B4-BE49-F238E27FC236}">
                <a16:creationId xmlns:a16="http://schemas.microsoft.com/office/drawing/2014/main" id="{6CB30F61-3A27-0E42-803C-6ABE464877E9}"/>
              </a:ext>
            </a:extLst>
          </p:cNvPr>
          <p:cNvSpPr/>
          <p:nvPr userDrawn="1"/>
        </p:nvSpPr>
        <p:spPr>
          <a:xfrm>
            <a:off x="7483605"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1" name="Rechthoek 70">
            <a:extLst>
              <a:ext uri="{FF2B5EF4-FFF2-40B4-BE49-F238E27FC236}">
                <a16:creationId xmlns:a16="http://schemas.microsoft.com/office/drawing/2014/main" id="{A872E4B1-D02A-4444-B351-0D506C1FDFC8}"/>
              </a:ext>
            </a:extLst>
          </p:cNvPr>
          <p:cNvSpPr/>
          <p:nvPr userDrawn="1"/>
        </p:nvSpPr>
        <p:spPr>
          <a:xfrm>
            <a:off x="8201604"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2" name="Rechthoek 71">
            <a:extLst>
              <a:ext uri="{FF2B5EF4-FFF2-40B4-BE49-F238E27FC236}">
                <a16:creationId xmlns:a16="http://schemas.microsoft.com/office/drawing/2014/main" id="{2A4027DC-A368-754E-A85D-1F26C759AFDC}"/>
              </a:ext>
            </a:extLst>
          </p:cNvPr>
          <p:cNvSpPr/>
          <p:nvPr userDrawn="1"/>
        </p:nvSpPr>
        <p:spPr>
          <a:xfrm>
            <a:off x="8919762"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3" name="Rechthoek 72">
            <a:extLst>
              <a:ext uri="{FF2B5EF4-FFF2-40B4-BE49-F238E27FC236}">
                <a16:creationId xmlns:a16="http://schemas.microsoft.com/office/drawing/2014/main" id="{375454C8-AC7F-3744-960C-34163B74CB1A}"/>
              </a:ext>
            </a:extLst>
          </p:cNvPr>
          <p:cNvSpPr/>
          <p:nvPr userDrawn="1"/>
        </p:nvSpPr>
        <p:spPr>
          <a:xfrm>
            <a:off x="9638342"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4" name="Rechthoek 73">
            <a:extLst>
              <a:ext uri="{FF2B5EF4-FFF2-40B4-BE49-F238E27FC236}">
                <a16:creationId xmlns:a16="http://schemas.microsoft.com/office/drawing/2014/main" id="{CBB8B2D2-2F54-3C4E-8C9F-0D212FC7525E}"/>
              </a:ext>
            </a:extLst>
          </p:cNvPr>
          <p:cNvSpPr/>
          <p:nvPr userDrawn="1"/>
        </p:nvSpPr>
        <p:spPr>
          <a:xfrm>
            <a:off x="10356346"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0" name="Rechthoek 99">
            <a:extLst>
              <a:ext uri="{FF2B5EF4-FFF2-40B4-BE49-F238E27FC236}">
                <a16:creationId xmlns:a16="http://schemas.microsoft.com/office/drawing/2014/main" id="{4458D0BE-A164-F04A-84D0-C719D74E5134}"/>
              </a:ext>
            </a:extLst>
          </p:cNvPr>
          <p:cNvSpPr/>
          <p:nvPr userDrawn="1"/>
        </p:nvSpPr>
        <p:spPr>
          <a:xfrm>
            <a:off x="7483605"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1" name="Rechthoek 100">
            <a:extLst>
              <a:ext uri="{FF2B5EF4-FFF2-40B4-BE49-F238E27FC236}">
                <a16:creationId xmlns:a16="http://schemas.microsoft.com/office/drawing/2014/main" id="{C9FF3819-5C14-9A4B-8D39-3A0ABF423618}"/>
              </a:ext>
            </a:extLst>
          </p:cNvPr>
          <p:cNvSpPr/>
          <p:nvPr userDrawn="1"/>
        </p:nvSpPr>
        <p:spPr>
          <a:xfrm>
            <a:off x="8201604"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2" name="Rechthoek 101">
            <a:extLst>
              <a:ext uri="{FF2B5EF4-FFF2-40B4-BE49-F238E27FC236}">
                <a16:creationId xmlns:a16="http://schemas.microsoft.com/office/drawing/2014/main" id="{1250A295-3C96-5E46-8777-9433B8E1E6D0}"/>
              </a:ext>
            </a:extLst>
          </p:cNvPr>
          <p:cNvSpPr/>
          <p:nvPr userDrawn="1"/>
        </p:nvSpPr>
        <p:spPr>
          <a:xfrm>
            <a:off x="8919762"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3" name="Rechthoek 102">
            <a:extLst>
              <a:ext uri="{FF2B5EF4-FFF2-40B4-BE49-F238E27FC236}">
                <a16:creationId xmlns:a16="http://schemas.microsoft.com/office/drawing/2014/main" id="{806F4CCB-BCCB-B841-B969-BD56E00641EB}"/>
              </a:ext>
            </a:extLst>
          </p:cNvPr>
          <p:cNvSpPr/>
          <p:nvPr userDrawn="1"/>
        </p:nvSpPr>
        <p:spPr>
          <a:xfrm>
            <a:off x="9638342"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4" name="Rechthoek 103">
            <a:extLst>
              <a:ext uri="{FF2B5EF4-FFF2-40B4-BE49-F238E27FC236}">
                <a16:creationId xmlns:a16="http://schemas.microsoft.com/office/drawing/2014/main" id="{03D3E625-FB6C-D842-A109-C88E19DB7E79}"/>
              </a:ext>
            </a:extLst>
          </p:cNvPr>
          <p:cNvSpPr/>
          <p:nvPr userDrawn="1"/>
        </p:nvSpPr>
        <p:spPr>
          <a:xfrm>
            <a:off x="10356346"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5" name="Rechthoek 104">
            <a:extLst>
              <a:ext uri="{FF2B5EF4-FFF2-40B4-BE49-F238E27FC236}">
                <a16:creationId xmlns:a16="http://schemas.microsoft.com/office/drawing/2014/main" id="{180FF53F-5D62-C440-9FD2-77A2B37D133F}"/>
              </a:ext>
            </a:extLst>
          </p:cNvPr>
          <p:cNvSpPr/>
          <p:nvPr userDrawn="1"/>
        </p:nvSpPr>
        <p:spPr>
          <a:xfrm>
            <a:off x="11074926"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6" name="Rechthoek 105">
            <a:extLst>
              <a:ext uri="{FF2B5EF4-FFF2-40B4-BE49-F238E27FC236}">
                <a16:creationId xmlns:a16="http://schemas.microsoft.com/office/drawing/2014/main" id="{380C17DC-8BB0-6B48-968C-D008C62C7BA2}"/>
              </a:ext>
            </a:extLst>
          </p:cNvPr>
          <p:cNvSpPr/>
          <p:nvPr userDrawn="1"/>
        </p:nvSpPr>
        <p:spPr>
          <a:xfrm>
            <a:off x="11793510"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0" name="Rechthoek 109">
            <a:extLst>
              <a:ext uri="{FF2B5EF4-FFF2-40B4-BE49-F238E27FC236}">
                <a16:creationId xmlns:a16="http://schemas.microsoft.com/office/drawing/2014/main" id="{E757839B-6183-8144-BE5B-46EE2CBB7469}"/>
              </a:ext>
            </a:extLst>
          </p:cNvPr>
          <p:cNvSpPr/>
          <p:nvPr userDrawn="1"/>
        </p:nvSpPr>
        <p:spPr>
          <a:xfrm>
            <a:off x="7483605"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1" name="Rechthoek 110">
            <a:extLst>
              <a:ext uri="{FF2B5EF4-FFF2-40B4-BE49-F238E27FC236}">
                <a16:creationId xmlns:a16="http://schemas.microsoft.com/office/drawing/2014/main" id="{A9370DB2-82AD-2A46-BB97-3685094C3EB0}"/>
              </a:ext>
            </a:extLst>
          </p:cNvPr>
          <p:cNvSpPr/>
          <p:nvPr userDrawn="1"/>
        </p:nvSpPr>
        <p:spPr>
          <a:xfrm>
            <a:off x="8201604"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2" name="Rechthoek 111">
            <a:extLst>
              <a:ext uri="{FF2B5EF4-FFF2-40B4-BE49-F238E27FC236}">
                <a16:creationId xmlns:a16="http://schemas.microsoft.com/office/drawing/2014/main" id="{F489BB25-8D0F-9346-AB3D-39BADF9F6058}"/>
              </a:ext>
            </a:extLst>
          </p:cNvPr>
          <p:cNvSpPr/>
          <p:nvPr userDrawn="1"/>
        </p:nvSpPr>
        <p:spPr>
          <a:xfrm>
            <a:off x="8919762"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3" name="Rechthoek 112">
            <a:extLst>
              <a:ext uri="{FF2B5EF4-FFF2-40B4-BE49-F238E27FC236}">
                <a16:creationId xmlns:a16="http://schemas.microsoft.com/office/drawing/2014/main" id="{55A0D827-F304-6D45-ACD3-825897EAFBAC}"/>
              </a:ext>
            </a:extLst>
          </p:cNvPr>
          <p:cNvSpPr/>
          <p:nvPr userDrawn="1"/>
        </p:nvSpPr>
        <p:spPr>
          <a:xfrm>
            <a:off x="9638342"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4" name="Rechthoek 113">
            <a:extLst>
              <a:ext uri="{FF2B5EF4-FFF2-40B4-BE49-F238E27FC236}">
                <a16:creationId xmlns:a16="http://schemas.microsoft.com/office/drawing/2014/main" id="{C068AE08-99A1-7D4D-97E1-E2BFF462F174}"/>
              </a:ext>
            </a:extLst>
          </p:cNvPr>
          <p:cNvSpPr/>
          <p:nvPr userDrawn="1"/>
        </p:nvSpPr>
        <p:spPr>
          <a:xfrm>
            <a:off x="10356346"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5" name="Rechthoek 114">
            <a:extLst>
              <a:ext uri="{FF2B5EF4-FFF2-40B4-BE49-F238E27FC236}">
                <a16:creationId xmlns:a16="http://schemas.microsoft.com/office/drawing/2014/main" id="{83E07369-0BAF-E449-94AA-05C93F2F6B13}"/>
              </a:ext>
            </a:extLst>
          </p:cNvPr>
          <p:cNvSpPr/>
          <p:nvPr userDrawn="1"/>
        </p:nvSpPr>
        <p:spPr>
          <a:xfrm>
            <a:off x="11074926"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6" name="Rechthoek 115">
            <a:extLst>
              <a:ext uri="{FF2B5EF4-FFF2-40B4-BE49-F238E27FC236}">
                <a16:creationId xmlns:a16="http://schemas.microsoft.com/office/drawing/2014/main" id="{A84E5EE5-FFD3-B14C-BB93-59BDAAFD8D91}"/>
              </a:ext>
            </a:extLst>
          </p:cNvPr>
          <p:cNvSpPr/>
          <p:nvPr userDrawn="1"/>
        </p:nvSpPr>
        <p:spPr>
          <a:xfrm>
            <a:off x="11793510"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52" name="Rechte verbindingslijn 151">
            <a:extLst>
              <a:ext uri="{FF2B5EF4-FFF2-40B4-BE49-F238E27FC236}">
                <a16:creationId xmlns:a16="http://schemas.microsoft.com/office/drawing/2014/main" id="{4CA93E74-E642-C44B-A498-3789A76C05D8}"/>
              </a:ext>
            </a:extLst>
          </p:cNvPr>
          <p:cNvCxnSpPr>
            <a:cxnSpLocks/>
          </p:cNvCxnSpPr>
          <p:nvPr userDrawn="1"/>
        </p:nvCxnSpPr>
        <p:spPr>
          <a:xfrm>
            <a:off x="-1211" y="5554744"/>
            <a:ext cx="1219320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98A0910C-C282-3346-BB10-01494C2B6F0C}"/>
              </a:ext>
            </a:extLst>
          </p:cNvPr>
          <p:cNvCxnSpPr>
            <a:cxnSpLocks/>
          </p:cNvCxnSpPr>
          <p:nvPr userDrawn="1"/>
        </p:nvCxnSpPr>
        <p:spPr>
          <a:xfrm>
            <a:off x="-1211" y="4116068"/>
            <a:ext cx="1219320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B1C06D9-BAC1-714E-AFD3-0564827B161C}"/>
              </a:ext>
            </a:extLst>
          </p:cNvPr>
          <p:cNvCxnSpPr>
            <a:cxnSpLocks/>
          </p:cNvCxnSpPr>
          <p:nvPr userDrawn="1"/>
        </p:nvCxnSpPr>
        <p:spPr>
          <a:xfrm>
            <a:off x="-1211" y="4835406"/>
            <a:ext cx="1219320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oep 1">
            <a:extLst>
              <a:ext uri="{FF2B5EF4-FFF2-40B4-BE49-F238E27FC236}">
                <a16:creationId xmlns:a16="http://schemas.microsoft.com/office/drawing/2014/main" id="{EF38CD3D-DB71-E14F-B25A-5CABA12EDA18}"/>
              </a:ext>
            </a:extLst>
          </p:cNvPr>
          <p:cNvGrpSpPr/>
          <p:nvPr userDrawn="1"/>
        </p:nvGrpSpPr>
        <p:grpSpPr>
          <a:xfrm>
            <a:off x="352883" y="4170254"/>
            <a:ext cx="11494813" cy="1896739"/>
            <a:chOff x="352883" y="0"/>
            <a:chExt cx="11494813" cy="6066994"/>
          </a:xfrm>
        </p:grpSpPr>
        <p:cxnSp>
          <p:nvCxnSpPr>
            <p:cNvPr id="160" name="Rechte verbindingslijn 159">
              <a:extLst>
                <a:ext uri="{FF2B5EF4-FFF2-40B4-BE49-F238E27FC236}">
                  <a16:creationId xmlns:a16="http://schemas.microsoft.com/office/drawing/2014/main" id="{9084ECBC-8B80-EE4C-A686-3D14A22D19A8}"/>
                </a:ext>
              </a:extLst>
            </p:cNvPr>
            <p:cNvCxnSpPr>
              <a:cxnSpLocks/>
            </p:cNvCxnSpPr>
            <p:nvPr userDrawn="1"/>
          </p:nvCxnSpPr>
          <p:spPr>
            <a:xfrm>
              <a:off x="352883" y="0"/>
              <a:ext cx="0" cy="6066973"/>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Rechte verbindingslijn 160">
              <a:extLst>
                <a:ext uri="{FF2B5EF4-FFF2-40B4-BE49-F238E27FC236}">
                  <a16:creationId xmlns:a16="http://schemas.microsoft.com/office/drawing/2014/main" id="{2A4F2F9B-CC07-FA41-B48E-576DE755868D}"/>
                </a:ext>
              </a:extLst>
            </p:cNvPr>
            <p:cNvCxnSpPr>
              <a:cxnSpLocks/>
            </p:cNvCxnSpPr>
            <p:nvPr userDrawn="1"/>
          </p:nvCxnSpPr>
          <p:spPr>
            <a:xfrm>
              <a:off x="1071192" y="0"/>
              <a:ext cx="0" cy="6066973"/>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2" name="Rechte verbindingslijn 161">
              <a:extLst>
                <a:ext uri="{FF2B5EF4-FFF2-40B4-BE49-F238E27FC236}">
                  <a16:creationId xmlns:a16="http://schemas.microsoft.com/office/drawing/2014/main" id="{B4E4141B-55F5-7B46-82B3-EB5B2A55EC52}"/>
                </a:ext>
              </a:extLst>
            </p:cNvPr>
            <p:cNvCxnSpPr>
              <a:cxnSpLocks/>
            </p:cNvCxnSpPr>
            <p:nvPr userDrawn="1"/>
          </p:nvCxnSpPr>
          <p:spPr>
            <a:xfrm>
              <a:off x="1789581" y="0"/>
              <a:ext cx="0" cy="6066973"/>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3" name="Rechte verbindingslijn 162">
              <a:extLst>
                <a:ext uri="{FF2B5EF4-FFF2-40B4-BE49-F238E27FC236}">
                  <a16:creationId xmlns:a16="http://schemas.microsoft.com/office/drawing/2014/main" id="{D97D76F6-3381-CA4E-B8FB-DFB308669D0E}"/>
                </a:ext>
              </a:extLst>
            </p:cNvPr>
            <p:cNvCxnSpPr>
              <a:cxnSpLocks/>
            </p:cNvCxnSpPr>
            <p:nvPr userDrawn="1"/>
          </p:nvCxnSpPr>
          <p:spPr>
            <a:xfrm>
              <a:off x="2508724" y="0"/>
              <a:ext cx="0" cy="6066973"/>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4" name="Rechte verbindingslijn 163">
              <a:extLst>
                <a:ext uri="{FF2B5EF4-FFF2-40B4-BE49-F238E27FC236}">
                  <a16:creationId xmlns:a16="http://schemas.microsoft.com/office/drawing/2014/main" id="{F453A32B-7BDF-AB4B-85FD-50828AD7FC0E}"/>
                </a:ext>
              </a:extLst>
            </p:cNvPr>
            <p:cNvCxnSpPr>
              <a:cxnSpLocks/>
            </p:cNvCxnSpPr>
            <p:nvPr userDrawn="1"/>
          </p:nvCxnSpPr>
          <p:spPr>
            <a:xfrm>
              <a:off x="3227033" y="0"/>
              <a:ext cx="0" cy="6066973"/>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Rechte verbindingslijn 164">
              <a:extLst>
                <a:ext uri="{FF2B5EF4-FFF2-40B4-BE49-F238E27FC236}">
                  <a16:creationId xmlns:a16="http://schemas.microsoft.com/office/drawing/2014/main" id="{E64DEEC8-76C9-5940-9E03-139236257ED7}"/>
                </a:ext>
              </a:extLst>
            </p:cNvPr>
            <p:cNvCxnSpPr>
              <a:cxnSpLocks/>
            </p:cNvCxnSpPr>
            <p:nvPr userDrawn="1"/>
          </p:nvCxnSpPr>
          <p:spPr>
            <a:xfrm>
              <a:off x="3945422" y="0"/>
              <a:ext cx="0" cy="6066973"/>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id="{909519FF-8387-A54F-98A9-17FC08888FAD}"/>
                </a:ext>
              </a:extLst>
            </p:cNvPr>
            <p:cNvCxnSpPr>
              <a:cxnSpLocks/>
            </p:cNvCxnSpPr>
            <p:nvPr userDrawn="1"/>
          </p:nvCxnSpPr>
          <p:spPr>
            <a:xfrm>
              <a:off x="4664021" y="0"/>
              <a:ext cx="0" cy="6066973"/>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7" name="Rechte verbindingslijn 166">
              <a:extLst>
                <a:ext uri="{FF2B5EF4-FFF2-40B4-BE49-F238E27FC236}">
                  <a16:creationId xmlns:a16="http://schemas.microsoft.com/office/drawing/2014/main" id="{B8CB9DD3-6756-2F4C-8A39-E3444D116DF3}"/>
                </a:ext>
              </a:extLst>
            </p:cNvPr>
            <p:cNvCxnSpPr>
              <a:cxnSpLocks/>
            </p:cNvCxnSpPr>
            <p:nvPr userDrawn="1"/>
          </p:nvCxnSpPr>
          <p:spPr>
            <a:xfrm>
              <a:off x="5382333" y="0"/>
              <a:ext cx="0" cy="6066973"/>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8" name="Rechte verbindingslijn 167">
              <a:extLst>
                <a:ext uri="{FF2B5EF4-FFF2-40B4-BE49-F238E27FC236}">
                  <a16:creationId xmlns:a16="http://schemas.microsoft.com/office/drawing/2014/main" id="{D7191A19-BE2B-7142-B341-5CC3B301CFF2}"/>
                </a:ext>
              </a:extLst>
            </p:cNvPr>
            <p:cNvCxnSpPr>
              <a:cxnSpLocks/>
            </p:cNvCxnSpPr>
            <p:nvPr userDrawn="1"/>
          </p:nvCxnSpPr>
          <p:spPr>
            <a:xfrm>
              <a:off x="6100932" y="0"/>
              <a:ext cx="0" cy="606697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A36499FC-EDBA-D443-ACDB-96E8DBB1D053}"/>
                </a:ext>
              </a:extLst>
            </p:cNvPr>
            <p:cNvCxnSpPr>
              <a:cxnSpLocks/>
            </p:cNvCxnSpPr>
            <p:nvPr userDrawn="1"/>
          </p:nvCxnSpPr>
          <p:spPr>
            <a:xfrm>
              <a:off x="6819534" y="0"/>
              <a:ext cx="0" cy="606697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0" name="Rechte verbindingslijn 169">
              <a:extLst>
                <a:ext uri="{FF2B5EF4-FFF2-40B4-BE49-F238E27FC236}">
                  <a16:creationId xmlns:a16="http://schemas.microsoft.com/office/drawing/2014/main" id="{9BC8AC53-6781-204B-8D5D-79445943BAAA}"/>
                </a:ext>
              </a:extLst>
            </p:cNvPr>
            <p:cNvCxnSpPr>
              <a:cxnSpLocks/>
            </p:cNvCxnSpPr>
            <p:nvPr userDrawn="1"/>
          </p:nvCxnSpPr>
          <p:spPr>
            <a:xfrm>
              <a:off x="7537791"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Rechte verbindingslijn 170">
              <a:extLst>
                <a:ext uri="{FF2B5EF4-FFF2-40B4-BE49-F238E27FC236}">
                  <a16:creationId xmlns:a16="http://schemas.microsoft.com/office/drawing/2014/main" id="{1D2D6E7F-8E88-5349-8861-E5BFDE0F81F2}"/>
                </a:ext>
              </a:extLst>
            </p:cNvPr>
            <p:cNvCxnSpPr>
              <a:cxnSpLocks/>
            </p:cNvCxnSpPr>
            <p:nvPr userDrawn="1"/>
          </p:nvCxnSpPr>
          <p:spPr>
            <a:xfrm>
              <a:off x="8255790"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8D02B05F-7C0D-EA41-9240-1BFB1769572D}"/>
                </a:ext>
              </a:extLst>
            </p:cNvPr>
            <p:cNvCxnSpPr>
              <a:cxnSpLocks/>
            </p:cNvCxnSpPr>
            <p:nvPr userDrawn="1"/>
          </p:nvCxnSpPr>
          <p:spPr>
            <a:xfrm>
              <a:off x="8973948"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Rechte verbindingslijn 172">
              <a:extLst>
                <a:ext uri="{FF2B5EF4-FFF2-40B4-BE49-F238E27FC236}">
                  <a16:creationId xmlns:a16="http://schemas.microsoft.com/office/drawing/2014/main" id="{12B6274F-6939-3142-883F-376629314F15}"/>
                </a:ext>
              </a:extLst>
            </p:cNvPr>
            <p:cNvCxnSpPr>
              <a:cxnSpLocks/>
            </p:cNvCxnSpPr>
            <p:nvPr userDrawn="1"/>
          </p:nvCxnSpPr>
          <p:spPr>
            <a:xfrm>
              <a:off x="9692528"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Rechte verbindingslijn 173">
              <a:extLst>
                <a:ext uri="{FF2B5EF4-FFF2-40B4-BE49-F238E27FC236}">
                  <a16:creationId xmlns:a16="http://schemas.microsoft.com/office/drawing/2014/main" id="{CCF9CA99-F55A-D44E-8ABD-C16AABD7CFC8}"/>
                </a:ext>
              </a:extLst>
            </p:cNvPr>
            <p:cNvCxnSpPr>
              <a:cxnSpLocks/>
            </p:cNvCxnSpPr>
            <p:nvPr userDrawn="1"/>
          </p:nvCxnSpPr>
          <p:spPr>
            <a:xfrm>
              <a:off x="10410532"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Rechte verbindingslijn 174">
              <a:extLst>
                <a:ext uri="{FF2B5EF4-FFF2-40B4-BE49-F238E27FC236}">
                  <a16:creationId xmlns:a16="http://schemas.microsoft.com/office/drawing/2014/main" id="{FB315C66-EB86-184C-B8C3-73C9691FDDAB}"/>
                </a:ext>
              </a:extLst>
            </p:cNvPr>
            <p:cNvCxnSpPr>
              <a:cxnSpLocks/>
            </p:cNvCxnSpPr>
            <p:nvPr userDrawn="1"/>
          </p:nvCxnSpPr>
          <p:spPr>
            <a:xfrm>
              <a:off x="11129112"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Rechte verbindingslijn 175">
              <a:extLst>
                <a:ext uri="{FF2B5EF4-FFF2-40B4-BE49-F238E27FC236}">
                  <a16:creationId xmlns:a16="http://schemas.microsoft.com/office/drawing/2014/main" id="{0796196D-AABF-D34C-9A60-A52EDA0E7E00}"/>
                </a:ext>
              </a:extLst>
            </p:cNvPr>
            <p:cNvCxnSpPr>
              <a:cxnSpLocks/>
            </p:cNvCxnSpPr>
            <p:nvPr userDrawn="1"/>
          </p:nvCxnSpPr>
          <p:spPr>
            <a:xfrm>
              <a:off x="11847696"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25" name="Rechthoek 224">
            <a:extLst>
              <a:ext uri="{FF2B5EF4-FFF2-40B4-BE49-F238E27FC236}">
                <a16:creationId xmlns:a16="http://schemas.microsoft.com/office/drawing/2014/main" id="{48C45837-FE17-7C45-A8DA-35E46C383FCB}"/>
              </a:ext>
            </a:extLst>
          </p:cNvPr>
          <p:cNvSpPr/>
          <p:nvPr userDrawn="1"/>
        </p:nvSpPr>
        <p:spPr>
          <a:xfrm>
            <a:off x="11074926"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27" name="Rechthoek 226">
            <a:extLst>
              <a:ext uri="{FF2B5EF4-FFF2-40B4-BE49-F238E27FC236}">
                <a16:creationId xmlns:a16="http://schemas.microsoft.com/office/drawing/2014/main" id="{0838EC7F-38C4-9447-9EB4-D70C879793EA}"/>
              </a:ext>
            </a:extLst>
          </p:cNvPr>
          <p:cNvSpPr/>
          <p:nvPr userDrawn="1"/>
        </p:nvSpPr>
        <p:spPr>
          <a:xfrm>
            <a:off x="11793510"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57" name="Rechthoek 256">
            <a:extLst>
              <a:ext uri="{FF2B5EF4-FFF2-40B4-BE49-F238E27FC236}">
                <a16:creationId xmlns:a16="http://schemas.microsoft.com/office/drawing/2014/main" id="{D5992E43-4669-7A4E-A408-06A14A28DB1C}"/>
              </a:ext>
            </a:extLst>
          </p:cNvPr>
          <p:cNvSpPr/>
          <p:nvPr userDrawn="1"/>
        </p:nvSpPr>
        <p:spPr>
          <a:xfrm>
            <a:off x="2454538"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58" name="Rechthoek 257">
            <a:extLst>
              <a:ext uri="{FF2B5EF4-FFF2-40B4-BE49-F238E27FC236}">
                <a16:creationId xmlns:a16="http://schemas.microsoft.com/office/drawing/2014/main" id="{2A77E886-0CD8-4640-BE00-3B9B8D9F9698}"/>
              </a:ext>
            </a:extLst>
          </p:cNvPr>
          <p:cNvSpPr/>
          <p:nvPr userDrawn="1"/>
        </p:nvSpPr>
        <p:spPr>
          <a:xfrm>
            <a:off x="3172847"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59" name="Rechthoek 258">
            <a:extLst>
              <a:ext uri="{FF2B5EF4-FFF2-40B4-BE49-F238E27FC236}">
                <a16:creationId xmlns:a16="http://schemas.microsoft.com/office/drawing/2014/main" id="{68DA20C0-C2AF-1C4F-B3E6-95F83F236D5C}"/>
              </a:ext>
            </a:extLst>
          </p:cNvPr>
          <p:cNvSpPr/>
          <p:nvPr userDrawn="1"/>
        </p:nvSpPr>
        <p:spPr>
          <a:xfrm>
            <a:off x="3891236"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60" name="Rechthoek 259">
            <a:extLst>
              <a:ext uri="{FF2B5EF4-FFF2-40B4-BE49-F238E27FC236}">
                <a16:creationId xmlns:a16="http://schemas.microsoft.com/office/drawing/2014/main" id="{01086975-37EF-5E41-BBBD-D26AFF906188}"/>
              </a:ext>
            </a:extLst>
          </p:cNvPr>
          <p:cNvSpPr/>
          <p:nvPr userDrawn="1"/>
        </p:nvSpPr>
        <p:spPr>
          <a:xfrm>
            <a:off x="4609835"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61" name="Rechthoek 260">
            <a:extLst>
              <a:ext uri="{FF2B5EF4-FFF2-40B4-BE49-F238E27FC236}">
                <a16:creationId xmlns:a16="http://schemas.microsoft.com/office/drawing/2014/main" id="{D2A95F3A-6F60-EC48-9497-723C5B255BA0}"/>
              </a:ext>
            </a:extLst>
          </p:cNvPr>
          <p:cNvSpPr/>
          <p:nvPr userDrawn="1"/>
        </p:nvSpPr>
        <p:spPr>
          <a:xfrm>
            <a:off x="5328147"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67" name="Rechthoek 266">
            <a:extLst>
              <a:ext uri="{FF2B5EF4-FFF2-40B4-BE49-F238E27FC236}">
                <a16:creationId xmlns:a16="http://schemas.microsoft.com/office/drawing/2014/main" id="{24B72DB0-4E10-2A4F-996B-23D3EC496EFC}"/>
              </a:ext>
            </a:extLst>
          </p:cNvPr>
          <p:cNvSpPr/>
          <p:nvPr userDrawn="1"/>
        </p:nvSpPr>
        <p:spPr>
          <a:xfrm>
            <a:off x="2454538"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68" name="Rechthoek 267">
            <a:extLst>
              <a:ext uri="{FF2B5EF4-FFF2-40B4-BE49-F238E27FC236}">
                <a16:creationId xmlns:a16="http://schemas.microsoft.com/office/drawing/2014/main" id="{D72D1F57-0F37-6149-A4EC-E78B98FCA150}"/>
              </a:ext>
            </a:extLst>
          </p:cNvPr>
          <p:cNvSpPr/>
          <p:nvPr userDrawn="1"/>
        </p:nvSpPr>
        <p:spPr>
          <a:xfrm>
            <a:off x="3172847"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69" name="Rechthoek 268">
            <a:extLst>
              <a:ext uri="{FF2B5EF4-FFF2-40B4-BE49-F238E27FC236}">
                <a16:creationId xmlns:a16="http://schemas.microsoft.com/office/drawing/2014/main" id="{D570111D-68CE-554C-945E-80E399A7FFBE}"/>
              </a:ext>
            </a:extLst>
          </p:cNvPr>
          <p:cNvSpPr/>
          <p:nvPr userDrawn="1"/>
        </p:nvSpPr>
        <p:spPr>
          <a:xfrm>
            <a:off x="3891236"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0" name="Rechthoek 269">
            <a:extLst>
              <a:ext uri="{FF2B5EF4-FFF2-40B4-BE49-F238E27FC236}">
                <a16:creationId xmlns:a16="http://schemas.microsoft.com/office/drawing/2014/main" id="{3C406A79-B45D-1049-AB36-08BD4E70D68E}"/>
              </a:ext>
            </a:extLst>
          </p:cNvPr>
          <p:cNvSpPr/>
          <p:nvPr userDrawn="1"/>
        </p:nvSpPr>
        <p:spPr>
          <a:xfrm>
            <a:off x="4609835"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1" name="Rechthoek 270">
            <a:extLst>
              <a:ext uri="{FF2B5EF4-FFF2-40B4-BE49-F238E27FC236}">
                <a16:creationId xmlns:a16="http://schemas.microsoft.com/office/drawing/2014/main" id="{C5EC8482-44A0-ED44-B400-288B15522A4C}"/>
              </a:ext>
            </a:extLst>
          </p:cNvPr>
          <p:cNvSpPr/>
          <p:nvPr userDrawn="1"/>
        </p:nvSpPr>
        <p:spPr>
          <a:xfrm>
            <a:off x="5328147"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2" name="Rechthoek 271">
            <a:extLst>
              <a:ext uri="{FF2B5EF4-FFF2-40B4-BE49-F238E27FC236}">
                <a16:creationId xmlns:a16="http://schemas.microsoft.com/office/drawing/2014/main" id="{806C27A8-C320-1346-955F-785ECA749B76}"/>
              </a:ext>
            </a:extLst>
          </p:cNvPr>
          <p:cNvSpPr/>
          <p:nvPr userDrawn="1"/>
        </p:nvSpPr>
        <p:spPr>
          <a:xfrm>
            <a:off x="6046746"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3" name="Rechthoek 272">
            <a:extLst>
              <a:ext uri="{FF2B5EF4-FFF2-40B4-BE49-F238E27FC236}">
                <a16:creationId xmlns:a16="http://schemas.microsoft.com/office/drawing/2014/main" id="{3C61A88E-9597-854D-8307-390DCCFE47BD}"/>
              </a:ext>
            </a:extLst>
          </p:cNvPr>
          <p:cNvSpPr/>
          <p:nvPr userDrawn="1"/>
        </p:nvSpPr>
        <p:spPr>
          <a:xfrm>
            <a:off x="6765348"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4" name="Rechthoek 273">
            <a:extLst>
              <a:ext uri="{FF2B5EF4-FFF2-40B4-BE49-F238E27FC236}">
                <a16:creationId xmlns:a16="http://schemas.microsoft.com/office/drawing/2014/main" id="{B13ABCEE-57E7-A246-B268-B8644C018DA0}"/>
              </a:ext>
            </a:extLst>
          </p:cNvPr>
          <p:cNvSpPr/>
          <p:nvPr userDrawn="1"/>
        </p:nvSpPr>
        <p:spPr>
          <a:xfrm>
            <a:off x="2454538"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5" name="Rechthoek 274">
            <a:extLst>
              <a:ext uri="{FF2B5EF4-FFF2-40B4-BE49-F238E27FC236}">
                <a16:creationId xmlns:a16="http://schemas.microsoft.com/office/drawing/2014/main" id="{604B74DD-D2C6-3648-9FB0-FAFDCDB6171F}"/>
              </a:ext>
            </a:extLst>
          </p:cNvPr>
          <p:cNvSpPr/>
          <p:nvPr userDrawn="1"/>
        </p:nvSpPr>
        <p:spPr>
          <a:xfrm>
            <a:off x="3172847"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6" name="Rechthoek 275">
            <a:extLst>
              <a:ext uri="{FF2B5EF4-FFF2-40B4-BE49-F238E27FC236}">
                <a16:creationId xmlns:a16="http://schemas.microsoft.com/office/drawing/2014/main" id="{E5A9163A-2E9F-7544-BFF2-22EB001EC759}"/>
              </a:ext>
            </a:extLst>
          </p:cNvPr>
          <p:cNvSpPr/>
          <p:nvPr userDrawn="1"/>
        </p:nvSpPr>
        <p:spPr>
          <a:xfrm>
            <a:off x="3891236"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7" name="Rechthoek 276">
            <a:extLst>
              <a:ext uri="{FF2B5EF4-FFF2-40B4-BE49-F238E27FC236}">
                <a16:creationId xmlns:a16="http://schemas.microsoft.com/office/drawing/2014/main" id="{8DAED305-9774-5D4A-9408-94F176C04FC9}"/>
              </a:ext>
            </a:extLst>
          </p:cNvPr>
          <p:cNvSpPr/>
          <p:nvPr userDrawn="1"/>
        </p:nvSpPr>
        <p:spPr>
          <a:xfrm>
            <a:off x="4609835"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8" name="Rechthoek 277">
            <a:extLst>
              <a:ext uri="{FF2B5EF4-FFF2-40B4-BE49-F238E27FC236}">
                <a16:creationId xmlns:a16="http://schemas.microsoft.com/office/drawing/2014/main" id="{1500B44C-6407-4B4D-B6ED-B9C2A577D52D}"/>
              </a:ext>
            </a:extLst>
          </p:cNvPr>
          <p:cNvSpPr/>
          <p:nvPr userDrawn="1"/>
        </p:nvSpPr>
        <p:spPr>
          <a:xfrm>
            <a:off x="5328147"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9" name="Rechthoek 278">
            <a:extLst>
              <a:ext uri="{FF2B5EF4-FFF2-40B4-BE49-F238E27FC236}">
                <a16:creationId xmlns:a16="http://schemas.microsoft.com/office/drawing/2014/main" id="{95DF955E-66AD-DB42-874E-12132C350794}"/>
              </a:ext>
            </a:extLst>
          </p:cNvPr>
          <p:cNvSpPr/>
          <p:nvPr userDrawn="1"/>
        </p:nvSpPr>
        <p:spPr>
          <a:xfrm>
            <a:off x="6046746"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80" name="Rechthoek 279">
            <a:extLst>
              <a:ext uri="{FF2B5EF4-FFF2-40B4-BE49-F238E27FC236}">
                <a16:creationId xmlns:a16="http://schemas.microsoft.com/office/drawing/2014/main" id="{6E40CD70-9656-1840-A4C7-84F1E4FD36E8}"/>
              </a:ext>
            </a:extLst>
          </p:cNvPr>
          <p:cNvSpPr/>
          <p:nvPr userDrawn="1"/>
        </p:nvSpPr>
        <p:spPr>
          <a:xfrm>
            <a:off x="6765348"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81" name="Rechthoek 280">
            <a:extLst>
              <a:ext uri="{FF2B5EF4-FFF2-40B4-BE49-F238E27FC236}">
                <a16:creationId xmlns:a16="http://schemas.microsoft.com/office/drawing/2014/main" id="{D7EF6561-4E16-EC4F-876F-DB45A2BB4A95}"/>
              </a:ext>
            </a:extLst>
          </p:cNvPr>
          <p:cNvSpPr/>
          <p:nvPr userDrawn="1"/>
        </p:nvSpPr>
        <p:spPr>
          <a:xfrm>
            <a:off x="6046746"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83" name="Rechthoek 282">
            <a:extLst>
              <a:ext uri="{FF2B5EF4-FFF2-40B4-BE49-F238E27FC236}">
                <a16:creationId xmlns:a16="http://schemas.microsoft.com/office/drawing/2014/main" id="{2E1DD168-EBDA-5840-8480-1D9BF63D8DA8}"/>
              </a:ext>
            </a:extLst>
          </p:cNvPr>
          <p:cNvSpPr/>
          <p:nvPr userDrawn="1"/>
        </p:nvSpPr>
        <p:spPr>
          <a:xfrm>
            <a:off x="6765348"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85" name="Rechthoek 284">
            <a:extLst>
              <a:ext uri="{FF2B5EF4-FFF2-40B4-BE49-F238E27FC236}">
                <a16:creationId xmlns:a16="http://schemas.microsoft.com/office/drawing/2014/main" id="{7F001F71-CF51-AA40-BEA1-1AD815F0ABEF}"/>
              </a:ext>
            </a:extLst>
          </p:cNvPr>
          <p:cNvSpPr/>
          <p:nvPr userDrawn="1"/>
        </p:nvSpPr>
        <p:spPr>
          <a:xfrm>
            <a:off x="298697"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86" name="Rechthoek 285">
            <a:extLst>
              <a:ext uri="{FF2B5EF4-FFF2-40B4-BE49-F238E27FC236}">
                <a16:creationId xmlns:a16="http://schemas.microsoft.com/office/drawing/2014/main" id="{E2470B1D-8F64-8B43-9A5D-2ADDC87987D6}"/>
              </a:ext>
            </a:extLst>
          </p:cNvPr>
          <p:cNvSpPr/>
          <p:nvPr userDrawn="1"/>
        </p:nvSpPr>
        <p:spPr>
          <a:xfrm>
            <a:off x="1017006"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87" name="Rechthoek 286">
            <a:extLst>
              <a:ext uri="{FF2B5EF4-FFF2-40B4-BE49-F238E27FC236}">
                <a16:creationId xmlns:a16="http://schemas.microsoft.com/office/drawing/2014/main" id="{7A2DE4EF-46A5-0744-81DE-F126D72B5923}"/>
              </a:ext>
            </a:extLst>
          </p:cNvPr>
          <p:cNvSpPr/>
          <p:nvPr userDrawn="1"/>
        </p:nvSpPr>
        <p:spPr>
          <a:xfrm>
            <a:off x="1735395"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91" name="Rechthoek 290">
            <a:extLst>
              <a:ext uri="{FF2B5EF4-FFF2-40B4-BE49-F238E27FC236}">
                <a16:creationId xmlns:a16="http://schemas.microsoft.com/office/drawing/2014/main" id="{D3E0C565-0221-784A-AF98-3D6DE1A8AF6C}"/>
              </a:ext>
            </a:extLst>
          </p:cNvPr>
          <p:cNvSpPr/>
          <p:nvPr userDrawn="1"/>
        </p:nvSpPr>
        <p:spPr>
          <a:xfrm>
            <a:off x="298697"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92" name="Rechthoek 291">
            <a:extLst>
              <a:ext uri="{FF2B5EF4-FFF2-40B4-BE49-F238E27FC236}">
                <a16:creationId xmlns:a16="http://schemas.microsoft.com/office/drawing/2014/main" id="{7BA73914-6914-814E-83AD-37AB43F26C7E}"/>
              </a:ext>
            </a:extLst>
          </p:cNvPr>
          <p:cNvSpPr/>
          <p:nvPr userDrawn="1"/>
        </p:nvSpPr>
        <p:spPr>
          <a:xfrm>
            <a:off x="1017006"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93" name="Rechthoek 292">
            <a:extLst>
              <a:ext uri="{FF2B5EF4-FFF2-40B4-BE49-F238E27FC236}">
                <a16:creationId xmlns:a16="http://schemas.microsoft.com/office/drawing/2014/main" id="{00A4C8EB-725D-5140-9BCE-812E9ADB19DD}"/>
              </a:ext>
            </a:extLst>
          </p:cNvPr>
          <p:cNvSpPr/>
          <p:nvPr userDrawn="1"/>
        </p:nvSpPr>
        <p:spPr>
          <a:xfrm>
            <a:off x="1735395"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94" name="Rechthoek 293">
            <a:extLst>
              <a:ext uri="{FF2B5EF4-FFF2-40B4-BE49-F238E27FC236}">
                <a16:creationId xmlns:a16="http://schemas.microsoft.com/office/drawing/2014/main" id="{88E1524C-56D7-6B4C-8513-3A5F4833ED03}"/>
              </a:ext>
            </a:extLst>
          </p:cNvPr>
          <p:cNvSpPr/>
          <p:nvPr userDrawn="1"/>
        </p:nvSpPr>
        <p:spPr>
          <a:xfrm>
            <a:off x="298697"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95" name="Rechthoek 294">
            <a:extLst>
              <a:ext uri="{FF2B5EF4-FFF2-40B4-BE49-F238E27FC236}">
                <a16:creationId xmlns:a16="http://schemas.microsoft.com/office/drawing/2014/main" id="{E2432751-6856-6F4B-815C-061EA7E002B9}"/>
              </a:ext>
            </a:extLst>
          </p:cNvPr>
          <p:cNvSpPr/>
          <p:nvPr userDrawn="1"/>
        </p:nvSpPr>
        <p:spPr>
          <a:xfrm>
            <a:off x="1017006"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96" name="Rechthoek 295">
            <a:extLst>
              <a:ext uri="{FF2B5EF4-FFF2-40B4-BE49-F238E27FC236}">
                <a16:creationId xmlns:a16="http://schemas.microsoft.com/office/drawing/2014/main" id="{FE97E586-12BE-4B45-9FA6-27D9213F0022}"/>
              </a:ext>
            </a:extLst>
          </p:cNvPr>
          <p:cNvSpPr/>
          <p:nvPr userDrawn="1"/>
        </p:nvSpPr>
        <p:spPr>
          <a:xfrm>
            <a:off x="1735395"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Ondertitel 2">
            <a:extLst>
              <a:ext uri="{FF2B5EF4-FFF2-40B4-BE49-F238E27FC236}">
                <a16:creationId xmlns:a16="http://schemas.microsoft.com/office/drawing/2014/main" id="{E25C2218-6731-6548-8649-FC497F84CD34}"/>
              </a:ext>
            </a:extLst>
          </p:cNvPr>
          <p:cNvSpPr>
            <a:spLocks noGrp="1"/>
          </p:cNvSpPr>
          <p:nvPr userDrawn="1">
            <p:ph type="subTitle" idx="1" hasCustomPrompt="1"/>
          </p:nvPr>
        </p:nvSpPr>
        <p:spPr>
          <a:xfrm>
            <a:off x="454698" y="2815371"/>
            <a:ext cx="9955822" cy="253692"/>
          </a:xfrm>
          <a:prstGeom prst="rect">
            <a:avLst/>
          </a:prstGeom>
        </p:spPr>
        <p:txBody>
          <a:bodyPr anchor="b">
            <a:noAutofit/>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 presenter</a:t>
            </a:r>
          </a:p>
        </p:txBody>
      </p:sp>
      <p:sp>
        <p:nvSpPr>
          <p:cNvPr id="194" name="Tijdelijke aanduiding voor tekst 2">
            <a:extLst>
              <a:ext uri="{FF2B5EF4-FFF2-40B4-BE49-F238E27FC236}">
                <a16:creationId xmlns:a16="http://schemas.microsoft.com/office/drawing/2014/main" id="{922807D7-B6BF-7647-A1EE-F2C422BD143B}"/>
              </a:ext>
            </a:extLst>
          </p:cNvPr>
          <p:cNvSpPr>
            <a:spLocks noGrp="1"/>
          </p:cNvSpPr>
          <p:nvPr userDrawn="1">
            <p:ph type="body" sz="quarter" idx="19" hasCustomPrompt="1"/>
          </p:nvPr>
        </p:nvSpPr>
        <p:spPr>
          <a:xfrm>
            <a:off x="454697" y="3110361"/>
            <a:ext cx="9955822" cy="211432"/>
          </a:xfrm>
          <a:prstGeom prst="rect">
            <a:avLst/>
          </a:prstGeom>
        </p:spPr>
        <p:txBody>
          <a:bodyPr anchor="t">
            <a:noAutofit/>
          </a:bodyPr>
          <a:lstStyle>
            <a:lvl1pPr marL="0" indent="0">
              <a:spcBef>
                <a:spcPts val="0"/>
              </a:spcBef>
              <a:buNone/>
              <a:defRPr sz="2000">
                <a:solidFill>
                  <a:schemeClr val="bg1"/>
                </a:solidFill>
              </a:defRPr>
            </a:lvl1pPr>
          </a:lstStyle>
          <a:p>
            <a:pPr lvl="0"/>
            <a:r>
              <a:rPr lang="en-GB" noProof="0"/>
              <a:t>Job title</a:t>
            </a:r>
          </a:p>
        </p:txBody>
      </p:sp>
      <p:sp>
        <p:nvSpPr>
          <p:cNvPr id="308" name="Titel 10">
            <a:extLst>
              <a:ext uri="{FF2B5EF4-FFF2-40B4-BE49-F238E27FC236}">
                <a16:creationId xmlns:a16="http://schemas.microsoft.com/office/drawing/2014/main" id="{AEA3059D-9D3D-1E43-9012-6F21ADEA9B0E}"/>
              </a:ext>
            </a:extLst>
          </p:cNvPr>
          <p:cNvSpPr>
            <a:spLocks noGrp="1"/>
          </p:cNvSpPr>
          <p:nvPr>
            <p:ph type="ctrTitle"/>
          </p:nvPr>
        </p:nvSpPr>
        <p:spPr>
          <a:xfrm>
            <a:off x="454698" y="594316"/>
            <a:ext cx="9955834" cy="1989998"/>
          </a:xfrm>
          <a:prstGeom prst="rect">
            <a:avLst/>
          </a:prstGeom>
          <a:noFill/>
        </p:spPr>
        <p:txBody>
          <a:bodyPr wrap="square" lIns="0" rIns="0" bIns="0" anchor="b">
            <a:noAutofit/>
          </a:bodyPr>
          <a:lstStyle>
            <a:lvl1pPr algn="l">
              <a:defRPr sz="4800" b="1">
                <a:solidFill>
                  <a:schemeClr val="bg1"/>
                </a:solidFill>
              </a:defRPr>
            </a:lvl1pPr>
          </a:lstStyle>
          <a:p>
            <a:r>
              <a:rPr lang="de-DE" noProof="0"/>
              <a:t>Mastertitelformat bearbeiten</a:t>
            </a:r>
            <a:endParaRPr lang="en-GB" noProof="0"/>
          </a:p>
        </p:txBody>
      </p:sp>
      <p:sp>
        <p:nvSpPr>
          <p:cNvPr id="85" name="Tekstvak 185">
            <a:extLst>
              <a:ext uri="{FF2B5EF4-FFF2-40B4-BE49-F238E27FC236}">
                <a16:creationId xmlns:a16="http://schemas.microsoft.com/office/drawing/2014/main" id="{3435025A-0C64-4F10-A03A-E0B1DD015123}"/>
              </a:ext>
            </a:extLst>
          </p:cNvPr>
          <p:cNvSpPr txBox="1"/>
          <p:nvPr userDrawn="1"/>
        </p:nvSpPr>
        <p:spPr bwMode="auto">
          <a:xfrm>
            <a:off x="12429807" y="-2"/>
            <a:ext cx="2670175" cy="6858001"/>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fontAlgn="auto">
              <a:spcBef>
                <a:spcPts val="0"/>
              </a:spcBef>
              <a:spcAft>
                <a:spcPts val="0"/>
              </a:spcAft>
              <a:defRPr/>
            </a:pPr>
            <a:r>
              <a:rPr lang="en-GB" sz="1400" b="0" noProof="0" dirty="0">
                <a:solidFill>
                  <a:schemeClr val="tx2"/>
                </a:solidFill>
                <a:latin typeface="+mn-lt"/>
                <a:cs typeface="+mn-cs"/>
              </a:rPr>
              <a:t>The title slides in this template have a background image</a:t>
            </a:r>
          </a:p>
          <a:p>
            <a:pPr>
              <a:spcAft>
                <a:spcPts val="600"/>
              </a:spcAft>
            </a:pPr>
            <a:endParaRPr lang="en-GB" sz="1200" noProof="0" dirty="0">
              <a:solidFill>
                <a:schemeClr val="tx2"/>
              </a:solidFill>
            </a:endParaRPr>
          </a:p>
          <a:p>
            <a:pPr marL="228600" indent="-228600">
              <a:spcAft>
                <a:spcPts val="600"/>
              </a:spcAft>
              <a:buFont typeface="Arial" panose="020B0604020202020204" pitchFamily="34" charset="0"/>
              <a:buChar char="•"/>
            </a:pPr>
            <a:r>
              <a:rPr lang="en-GB" sz="1200" noProof="0" dirty="0">
                <a:solidFill>
                  <a:schemeClr val="tx2"/>
                </a:solidFill>
              </a:rPr>
              <a:t>To change or insert a background image, right click your mouse on the picture and select Format background.</a:t>
            </a:r>
          </a:p>
          <a:p>
            <a:pPr marL="228600" indent="-228600">
              <a:spcAft>
                <a:spcPts val="600"/>
              </a:spcAft>
              <a:buFont typeface="Arial" panose="020B0604020202020204" pitchFamily="34" charset="0"/>
              <a:buChar char="•"/>
            </a:pPr>
            <a:r>
              <a:rPr lang="en-GB" sz="1200" noProof="0" dirty="0">
                <a:solidFill>
                  <a:schemeClr val="tx2"/>
                </a:solidFill>
              </a:rPr>
              <a:t>A Format Background dialogue box appears on the right of your screen.</a:t>
            </a:r>
          </a:p>
          <a:p>
            <a:pPr marL="228600" indent="-228600">
              <a:spcAft>
                <a:spcPts val="600"/>
              </a:spcAft>
              <a:buFont typeface="Arial" panose="020B0604020202020204" pitchFamily="34" charset="0"/>
              <a:buChar char="•"/>
            </a:pPr>
            <a:r>
              <a:rPr lang="en-GB" sz="1200" noProof="0" dirty="0">
                <a:solidFill>
                  <a:schemeClr val="tx2"/>
                </a:solidFill>
              </a:rPr>
              <a:t>Select Picture or texture fill.</a:t>
            </a:r>
          </a:p>
          <a:p>
            <a:pPr marL="228600" indent="-228600">
              <a:spcAft>
                <a:spcPts val="600"/>
              </a:spcAft>
              <a:buFont typeface="Arial" panose="020B0604020202020204" pitchFamily="34" charset="0"/>
              <a:buChar char="•"/>
            </a:pPr>
            <a:r>
              <a:rPr lang="en-GB" sz="1200" noProof="0" dirty="0">
                <a:solidFill>
                  <a:schemeClr val="tx2"/>
                </a:solidFill>
              </a:rPr>
              <a:t>Click on the Insert button and browse to your image of choice and click OK.</a:t>
            </a:r>
          </a:p>
          <a:p>
            <a:pPr marL="228600" indent="-228600">
              <a:spcAft>
                <a:spcPts val="600"/>
              </a:spcAft>
              <a:buFont typeface="Arial" panose="020B0604020202020204" pitchFamily="34" charset="0"/>
              <a:buChar char="•"/>
            </a:pPr>
            <a:r>
              <a:rPr lang="en-GB" sz="1200" b="1" noProof="0" dirty="0">
                <a:solidFill>
                  <a:schemeClr val="tx2"/>
                </a:solidFill>
                <a:latin typeface="+mn-lt"/>
                <a:cs typeface="+mn-cs"/>
              </a:rPr>
              <a:t>Make sure that your image has the ratio 4x3 for a standard presentation and 16x9 for a widescreen presentation for the best result</a:t>
            </a:r>
            <a:r>
              <a:rPr lang="en-GB" sz="1200" b="0" noProof="0" dirty="0">
                <a:solidFill>
                  <a:schemeClr val="tx2"/>
                </a:solidFill>
                <a:latin typeface="+mn-lt"/>
                <a:cs typeface="+mn-cs"/>
              </a:rPr>
              <a:t>. </a:t>
            </a:r>
          </a:p>
          <a:p>
            <a:pPr marL="0" indent="0" algn="l">
              <a:spcAft>
                <a:spcPts val="600"/>
              </a:spcAft>
              <a:buFont typeface="Arial" panose="020B0604020202020204" pitchFamily="34" charset="0"/>
              <a:buNone/>
            </a:pPr>
            <a:endParaRPr lang="en-GB" sz="1200" b="1" noProof="0" dirty="0">
              <a:solidFill>
                <a:schemeClr val="tx2"/>
              </a:solidFill>
              <a:latin typeface="+mn-lt"/>
              <a:cs typeface="+mn-cs"/>
            </a:endParaRPr>
          </a:p>
        </p:txBody>
      </p:sp>
      <p:pic>
        <p:nvPicPr>
          <p:cNvPr id="83" name="Afbeelding 176">
            <a:extLst>
              <a:ext uri="{FF2B5EF4-FFF2-40B4-BE49-F238E27FC236}">
                <a16:creationId xmlns:a16="http://schemas.microsoft.com/office/drawing/2014/main" id="{6F6749E2-968A-4717-9E69-CC49608E7E1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77948" y="6339141"/>
            <a:ext cx="1369142" cy="258353"/>
          </a:xfrm>
          <a:prstGeom prst="rect">
            <a:avLst/>
          </a:prstGeom>
        </p:spPr>
      </p:pic>
      <p:sp>
        <p:nvSpPr>
          <p:cNvPr id="86" name="Date Placeholder 1">
            <a:extLst>
              <a:ext uri="{FF2B5EF4-FFF2-40B4-BE49-F238E27FC236}">
                <a16:creationId xmlns:a16="http://schemas.microsoft.com/office/drawing/2014/main" id="{AE7D98C2-3D4D-4CD3-8AA0-DE5AE3C292B6}"/>
              </a:ext>
            </a:extLst>
          </p:cNvPr>
          <p:cNvSpPr>
            <a:spLocks noGrp="1"/>
          </p:cNvSpPr>
          <p:nvPr>
            <p:ph type="dt" sz="half" idx="20"/>
          </p:nvPr>
        </p:nvSpPr>
        <p:spPr>
          <a:xfrm>
            <a:off x="454698" y="6378834"/>
            <a:ext cx="1528579" cy="365125"/>
          </a:xfrm>
        </p:spPr>
        <p:txBody>
          <a:bodyPr/>
          <a:lstStyle/>
          <a:p>
            <a:fld id="{7A959836-C623-4089-BFBB-ACA5761DB790}" type="datetime4">
              <a:rPr lang="en-GB" noProof="0" smtClean="0"/>
              <a:t>23 January 2025</a:t>
            </a:fld>
            <a:endParaRPr lang="en-US" noProof="0" dirty="0"/>
          </a:p>
        </p:txBody>
      </p:sp>
      <p:sp>
        <p:nvSpPr>
          <p:cNvPr id="87" name="Footer Placeholder 3">
            <a:extLst>
              <a:ext uri="{FF2B5EF4-FFF2-40B4-BE49-F238E27FC236}">
                <a16:creationId xmlns:a16="http://schemas.microsoft.com/office/drawing/2014/main" id="{DE9996A0-7B3A-4D7C-B31F-90CBCC1F518A}"/>
              </a:ext>
            </a:extLst>
          </p:cNvPr>
          <p:cNvSpPr>
            <a:spLocks noGrp="1"/>
          </p:cNvSpPr>
          <p:nvPr>
            <p:ph type="ftr" sz="quarter" idx="21"/>
          </p:nvPr>
        </p:nvSpPr>
        <p:spPr>
          <a:xfrm>
            <a:off x="2258853" y="6378834"/>
            <a:ext cx="4616234" cy="365125"/>
          </a:xfrm>
        </p:spPr>
        <p:txBody>
          <a:bodyPr/>
          <a:lstStyle/>
          <a:p>
            <a:r>
              <a:rPr lang="en-US" noProof="0"/>
              <a:t>Confidentiality</a:t>
            </a:r>
          </a:p>
        </p:txBody>
      </p:sp>
    </p:spTree>
    <p:extLst>
      <p:ext uri="{BB962C8B-B14F-4D97-AF65-F5344CB8AC3E}">
        <p14:creationId xmlns:p14="http://schemas.microsoft.com/office/powerpoint/2010/main" val="4672450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Header Long - 4 Circles">
    <p:spTree>
      <p:nvGrpSpPr>
        <p:cNvPr id="1" name=""/>
        <p:cNvGrpSpPr/>
        <p:nvPr/>
      </p:nvGrpSpPr>
      <p:grpSpPr>
        <a:xfrm>
          <a:off x="0" y="0"/>
          <a:ext cx="0" cy="0"/>
          <a:chOff x="0" y="0"/>
          <a:chExt cx="0" cy="0"/>
        </a:xfrm>
      </p:grpSpPr>
      <p:sp>
        <p:nvSpPr>
          <p:cNvPr id="21" name="Tekstvak 16">
            <a:extLst>
              <a:ext uri="{FF2B5EF4-FFF2-40B4-BE49-F238E27FC236}">
                <a16:creationId xmlns:a16="http://schemas.microsoft.com/office/drawing/2014/main" id="{40D26A27-C868-4C66-99A5-9ED0915DE09C}"/>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5F010B14-BA09-4C1D-97D9-3E20FA3B167F}"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40" name="Tijdelijke aanduiding voor tekst 10">
            <a:extLst>
              <a:ext uri="{FF2B5EF4-FFF2-40B4-BE49-F238E27FC236}">
                <a16:creationId xmlns:a16="http://schemas.microsoft.com/office/drawing/2014/main" id="{6E9BB3FC-FC61-C340-82E2-6B82E6E3E1C2}"/>
              </a:ext>
            </a:extLst>
          </p:cNvPr>
          <p:cNvSpPr>
            <a:spLocks noGrp="1"/>
          </p:cNvSpPr>
          <p:nvPr>
            <p:ph type="body" sz="quarter" idx="36" hasCustomPrompt="1"/>
          </p:nvPr>
        </p:nvSpPr>
        <p:spPr>
          <a:xfrm>
            <a:off x="4117742" y="4893929"/>
            <a:ext cx="2257258" cy="624253"/>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41" name="Tijdelijke aanduiding voor afbeelding 25">
            <a:extLst>
              <a:ext uri="{FF2B5EF4-FFF2-40B4-BE49-F238E27FC236}">
                <a16:creationId xmlns:a16="http://schemas.microsoft.com/office/drawing/2014/main" id="{84E1B1C9-7C59-9048-96B5-0756D41872A3}"/>
              </a:ext>
            </a:extLst>
          </p:cNvPr>
          <p:cNvSpPr>
            <a:spLocks noGrp="1"/>
          </p:cNvSpPr>
          <p:nvPr>
            <p:ph type="pic" sz="quarter" idx="37"/>
          </p:nvPr>
        </p:nvSpPr>
        <p:spPr>
          <a:xfrm>
            <a:off x="4117741" y="2398937"/>
            <a:ext cx="2257259" cy="2258595"/>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2" name="Tijdelijke aanduiding voor tekst 10">
            <a:extLst>
              <a:ext uri="{FF2B5EF4-FFF2-40B4-BE49-F238E27FC236}">
                <a16:creationId xmlns:a16="http://schemas.microsoft.com/office/drawing/2014/main" id="{CF9F4CDA-0D4F-B844-BF8E-D289F6F02E75}"/>
              </a:ext>
            </a:extLst>
          </p:cNvPr>
          <p:cNvSpPr>
            <a:spLocks noGrp="1"/>
          </p:cNvSpPr>
          <p:nvPr>
            <p:ph type="body" sz="quarter" idx="40" hasCustomPrompt="1"/>
          </p:nvPr>
        </p:nvSpPr>
        <p:spPr>
          <a:xfrm>
            <a:off x="1549236" y="4893929"/>
            <a:ext cx="2257258" cy="624253"/>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43" name="Tijdelijke aanduiding voor afbeelding 29">
            <a:extLst>
              <a:ext uri="{FF2B5EF4-FFF2-40B4-BE49-F238E27FC236}">
                <a16:creationId xmlns:a16="http://schemas.microsoft.com/office/drawing/2014/main" id="{BCCDDA57-E920-6947-AB2F-6FBC57285BF4}"/>
              </a:ext>
            </a:extLst>
          </p:cNvPr>
          <p:cNvSpPr>
            <a:spLocks noGrp="1"/>
          </p:cNvSpPr>
          <p:nvPr>
            <p:ph type="pic" sz="quarter" idx="41"/>
          </p:nvPr>
        </p:nvSpPr>
        <p:spPr>
          <a:xfrm>
            <a:off x="1549235" y="2398937"/>
            <a:ext cx="2257259" cy="2258595"/>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4" name="Tijdelijke aanduiding voor tekst 10">
            <a:extLst>
              <a:ext uri="{FF2B5EF4-FFF2-40B4-BE49-F238E27FC236}">
                <a16:creationId xmlns:a16="http://schemas.microsoft.com/office/drawing/2014/main" id="{2EF67AB0-6191-224A-9BE1-E62722374336}"/>
              </a:ext>
            </a:extLst>
          </p:cNvPr>
          <p:cNvSpPr>
            <a:spLocks noGrp="1"/>
          </p:cNvSpPr>
          <p:nvPr>
            <p:ph type="body" sz="quarter" idx="44" hasCustomPrompt="1"/>
          </p:nvPr>
        </p:nvSpPr>
        <p:spPr>
          <a:xfrm>
            <a:off x="6686247" y="4893929"/>
            <a:ext cx="2257258" cy="624253"/>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45" name="Tijdelijke aanduiding voor afbeelding 25">
            <a:extLst>
              <a:ext uri="{FF2B5EF4-FFF2-40B4-BE49-F238E27FC236}">
                <a16:creationId xmlns:a16="http://schemas.microsoft.com/office/drawing/2014/main" id="{F3E0ADAA-ED45-7B4D-96D0-2152EC3E99DE}"/>
              </a:ext>
            </a:extLst>
          </p:cNvPr>
          <p:cNvSpPr>
            <a:spLocks noGrp="1"/>
          </p:cNvSpPr>
          <p:nvPr>
            <p:ph type="pic" sz="quarter" idx="45"/>
          </p:nvPr>
        </p:nvSpPr>
        <p:spPr>
          <a:xfrm>
            <a:off x="6686246" y="2398937"/>
            <a:ext cx="2257259" cy="2258595"/>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6" name="Tijdelijke aanduiding voor tekst 10">
            <a:extLst>
              <a:ext uri="{FF2B5EF4-FFF2-40B4-BE49-F238E27FC236}">
                <a16:creationId xmlns:a16="http://schemas.microsoft.com/office/drawing/2014/main" id="{1437E3DF-BA99-FA40-AB16-442339BB3851}"/>
              </a:ext>
            </a:extLst>
          </p:cNvPr>
          <p:cNvSpPr>
            <a:spLocks noGrp="1"/>
          </p:cNvSpPr>
          <p:nvPr>
            <p:ph type="body" sz="quarter" idx="46" hasCustomPrompt="1"/>
          </p:nvPr>
        </p:nvSpPr>
        <p:spPr>
          <a:xfrm>
            <a:off x="9254751" y="4893929"/>
            <a:ext cx="2257258" cy="624253"/>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47" name="Tijdelijke aanduiding voor afbeelding 25">
            <a:extLst>
              <a:ext uri="{FF2B5EF4-FFF2-40B4-BE49-F238E27FC236}">
                <a16:creationId xmlns:a16="http://schemas.microsoft.com/office/drawing/2014/main" id="{F2177F30-5FB3-2244-8613-1D9241E2F666}"/>
              </a:ext>
            </a:extLst>
          </p:cNvPr>
          <p:cNvSpPr>
            <a:spLocks noGrp="1"/>
          </p:cNvSpPr>
          <p:nvPr>
            <p:ph type="pic" sz="quarter" idx="47"/>
          </p:nvPr>
        </p:nvSpPr>
        <p:spPr>
          <a:xfrm>
            <a:off x="9254750" y="2398937"/>
            <a:ext cx="2257259" cy="2258595"/>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22" name="Groep 21">
            <a:extLst>
              <a:ext uri="{FF2B5EF4-FFF2-40B4-BE49-F238E27FC236}">
                <a16:creationId xmlns:a16="http://schemas.microsoft.com/office/drawing/2014/main" id="{9A839826-A40E-D540-B279-6E0E551C1020}"/>
              </a:ext>
            </a:extLst>
          </p:cNvPr>
          <p:cNvGrpSpPr/>
          <p:nvPr userDrawn="1"/>
        </p:nvGrpSpPr>
        <p:grpSpPr>
          <a:xfrm>
            <a:off x="12443133" y="-1"/>
            <a:ext cx="2670175" cy="6875997"/>
            <a:chOff x="12443133" y="-1"/>
            <a:chExt cx="2670175" cy="6875997"/>
          </a:xfrm>
        </p:grpSpPr>
        <p:sp>
          <p:nvSpPr>
            <p:cNvPr id="23" name="Tekstvak 22">
              <a:extLst>
                <a:ext uri="{FF2B5EF4-FFF2-40B4-BE49-F238E27FC236}">
                  <a16:creationId xmlns:a16="http://schemas.microsoft.com/office/drawing/2014/main" id="{273325CC-9AC0-7C4F-BA18-BE86A26DE6E6}"/>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4" name="Afbeelding 23">
              <a:extLst>
                <a:ext uri="{FF2B5EF4-FFF2-40B4-BE49-F238E27FC236}">
                  <a16:creationId xmlns:a16="http://schemas.microsoft.com/office/drawing/2014/main" id="{96709116-5929-AE42-806B-A8F902CE5BF1}"/>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Afbeelding 24">
            <a:extLst>
              <a:ext uri="{FF2B5EF4-FFF2-40B4-BE49-F238E27FC236}">
                <a16:creationId xmlns:a16="http://schemas.microsoft.com/office/drawing/2014/main" id="{4CFB6FFF-E3D0-5C46-9798-6D262DF887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12">
            <a:extLst>
              <a:ext uri="{FF2B5EF4-FFF2-40B4-BE49-F238E27FC236}">
                <a16:creationId xmlns:a16="http://schemas.microsoft.com/office/drawing/2014/main" id="{4003D94A-5669-E444-A2DF-83A92013F46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5219313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Header Long - 5 Circles">
    <p:spTree>
      <p:nvGrpSpPr>
        <p:cNvPr id="1" name=""/>
        <p:cNvGrpSpPr/>
        <p:nvPr/>
      </p:nvGrpSpPr>
      <p:grpSpPr>
        <a:xfrm>
          <a:off x="0" y="0"/>
          <a:ext cx="0" cy="0"/>
          <a:chOff x="0" y="0"/>
          <a:chExt cx="0" cy="0"/>
        </a:xfrm>
      </p:grpSpPr>
      <p:sp>
        <p:nvSpPr>
          <p:cNvPr id="23" name="Tekstvak 16">
            <a:extLst>
              <a:ext uri="{FF2B5EF4-FFF2-40B4-BE49-F238E27FC236}">
                <a16:creationId xmlns:a16="http://schemas.microsoft.com/office/drawing/2014/main" id="{3D223E18-F143-4B41-BABC-52CA4B1D7A62}"/>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5B4DF50C-E162-40ED-BD93-D92807E41DA8}"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22" name="Tijdelijke aanduiding voor tekst 10">
            <a:extLst>
              <a:ext uri="{FF2B5EF4-FFF2-40B4-BE49-F238E27FC236}">
                <a16:creationId xmlns:a16="http://schemas.microsoft.com/office/drawing/2014/main" id="{6DAECEDB-9665-B749-8F1A-23EA6B317DE8}"/>
              </a:ext>
            </a:extLst>
          </p:cNvPr>
          <p:cNvSpPr>
            <a:spLocks noGrp="1"/>
          </p:cNvSpPr>
          <p:nvPr>
            <p:ph type="body" sz="quarter" idx="34" hasCustomPrompt="1"/>
          </p:nvPr>
        </p:nvSpPr>
        <p:spPr>
          <a:xfrm>
            <a:off x="6726116" y="5786438"/>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4" name="Tijdelijke aanduiding voor afbeelding 23">
            <a:extLst>
              <a:ext uri="{FF2B5EF4-FFF2-40B4-BE49-F238E27FC236}">
                <a16:creationId xmlns:a16="http://schemas.microsoft.com/office/drawing/2014/main" id="{F2E733B6-8AFF-1E42-BE3A-47BDE7E8AE0F}"/>
              </a:ext>
            </a:extLst>
          </p:cNvPr>
          <p:cNvSpPr>
            <a:spLocks noGrp="1"/>
          </p:cNvSpPr>
          <p:nvPr>
            <p:ph type="pic" sz="quarter" idx="35"/>
          </p:nvPr>
        </p:nvSpPr>
        <p:spPr>
          <a:xfrm>
            <a:off x="7538682"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5" name="Tijdelijke aanduiding voor tekst 10">
            <a:extLst>
              <a:ext uri="{FF2B5EF4-FFF2-40B4-BE49-F238E27FC236}">
                <a16:creationId xmlns:a16="http://schemas.microsoft.com/office/drawing/2014/main" id="{AA4FEF3F-3863-AD41-AAFC-DB1A75607398}"/>
              </a:ext>
            </a:extLst>
          </p:cNvPr>
          <p:cNvSpPr>
            <a:spLocks noGrp="1"/>
          </p:cNvSpPr>
          <p:nvPr>
            <p:ph type="body" sz="quarter" idx="36" hasCustomPrompt="1"/>
          </p:nvPr>
        </p:nvSpPr>
        <p:spPr>
          <a:xfrm>
            <a:off x="4935632" y="3512635"/>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6" name="Tijdelijke aanduiding voor afbeelding 25">
            <a:extLst>
              <a:ext uri="{FF2B5EF4-FFF2-40B4-BE49-F238E27FC236}">
                <a16:creationId xmlns:a16="http://schemas.microsoft.com/office/drawing/2014/main" id="{80FD56E5-A437-CA4F-A7C4-8BD9239B855A}"/>
              </a:ext>
            </a:extLst>
          </p:cNvPr>
          <p:cNvSpPr>
            <a:spLocks noGrp="1"/>
          </p:cNvSpPr>
          <p:nvPr>
            <p:ph type="pic" sz="quarter" idx="37"/>
          </p:nvPr>
        </p:nvSpPr>
        <p:spPr>
          <a:xfrm>
            <a:off x="5744664"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7" name="Tijdelijke aanduiding voor tekst 10">
            <a:extLst>
              <a:ext uri="{FF2B5EF4-FFF2-40B4-BE49-F238E27FC236}">
                <a16:creationId xmlns:a16="http://schemas.microsoft.com/office/drawing/2014/main" id="{3223D7C0-F0F7-DC4B-BDF9-60FEF5B911F3}"/>
              </a:ext>
            </a:extLst>
          </p:cNvPr>
          <p:cNvSpPr>
            <a:spLocks noGrp="1"/>
          </p:cNvSpPr>
          <p:nvPr>
            <p:ph type="body" sz="quarter" idx="38" hasCustomPrompt="1"/>
          </p:nvPr>
        </p:nvSpPr>
        <p:spPr>
          <a:xfrm>
            <a:off x="3141015" y="5786438"/>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8" name="Tijdelijke aanduiding voor afbeelding 27">
            <a:extLst>
              <a:ext uri="{FF2B5EF4-FFF2-40B4-BE49-F238E27FC236}">
                <a16:creationId xmlns:a16="http://schemas.microsoft.com/office/drawing/2014/main" id="{8A94FC41-BB7D-EE43-A850-AE4F52D9BEE6}"/>
              </a:ext>
            </a:extLst>
          </p:cNvPr>
          <p:cNvSpPr>
            <a:spLocks noGrp="1"/>
          </p:cNvSpPr>
          <p:nvPr>
            <p:ph type="pic" sz="quarter" idx="39"/>
          </p:nvPr>
        </p:nvSpPr>
        <p:spPr>
          <a:xfrm>
            <a:off x="3950048"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9" name="Tijdelijke aanduiding voor tekst 10">
            <a:extLst>
              <a:ext uri="{FF2B5EF4-FFF2-40B4-BE49-F238E27FC236}">
                <a16:creationId xmlns:a16="http://schemas.microsoft.com/office/drawing/2014/main" id="{D57B0DCB-EF7C-1D41-AFDD-75CD52B7F806}"/>
              </a:ext>
            </a:extLst>
          </p:cNvPr>
          <p:cNvSpPr>
            <a:spLocks noGrp="1"/>
          </p:cNvSpPr>
          <p:nvPr>
            <p:ph type="body" sz="quarter" idx="40" hasCustomPrompt="1"/>
          </p:nvPr>
        </p:nvSpPr>
        <p:spPr>
          <a:xfrm>
            <a:off x="1346400" y="3512635"/>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0" name="Tijdelijke aanduiding voor afbeelding 29">
            <a:extLst>
              <a:ext uri="{FF2B5EF4-FFF2-40B4-BE49-F238E27FC236}">
                <a16:creationId xmlns:a16="http://schemas.microsoft.com/office/drawing/2014/main" id="{42028FAD-5F72-5D4F-B10F-623637BD5D0F}"/>
              </a:ext>
            </a:extLst>
          </p:cNvPr>
          <p:cNvSpPr>
            <a:spLocks noGrp="1"/>
          </p:cNvSpPr>
          <p:nvPr>
            <p:ph type="pic" sz="quarter" idx="41"/>
          </p:nvPr>
        </p:nvSpPr>
        <p:spPr>
          <a:xfrm>
            <a:off x="2155432"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2" name="Tijdelijke aanduiding voor tekst 10">
            <a:extLst>
              <a:ext uri="{FF2B5EF4-FFF2-40B4-BE49-F238E27FC236}">
                <a16:creationId xmlns:a16="http://schemas.microsoft.com/office/drawing/2014/main" id="{BFE71A4D-323A-1D4D-BD2E-22356777C70E}"/>
              </a:ext>
            </a:extLst>
          </p:cNvPr>
          <p:cNvSpPr>
            <a:spLocks noGrp="1"/>
          </p:cNvSpPr>
          <p:nvPr>
            <p:ph type="body" sz="quarter" idx="44" hasCustomPrompt="1"/>
          </p:nvPr>
        </p:nvSpPr>
        <p:spPr>
          <a:xfrm>
            <a:off x="8523667" y="3512635"/>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3" name="Tijdelijke aanduiding voor afbeelding 25">
            <a:extLst>
              <a:ext uri="{FF2B5EF4-FFF2-40B4-BE49-F238E27FC236}">
                <a16:creationId xmlns:a16="http://schemas.microsoft.com/office/drawing/2014/main" id="{AFDEEFE0-59A6-B54C-A3A8-3A76A5F74D40}"/>
              </a:ext>
            </a:extLst>
          </p:cNvPr>
          <p:cNvSpPr>
            <a:spLocks noGrp="1"/>
          </p:cNvSpPr>
          <p:nvPr>
            <p:ph type="pic" sz="quarter" idx="45"/>
          </p:nvPr>
        </p:nvSpPr>
        <p:spPr>
          <a:xfrm>
            <a:off x="9332699"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31" name="Groep 30">
            <a:extLst>
              <a:ext uri="{FF2B5EF4-FFF2-40B4-BE49-F238E27FC236}">
                <a16:creationId xmlns:a16="http://schemas.microsoft.com/office/drawing/2014/main" id="{69C812F1-D84D-7E4C-90CA-617F0DF7D88D}"/>
              </a:ext>
            </a:extLst>
          </p:cNvPr>
          <p:cNvGrpSpPr/>
          <p:nvPr userDrawn="1"/>
        </p:nvGrpSpPr>
        <p:grpSpPr>
          <a:xfrm>
            <a:off x="12443133" y="-1"/>
            <a:ext cx="2670175" cy="6875997"/>
            <a:chOff x="12443133" y="-1"/>
            <a:chExt cx="2670175" cy="6875997"/>
          </a:xfrm>
        </p:grpSpPr>
        <p:sp>
          <p:nvSpPr>
            <p:cNvPr id="34" name="Tekstvak 33">
              <a:extLst>
                <a:ext uri="{FF2B5EF4-FFF2-40B4-BE49-F238E27FC236}">
                  <a16:creationId xmlns:a16="http://schemas.microsoft.com/office/drawing/2014/main" id="{1E88176A-6326-C34C-9D77-E95D894E9E9A}"/>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35" name="Afbeelding 34">
              <a:extLst>
                <a:ext uri="{FF2B5EF4-FFF2-40B4-BE49-F238E27FC236}">
                  <a16:creationId xmlns:a16="http://schemas.microsoft.com/office/drawing/2014/main" id="{C3AF4A4F-496D-A245-9FBD-14F73841EF94}"/>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 name="Afbeelding 35">
            <a:extLst>
              <a:ext uri="{FF2B5EF4-FFF2-40B4-BE49-F238E27FC236}">
                <a16:creationId xmlns:a16="http://schemas.microsoft.com/office/drawing/2014/main" id="{5CBD28A9-947F-7845-927B-E9806822281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2">
            <a:extLst>
              <a:ext uri="{FF2B5EF4-FFF2-40B4-BE49-F238E27FC236}">
                <a16:creationId xmlns:a16="http://schemas.microsoft.com/office/drawing/2014/main" id="{71101CCD-091B-D440-8F7D-E09E50D0601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41128353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Header Long - 6 Circles">
    <p:spTree>
      <p:nvGrpSpPr>
        <p:cNvPr id="1" name=""/>
        <p:cNvGrpSpPr/>
        <p:nvPr/>
      </p:nvGrpSpPr>
      <p:grpSpPr>
        <a:xfrm>
          <a:off x="0" y="0"/>
          <a:ext cx="0" cy="0"/>
          <a:chOff x="0" y="0"/>
          <a:chExt cx="0" cy="0"/>
        </a:xfrm>
      </p:grpSpPr>
      <p:sp>
        <p:nvSpPr>
          <p:cNvPr id="34" name="Tekstvak 16">
            <a:extLst>
              <a:ext uri="{FF2B5EF4-FFF2-40B4-BE49-F238E27FC236}">
                <a16:creationId xmlns:a16="http://schemas.microsoft.com/office/drawing/2014/main" id="{128FCB81-188C-4D65-ABB9-05AF6F9012ED}"/>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C0873E11-28D8-4E0C-81C2-2C7199342BC3}"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22" name="Tijdelijke aanduiding voor tekst 10">
            <a:extLst>
              <a:ext uri="{FF2B5EF4-FFF2-40B4-BE49-F238E27FC236}">
                <a16:creationId xmlns:a16="http://schemas.microsoft.com/office/drawing/2014/main" id="{6DAECEDB-9665-B749-8F1A-23EA6B317DE8}"/>
              </a:ext>
            </a:extLst>
          </p:cNvPr>
          <p:cNvSpPr>
            <a:spLocks noGrp="1"/>
          </p:cNvSpPr>
          <p:nvPr>
            <p:ph type="body" sz="quarter" idx="34" hasCustomPrompt="1"/>
          </p:nvPr>
        </p:nvSpPr>
        <p:spPr>
          <a:xfrm>
            <a:off x="4935632" y="5786438"/>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4" name="Tijdelijke aanduiding voor afbeelding 23">
            <a:extLst>
              <a:ext uri="{FF2B5EF4-FFF2-40B4-BE49-F238E27FC236}">
                <a16:creationId xmlns:a16="http://schemas.microsoft.com/office/drawing/2014/main" id="{F2E733B6-8AFF-1E42-BE3A-47BDE7E8AE0F}"/>
              </a:ext>
            </a:extLst>
          </p:cNvPr>
          <p:cNvSpPr>
            <a:spLocks noGrp="1"/>
          </p:cNvSpPr>
          <p:nvPr>
            <p:ph type="pic" sz="quarter" idx="35"/>
          </p:nvPr>
        </p:nvSpPr>
        <p:spPr>
          <a:xfrm>
            <a:off x="5744664"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5" name="Tijdelijke aanduiding voor tekst 10">
            <a:extLst>
              <a:ext uri="{FF2B5EF4-FFF2-40B4-BE49-F238E27FC236}">
                <a16:creationId xmlns:a16="http://schemas.microsoft.com/office/drawing/2014/main" id="{AA4FEF3F-3863-AD41-AAFC-DB1A75607398}"/>
              </a:ext>
            </a:extLst>
          </p:cNvPr>
          <p:cNvSpPr>
            <a:spLocks noGrp="1"/>
          </p:cNvSpPr>
          <p:nvPr>
            <p:ph type="body" sz="quarter" idx="36" hasCustomPrompt="1"/>
          </p:nvPr>
        </p:nvSpPr>
        <p:spPr>
          <a:xfrm>
            <a:off x="4935632" y="3512635"/>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6" name="Tijdelijke aanduiding voor afbeelding 25">
            <a:extLst>
              <a:ext uri="{FF2B5EF4-FFF2-40B4-BE49-F238E27FC236}">
                <a16:creationId xmlns:a16="http://schemas.microsoft.com/office/drawing/2014/main" id="{80FD56E5-A437-CA4F-A7C4-8BD9239B855A}"/>
              </a:ext>
            </a:extLst>
          </p:cNvPr>
          <p:cNvSpPr>
            <a:spLocks noGrp="1"/>
          </p:cNvSpPr>
          <p:nvPr>
            <p:ph type="pic" sz="quarter" idx="37"/>
          </p:nvPr>
        </p:nvSpPr>
        <p:spPr>
          <a:xfrm>
            <a:off x="5744664"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7" name="Tijdelijke aanduiding voor tekst 10">
            <a:extLst>
              <a:ext uri="{FF2B5EF4-FFF2-40B4-BE49-F238E27FC236}">
                <a16:creationId xmlns:a16="http://schemas.microsoft.com/office/drawing/2014/main" id="{3223D7C0-F0F7-DC4B-BDF9-60FEF5B911F3}"/>
              </a:ext>
            </a:extLst>
          </p:cNvPr>
          <p:cNvSpPr>
            <a:spLocks noGrp="1"/>
          </p:cNvSpPr>
          <p:nvPr>
            <p:ph type="body" sz="quarter" idx="38" hasCustomPrompt="1"/>
          </p:nvPr>
        </p:nvSpPr>
        <p:spPr>
          <a:xfrm>
            <a:off x="1346400" y="5786438"/>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8" name="Tijdelijke aanduiding voor afbeelding 27">
            <a:extLst>
              <a:ext uri="{FF2B5EF4-FFF2-40B4-BE49-F238E27FC236}">
                <a16:creationId xmlns:a16="http://schemas.microsoft.com/office/drawing/2014/main" id="{8A94FC41-BB7D-EE43-A850-AE4F52D9BEE6}"/>
              </a:ext>
            </a:extLst>
          </p:cNvPr>
          <p:cNvSpPr>
            <a:spLocks noGrp="1"/>
          </p:cNvSpPr>
          <p:nvPr>
            <p:ph type="pic" sz="quarter" idx="39"/>
          </p:nvPr>
        </p:nvSpPr>
        <p:spPr>
          <a:xfrm>
            <a:off x="2155432"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9" name="Tijdelijke aanduiding voor tekst 10">
            <a:extLst>
              <a:ext uri="{FF2B5EF4-FFF2-40B4-BE49-F238E27FC236}">
                <a16:creationId xmlns:a16="http://schemas.microsoft.com/office/drawing/2014/main" id="{D57B0DCB-EF7C-1D41-AFDD-75CD52B7F806}"/>
              </a:ext>
            </a:extLst>
          </p:cNvPr>
          <p:cNvSpPr>
            <a:spLocks noGrp="1"/>
          </p:cNvSpPr>
          <p:nvPr>
            <p:ph type="body" sz="quarter" idx="40" hasCustomPrompt="1"/>
          </p:nvPr>
        </p:nvSpPr>
        <p:spPr>
          <a:xfrm>
            <a:off x="1346400" y="3512635"/>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0" name="Tijdelijke aanduiding voor afbeelding 29">
            <a:extLst>
              <a:ext uri="{FF2B5EF4-FFF2-40B4-BE49-F238E27FC236}">
                <a16:creationId xmlns:a16="http://schemas.microsoft.com/office/drawing/2014/main" id="{42028FAD-5F72-5D4F-B10F-623637BD5D0F}"/>
              </a:ext>
            </a:extLst>
          </p:cNvPr>
          <p:cNvSpPr>
            <a:spLocks noGrp="1"/>
          </p:cNvSpPr>
          <p:nvPr>
            <p:ph type="pic" sz="quarter" idx="41"/>
          </p:nvPr>
        </p:nvSpPr>
        <p:spPr>
          <a:xfrm>
            <a:off x="2155432"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3" name="Tijdelijke aanduiding voor tekst 10">
            <a:extLst>
              <a:ext uri="{FF2B5EF4-FFF2-40B4-BE49-F238E27FC236}">
                <a16:creationId xmlns:a16="http://schemas.microsoft.com/office/drawing/2014/main" id="{F957F531-5D0C-2D4A-9AE9-F47941D0E708}"/>
              </a:ext>
            </a:extLst>
          </p:cNvPr>
          <p:cNvSpPr>
            <a:spLocks noGrp="1"/>
          </p:cNvSpPr>
          <p:nvPr>
            <p:ph type="body" sz="quarter" idx="42" hasCustomPrompt="1"/>
          </p:nvPr>
        </p:nvSpPr>
        <p:spPr>
          <a:xfrm>
            <a:off x="8523667" y="5786438"/>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1" name="Tijdelijke aanduiding voor afbeelding 23">
            <a:extLst>
              <a:ext uri="{FF2B5EF4-FFF2-40B4-BE49-F238E27FC236}">
                <a16:creationId xmlns:a16="http://schemas.microsoft.com/office/drawing/2014/main" id="{189F6CBD-DF98-9240-8465-4091F619CDBC}"/>
              </a:ext>
            </a:extLst>
          </p:cNvPr>
          <p:cNvSpPr>
            <a:spLocks noGrp="1"/>
          </p:cNvSpPr>
          <p:nvPr>
            <p:ph type="pic" sz="quarter" idx="43"/>
          </p:nvPr>
        </p:nvSpPr>
        <p:spPr>
          <a:xfrm>
            <a:off x="9332699"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2" name="Tijdelijke aanduiding voor tekst 10">
            <a:extLst>
              <a:ext uri="{FF2B5EF4-FFF2-40B4-BE49-F238E27FC236}">
                <a16:creationId xmlns:a16="http://schemas.microsoft.com/office/drawing/2014/main" id="{BFE71A4D-323A-1D4D-BD2E-22356777C70E}"/>
              </a:ext>
            </a:extLst>
          </p:cNvPr>
          <p:cNvSpPr>
            <a:spLocks noGrp="1"/>
          </p:cNvSpPr>
          <p:nvPr>
            <p:ph type="body" sz="quarter" idx="44" hasCustomPrompt="1"/>
          </p:nvPr>
        </p:nvSpPr>
        <p:spPr>
          <a:xfrm>
            <a:off x="8523667" y="3512635"/>
            <a:ext cx="3223665"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3" name="Tijdelijke aanduiding voor afbeelding 25">
            <a:extLst>
              <a:ext uri="{FF2B5EF4-FFF2-40B4-BE49-F238E27FC236}">
                <a16:creationId xmlns:a16="http://schemas.microsoft.com/office/drawing/2014/main" id="{AFDEEFE0-59A6-B54C-A3A8-3A76A5F74D40}"/>
              </a:ext>
            </a:extLst>
          </p:cNvPr>
          <p:cNvSpPr>
            <a:spLocks noGrp="1"/>
          </p:cNvSpPr>
          <p:nvPr>
            <p:ph type="pic" sz="quarter" idx="45"/>
          </p:nvPr>
        </p:nvSpPr>
        <p:spPr>
          <a:xfrm>
            <a:off x="9332699"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36" name="Groep 35">
            <a:extLst>
              <a:ext uri="{FF2B5EF4-FFF2-40B4-BE49-F238E27FC236}">
                <a16:creationId xmlns:a16="http://schemas.microsoft.com/office/drawing/2014/main" id="{BFDFE00D-52B3-134A-92A6-A1BF82F8C210}"/>
              </a:ext>
            </a:extLst>
          </p:cNvPr>
          <p:cNvGrpSpPr/>
          <p:nvPr userDrawn="1"/>
        </p:nvGrpSpPr>
        <p:grpSpPr>
          <a:xfrm>
            <a:off x="12443133" y="-1"/>
            <a:ext cx="2670175" cy="6875997"/>
            <a:chOff x="12443133" y="-1"/>
            <a:chExt cx="2670175" cy="6875997"/>
          </a:xfrm>
        </p:grpSpPr>
        <p:sp>
          <p:nvSpPr>
            <p:cNvPr id="37" name="Tekstvak 36">
              <a:extLst>
                <a:ext uri="{FF2B5EF4-FFF2-40B4-BE49-F238E27FC236}">
                  <a16:creationId xmlns:a16="http://schemas.microsoft.com/office/drawing/2014/main" id="{CDEE6DAA-D3E9-994A-BF79-36B6940AF728}"/>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38" name="Afbeelding 37">
              <a:extLst>
                <a:ext uri="{FF2B5EF4-FFF2-40B4-BE49-F238E27FC236}">
                  <a16:creationId xmlns:a16="http://schemas.microsoft.com/office/drawing/2014/main" id="{C15F8EF2-025D-E743-B288-22DEC2E2961B}"/>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9" name="Afbeelding 38">
            <a:extLst>
              <a:ext uri="{FF2B5EF4-FFF2-40B4-BE49-F238E27FC236}">
                <a16:creationId xmlns:a16="http://schemas.microsoft.com/office/drawing/2014/main" id="{0BF5439D-B8A0-8F45-B765-02A74F24C85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12">
            <a:extLst>
              <a:ext uri="{FF2B5EF4-FFF2-40B4-BE49-F238E27FC236}">
                <a16:creationId xmlns:a16="http://schemas.microsoft.com/office/drawing/2014/main" id="{24FC256D-FAD4-D64C-8E0E-51A0927FF3F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15268970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Header Long - 7 Circles">
    <p:spTree>
      <p:nvGrpSpPr>
        <p:cNvPr id="1" name=""/>
        <p:cNvGrpSpPr/>
        <p:nvPr/>
      </p:nvGrpSpPr>
      <p:grpSpPr>
        <a:xfrm>
          <a:off x="0" y="0"/>
          <a:ext cx="0" cy="0"/>
          <a:chOff x="0" y="0"/>
          <a:chExt cx="0" cy="0"/>
        </a:xfrm>
      </p:grpSpPr>
      <p:sp>
        <p:nvSpPr>
          <p:cNvPr id="32" name="Tekstvak 16">
            <a:extLst>
              <a:ext uri="{FF2B5EF4-FFF2-40B4-BE49-F238E27FC236}">
                <a16:creationId xmlns:a16="http://schemas.microsoft.com/office/drawing/2014/main" id="{939008FB-1F88-4C90-B9F8-A596458B308C}"/>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93932D01-3CFC-4490-B188-71270B30DF47}"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29" name="Tijdelijke aanduiding voor tekst 10">
            <a:extLst>
              <a:ext uri="{FF2B5EF4-FFF2-40B4-BE49-F238E27FC236}">
                <a16:creationId xmlns:a16="http://schemas.microsoft.com/office/drawing/2014/main" id="{D57B0DCB-EF7C-1D41-AFDD-75CD52B7F806}"/>
              </a:ext>
            </a:extLst>
          </p:cNvPr>
          <p:cNvSpPr>
            <a:spLocks noGrp="1"/>
          </p:cNvSpPr>
          <p:nvPr>
            <p:ph type="body" sz="quarter" idx="40" hasCustomPrompt="1"/>
          </p:nvPr>
        </p:nvSpPr>
        <p:spPr>
          <a:xfrm>
            <a:off x="1354192" y="3512635"/>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0" name="Tijdelijke aanduiding voor afbeelding 29">
            <a:extLst>
              <a:ext uri="{FF2B5EF4-FFF2-40B4-BE49-F238E27FC236}">
                <a16:creationId xmlns:a16="http://schemas.microsoft.com/office/drawing/2014/main" id="{42028FAD-5F72-5D4F-B10F-623637BD5D0F}"/>
              </a:ext>
            </a:extLst>
          </p:cNvPr>
          <p:cNvSpPr>
            <a:spLocks noGrp="1"/>
          </p:cNvSpPr>
          <p:nvPr>
            <p:ph type="pic" sz="quarter" idx="41"/>
          </p:nvPr>
        </p:nvSpPr>
        <p:spPr>
          <a:xfrm>
            <a:off x="1643936"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4" name="Tijdelijke aanduiding voor tekst 10">
            <a:extLst>
              <a:ext uri="{FF2B5EF4-FFF2-40B4-BE49-F238E27FC236}">
                <a16:creationId xmlns:a16="http://schemas.microsoft.com/office/drawing/2014/main" id="{E32FD845-72AE-6F43-8B90-AA14946C913A}"/>
              </a:ext>
            </a:extLst>
          </p:cNvPr>
          <p:cNvSpPr>
            <a:spLocks noGrp="1"/>
          </p:cNvSpPr>
          <p:nvPr>
            <p:ph type="body" sz="quarter" idx="42" hasCustomPrompt="1"/>
          </p:nvPr>
        </p:nvSpPr>
        <p:spPr>
          <a:xfrm>
            <a:off x="2669078" y="5786438"/>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5" name="Tijdelijke aanduiding voor afbeelding 27">
            <a:extLst>
              <a:ext uri="{FF2B5EF4-FFF2-40B4-BE49-F238E27FC236}">
                <a16:creationId xmlns:a16="http://schemas.microsoft.com/office/drawing/2014/main" id="{9468161F-BD03-7946-A0FE-4189E76721E7}"/>
              </a:ext>
            </a:extLst>
          </p:cNvPr>
          <p:cNvSpPr>
            <a:spLocks noGrp="1"/>
          </p:cNvSpPr>
          <p:nvPr>
            <p:ph type="pic" sz="quarter" idx="43"/>
          </p:nvPr>
        </p:nvSpPr>
        <p:spPr>
          <a:xfrm>
            <a:off x="2953734"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6" name="Tijdelijke aanduiding voor tekst 10">
            <a:extLst>
              <a:ext uri="{FF2B5EF4-FFF2-40B4-BE49-F238E27FC236}">
                <a16:creationId xmlns:a16="http://schemas.microsoft.com/office/drawing/2014/main" id="{FB82ECAA-9C8E-B448-9A46-DAB57B3AD7E6}"/>
              </a:ext>
            </a:extLst>
          </p:cNvPr>
          <p:cNvSpPr>
            <a:spLocks noGrp="1"/>
          </p:cNvSpPr>
          <p:nvPr>
            <p:ph type="body" sz="quarter" idx="44" hasCustomPrompt="1"/>
          </p:nvPr>
        </p:nvSpPr>
        <p:spPr>
          <a:xfrm>
            <a:off x="3973787" y="3512635"/>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7" name="Tijdelijke aanduiding voor afbeelding 29">
            <a:extLst>
              <a:ext uri="{FF2B5EF4-FFF2-40B4-BE49-F238E27FC236}">
                <a16:creationId xmlns:a16="http://schemas.microsoft.com/office/drawing/2014/main" id="{83D4A751-6881-2541-9260-BE904FD0CE22}"/>
              </a:ext>
            </a:extLst>
          </p:cNvPr>
          <p:cNvSpPr>
            <a:spLocks noGrp="1"/>
          </p:cNvSpPr>
          <p:nvPr>
            <p:ph type="pic" sz="quarter" idx="45"/>
          </p:nvPr>
        </p:nvSpPr>
        <p:spPr>
          <a:xfrm>
            <a:off x="4263532"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6" name="Tijdelijke aanduiding voor tekst 10">
            <a:extLst>
              <a:ext uri="{FF2B5EF4-FFF2-40B4-BE49-F238E27FC236}">
                <a16:creationId xmlns:a16="http://schemas.microsoft.com/office/drawing/2014/main" id="{26689866-06FF-1645-A4C7-A4FA2585C5F5}"/>
              </a:ext>
            </a:extLst>
          </p:cNvPr>
          <p:cNvSpPr>
            <a:spLocks noGrp="1"/>
          </p:cNvSpPr>
          <p:nvPr>
            <p:ph type="body" sz="quarter" idx="46" hasCustomPrompt="1"/>
          </p:nvPr>
        </p:nvSpPr>
        <p:spPr>
          <a:xfrm>
            <a:off x="5283586" y="5793710"/>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47" name="Tijdelijke aanduiding voor afbeelding 27">
            <a:extLst>
              <a:ext uri="{FF2B5EF4-FFF2-40B4-BE49-F238E27FC236}">
                <a16:creationId xmlns:a16="http://schemas.microsoft.com/office/drawing/2014/main" id="{49CDA357-94FB-A24C-A3EB-93A48D6D0BFF}"/>
              </a:ext>
            </a:extLst>
          </p:cNvPr>
          <p:cNvSpPr>
            <a:spLocks noGrp="1"/>
          </p:cNvSpPr>
          <p:nvPr>
            <p:ph type="pic" sz="quarter" idx="47"/>
          </p:nvPr>
        </p:nvSpPr>
        <p:spPr>
          <a:xfrm>
            <a:off x="5573330"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8" name="Tijdelijke aanduiding voor tekst 10">
            <a:extLst>
              <a:ext uri="{FF2B5EF4-FFF2-40B4-BE49-F238E27FC236}">
                <a16:creationId xmlns:a16="http://schemas.microsoft.com/office/drawing/2014/main" id="{3E884C3F-E450-C949-99F8-4D51A83A07A8}"/>
              </a:ext>
            </a:extLst>
          </p:cNvPr>
          <p:cNvSpPr>
            <a:spLocks noGrp="1"/>
          </p:cNvSpPr>
          <p:nvPr>
            <p:ph type="body" sz="quarter" idx="48" hasCustomPrompt="1"/>
          </p:nvPr>
        </p:nvSpPr>
        <p:spPr>
          <a:xfrm>
            <a:off x="6593382" y="3512635"/>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49" name="Tijdelijke aanduiding voor afbeelding 29">
            <a:extLst>
              <a:ext uri="{FF2B5EF4-FFF2-40B4-BE49-F238E27FC236}">
                <a16:creationId xmlns:a16="http://schemas.microsoft.com/office/drawing/2014/main" id="{C79B08A3-9FF5-4D47-B311-6E12594157FF}"/>
              </a:ext>
            </a:extLst>
          </p:cNvPr>
          <p:cNvSpPr>
            <a:spLocks noGrp="1"/>
          </p:cNvSpPr>
          <p:nvPr>
            <p:ph type="pic" sz="quarter" idx="49"/>
          </p:nvPr>
        </p:nvSpPr>
        <p:spPr>
          <a:xfrm>
            <a:off x="6883128"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50" name="Tijdelijke aanduiding voor tekst 10">
            <a:extLst>
              <a:ext uri="{FF2B5EF4-FFF2-40B4-BE49-F238E27FC236}">
                <a16:creationId xmlns:a16="http://schemas.microsoft.com/office/drawing/2014/main" id="{E88AB3D8-8829-134A-ABC5-013A3E3664B7}"/>
              </a:ext>
            </a:extLst>
          </p:cNvPr>
          <p:cNvSpPr>
            <a:spLocks noGrp="1"/>
          </p:cNvSpPr>
          <p:nvPr>
            <p:ph type="body" sz="quarter" idx="50" hasCustomPrompt="1"/>
          </p:nvPr>
        </p:nvSpPr>
        <p:spPr>
          <a:xfrm>
            <a:off x="7903182" y="5786438"/>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51" name="Tijdelijke aanduiding voor afbeelding 27">
            <a:extLst>
              <a:ext uri="{FF2B5EF4-FFF2-40B4-BE49-F238E27FC236}">
                <a16:creationId xmlns:a16="http://schemas.microsoft.com/office/drawing/2014/main" id="{E6661417-21A3-4941-AFB6-6FEBFCBCF105}"/>
              </a:ext>
            </a:extLst>
          </p:cNvPr>
          <p:cNvSpPr>
            <a:spLocks noGrp="1"/>
          </p:cNvSpPr>
          <p:nvPr>
            <p:ph type="pic" sz="quarter" idx="51"/>
          </p:nvPr>
        </p:nvSpPr>
        <p:spPr>
          <a:xfrm>
            <a:off x="8192926"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52" name="Tijdelijke aanduiding voor tekst 10">
            <a:extLst>
              <a:ext uri="{FF2B5EF4-FFF2-40B4-BE49-F238E27FC236}">
                <a16:creationId xmlns:a16="http://schemas.microsoft.com/office/drawing/2014/main" id="{717AF2AA-B826-CA48-8B8B-3D61C2502355}"/>
              </a:ext>
            </a:extLst>
          </p:cNvPr>
          <p:cNvSpPr>
            <a:spLocks noGrp="1"/>
          </p:cNvSpPr>
          <p:nvPr>
            <p:ph type="body" sz="quarter" idx="52" hasCustomPrompt="1"/>
          </p:nvPr>
        </p:nvSpPr>
        <p:spPr>
          <a:xfrm>
            <a:off x="9212977" y="3512635"/>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53" name="Tijdelijke aanduiding voor afbeelding 29">
            <a:extLst>
              <a:ext uri="{FF2B5EF4-FFF2-40B4-BE49-F238E27FC236}">
                <a16:creationId xmlns:a16="http://schemas.microsoft.com/office/drawing/2014/main" id="{B08AAC2E-FECA-F949-BBE4-D3D0196D23F0}"/>
              </a:ext>
            </a:extLst>
          </p:cNvPr>
          <p:cNvSpPr>
            <a:spLocks noGrp="1"/>
          </p:cNvSpPr>
          <p:nvPr>
            <p:ph type="pic" sz="quarter" idx="53"/>
          </p:nvPr>
        </p:nvSpPr>
        <p:spPr>
          <a:xfrm>
            <a:off x="9502721"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26" name="Groep 25">
            <a:extLst>
              <a:ext uri="{FF2B5EF4-FFF2-40B4-BE49-F238E27FC236}">
                <a16:creationId xmlns:a16="http://schemas.microsoft.com/office/drawing/2014/main" id="{125CF823-B519-CC4E-9AAE-F473CBA117C6}"/>
              </a:ext>
            </a:extLst>
          </p:cNvPr>
          <p:cNvGrpSpPr/>
          <p:nvPr userDrawn="1"/>
        </p:nvGrpSpPr>
        <p:grpSpPr>
          <a:xfrm>
            <a:off x="12443133" y="-1"/>
            <a:ext cx="2670175" cy="6875997"/>
            <a:chOff x="12443133" y="-1"/>
            <a:chExt cx="2670175" cy="6875997"/>
          </a:xfrm>
        </p:grpSpPr>
        <p:sp>
          <p:nvSpPr>
            <p:cNvPr id="27" name="Tekstvak 26">
              <a:extLst>
                <a:ext uri="{FF2B5EF4-FFF2-40B4-BE49-F238E27FC236}">
                  <a16:creationId xmlns:a16="http://schemas.microsoft.com/office/drawing/2014/main" id="{22EAEFDE-48B8-544C-81E1-EDE71EBD77D2}"/>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28" name="Afbeelding 27">
              <a:extLst>
                <a:ext uri="{FF2B5EF4-FFF2-40B4-BE49-F238E27FC236}">
                  <a16:creationId xmlns:a16="http://schemas.microsoft.com/office/drawing/2014/main" id="{9243AFDD-58F7-F34E-BC23-D9FA85B44351}"/>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1" name="Afbeelding 30">
            <a:extLst>
              <a:ext uri="{FF2B5EF4-FFF2-40B4-BE49-F238E27FC236}">
                <a16:creationId xmlns:a16="http://schemas.microsoft.com/office/drawing/2014/main" id="{B707B231-783B-B443-ABDB-DA6B66E55BB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2">
            <a:extLst>
              <a:ext uri="{FF2B5EF4-FFF2-40B4-BE49-F238E27FC236}">
                <a16:creationId xmlns:a16="http://schemas.microsoft.com/office/drawing/2014/main" id="{9B19429A-C5DF-2344-93DF-A252106EE74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6992779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Header Long - 8 Circles">
    <p:spTree>
      <p:nvGrpSpPr>
        <p:cNvPr id="1" name=""/>
        <p:cNvGrpSpPr/>
        <p:nvPr/>
      </p:nvGrpSpPr>
      <p:grpSpPr>
        <a:xfrm>
          <a:off x="0" y="0"/>
          <a:ext cx="0" cy="0"/>
          <a:chOff x="0" y="0"/>
          <a:chExt cx="0" cy="0"/>
        </a:xfrm>
      </p:grpSpPr>
      <p:sp>
        <p:nvSpPr>
          <p:cNvPr id="31" name="Tekstvak 16">
            <a:extLst>
              <a:ext uri="{FF2B5EF4-FFF2-40B4-BE49-F238E27FC236}">
                <a16:creationId xmlns:a16="http://schemas.microsoft.com/office/drawing/2014/main" id="{D62EF924-9F71-4DC1-9A9A-53DEC42BEC34}"/>
              </a:ext>
            </a:extLst>
          </p:cNvPr>
          <p:cNvSpPr txBox="1"/>
          <p:nvPr userDrawn="1"/>
        </p:nvSpPr>
        <p:spPr bwMode="auto">
          <a:xfrm>
            <a:off x="-2921308" y="1"/>
            <a:ext cx="2670175" cy="6857999"/>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63A7D98B-9AD9-4ED2-BD0E-93676294B9E2}"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p>
            <a:r>
              <a:rPr lang="de-DE" noProof="0"/>
              <a:t>Mastertitelformat bearbeiten</a:t>
            </a:r>
            <a:endParaRPr lang="en-GB" noProof="0" dirty="0"/>
          </a:p>
        </p:txBody>
      </p:sp>
      <p:sp>
        <p:nvSpPr>
          <p:cNvPr id="27" name="Tijdelijke aanduiding voor tekst 10">
            <a:extLst>
              <a:ext uri="{FF2B5EF4-FFF2-40B4-BE49-F238E27FC236}">
                <a16:creationId xmlns:a16="http://schemas.microsoft.com/office/drawing/2014/main" id="{3223D7C0-F0F7-DC4B-BDF9-60FEF5B911F3}"/>
              </a:ext>
            </a:extLst>
          </p:cNvPr>
          <p:cNvSpPr>
            <a:spLocks noGrp="1"/>
          </p:cNvSpPr>
          <p:nvPr>
            <p:ph type="body" sz="quarter" idx="38" hasCustomPrompt="1"/>
          </p:nvPr>
        </p:nvSpPr>
        <p:spPr>
          <a:xfrm>
            <a:off x="1354192" y="5786438"/>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28" name="Tijdelijke aanduiding voor afbeelding 27">
            <a:extLst>
              <a:ext uri="{FF2B5EF4-FFF2-40B4-BE49-F238E27FC236}">
                <a16:creationId xmlns:a16="http://schemas.microsoft.com/office/drawing/2014/main" id="{8A94FC41-BB7D-EE43-A850-AE4F52D9BEE6}"/>
              </a:ext>
            </a:extLst>
          </p:cNvPr>
          <p:cNvSpPr>
            <a:spLocks noGrp="1"/>
          </p:cNvSpPr>
          <p:nvPr>
            <p:ph type="pic" sz="quarter" idx="39"/>
          </p:nvPr>
        </p:nvSpPr>
        <p:spPr>
          <a:xfrm>
            <a:off x="1643936"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29" name="Tijdelijke aanduiding voor tekst 10">
            <a:extLst>
              <a:ext uri="{FF2B5EF4-FFF2-40B4-BE49-F238E27FC236}">
                <a16:creationId xmlns:a16="http://schemas.microsoft.com/office/drawing/2014/main" id="{D57B0DCB-EF7C-1D41-AFDD-75CD52B7F806}"/>
              </a:ext>
            </a:extLst>
          </p:cNvPr>
          <p:cNvSpPr>
            <a:spLocks noGrp="1"/>
          </p:cNvSpPr>
          <p:nvPr>
            <p:ph type="body" sz="quarter" idx="40" hasCustomPrompt="1"/>
          </p:nvPr>
        </p:nvSpPr>
        <p:spPr>
          <a:xfrm>
            <a:off x="1354192" y="3512635"/>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0" name="Tijdelijke aanduiding voor afbeelding 29">
            <a:extLst>
              <a:ext uri="{FF2B5EF4-FFF2-40B4-BE49-F238E27FC236}">
                <a16:creationId xmlns:a16="http://schemas.microsoft.com/office/drawing/2014/main" id="{42028FAD-5F72-5D4F-B10F-623637BD5D0F}"/>
              </a:ext>
            </a:extLst>
          </p:cNvPr>
          <p:cNvSpPr>
            <a:spLocks noGrp="1"/>
          </p:cNvSpPr>
          <p:nvPr>
            <p:ph type="pic" sz="quarter" idx="41"/>
          </p:nvPr>
        </p:nvSpPr>
        <p:spPr>
          <a:xfrm>
            <a:off x="1643936"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4" name="Tijdelijke aanduiding voor tekst 10">
            <a:extLst>
              <a:ext uri="{FF2B5EF4-FFF2-40B4-BE49-F238E27FC236}">
                <a16:creationId xmlns:a16="http://schemas.microsoft.com/office/drawing/2014/main" id="{E32FD845-72AE-6F43-8B90-AA14946C913A}"/>
              </a:ext>
            </a:extLst>
          </p:cNvPr>
          <p:cNvSpPr>
            <a:spLocks noGrp="1"/>
          </p:cNvSpPr>
          <p:nvPr>
            <p:ph type="body" sz="quarter" idx="42" hasCustomPrompt="1"/>
          </p:nvPr>
        </p:nvSpPr>
        <p:spPr>
          <a:xfrm>
            <a:off x="3973787" y="5786438"/>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5" name="Tijdelijke aanduiding voor afbeelding 27">
            <a:extLst>
              <a:ext uri="{FF2B5EF4-FFF2-40B4-BE49-F238E27FC236}">
                <a16:creationId xmlns:a16="http://schemas.microsoft.com/office/drawing/2014/main" id="{9468161F-BD03-7946-A0FE-4189E76721E7}"/>
              </a:ext>
            </a:extLst>
          </p:cNvPr>
          <p:cNvSpPr>
            <a:spLocks noGrp="1"/>
          </p:cNvSpPr>
          <p:nvPr>
            <p:ph type="pic" sz="quarter" idx="43"/>
          </p:nvPr>
        </p:nvSpPr>
        <p:spPr>
          <a:xfrm>
            <a:off x="4263531"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6" name="Tijdelijke aanduiding voor tekst 10">
            <a:extLst>
              <a:ext uri="{FF2B5EF4-FFF2-40B4-BE49-F238E27FC236}">
                <a16:creationId xmlns:a16="http://schemas.microsoft.com/office/drawing/2014/main" id="{FB82ECAA-9C8E-B448-9A46-DAB57B3AD7E6}"/>
              </a:ext>
            </a:extLst>
          </p:cNvPr>
          <p:cNvSpPr>
            <a:spLocks noGrp="1"/>
          </p:cNvSpPr>
          <p:nvPr>
            <p:ph type="body" sz="quarter" idx="44" hasCustomPrompt="1"/>
          </p:nvPr>
        </p:nvSpPr>
        <p:spPr>
          <a:xfrm>
            <a:off x="3973787" y="3512635"/>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37" name="Tijdelijke aanduiding voor afbeelding 29">
            <a:extLst>
              <a:ext uri="{FF2B5EF4-FFF2-40B4-BE49-F238E27FC236}">
                <a16:creationId xmlns:a16="http://schemas.microsoft.com/office/drawing/2014/main" id="{83D4A751-6881-2541-9260-BE904FD0CE22}"/>
              </a:ext>
            </a:extLst>
          </p:cNvPr>
          <p:cNvSpPr>
            <a:spLocks noGrp="1"/>
          </p:cNvSpPr>
          <p:nvPr>
            <p:ph type="pic" sz="quarter" idx="45"/>
          </p:nvPr>
        </p:nvSpPr>
        <p:spPr>
          <a:xfrm>
            <a:off x="4263531"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6" name="Tijdelijke aanduiding voor tekst 10">
            <a:extLst>
              <a:ext uri="{FF2B5EF4-FFF2-40B4-BE49-F238E27FC236}">
                <a16:creationId xmlns:a16="http://schemas.microsoft.com/office/drawing/2014/main" id="{26689866-06FF-1645-A4C7-A4FA2585C5F5}"/>
              </a:ext>
            </a:extLst>
          </p:cNvPr>
          <p:cNvSpPr>
            <a:spLocks noGrp="1"/>
          </p:cNvSpPr>
          <p:nvPr>
            <p:ph type="body" sz="quarter" idx="46" hasCustomPrompt="1"/>
          </p:nvPr>
        </p:nvSpPr>
        <p:spPr>
          <a:xfrm>
            <a:off x="6593382" y="5786438"/>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47" name="Tijdelijke aanduiding voor afbeelding 27">
            <a:extLst>
              <a:ext uri="{FF2B5EF4-FFF2-40B4-BE49-F238E27FC236}">
                <a16:creationId xmlns:a16="http://schemas.microsoft.com/office/drawing/2014/main" id="{49CDA357-94FB-A24C-A3EB-93A48D6D0BFF}"/>
              </a:ext>
            </a:extLst>
          </p:cNvPr>
          <p:cNvSpPr>
            <a:spLocks noGrp="1"/>
          </p:cNvSpPr>
          <p:nvPr>
            <p:ph type="pic" sz="quarter" idx="47"/>
          </p:nvPr>
        </p:nvSpPr>
        <p:spPr>
          <a:xfrm>
            <a:off x="6883126"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8" name="Tijdelijke aanduiding voor tekst 10">
            <a:extLst>
              <a:ext uri="{FF2B5EF4-FFF2-40B4-BE49-F238E27FC236}">
                <a16:creationId xmlns:a16="http://schemas.microsoft.com/office/drawing/2014/main" id="{3E884C3F-E450-C949-99F8-4D51A83A07A8}"/>
              </a:ext>
            </a:extLst>
          </p:cNvPr>
          <p:cNvSpPr>
            <a:spLocks noGrp="1"/>
          </p:cNvSpPr>
          <p:nvPr>
            <p:ph type="body" sz="quarter" idx="48" hasCustomPrompt="1"/>
          </p:nvPr>
        </p:nvSpPr>
        <p:spPr>
          <a:xfrm>
            <a:off x="6593382" y="3512635"/>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49" name="Tijdelijke aanduiding voor afbeelding 29">
            <a:extLst>
              <a:ext uri="{FF2B5EF4-FFF2-40B4-BE49-F238E27FC236}">
                <a16:creationId xmlns:a16="http://schemas.microsoft.com/office/drawing/2014/main" id="{C79B08A3-9FF5-4D47-B311-6E12594157FF}"/>
              </a:ext>
            </a:extLst>
          </p:cNvPr>
          <p:cNvSpPr>
            <a:spLocks noGrp="1"/>
          </p:cNvSpPr>
          <p:nvPr>
            <p:ph type="pic" sz="quarter" idx="49"/>
          </p:nvPr>
        </p:nvSpPr>
        <p:spPr>
          <a:xfrm>
            <a:off x="6883126"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50" name="Tijdelijke aanduiding voor tekst 10">
            <a:extLst>
              <a:ext uri="{FF2B5EF4-FFF2-40B4-BE49-F238E27FC236}">
                <a16:creationId xmlns:a16="http://schemas.microsoft.com/office/drawing/2014/main" id="{E88AB3D8-8829-134A-ABC5-013A3E3664B7}"/>
              </a:ext>
            </a:extLst>
          </p:cNvPr>
          <p:cNvSpPr>
            <a:spLocks noGrp="1"/>
          </p:cNvSpPr>
          <p:nvPr>
            <p:ph type="body" sz="quarter" idx="50" hasCustomPrompt="1"/>
          </p:nvPr>
        </p:nvSpPr>
        <p:spPr>
          <a:xfrm>
            <a:off x="9212977" y="5786438"/>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51" name="Tijdelijke aanduiding voor afbeelding 27">
            <a:extLst>
              <a:ext uri="{FF2B5EF4-FFF2-40B4-BE49-F238E27FC236}">
                <a16:creationId xmlns:a16="http://schemas.microsoft.com/office/drawing/2014/main" id="{E6661417-21A3-4941-AFB6-6FEBFCBCF105}"/>
              </a:ext>
            </a:extLst>
          </p:cNvPr>
          <p:cNvSpPr>
            <a:spLocks noGrp="1"/>
          </p:cNvSpPr>
          <p:nvPr>
            <p:ph type="pic" sz="quarter" idx="51"/>
          </p:nvPr>
        </p:nvSpPr>
        <p:spPr>
          <a:xfrm>
            <a:off x="9502721" y="4096253"/>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52" name="Tijdelijke aanduiding voor tekst 10">
            <a:extLst>
              <a:ext uri="{FF2B5EF4-FFF2-40B4-BE49-F238E27FC236}">
                <a16:creationId xmlns:a16="http://schemas.microsoft.com/office/drawing/2014/main" id="{717AF2AA-B826-CA48-8B8B-3D61C2502355}"/>
              </a:ext>
            </a:extLst>
          </p:cNvPr>
          <p:cNvSpPr>
            <a:spLocks noGrp="1"/>
          </p:cNvSpPr>
          <p:nvPr>
            <p:ph type="body" sz="quarter" idx="52" hasCustomPrompt="1"/>
          </p:nvPr>
        </p:nvSpPr>
        <p:spPr>
          <a:xfrm>
            <a:off x="9212977" y="3512635"/>
            <a:ext cx="2185088" cy="288926"/>
          </a:xfrm>
          <a:prstGeom prst="rect">
            <a:avLst/>
          </a:prstGeom>
        </p:spPr>
        <p:txBody>
          <a:bodyPr>
            <a:noAutofit/>
          </a:bodyPr>
          <a:lstStyle>
            <a:lvl1pPr marL="11113" indent="-11113" algn="ctr">
              <a:buNone/>
              <a:tabLst/>
              <a:defRPr sz="1400" b="1"/>
            </a:lvl1pPr>
          </a:lstStyle>
          <a:p>
            <a:pPr lvl="0"/>
            <a:r>
              <a:rPr lang="en-GB" noProof="0" dirty="0"/>
              <a:t>Click here</a:t>
            </a:r>
          </a:p>
        </p:txBody>
      </p:sp>
      <p:sp>
        <p:nvSpPr>
          <p:cNvPr id="53" name="Tijdelijke aanduiding voor afbeelding 29">
            <a:extLst>
              <a:ext uri="{FF2B5EF4-FFF2-40B4-BE49-F238E27FC236}">
                <a16:creationId xmlns:a16="http://schemas.microsoft.com/office/drawing/2014/main" id="{B08AAC2E-FECA-F949-BBE4-D3D0196D23F0}"/>
              </a:ext>
            </a:extLst>
          </p:cNvPr>
          <p:cNvSpPr>
            <a:spLocks noGrp="1"/>
          </p:cNvSpPr>
          <p:nvPr>
            <p:ph type="pic" sz="quarter" idx="53"/>
          </p:nvPr>
        </p:nvSpPr>
        <p:spPr>
          <a:xfrm>
            <a:off x="9502721" y="1822450"/>
            <a:ext cx="1605600" cy="1606550"/>
          </a:xfrm>
          <a:prstGeom prst="ellipse">
            <a:avLst/>
          </a:prstGeom>
          <a:solidFill>
            <a:srgbClr val="EAEEF0"/>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grpSp>
        <p:nvGrpSpPr>
          <p:cNvPr id="32" name="Groep 31">
            <a:extLst>
              <a:ext uri="{FF2B5EF4-FFF2-40B4-BE49-F238E27FC236}">
                <a16:creationId xmlns:a16="http://schemas.microsoft.com/office/drawing/2014/main" id="{702F00C4-075F-5E4A-A222-75DF5AE5B1CC}"/>
              </a:ext>
            </a:extLst>
          </p:cNvPr>
          <p:cNvGrpSpPr/>
          <p:nvPr userDrawn="1"/>
        </p:nvGrpSpPr>
        <p:grpSpPr>
          <a:xfrm>
            <a:off x="12443133" y="-1"/>
            <a:ext cx="2670175" cy="6875997"/>
            <a:chOff x="12443133" y="-1"/>
            <a:chExt cx="2670175" cy="6875997"/>
          </a:xfrm>
        </p:grpSpPr>
        <p:sp>
          <p:nvSpPr>
            <p:cNvPr id="33" name="Tekstvak 32">
              <a:extLst>
                <a:ext uri="{FF2B5EF4-FFF2-40B4-BE49-F238E27FC236}">
                  <a16:creationId xmlns:a16="http://schemas.microsoft.com/office/drawing/2014/main" id="{876F167B-E0A6-6A46-A3FC-A3B6AA4C5505}"/>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38" name="Afbeelding 37">
              <a:extLst>
                <a:ext uri="{FF2B5EF4-FFF2-40B4-BE49-F238E27FC236}">
                  <a16:creationId xmlns:a16="http://schemas.microsoft.com/office/drawing/2014/main" id="{D62AE81A-F669-0943-B023-F0043D69EF71}"/>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9" name="Afbeelding 38">
            <a:extLst>
              <a:ext uri="{FF2B5EF4-FFF2-40B4-BE49-F238E27FC236}">
                <a16:creationId xmlns:a16="http://schemas.microsoft.com/office/drawing/2014/main" id="{002363C5-2FBD-4A43-A66F-321CC338417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12">
            <a:extLst>
              <a:ext uri="{FF2B5EF4-FFF2-40B4-BE49-F238E27FC236}">
                <a16:creationId xmlns:a16="http://schemas.microsoft.com/office/drawing/2014/main" id="{EB337616-D946-B34C-9F16-CA3EE2A7E86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9" y="1212054"/>
            <a:ext cx="1689394" cy="312049"/>
          </a:xfrm>
          <a:prstGeom prst="rect">
            <a:avLst/>
          </a:prstGeom>
        </p:spPr>
      </p:pic>
    </p:spTree>
    <p:extLst>
      <p:ext uri="{BB962C8B-B14F-4D97-AF65-F5344CB8AC3E}">
        <p14:creationId xmlns:p14="http://schemas.microsoft.com/office/powerpoint/2010/main" val="40316358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Header Long - 8 Images on Image">
    <p:spTree>
      <p:nvGrpSpPr>
        <p:cNvPr id="1" name=""/>
        <p:cNvGrpSpPr/>
        <p:nvPr/>
      </p:nvGrpSpPr>
      <p:grpSpPr>
        <a:xfrm>
          <a:off x="0" y="0"/>
          <a:ext cx="0" cy="0"/>
          <a:chOff x="0" y="0"/>
          <a:chExt cx="0" cy="0"/>
        </a:xfrm>
      </p:grpSpPr>
      <p:sp>
        <p:nvSpPr>
          <p:cNvPr id="32" name="Freeform: Shape 26">
            <a:extLst>
              <a:ext uri="{FF2B5EF4-FFF2-40B4-BE49-F238E27FC236}">
                <a16:creationId xmlns:a16="http://schemas.microsoft.com/office/drawing/2014/main" id="{90341F2B-A9DD-524C-A0FB-C999CAD0E0EE}"/>
              </a:ext>
            </a:extLst>
          </p:cNvPr>
          <p:cNvSpPr>
            <a:spLocks noGrp="1"/>
          </p:cNvSpPr>
          <p:nvPr>
            <p:ph type="pic" sz="quarter" idx="54"/>
          </p:nvPr>
        </p:nvSpPr>
        <p:spPr>
          <a:xfrm>
            <a:off x="7" y="5"/>
            <a:ext cx="12191995" cy="6875997"/>
          </a:xfrm>
          <a:custGeom>
            <a:avLst/>
            <a:gdLst>
              <a:gd name="connsiteX0" fmla="*/ 11039468 w 12191995"/>
              <a:gd name="connsiteY0" fmla="*/ 6562722 h 6875997"/>
              <a:gd name="connsiteX1" fmla="*/ 11033982 w 12191995"/>
              <a:gd name="connsiteY1" fmla="*/ 6564080 h 6875997"/>
              <a:gd name="connsiteX2" fmla="*/ 10915338 w 12191995"/>
              <a:gd name="connsiteY2" fmla="*/ 6583760 h 6875997"/>
              <a:gd name="connsiteX3" fmla="*/ 10909852 w 12191995"/>
              <a:gd name="connsiteY3" fmla="*/ 6585796 h 6875997"/>
              <a:gd name="connsiteX4" fmla="*/ 10878991 w 12191995"/>
              <a:gd name="connsiteY4" fmla="*/ 6608869 h 6875997"/>
              <a:gd name="connsiteX5" fmla="*/ 10993519 w 12191995"/>
              <a:gd name="connsiteY5" fmla="*/ 6608869 h 6875997"/>
              <a:gd name="connsiteX6" fmla="*/ 10981861 w 12191995"/>
              <a:gd name="connsiteY6" fmla="*/ 6615655 h 6875997"/>
              <a:gd name="connsiteX7" fmla="*/ 10894764 w 12191995"/>
              <a:gd name="connsiteY7" fmla="*/ 6630585 h 6875997"/>
              <a:gd name="connsiteX8" fmla="*/ 10889278 w 12191995"/>
              <a:gd name="connsiteY8" fmla="*/ 6632621 h 6875997"/>
              <a:gd name="connsiteX9" fmla="*/ 10868018 w 12191995"/>
              <a:gd name="connsiteY9" fmla="*/ 6648908 h 6875997"/>
              <a:gd name="connsiteX10" fmla="*/ 10937284 w 12191995"/>
              <a:gd name="connsiteY10" fmla="*/ 6644157 h 6875997"/>
              <a:gd name="connsiteX11" fmla="*/ 11039468 w 12191995"/>
              <a:gd name="connsiteY11" fmla="*/ 6562722 h 6875997"/>
              <a:gd name="connsiteX12" fmla="*/ 10791888 w 12191995"/>
              <a:gd name="connsiteY12" fmla="*/ 6557959 h 6875997"/>
              <a:gd name="connsiteX13" fmla="*/ 10790507 w 12191995"/>
              <a:gd name="connsiteY13" fmla="*/ 6594018 h 6875997"/>
              <a:gd name="connsiteX14" fmla="*/ 10866431 w 12191995"/>
              <a:gd name="connsiteY14" fmla="*/ 6648447 h 6875997"/>
              <a:gd name="connsiteX15" fmla="*/ 10866431 w 12191995"/>
              <a:gd name="connsiteY15" fmla="*/ 6557959 h 6875997"/>
              <a:gd name="connsiteX16" fmla="*/ 10791888 w 12191995"/>
              <a:gd name="connsiteY16" fmla="*/ 6557959 h 6875997"/>
              <a:gd name="connsiteX17" fmla="*/ 11578425 w 12191995"/>
              <a:gd name="connsiteY17" fmla="*/ 6519858 h 6875997"/>
              <a:gd name="connsiteX18" fmla="*/ 11604619 w 12191995"/>
              <a:gd name="connsiteY18" fmla="*/ 6543009 h 6875997"/>
              <a:gd name="connsiteX19" fmla="*/ 11599918 w 12191995"/>
              <a:gd name="connsiteY19" fmla="*/ 6551608 h 6875997"/>
              <a:gd name="connsiteX20" fmla="*/ 11552231 w 12191995"/>
              <a:gd name="connsiteY20" fmla="*/ 6551608 h 6875997"/>
              <a:gd name="connsiteX21" fmla="*/ 11552903 w 12191995"/>
              <a:gd name="connsiteY21" fmla="*/ 6543671 h 6875997"/>
              <a:gd name="connsiteX22" fmla="*/ 11578425 w 12191995"/>
              <a:gd name="connsiteY22" fmla="*/ 6519858 h 6875997"/>
              <a:gd name="connsiteX23" fmla="*/ 11218855 w 12191995"/>
              <a:gd name="connsiteY23" fmla="*/ 6519858 h 6875997"/>
              <a:gd name="connsiteX24" fmla="*/ 11245843 w 12191995"/>
              <a:gd name="connsiteY24" fmla="*/ 6543009 h 6875997"/>
              <a:gd name="connsiteX25" fmla="*/ 11240307 w 12191995"/>
              <a:gd name="connsiteY25" fmla="*/ 6551608 h 6875997"/>
              <a:gd name="connsiteX26" fmla="*/ 11191868 w 12191995"/>
              <a:gd name="connsiteY26" fmla="*/ 6551608 h 6875997"/>
              <a:gd name="connsiteX27" fmla="*/ 11191868 w 12191995"/>
              <a:gd name="connsiteY27" fmla="*/ 6543671 h 6875997"/>
              <a:gd name="connsiteX28" fmla="*/ 11218855 w 12191995"/>
              <a:gd name="connsiteY28" fmla="*/ 6519858 h 6875997"/>
              <a:gd name="connsiteX29" fmla="*/ 11625256 w 12191995"/>
              <a:gd name="connsiteY29" fmla="*/ 6503984 h 6875997"/>
              <a:gd name="connsiteX30" fmla="*/ 11640376 w 12191995"/>
              <a:gd name="connsiteY30" fmla="*/ 6520415 h 6875997"/>
              <a:gd name="connsiteX31" fmla="*/ 11674052 w 12191995"/>
              <a:gd name="connsiteY31" fmla="*/ 6520415 h 6875997"/>
              <a:gd name="connsiteX32" fmla="*/ 11674052 w 12191995"/>
              <a:gd name="connsiteY32" fmla="*/ 6613522 h 6875997"/>
              <a:gd name="connsiteX33" fmla="*/ 11700169 w 12191995"/>
              <a:gd name="connsiteY33" fmla="*/ 6613522 h 6875997"/>
              <a:gd name="connsiteX34" fmla="*/ 11700169 w 12191995"/>
              <a:gd name="connsiteY34" fmla="*/ 6520415 h 6875997"/>
              <a:gd name="connsiteX35" fmla="*/ 11737969 w 12191995"/>
              <a:gd name="connsiteY35" fmla="*/ 6520415 h 6875997"/>
              <a:gd name="connsiteX36" fmla="*/ 11737969 w 12191995"/>
              <a:gd name="connsiteY36" fmla="*/ 6503984 h 6875997"/>
              <a:gd name="connsiteX37" fmla="*/ 11625256 w 12191995"/>
              <a:gd name="connsiteY37" fmla="*/ 6503984 h 6875997"/>
              <a:gd name="connsiteX38" fmla="*/ 11426949 w 12191995"/>
              <a:gd name="connsiteY38" fmla="*/ 6503984 h 6875997"/>
              <a:gd name="connsiteX39" fmla="*/ 11407768 w 12191995"/>
              <a:gd name="connsiteY39" fmla="*/ 6523153 h 6875997"/>
              <a:gd name="connsiteX40" fmla="*/ 11407768 w 12191995"/>
              <a:gd name="connsiteY40" fmla="*/ 6613522 h 6875997"/>
              <a:gd name="connsiteX41" fmla="*/ 11433799 w 12191995"/>
              <a:gd name="connsiteY41" fmla="*/ 6613522 h 6875997"/>
              <a:gd name="connsiteX42" fmla="*/ 11433799 w 12191995"/>
              <a:gd name="connsiteY42" fmla="*/ 6525207 h 6875997"/>
              <a:gd name="connsiteX43" fmla="*/ 11439279 w 12191995"/>
              <a:gd name="connsiteY43" fmla="*/ 6520415 h 6875997"/>
              <a:gd name="connsiteX44" fmla="*/ 11459830 w 12191995"/>
              <a:gd name="connsiteY44" fmla="*/ 6520415 h 6875997"/>
              <a:gd name="connsiteX45" fmla="*/ 11481750 w 12191995"/>
              <a:gd name="connsiteY45" fmla="*/ 6543692 h 6875997"/>
              <a:gd name="connsiteX46" fmla="*/ 11481750 w 12191995"/>
              <a:gd name="connsiteY46" fmla="*/ 6613522 h 6875997"/>
              <a:gd name="connsiteX47" fmla="*/ 11507781 w 12191995"/>
              <a:gd name="connsiteY47" fmla="*/ 6613522 h 6875997"/>
              <a:gd name="connsiteX48" fmla="*/ 11507781 w 12191995"/>
              <a:gd name="connsiteY48" fmla="*/ 6541638 h 6875997"/>
              <a:gd name="connsiteX49" fmla="*/ 11463940 w 12191995"/>
              <a:gd name="connsiteY49" fmla="*/ 6503984 h 6875997"/>
              <a:gd name="connsiteX50" fmla="*/ 11426949 w 12191995"/>
              <a:gd name="connsiteY50" fmla="*/ 6503984 h 6875997"/>
              <a:gd name="connsiteX51" fmla="*/ 11307887 w 12191995"/>
              <a:gd name="connsiteY51" fmla="*/ 6503984 h 6875997"/>
              <a:gd name="connsiteX52" fmla="*/ 11288706 w 12191995"/>
              <a:gd name="connsiteY52" fmla="*/ 6523153 h 6875997"/>
              <a:gd name="connsiteX53" fmla="*/ 11288706 w 12191995"/>
              <a:gd name="connsiteY53" fmla="*/ 6613522 h 6875997"/>
              <a:gd name="connsiteX54" fmla="*/ 11314737 w 12191995"/>
              <a:gd name="connsiteY54" fmla="*/ 6613522 h 6875997"/>
              <a:gd name="connsiteX55" fmla="*/ 11314737 w 12191995"/>
              <a:gd name="connsiteY55" fmla="*/ 6525207 h 6875997"/>
              <a:gd name="connsiteX56" fmla="*/ 11320217 w 12191995"/>
              <a:gd name="connsiteY56" fmla="*/ 6520415 h 6875997"/>
              <a:gd name="connsiteX57" fmla="*/ 11340768 w 12191995"/>
              <a:gd name="connsiteY57" fmla="*/ 6520415 h 6875997"/>
              <a:gd name="connsiteX58" fmla="*/ 11362688 w 12191995"/>
              <a:gd name="connsiteY58" fmla="*/ 6543692 h 6875997"/>
              <a:gd name="connsiteX59" fmla="*/ 11362688 w 12191995"/>
              <a:gd name="connsiteY59" fmla="*/ 6613522 h 6875997"/>
              <a:gd name="connsiteX60" fmla="*/ 11388719 w 12191995"/>
              <a:gd name="connsiteY60" fmla="*/ 6613522 h 6875997"/>
              <a:gd name="connsiteX61" fmla="*/ 11388719 w 12191995"/>
              <a:gd name="connsiteY61" fmla="*/ 6541638 h 6875997"/>
              <a:gd name="connsiteX62" fmla="*/ 11344878 w 12191995"/>
              <a:gd name="connsiteY62" fmla="*/ 6503984 h 6875997"/>
              <a:gd name="connsiteX63" fmla="*/ 11307887 w 12191995"/>
              <a:gd name="connsiteY63" fmla="*/ 6503984 h 6875997"/>
              <a:gd name="connsiteX64" fmla="*/ 11055343 w 12191995"/>
              <a:gd name="connsiteY64" fmla="*/ 6503984 h 6875997"/>
              <a:gd name="connsiteX65" fmla="*/ 11062856 w 12191995"/>
              <a:gd name="connsiteY65" fmla="*/ 6520415 h 6875997"/>
              <a:gd name="connsiteX66" fmla="*/ 11098372 w 12191995"/>
              <a:gd name="connsiteY66" fmla="*/ 6520415 h 6875997"/>
              <a:gd name="connsiteX67" fmla="*/ 11098372 w 12191995"/>
              <a:gd name="connsiteY67" fmla="*/ 6613522 h 6875997"/>
              <a:gd name="connsiteX68" fmla="*/ 11125008 w 12191995"/>
              <a:gd name="connsiteY68" fmla="*/ 6613522 h 6875997"/>
              <a:gd name="connsiteX69" fmla="*/ 11125008 w 12191995"/>
              <a:gd name="connsiteY69" fmla="*/ 6520415 h 6875997"/>
              <a:gd name="connsiteX70" fmla="*/ 11158475 w 12191995"/>
              <a:gd name="connsiteY70" fmla="*/ 6520415 h 6875997"/>
              <a:gd name="connsiteX71" fmla="*/ 11172818 w 12191995"/>
              <a:gd name="connsiteY71" fmla="*/ 6503984 h 6875997"/>
              <a:gd name="connsiteX72" fmla="*/ 11055343 w 12191995"/>
              <a:gd name="connsiteY72" fmla="*/ 6503984 h 6875997"/>
              <a:gd name="connsiteX73" fmla="*/ 11576751 w 12191995"/>
              <a:gd name="connsiteY73" fmla="*/ 6503134 h 6875997"/>
              <a:gd name="connsiteX74" fmla="*/ 11539183 w 12191995"/>
              <a:gd name="connsiteY74" fmla="*/ 6516912 h 6875997"/>
              <a:gd name="connsiteX75" fmla="*/ 11533022 w 12191995"/>
              <a:gd name="connsiteY75" fmla="*/ 6593792 h 6875997"/>
              <a:gd name="connsiteX76" fmla="*/ 11548083 w 12191995"/>
              <a:gd name="connsiteY76" fmla="*/ 6608760 h 6875997"/>
              <a:gd name="connsiteX77" fmla="*/ 11570675 w 12191995"/>
              <a:gd name="connsiteY77" fmla="*/ 6613522 h 6875997"/>
              <a:gd name="connsiteX78" fmla="*/ 11628183 w 12191995"/>
              <a:gd name="connsiteY78" fmla="*/ 6613522 h 6875997"/>
              <a:gd name="connsiteX79" fmla="*/ 11628183 w 12191995"/>
              <a:gd name="connsiteY79" fmla="*/ 6597874 h 6875997"/>
              <a:gd name="connsiteX80" fmla="*/ 11574783 w 12191995"/>
              <a:gd name="connsiteY80" fmla="*/ 6597874 h 6875997"/>
              <a:gd name="connsiteX81" fmla="*/ 11552876 w 12191995"/>
              <a:gd name="connsiteY81" fmla="*/ 6572020 h 6875997"/>
              <a:gd name="connsiteX82" fmla="*/ 11552191 w 12191995"/>
              <a:gd name="connsiteY82" fmla="*/ 6567938 h 6875997"/>
              <a:gd name="connsiteX83" fmla="*/ 11609698 w 12191995"/>
              <a:gd name="connsiteY83" fmla="*/ 6567938 h 6875997"/>
              <a:gd name="connsiteX84" fmla="*/ 11619283 w 12191995"/>
              <a:gd name="connsiteY84" fmla="*/ 6567258 h 6875997"/>
              <a:gd name="connsiteX85" fmla="*/ 11631606 w 12191995"/>
              <a:gd name="connsiteY85" fmla="*/ 6546847 h 6875997"/>
              <a:gd name="connsiteX86" fmla="*/ 11615860 w 12191995"/>
              <a:gd name="connsiteY86" fmla="*/ 6512829 h 6875997"/>
              <a:gd name="connsiteX87" fmla="*/ 11576751 w 12191995"/>
              <a:gd name="connsiteY87" fmla="*/ 6503134 h 6875997"/>
              <a:gd name="connsiteX88" fmla="*/ 11215941 w 12191995"/>
              <a:gd name="connsiteY88" fmla="*/ 6503134 h 6875997"/>
              <a:gd name="connsiteX89" fmla="*/ 11177481 w 12191995"/>
              <a:gd name="connsiteY89" fmla="*/ 6516912 h 6875997"/>
              <a:gd name="connsiteX90" fmla="*/ 11171231 w 12191995"/>
              <a:gd name="connsiteY90" fmla="*/ 6593792 h 6875997"/>
              <a:gd name="connsiteX91" fmla="*/ 11187205 w 12191995"/>
              <a:gd name="connsiteY91" fmla="*/ 6608760 h 6875997"/>
              <a:gd name="connsiteX92" fmla="*/ 11209430 w 12191995"/>
              <a:gd name="connsiteY92" fmla="*/ 6613522 h 6875997"/>
              <a:gd name="connsiteX93" fmla="*/ 11267770 w 12191995"/>
              <a:gd name="connsiteY93" fmla="*/ 6613522 h 6875997"/>
              <a:gd name="connsiteX94" fmla="*/ 11267770 w 12191995"/>
              <a:gd name="connsiteY94" fmla="*/ 6597874 h 6875997"/>
              <a:gd name="connsiteX95" fmla="*/ 11213597 w 12191995"/>
              <a:gd name="connsiteY95" fmla="*/ 6597874 h 6875997"/>
              <a:gd name="connsiteX96" fmla="*/ 11191372 w 12191995"/>
              <a:gd name="connsiteY96" fmla="*/ 6572020 h 6875997"/>
              <a:gd name="connsiteX97" fmla="*/ 11191372 w 12191995"/>
              <a:gd name="connsiteY97" fmla="*/ 6567938 h 6875997"/>
              <a:gd name="connsiteX98" fmla="*/ 11249713 w 12191995"/>
              <a:gd name="connsiteY98" fmla="*/ 6567938 h 6875997"/>
              <a:gd name="connsiteX99" fmla="*/ 11258741 w 12191995"/>
              <a:gd name="connsiteY99" fmla="*/ 6567258 h 6875997"/>
              <a:gd name="connsiteX100" fmla="*/ 11271243 w 12191995"/>
              <a:gd name="connsiteY100" fmla="*/ 6546847 h 6875997"/>
              <a:gd name="connsiteX101" fmla="*/ 11255963 w 12191995"/>
              <a:gd name="connsiteY101" fmla="*/ 6512829 h 6875997"/>
              <a:gd name="connsiteX102" fmla="*/ 11215941 w 12191995"/>
              <a:gd name="connsiteY102" fmla="*/ 6503134 h 6875997"/>
              <a:gd name="connsiteX103" fmla="*/ 10943122 w 12191995"/>
              <a:gd name="connsiteY103" fmla="*/ 6471560 h 6875997"/>
              <a:gd name="connsiteX104" fmla="*/ 10892671 w 12191995"/>
              <a:gd name="connsiteY104" fmla="*/ 6477989 h 6875997"/>
              <a:gd name="connsiteX105" fmla="*/ 10798168 w 12191995"/>
              <a:gd name="connsiteY105" fmla="*/ 6544289 h 6875997"/>
              <a:gd name="connsiteX106" fmla="*/ 10954988 w 12191995"/>
              <a:gd name="connsiteY106" fmla="*/ 6519683 h 6875997"/>
              <a:gd name="connsiteX107" fmla="*/ 10904313 w 12191995"/>
              <a:gd name="connsiteY107" fmla="*/ 6557959 h 6875997"/>
              <a:gd name="connsiteX108" fmla="*/ 11039904 w 12191995"/>
              <a:gd name="connsiteY108" fmla="*/ 6557959 h 6875997"/>
              <a:gd name="connsiteX109" fmla="*/ 11039904 w 12191995"/>
              <a:gd name="connsiteY109" fmla="*/ 6527885 h 6875997"/>
              <a:gd name="connsiteX110" fmla="*/ 10943122 w 12191995"/>
              <a:gd name="connsiteY110" fmla="*/ 6471560 h 6875997"/>
              <a:gd name="connsiteX111" fmla="*/ 387606 w 12191995"/>
              <a:gd name="connsiteY111" fmla="*/ 5558169 h 6875997"/>
              <a:gd name="connsiteX112" fmla="*/ 1034211 w 12191995"/>
              <a:gd name="connsiteY112" fmla="*/ 5558169 h 6875997"/>
              <a:gd name="connsiteX113" fmla="*/ 1034211 w 12191995"/>
              <a:gd name="connsiteY113" fmla="*/ 5592376 h 6875997"/>
              <a:gd name="connsiteX114" fmla="*/ 1068421 w 12191995"/>
              <a:gd name="connsiteY114" fmla="*/ 5592376 h 6875997"/>
              <a:gd name="connsiteX115" fmla="*/ 1068421 w 12191995"/>
              <a:gd name="connsiteY115" fmla="*/ 6239697 h 6875997"/>
              <a:gd name="connsiteX116" fmla="*/ 1034209 w 12191995"/>
              <a:gd name="connsiteY116" fmla="*/ 6239697 h 6875997"/>
              <a:gd name="connsiteX117" fmla="*/ 1034209 w 12191995"/>
              <a:gd name="connsiteY117" fmla="*/ 6273904 h 6875997"/>
              <a:gd name="connsiteX118" fmla="*/ 387605 w 12191995"/>
              <a:gd name="connsiteY118" fmla="*/ 6273904 h 6875997"/>
              <a:gd name="connsiteX119" fmla="*/ 387605 w 12191995"/>
              <a:gd name="connsiteY119" fmla="*/ 6239697 h 6875997"/>
              <a:gd name="connsiteX120" fmla="*/ 353402 w 12191995"/>
              <a:gd name="connsiteY120" fmla="*/ 6239697 h 6875997"/>
              <a:gd name="connsiteX121" fmla="*/ 353402 w 12191995"/>
              <a:gd name="connsiteY121" fmla="*/ 5592376 h 6875997"/>
              <a:gd name="connsiteX122" fmla="*/ 387606 w 12191995"/>
              <a:gd name="connsiteY122" fmla="*/ 5592376 h 6875997"/>
              <a:gd name="connsiteX123" fmla="*/ 0 w 12191995"/>
              <a:gd name="connsiteY123" fmla="*/ 5558169 h 6875997"/>
              <a:gd name="connsiteX124" fmla="*/ 315592 w 12191995"/>
              <a:gd name="connsiteY124" fmla="*/ 5558169 h 6875997"/>
              <a:gd name="connsiteX125" fmla="*/ 315592 w 12191995"/>
              <a:gd name="connsiteY125" fmla="*/ 5592376 h 6875997"/>
              <a:gd name="connsiteX126" fmla="*/ 349802 w 12191995"/>
              <a:gd name="connsiteY126" fmla="*/ 5592376 h 6875997"/>
              <a:gd name="connsiteX127" fmla="*/ 349802 w 12191995"/>
              <a:gd name="connsiteY127" fmla="*/ 6239697 h 6875997"/>
              <a:gd name="connsiteX128" fmla="*/ 315591 w 12191995"/>
              <a:gd name="connsiteY128" fmla="*/ 6239697 h 6875997"/>
              <a:gd name="connsiteX129" fmla="*/ 315591 w 12191995"/>
              <a:gd name="connsiteY129" fmla="*/ 6273904 h 6875997"/>
              <a:gd name="connsiteX130" fmla="*/ 0 w 12191995"/>
              <a:gd name="connsiteY130" fmla="*/ 6273904 h 6875997"/>
              <a:gd name="connsiteX131" fmla="*/ 387606 w 12191995"/>
              <a:gd name="connsiteY131" fmla="*/ 4838831 h 6875997"/>
              <a:gd name="connsiteX132" fmla="*/ 1034211 w 12191995"/>
              <a:gd name="connsiteY132" fmla="*/ 4838831 h 6875997"/>
              <a:gd name="connsiteX133" fmla="*/ 1034211 w 12191995"/>
              <a:gd name="connsiteY133" fmla="*/ 4873038 h 6875997"/>
              <a:gd name="connsiteX134" fmla="*/ 1068421 w 12191995"/>
              <a:gd name="connsiteY134" fmla="*/ 4873038 h 6875997"/>
              <a:gd name="connsiteX135" fmla="*/ 1068421 w 12191995"/>
              <a:gd name="connsiteY135" fmla="*/ 5520362 h 6875997"/>
              <a:gd name="connsiteX136" fmla="*/ 1034211 w 12191995"/>
              <a:gd name="connsiteY136" fmla="*/ 5520362 h 6875997"/>
              <a:gd name="connsiteX137" fmla="*/ 1034211 w 12191995"/>
              <a:gd name="connsiteY137" fmla="*/ 5554569 h 6875997"/>
              <a:gd name="connsiteX138" fmla="*/ 387606 w 12191995"/>
              <a:gd name="connsiteY138" fmla="*/ 5554569 h 6875997"/>
              <a:gd name="connsiteX139" fmla="*/ 387606 w 12191995"/>
              <a:gd name="connsiteY139" fmla="*/ 5520362 h 6875997"/>
              <a:gd name="connsiteX140" fmla="*/ 353402 w 12191995"/>
              <a:gd name="connsiteY140" fmla="*/ 5520362 h 6875997"/>
              <a:gd name="connsiteX141" fmla="*/ 353402 w 12191995"/>
              <a:gd name="connsiteY141" fmla="*/ 4873038 h 6875997"/>
              <a:gd name="connsiteX142" fmla="*/ 387606 w 12191995"/>
              <a:gd name="connsiteY142" fmla="*/ 4873038 h 6875997"/>
              <a:gd name="connsiteX143" fmla="*/ 0 w 12191995"/>
              <a:gd name="connsiteY143" fmla="*/ 4838831 h 6875997"/>
              <a:gd name="connsiteX144" fmla="*/ 315592 w 12191995"/>
              <a:gd name="connsiteY144" fmla="*/ 4838831 h 6875997"/>
              <a:gd name="connsiteX145" fmla="*/ 315592 w 12191995"/>
              <a:gd name="connsiteY145" fmla="*/ 4873038 h 6875997"/>
              <a:gd name="connsiteX146" fmla="*/ 349802 w 12191995"/>
              <a:gd name="connsiteY146" fmla="*/ 4873038 h 6875997"/>
              <a:gd name="connsiteX147" fmla="*/ 349802 w 12191995"/>
              <a:gd name="connsiteY147" fmla="*/ 5520362 h 6875997"/>
              <a:gd name="connsiteX148" fmla="*/ 315592 w 12191995"/>
              <a:gd name="connsiteY148" fmla="*/ 5520362 h 6875997"/>
              <a:gd name="connsiteX149" fmla="*/ 315592 w 12191995"/>
              <a:gd name="connsiteY149" fmla="*/ 5554569 h 6875997"/>
              <a:gd name="connsiteX150" fmla="*/ 0 w 12191995"/>
              <a:gd name="connsiteY150" fmla="*/ 5554569 h 6875997"/>
              <a:gd name="connsiteX151" fmla="*/ 387607 w 12191995"/>
              <a:gd name="connsiteY151" fmla="*/ 4119493 h 6875997"/>
              <a:gd name="connsiteX152" fmla="*/ 1034211 w 12191995"/>
              <a:gd name="connsiteY152" fmla="*/ 4119493 h 6875997"/>
              <a:gd name="connsiteX153" fmla="*/ 1034211 w 12191995"/>
              <a:gd name="connsiteY153" fmla="*/ 4153700 h 6875997"/>
              <a:gd name="connsiteX154" fmla="*/ 1068421 w 12191995"/>
              <a:gd name="connsiteY154" fmla="*/ 4153700 h 6875997"/>
              <a:gd name="connsiteX155" fmla="*/ 1068421 w 12191995"/>
              <a:gd name="connsiteY155" fmla="*/ 4801024 h 6875997"/>
              <a:gd name="connsiteX156" fmla="*/ 1034211 w 12191995"/>
              <a:gd name="connsiteY156" fmla="*/ 4801024 h 6875997"/>
              <a:gd name="connsiteX157" fmla="*/ 1034211 w 12191995"/>
              <a:gd name="connsiteY157" fmla="*/ 4835231 h 6875997"/>
              <a:gd name="connsiteX158" fmla="*/ 387606 w 12191995"/>
              <a:gd name="connsiteY158" fmla="*/ 4835231 h 6875997"/>
              <a:gd name="connsiteX159" fmla="*/ 387606 w 12191995"/>
              <a:gd name="connsiteY159" fmla="*/ 4801024 h 6875997"/>
              <a:gd name="connsiteX160" fmla="*/ 353402 w 12191995"/>
              <a:gd name="connsiteY160" fmla="*/ 4801024 h 6875997"/>
              <a:gd name="connsiteX161" fmla="*/ 353402 w 12191995"/>
              <a:gd name="connsiteY161" fmla="*/ 4153700 h 6875997"/>
              <a:gd name="connsiteX162" fmla="*/ 387607 w 12191995"/>
              <a:gd name="connsiteY162" fmla="*/ 4153700 h 6875997"/>
              <a:gd name="connsiteX163" fmla="*/ 387607 w 12191995"/>
              <a:gd name="connsiteY163" fmla="*/ 3400156 h 6875997"/>
              <a:gd name="connsiteX164" fmla="*/ 1034211 w 12191995"/>
              <a:gd name="connsiteY164" fmla="*/ 3400156 h 6875997"/>
              <a:gd name="connsiteX165" fmla="*/ 1034211 w 12191995"/>
              <a:gd name="connsiteY165" fmla="*/ 3434363 h 6875997"/>
              <a:gd name="connsiteX166" fmla="*/ 1068421 w 12191995"/>
              <a:gd name="connsiteY166" fmla="*/ 3434363 h 6875997"/>
              <a:gd name="connsiteX167" fmla="*/ 1068421 w 12191995"/>
              <a:gd name="connsiteY167" fmla="*/ 4081686 h 6875997"/>
              <a:gd name="connsiteX168" fmla="*/ 1034211 w 12191995"/>
              <a:gd name="connsiteY168" fmla="*/ 4081686 h 6875997"/>
              <a:gd name="connsiteX169" fmla="*/ 1034211 w 12191995"/>
              <a:gd name="connsiteY169" fmla="*/ 4115893 h 6875997"/>
              <a:gd name="connsiteX170" fmla="*/ 387607 w 12191995"/>
              <a:gd name="connsiteY170" fmla="*/ 4115893 h 6875997"/>
              <a:gd name="connsiteX171" fmla="*/ 387607 w 12191995"/>
              <a:gd name="connsiteY171" fmla="*/ 4081686 h 6875997"/>
              <a:gd name="connsiteX172" fmla="*/ 353402 w 12191995"/>
              <a:gd name="connsiteY172" fmla="*/ 4081686 h 6875997"/>
              <a:gd name="connsiteX173" fmla="*/ 353402 w 12191995"/>
              <a:gd name="connsiteY173" fmla="*/ 3434363 h 6875997"/>
              <a:gd name="connsiteX174" fmla="*/ 387607 w 12191995"/>
              <a:gd name="connsiteY174" fmla="*/ 3434363 h 6875997"/>
              <a:gd name="connsiteX175" fmla="*/ 387606 w 12191995"/>
              <a:gd name="connsiteY175" fmla="*/ 2680820 h 6875997"/>
              <a:gd name="connsiteX176" fmla="*/ 1034211 w 12191995"/>
              <a:gd name="connsiteY176" fmla="*/ 2680820 h 6875997"/>
              <a:gd name="connsiteX177" fmla="*/ 1034211 w 12191995"/>
              <a:gd name="connsiteY177" fmla="*/ 2715026 h 6875997"/>
              <a:gd name="connsiteX178" fmla="*/ 1068421 w 12191995"/>
              <a:gd name="connsiteY178" fmla="*/ 2715026 h 6875997"/>
              <a:gd name="connsiteX179" fmla="*/ 1068421 w 12191995"/>
              <a:gd name="connsiteY179" fmla="*/ 3362349 h 6875997"/>
              <a:gd name="connsiteX180" fmla="*/ 1034211 w 12191995"/>
              <a:gd name="connsiteY180" fmla="*/ 3362349 h 6875997"/>
              <a:gd name="connsiteX181" fmla="*/ 1034211 w 12191995"/>
              <a:gd name="connsiteY181" fmla="*/ 3396556 h 6875997"/>
              <a:gd name="connsiteX182" fmla="*/ 387607 w 12191995"/>
              <a:gd name="connsiteY182" fmla="*/ 3396556 h 6875997"/>
              <a:gd name="connsiteX183" fmla="*/ 387607 w 12191995"/>
              <a:gd name="connsiteY183" fmla="*/ 3362349 h 6875997"/>
              <a:gd name="connsiteX184" fmla="*/ 353402 w 12191995"/>
              <a:gd name="connsiteY184" fmla="*/ 3362349 h 6875997"/>
              <a:gd name="connsiteX185" fmla="*/ 353402 w 12191995"/>
              <a:gd name="connsiteY185" fmla="*/ 2715026 h 6875997"/>
              <a:gd name="connsiteX186" fmla="*/ 387606 w 12191995"/>
              <a:gd name="connsiteY186" fmla="*/ 2715026 h 6875997"/>
              <a:gd name="connsiteX187" fmla="*/ 387608 w 12191995"/>
              <a:gd name="connsiteY187" fmla="*/ 1961483 h 6875997"/>
              <a:gd name="connsiteX188" fmla="*/ 1034213 w 12191995"/>
              <a:gd name="connsiteY188" fmla="*/ 1961483 h 6875997"/>
              <a:gd name="connsiteX189" fmla="*/ 1034213 w 12191995"/>
              <a:gd name="connsiteY189" fmla="*/ 1995689 h 6875997"/>
              <a:gd name="connsiteX190" fmla="*/ 1068421 w 12191995"/>
              <a:gd name="connsiteY190" fmla="*/ 1995689 h 6875997"/>
              <a:gd name="connsiteX191" fmla="*/ 1068421 w 12191995"/>
              <a:gd name="connsiteY191" fmla="*/ 2643013 h 6875997"/>
              <a:gd name="connsiteX192" fmla="*/ 1034211 w 12191995"/>
              <a:gd name="connsiteY192" fmla="*/ 2643013 h 6875997"/>
              <a:gd name="connsiteX193" fmla="*/ 1034211 w 12191995"/>
              <a:gd name="connsiteY193" fmla="*/ 2677220 h 6875997"/>
              <a:gd name="connsiteX194" fmla="*/ 387606 w 12191995"/>
              <a:gd name="connsiteY194" fmla="*/ 2677220 h 6875997"/>
              <a:gd name="connsiteX195" fmla="*/ 387606 w 12191995"/>
              <a:gd name="connsiteY195" fmla="*/ 2643013 h 6875997"/>
              <a:gd name="connsiteX196" fmla="*/ 353402 w 12191995"/>
              <a:gd name="connsiteY196" fmla="*/ 2643013 h 6875997"/>
              <a:gd name="connsiteX197" fmla="*/ 353402 w 12191995"/>
              <a:gd name="connsiteY197" fmla="*/ 1995689 h 6875997"/>
              <a:gd name="connsiteX198" fmla="*/ 387608 w 12191995"/>
              <a:gd name="connsiteY198" fmla="*/ 1995689 h 6875997"/>
              <a:gd name="connsiteX199" fmla="*/ 387608 w 12191995"/>
              <a:gd name="connsiteY199" fmla="*/ 1242144 h 6875997"/>
              <a:gd name="connsiteX200" fmla="*/ 1034213 w 12191995"/>
              <a:gd name="connsiteY200" fmla="*/ 1242144 h 6875997"/>
              <a:gd name="connsiteX201" fmla="*/ 1034213 w 12191995"/>
              <a:gd name="connsiteY201" fmla="*/ 1276351 h 6875997"/>
              <a:gd name="connsiteX202" fmla="*/ 1068421 w 12191995"/>
              <a:gd name="connsiteY202" fmla="*/ 1276351 h 6875997"/>
              <a:gd name="connsiteX203" fmla="*/ 1068421 w 12191995"/>
              <a:gd name="connsiteY203" fmla="*/ 1923675 h 6875997"/>
              <a:gd name="connsiteX204" fmla="*/ 1034213 w 12191995"/>
              <a:gd name="connsiteY204" fmla="*/ 1923675 h 6875997"/>
              <a:gd name="connsiteX205" fmla="*/ 1034213 w 12191995"/>
              <a:gd name="connsiteY205" fmla="*/ 1957883 h 6875997"/>
              <a:gd name="connsiteX206" fmla="*/ 387608 w 12191995"/>
              <a:gd name="connsiteY206" fmla="*/ 1957883 h 6875997"/>
              <a:gd name="connsiteX207" fmla="*/ 387608 w 12191995"/>
              <a:gd name="connsiteY207" fmla="*/ 1923675 h 6875997"/>
              <a:gd name="connsiteX208" fmla="*/ 353402 w 12191995"/>
              <a:gd name="connsiteY208" fmla="*/ 1923675 h 6875997"/>
              <a:gd name="connsiteX209" fmla="*/ 353402 w 12191995"/>
              <a:gd name="connsiteY209" fmla="*/ 1276351 h 6875997"/>
              <a:gd name="connsiteX210" fmla="*/ 387608 w 12191995"/>
              <a:gd name="connsiteY210" fmla="*/ 1276351 h 6875997"/>
              <a:gd name="connsiteX211" fmla="*/ 387607 w 12191995"/>
              <a:gd name="connsiteY211" fmla="*/ 522805 h 6875997"/>
              <a:gd name="connsiteX212" fmla="*/ 1034211 w 12191995"/>
              <a:gd name="connsiteY212" fmla="*/ 522805 h 6875997"/>
              <a:gd name="connsiteX213" fmla="*/ 1034211 w 12191995"/>
              <a:gd name="connsiteY213" fmla="*/ 557012 h 6875997"/>
              <a:gd name="connsiteX214" fmla="*/ 1068421 w 12191995"/>
              <a:gd name="connsiteY214" fmla="*/ 557012 h 6875997"/>
              <a:gd name="connsiteX215" fmla="*/ 1068421 w 12191995"/>
              <a:gd name="connsiteY215" fmla="*/ 1204337 h 6875997"/>
              <a:gd name="connsiteX216" fmla="*/ 1034213 w 12191995"/>
              <a:gd name="connsiteY216" fmla="*/ 1204337 h 6875997"/>
              <a:gd name="connsiteX217" fmla="*/ 1034213 w 12191995"/>
              <a:gd name="connsiteY217" fmla="*/ 1238545 h 6875997"/>
              <a:gd name="connsiteX218" fmla="*/ 387608 w 12191995"/>
              <a:gd name="connsiteY218" fmla="*/ 1238545 h 6875997"/>
              <a:gd name="connsiteX219" fmla="*/ 387608 w 12191995"/>
              <a:gd name="connsiteY219" fmla="*/ 1204337 h 6875997"/>
              <a:gd name="connsiteX220" fmla="*/ 353402 w 12191995"/>
              <a:gd name="connsiteY220" fmla="*/ 1204337 h 6875997"/>
              <a:gd name="connsiteX221" fmla="*/ 353402 w 12191995"/>
              <a:gd name="connsiteY221" fmla="*/ 557012 h 6875997"/>
              <a:gd name="connsiteX222" fmla="*/ 387607 w 12191995"/>
              <a:gd name="connsiteY222" fmla="*/ 557012 h 6875997"/>
              <a:gd name="connsiteX223" fmla="*/ 1072021 w 12191995"/>
              <a:gd name="connsiteY223" fmla="*/ 0 h 6875997"/>
              <a:gd name="connsiteX224" fmla="*/ 1152939 w 12191995"/>
              <a:gd name="connsiteY224" fmla="*/ 0 h 6875997"/>
              <a:gd name="connsiteX225" fmla="*/ 1152939 w 12191995"/>
              <a:gd name="connsiteY225" fmla="*/ 6 h 6875997"/>
              <a:gd name="connsiteX226" fmla="*/ 12191995 w 12191995"/>
              <a:gd name="connsiteY226" fmla="*/ 6 h 6875997"/>
              <a:gd name="connsiteX227" fmla="*/ 12191995 w 12191995"/>
              <a:gd name="connsiteY227" fmla="*/ 6875997 h 6875997"/>
              <a:gd name="connsiteX228" fmla="*/ 11 w 12191995"/>
              <a:gd name="connsiteY228" fmla="*/ 6875997 h 6875997"/>
              <a:gd name="connsiteX229" fmla="*/ 11 w 12191995"/>
              <a:gd name="connsiteY229" fmla="*/ 6875990 h 6875997"/>
              <a:gd name="connsiteX230" fmla="*/ 0 w 12191995"/>
              <a:gd name="connsiteY230" fmla="*/ 6875990 h 6875997"/>
              <a:gd name="connsiteX231" fmla="*/ 0 w 12191995"/>
              <a:gd name="connsiteY231" fmla="*/ 6277504 h 6875997"/>
              <a:gd name="connsiteX232" fmla="*/ 315591 w 12191995"/>
              <a:gd name="connsiteY232" fmla="*/ 6277504 h 6875997"/>
              <a:gd name="connsiteX233" fmla="*/ 315591 w 12191995"/>
              <a:gd name="connsiteY233" fmla="*/ 6311711 h 6875997"/>
              <a:gd name="connsiteX234" fmla="*/ 349802 w 12191995"/>
              <a:gd name="connsiteY234" fmla="*/ 6311711 h 6875997"/>
              <a:gd name="connsiteX235" fmla="*/ 349802 w 12191995"/>
              <a:gd name="connsiteY235" fmla="*/ 6857996 h 6875997"/>
              <a:gd name="connsiteX236" fmla="*/ 353402 w 12191995"/>
              <a:gd name="connsiteY236" fmla="*/ 6857996 h 6875997"/>
              <a:gd name="connsiteX237" fmla="*/ 353402 w 12191995"/>
              <a:gd name="connsiteY237" fmla="*/ 6311711 h 6875997"/>
              <a:gd name="connsiteX238" fmla="*/ 387605 w 12191995"/>
              <a:gd name="connsiteY238" fmla="*/ 6311711 h 6875997"/>
              <a:gd name="connsiteX239" fmla="*/ 387605 w 12191995"/>
              <a:gd name="connsiteY239" fmla="*/ 6277504 h 6875997"/>
              <a:gd name="connsiteX240" fmla="*/ 1034209 w 12191995"/>
              <a:gd name="connsiteY240" fmla="*/ 6277504 h 6875997"/>
              <a:gd name="connsiteX241" fmla="*/ 1034209 w 12191995"/>
              <a:gd name="connsiteY241" fmla="*/ 6311711 h 6875997"/>
              <a:gd name="connsiteX242" fmla="*/ 1068421 w 12191995"/>
              <a:gd name="connsiteY242" fmla="*/ 6311711 h 6875997"/>
              <a:gd name="connsiteX243" fmla="*/ 1068421 w 12191995"/>
              <a:gd name="connsiteY243" fmla="*/ 6857996 h 6875997"/>
              <a:gd name="connsiteX244" fmla="*/ 1072021 w 12191995"/>
              <a:gd name="connsiteY244" fmla="*/ 6857996 h 6875997"/>
              <a:gd name="connsiteX245" fmla="*/ 1072021 w 12191995"/>
              <a:gd name="connsiteY245" fmla="*/ 6311711 h 6875997"/>
              <a:gd name="connsiteX246" fmla="*/ 1106224 w 12191995"/>
              <a:gd name="connsiteY246" fmla="*/ 6311711 h 6875997"/>
              <a:gd name="connsiteX247" fmla="*/ 1106224 w 12191995"/>
              <a:gd name="connsiteY247" fmla="*/ 6239697 h 6875997"/>
              <a:gd name="connsiteX248" fmla="*/ 1072021 w 12191995"/>
              <a:gd name="connsiteY248" fmla="*/ 6239697 h 6875997"/>
              <a:gd name="connsiteX249" fmla="*/ 1072021 w 12191995"/>
              <a:gd name="connsiteY249" fmla="*/ 5592376 h 6875997"/>
              <a:gd name="connsiteX250" fmla="*/ 1106225 w 12191995"/>
              <a:gd name="connsiteY250" fmla="*/ 5592376 h 6875997"/>
              <a:gd name="connsiteX251" fmla="*/ 1106225 w 12191995"/>
              <a:gd name="connsiteY251" fmla="*/ 5520362 h 6875997"/>
              <a:gd name="connsiteX252" fmla="*/ 1072021 w 12191995"/>
              <a:gd name="connsiteY252" fmla="*/ 5520362 h 6875997"/>
              <a:gd name="connsiteX253" fmla="*/ 1072021 w 12191995"/>
              <a:gd name="connsiteY253" fmla="*/ 4873038 h 6875997"/>
              <a:gd name="connsiteX254" fmla="*/ 1106225 w 12191995"/>
              <a:gd name="connsiteY254" fmla="*/ 4873038 h 6875997"/>
              <a:gd name="connsiteX255" fmla="*/ 1106225 w 12191995"/>
              <a:gd name="connsiteY255" fmla="*/ 4801024 h 6875997"/>
              <a:gd name="connsiteX256" fmla="*/ 1072021 w 12191995"/>
              <a:gd name="connsiteY256" fmla="*/ 4801024 h 6875997"/>
              <a:gd name="connsiteX257" fmla="*/ 1072021 w 12191995"/>
              <a:gd name="connsiteY257" fmla="*/ 4153700 h 6875997"/>
              <a:gd name="connsiteX258" fmla="*/ 1106226 w 12191995"/>
              <a:gd name="connsiteY258" fmla="*/ 4153700 h 6875997"/>
              <a:gd name="connsiteX259" fmla="*/ 1106226 w 12191995"/>
              <a:gd name="connsiteY259" fmla="*/ 4081686 h 6875997"/>
              <a:gd name="connsiteX260" fmla="*/ 1072021 w 12191995"/>
              <a:gd name="connsiteY260" fmla="*/ 4081686 h 6875997"/>
              <a:gd name="connsiteX261" fmla="*/ 1072021 w 12191995"/>
              <a:gd name="connsiteY261" fmla="*/ 3434363 h 6875997"/>
              <a:gd name="connsiteX262" fmla="*/ 1106226 w 12191995"/>
              <a:gd name="connsiteY262" fmla="*/ 3434363 h 6875997"/>
              <a:gd name="connsiteX263" fmla="*/ 1106226 w 12191995"/>
              <a:gd name="connsiteY263" fmla="*/ 3362349 h 6875997"/>
              <a:gd name="connsiteX264" fmla="*/ 1072021 w 12191995"/>
              <a:gd name="connsiteY264" fmla="*/ 3362349 h 6875997"/>
              <a:gd name="connsiteX265" fmla="*/ 1072021 w 12191995"/>
              <a:gd name="connsiteY265" fmla="*/ 2715026 h 6875997"/>
              <a:gd name="connsiteX266" fmla="*/ 1106225 w 12191995"/>
              <a:gd name="connsiteY266" fmla="*/ 2715026 h 6875997"/>
              <a:gd name="connsiteX267" fmla="*/ 1106225 w 12191995"/>
              <a:gd name="connsiteY267" fmla="*/ 2643013 h 6875997"/>
              <a:gd name="connsiteX268" fmla="*/ 1072021 w 12191995"/>
              <a:gd name="connsiteY268" fmla="*/ 2643013 h 6875997"/>
              <a:gd name="connsiteX269" fmla="*/ 1072021 w 12191995"/>
              <a:gd name="connsiteY269" fmla="*/ 1995689 h 6875997"/>
              <a:gd name="connsiteX270" fmla="*/ 1106227 w 12191995"/>
              <a:gd name="connsiteY270" fmla="*/ 1995689 h 6875997"/>
              <a:gd name="connsiteX271" fmla="*/ 1106227 w 12191995"/>
              <a:gd name="connsiteY271" fmla="*/ 1923675 h 6875997"/>
              <a:gd name="connsiteX272" fmla="*/ 1072021 w 12191995"/>
              <a:gd name="connsiteY272" fmla="*/ 1923675 h 6875997"/>
              <a:gd name="connsiteX273" fmla="*/ 1072021 w 12191995"/>
              <a:gd name="connsiteY273" fmla="*/ 1276351 h 6875997"/>
              <a:gd name="connsiteX274" fmla="*/ 1106227 w 12191995"/>
              <a:gd name="connsiteY274" fmla="*/ 1276351 h 6875997"/>
              <a:gd name="connsiteX275" fmla="*/ 1106227 w 12191995"/>
              <a:gd name="connsiteY275" fmla="*/ 1204337 h 6875997"/>
              <a:gd name="connsiteX276" fmla="*/ 1072021 w 12191995"/>
              <a:gd name="connsiteY276" fmla="*/ 1204337 h 6875997"/>
              <a:gd name="connsiteX277" fmla="*/ 1072021 w 12191995"/>
              <a:gd name="connsiteY277" fmla="*/ 557012 h 6875997"/>
              <a:gd name="connsiteX278" fmla="*/ 1106226 w 12191995"/>
              <a:gd name="connsiteY278" fmla="*/ 557012 h 6875997"/>
              <a:gd name="connsiteX279" fmla="*/ 1106226 w 12191995"/>
              <a:gd name="connsiteY279" fmla="*/ 484998 h 6875997"/>
              <a:gd name="connsiteX280" fmla="*/ 1072021 w 12191995"/>
              <a:gd name="connsiteY280" fmla="*/ 484998 h 6875997"/>
              <a:gd name="connsiteX281" fmla="*/ 353402 w 12191995"/>
              <a:gd name="connsiteY281" fmla="*/ 0 h 6875997"/>
              <a:gd name="connsiteX282" fmla="*/ 1068421 w 12191995"/>
              <a:gd name="connsiteY282" fmla="*/ 0 h 6875997"/>
              <a:gd name="connsiteX283" fmla="*/ 1068421 w 12191995"/>
              <a:gd name="connsiteY283" fmla="*/ 484998 h 6875997"/>
              <a:gd name="connsiteX284" fmla="*/ 1034211 w 12191995"/>
              <a:gd name="connsiteY284" fmla="*/ 484998 h 6875997"/>
              <a:gd name="connsiteX285" fmla="*/ 1034211 w 12191995"/>
              <a:gd name="connsiteY285" fmla="*/ 519205 h 6875997"/>
              <a:gd name="connsiteX286" fmla="*/ 387607 w 12191995"/>
              <a:gd name="connsiteY286" fmla="*/ 519205 h 6875997"/>
              <a:gd name="connsiteX287" fmla="*/ 387607 w 12191995"/>
              <a:gd name="connsiteY287" fmla="*/ 484998 h 6875997"/>
              <a:gd name="connsiteX288" fmla="*/ 353402 w 12191995"/>
              <a:gd name="connsiteY288" fmla="*/ 484998 h 6875997"/>
              <a:gd name="connsiteX289" fmla="*/ 0 w 12191995"/>
              <a:gd name="connsiteY289" fmla="*/ 0 h 6875997"/>
              <a:gd name="connsiteX290" fmla="*/ 349802 w 12191995"/>
              <a:gd name="connsiteY290" fmla="*/ 0 h 6875997"/>
              <a:gd name="connsiteX291" fmla="*/ 349802 w 12191995"/>
              <a:gd name="connsiteY291" fmla="*/ 484998 h 6875997"/>
              <a:gd name="connsiteX292" fmla="*/ 315593 w 12191995"/>
              <a:gd name="connsiteY292" fmla="*/ 484998 h 6875997"/>
              <a:gd name="connsiteX293" fmla="*/ 315593 w 12191995"/>
              <a:gd name="connsiteY293" fmla="*/ 519205 h 6875997"/>
              <a:gd name="connsiteX294" fmla="*/ 1 w 12191995"/>
              <a:gd name="connsiteY294" fmla="*/ 519205 h 6875997"/>
              <a:gd name="connsiteX295" fmla="*/ 1 w 12191995"/>
              <a:gd name="connsiteY295" fmla="*/ 522805 h 6875997"/>
              <a:gd name="connsiteX296" fmla="*/ 315593 w 12191995"/>
              <a:gd name="connsiteY296" fmla="*/ 522805 h 6875997"/>
              <a:gd name="connsiteX297" fmla="*/ 315593 w 12191995"/>
              <a:gd name="connsiteY297" fmla="*/ 557012 h 6875997"/>
              <a:gd name="connsiteX298" fmla="*/ 349802 w 12191995"/>
              <a:gd name="connsiteY298" fmla="*/ 557012 h 6875997"/>
              <a:gd name="connsiteX299" fmla="*/ 349802 w 12191995"/>
              <a:gd name="connsiteY299" fmla="*/ 1204337 h 6875997"/>
              <a:gd name="connsiteX300" fmla="*/ 315594 w 12191995"/>
              <a:gd name="connsiteY300" fmla="*/ 1204337 h 6875997"/>
              <a:gd name="connsiteX301" fmla="*/ 315594 w 12191995"/>
              <a:gd name="connsiteY301" fmla="*/ 1238545 h 6875997"/>
              <a:gd name="connsiteX302" fmla="*/ 1 w 12191995"/>
              <a:gd name="connsiteY302" fmla="*/ 1238545 h 6875997"/>
              <a:gd name="connsiteX303" fmla="*/ 1 w 12191995"/>
              <a:gd name="connsiteY303" fmla="*/ 1242144 h 6875997"/>
              <a:gd name="connsiteX304" fmla="*/ 315594 w 12191995"/>
              <a:gd name="connsiteY304" fmla="*/ 1242144 h 6875997"/>
              <a:gd name="connsiteX305" fmla="*/ 315594 w 12191995"/>
              <a:gd name="connsiteY305" fmla="*/ 1276351 h 6875997"/>
              <a:gd name="connsiteX306" fmla="*/ 349802 w 12191995"/>
              <a:gd name="connsiteY306" fmla="*/ 1276351 h 6875997"/>
              <a:gd name="connsiteX307" fmla="*/ 349802 w 12191995"/>
              <a:gd name="connsiteY307" fmla="*/ 1923675 h 6875997"/>
              <a:gd name="connsiteX308" fmla="*/ 315594 w 12191995"/>
              <a:gd name="connsiteY308" fmla="*/ 1923675 h 6875997"/>
              <a:gd name="connsiteX309" fmla="*/ 315594 w 12191995"/>
              <a:gd name="connsiteY309" fmla="*/ 1957883 h 6875997"/>
              <a:gd name="connsiteX310" fmla="*/ 1 w 12191995"/>
              <a:gd name="connsiteY310" fmla="*/ 1957883 h 6875997"/>
              <a:gd name="connsiteX311" fmla="*/ 1 w 12191995"/>
              <a:gd name="connsiteY311" fmla="*/ 1961483 h 6875997"/>
              <a:gd name="connsiteX312" fmla="*/ 315594 w 12191995"/>
              <a:gd name="connsiteY312" fmla="*/ 1961483 h 6875997"/>
              <a:gd name="connsiteX313" fmla="*/ 315594 w 12191995"/>
              <a:gd name="connsiteY313" fmla="*/ 1995689 h 6875997"/>
              <a:gd name="connsiteX314" fmla="*/ 349802 w 12191995"/>
              <a:gd name="connsiteY314" fmla="*/ 1995689 h 6875997"/>
              <a:gd name="connsiteX315" fmla="*/ 349802 w 12191995"/>
              <a:gd name="connsiteY315" fmla="*/ 2643013 h 6875997"/>
              <a:gd name="connsiteX316" fmla="*/ 315592 w 12191995"/>
              <a:gd name="connsiteY316" fmla="*/ 2643013 h 6875997"/>
              <a:gd name="connsiteX317" fmla="*/ 315592 w 12191995"/>
              <a:gd name="connsiteY317" fmla="*/ 2677220 h 6875997"/>
              <a:gd name="connsiteX318" fmla="*/ 1 w 12191995"/>
              <a:gd name="connsiteY318" fmla="*/ 2677220 h 6875997"/>
              <a:gd name="connsiteX319" fmla="*/ 1 w 12191995"/>
              <a:gd name="connsiteY319" fmla="*/ 2680820 h 6875997"/>
              <a:gd name="connsiteX320" fmla="*/ 315592 w 12191995"/>
              <a:gd name="connsiteY320" fmla="*/ 2680820 h 6875997"/>
              <a:gd name="connsiteX321" fmla="*/ 315592 w 12191995"/>
              <a:gd name="connsiteY321" fmla="*/ 2715026 h 6875997"/>
              <a:gd name="connsiteX322" fmla="*/ 349802 w 12191995"/>
              <a:gd name="connsiteY322" fmla="*/ 2715026 h 6875997"/>
              <a:gd name="connsiteX323" fmla="*/ 349802 w 12191995"/>
              <a:gd name="connsiteY323" fmla="*/ 3362349 h 6875997"/>
              <a:gd name="connsiteX324" fmla="*/ 315593 w 12191995"/>
              <a:gd name="connsiteY324" fmla="*/ 3362349 h 6875997"/>
              <a:gd name="connsiteX325" fmla="*/ 315593 w 12191995"/>
              <a:gd name="connsiteY325" fmla="*/ 3396556 h 6875997"/>
              <a:gd name="connsiteX326" fmla="*/ 1 w 12191995"/>
              <a:gd name="connsiteY326" fmla="*/ 3396556 h 6875997"/>
              <a:gd name="connsiteX327" fmla="*/ 1 w 12191995"/>
              <a:gd name="connsiteY327" fmla="*/ 3400156 h 6875997"/>
              <a:gd name="connsiteX328" fmla="*/ 315593 w 12191995"/>
              <a:gd name="connsiteY328" fmla="*/ 3400156 h 6875997"/>
              <a:gd name="connsiteX329" fmla="*/ 315593 w 12191995"/>
              <a:gd name="connsiteY329" fmla="*/ 3434363 h 6875997"/>
              <a:gd name="connsiteX330" fmla="*/ 349802 w 12191995"/>
              <a:gd name="connsiteY330" fmla="*/ 3434363 h 6875997"/>
              <a:gd name="connsiteX331" fmla="*/ 349802 w 12191995"/>
              <a:gd name="connsiteY331" fmla="*/ 4081686 h 6875997"/>
              <a:gd name="connsiteX332" fmla="*/ 315593 w 12191995"/>
              <a:gd name="connsiteY332" fmla="*/ 4081686 h 6875997"/>
              <a:gd name="connsiteX333" fmla="*/ 315593 w 12191995"/>
              <a:gd name="connsiteY333" fmla="*/ 4115893 h 6875997"/>
              <a:gd name="connsiteX334" fmla="*/ 1 w 12191995"/>
              <a:gd name="connsiteY334" fmla="*/ 4115893 h 6875997"/>
              <a:gd name="connsiteX335" fmla="*/ 1 w 12191995"/>
              <a:gd name="connsiteY335" fmla="*/ 4119493 h 6875997"/>
              <a:gd name="connsiteX336" fmla="*/ 315593 w 12191995"/>
              <a:gd name="connsiteY336" fmla="*/ 4119493 h 6875997"/>
              <a:gd name="connsiteX337" fmla="*/ 315593 w 12191995"/>
              <a:gd name="connsiteY337" fmla="*/ 4153700 h 6875997"/>
              <a:gd name="connsiteX338" fmla="*/ 349802 w 12191995"/>
              <a:gd name="connsiteY338" fmla="*/ 4153700 h 6875997"/>
              <a:gd name="connsiteX339" fmla="*/ 349802 w 12191995"/>
              <a:gd name="connsiteY339" fmla="*/ 4801024 h 6875997"/>
              <a:gd name="connsiteX340" fmla="*/ 315592 w 12191995"/>
              <a:gd name="connsiteY340" fmla="*/ 4801024 h 6875997"/>
              <a:gd name="connsiteX341" fmla="*/ 315592 w 12191995"/>
              <a:gd name="connsiteY341" fmla="*/ 4835231 h 6875997"/>
              <a:gd name="connsiteX342" fmla="*/ 0 w 12191995"/>
              <a:gd name="connsiteY342" fmla="*/ 4835231 h 687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12191995" h="6875997">
                <a:moveTo>
                  <a:pt x="11039468" y="6562722"/>
                </a:moveTo>
                <a:cubicBezTo>
                  <a:pt x="11037411" y="6563401"/>
                  <a:pt x="11035353" y="6564080"/>
                  <a:pt x="11033982" y="6564080"/>
                </a:cubicBezTo>
                <a:lnTo>
                  <a:pt x="10915338" y="6583760"/>
                </a:lnTo>
                <a:cubicBezTo>
                  <a:pt x="10913967" y="6583760"/>
                  <a:pt x="10911223" y="6584438"/>
                  <a:pt x="10909852" y="6585796"/>
                </a:cubicBezTo>
                <a:cubicBezTo>
                  <a:pt x="10878991" y="6608869"/>
                  <a:pt x="10878991" y="6608869"/>
                  <a:pt x="10878991" y="6608869"/>
                </a:cubicBezTo>
                <a:cubicBezTo>
                  <a:pt x="10993519" y="6608869"/>
                  <a:pt x="10993519" y="6608869"/>
                  <a:pt x="10993519" y="6608869"/>
                </a:cubicBezTo>
                <a:cubicBezTo>
                  <a:pt x="10993519" y="6608869"/>
                  <a:pt x="10988719" y="6614298"/>
                  <a:pt x="10981861" y="6615655"/>
                </a:cubicBezTo>
                <a:cubicBezTo>
                  <a:pt x="10975003" y="6617012"/>
                  <a:pt x="10894764" y="6630585"/>
                  <a:pt x="10894764" y="6630585"/>
                </a:cubicBezTo>
                <a:cubicBezTo>
                  <a:pt x="10893393" y="6630585"/>
                  <a:pt x="10890649" y="6631942"/>
                  <a:pt x="10889278" y="6632621"/>
                </a:cubicBezTo>
                <a:cubicBezTo>
                  <a:pt x="10868018" y="6648908"/>
                  <a:pt x="10868018" y="6648908"/>
                  <a:pt x="10868018" y="6648908"/>
                </a:cubicBezTo>
                <a:cubicBezTo>
                  <a:pt x="10889278" y="6651622"/>
                  <a:pt x="10913281" y="6650265"/>
                  <a:pt x="10937284" y="6644157"/>
                </a:cubicBezTo>
                <a:cubicBezTo>
                  <a:pt x="10989405" y="6629906"/>
                  <a:pt x="11028495" y="6597332"/>
                  <a:pt x="11039468" y="6562722"/>
                </a:cubicBezTo>
                <a:close/>
                <a:moveTo>
                  <a:pt x="10791888" y="6557959"/>
                </a:moveTo>
                <a:cubicBezTo>
                  <a:pt x="10787746" y="6570206"/>
                  <a:pt x="10787056" y="6582452"/>
                  <a:pt x="10790507" y="6594018"/>
                </a:cubicBezTo>
                <a:cubicBezTo>
                  <a:pt x="10798099" y="6623274"/>
                  <a:pt x="10827779" y="6643004"/>
                  <a:pt x="10866431" y="6648447"/>
                </a:cubicBezTo>
                <a:cubicBezTo>
                  <a:pt x="10866431" y="6557959"/>
                  <a:pt x="10866431" y="6557959"/>
                  <a:pt x="10866431" y="6557959"/>
                </a:cubicBezTo>
                <a:cubicBezTo>
                  <a:pt x="10791888" y="6557959"/>
                  <a:pt x="10791888" y="6557959"/>
                  <a:pt x="10791888" y="6557959"/>
                </a:cubicBezTo>
                <a:close/>
                <a:moveTo>
                  <a:pt x="11578425" y="6519858"/>
                </a:moveTo>
                <a:cubicBezTo>
                  <a:pt x="11597903" y="6519858"/>
                  <a:pt x="11604619" y="6529119"/>
                  <a:pt x="11604619" y="6543009"/>
                </a:cubicBezTo>
                <a:cubicBezTo>
                  <a:pt x="11604619" y="6549624"/>
                  <a:pt x="11603947" y="6551608"/>
                  <a:pt x="11599918" y="6551608"/>
                </a:cubicBezTo>
                <a:cubicBezTo>
                  <a:pt x="11552231" y="6551608"/>
                  <a:pt x="11552231" y="6551608"/>
                  <a:pt x="11552231" y="6551608"/>
                </a:cubicBezTo>
                <a:cubicBezTo>
                  <a:pt x="11552231" y="6546978"/>
                  <a:pt x="11552903" y="6543671"/>
                  <a:pt x="11552903" y="6543671"/>
                </a:cubicBezTo>
                <a:cubicBezTo>
                  <a:pt x="11554246" y="6531103"/>
                  <a:pt x="11560291" y="6519858"/>
                  <a:pt x="11578425" y="6519858"/>
                </a:cubicBezTo>
                <a:close/>
                <a:moveTo>
                  <a:pt x="11218855" y="6519858"/>
                </a:moveTo>
                <a:cubicBezTo>
                  <a:pt x="11238231" y="6519858"/>
                  <a:pt x="11245843" y="6529119"/>
                  <a:pt x="11245843" y="6543009"/>
                </a:cubicBezTo>
                <a:cubicBezTo>
                  <a:pt x="11245151" y="6549624"/>
                  <a:pt x="11244459" y="6551608"/>
                  <a:pt x="11240307" y="6551608"/>
                </a:cubicBezTo>
                <a:cubicBezTo>
                  <a:pt x="11191868" y="6551608"/>
                  <a:pt x="11191868" y="6551608"/>
                  <a:pt x="11191868" y="6551608"/>
                </a:cubicBezTo>
                <a:cubicBezTo>
                  <a:pt x="11191868" y="6546978"/>
                  <a:pt x="11191868" y="6543671"/>
                  <a:pt x="11191868" y="6543671"/>
                </a:cubicBezTo>
                <a:cubicBezTo>
                  <a:pt x="11193252" y="6531103"/>
                  <a:pt x="11199480" y="6519858"/>
                  <a:pt x="11218855" y="6519858"/>
                </a:cubicBezTo>
                <a:close/>
                <a:moveTo>
                  <a:pt x="11625256" y="6503984"/>
                </a:moveTo>
                <a:cubicBezTo>
                  <a:pt x="11632129" y="6508092"/>
                  <a:pt x="11636940" y="6513569"/>
                  <a:pt x="11640376" y="6520415"/>
                </a:cubicBezTo>
                <a:cubicBezTo>
                  <a:pt x="11674052" y="6520415"/>
                  <a:pt x="11674052" y="6520415"/>
                  <a:pt x="11674052" y="6520415"/>
                </a:cubicBezTo>
                <a:cubicBezTo>
                  <a:pt x="11674052" y="6613522"/>
                  <a:pt x="11674052" y="6613522"/>
                  <a:pt x="11674052" y="6613522"/>
                </a:cubicBezTo>
                <a:cubicBezTo>
                  <a:pt x="11700169" y="6613522"/>
                  <a:pt x="11700169" y="6613522"/>
                  <a:pt x="11700169" y="6613522"/>
                </a:cubicBezTo>
                <a:cubicBezTo>
                  <a:pt x="11700169" y="6520415"/>
                  <a:pt x="11700169" y="6520415"/>
                  <a:pt x="11700169" y="6520415"/>
                </a:cubicBezTo>
                <a:lnTo>
                  <a:pt x="11737969" y="6520415"/>
                </a:lnTo>
                <a:cubicBezTo>
                  <a:pt x="11737969" y="6503984"/>
                  <a:pt x="11737969" y="6503984"/>
                  <a:pt x="11737969" y="6503984"/>
                </a:cubicBezTo>
                <a:cubicBezTo>
                  <a:pt x="11625256" y="6503984"/>
                  <a:pt x="11625256" y="6503984"/>
                  <a:pt x="11625256" y="6503984"/>
                </a:cubicBezTo>
                <a:close/>
                <a:moveTo>
                  <a:pt x="11426949" y="6503984"/>
                </a:moveTo>
                <a:cubicBezTo>
                  <a:pt x="11413933" y="6504669"/>
                  <a:pt x="11407768" y="6510830"/>
                  <a:pt x="11407768" y="6523153"/>
                </a:cubicBezTo>
                <a:cubicBezTo>
                  <a:pt x="11407768" y="6613522"/>
                  <a:pt x="11407768" y="6613522"/>
                  <a:pt x="11407768" y="6613522"/>
                </a:cubicBezTo>
                <a:cubicBezTo>
                  <a:pt x="11433799" y="6613522"/>
                  <a:pt x="11433799" y="6613522"/>
                  <a:pt x="11433799" y="6613522"/>
                </a:cubicBezTo>
                <a:cubicBezTo>
                  <a:pt x="11433799" y="6525207"/>
                  <a:pt x="11433799" y="6525207"/>
                  <a:pt x="11433799" y="6525207"/>
                </a:cubicBezTo>
                <a:cubicBezTo>
                  <a:pt x="11433799" y="6521784"/>
                  <a:pt x="11435169" y="6520415"/>
                  <a:pt x="11439279" y="6520415"/>
                </a:cubicBezTo>
                <a:cubicBezTo>
                  <a:pt x="11459830" y="6520415"/>
                  <a:pt x="11459830" y="6520415"/>
                  <a:pt x="11459830" y="6520415"/>
                </a:cubicBezTo>
                <a:cubicBezTo>
                  <a:pt x="11475585" y="6520415"/>
                  <a:pt x="11481750" y="6527946"/>
                  <a:pt x="11481750" y="6543692"/>
                </a:cubicBezTo>
                <a:cubicBezTo>
                  <a:pt x="11481750" y="6613522"/>
                  <a:pt x="11481750" y="6613522"/>
                  <a:pt x="11481750" y="6613522"/>
                </a:cubicBezTo>
                <a:cubicBezTo>
                  <a:pt x="11507781" y="6613522"/>
                  <a:pt x="11507781" y="6613522"/>
                  <a:pt x="11507781" y="6613522"/>
                </a:cubicBezTo>
                <a:cubicBezTo>
                  <a:pt x="11507781" y="6541638"/>
                  <a:pt x="11507781" y="6541638"/>
                  <a:pt x="11507781" y="6541638"/>
                </a:cubicBezTo>
                <a:cubicBezTo>
                  <a:pt x="11507781" y="6510146"/>
                  <a:pt x="11485860" y="6504669"/>
                  <a:pt x="11463940" y="6503984"/>
                </a:cubicBezTo>
                <a:cubicBezTo>
                  <a:pt x="11426949" y="6503984"/>
                  <a:pt x="11426949" y="6503984"/>
                  <a:pt x="11426949" y="6503984"/>
                </a:cubicBezTo>
                <a:close/>
                <a:moveTo>
                  <a:pt x="11307887" y="6503984"/>
                </a:moveTo>
                <a:cubicBezTo>
                  <a:pt x="11294871" y="6504669"/>
                  <a:pt x="11288706" y="6510830"/>
                  <a:pt x="11288706" y="6523153"/>
                </a:cubicBezTo>
                <a:cubicBezTo>
                  <a:pt x="11288706" y="6613522"/>
                  <a:pt x="11288706" y="6613522"/>
                  <a:pt x="11288706" y="6613522"/>
                </a:cubicBezTo>
                <a:cubicBezTo>
                  <a:pt x="11314737" y="6613522"/>
                  <a:pt x="11314737" y="6613522"/>
                  <a:pt x="11314737" y="6613522"/>
                </a:cubicBezTo>
                <a:cubicBezTo>
                  <a:pt x="11314737" y="6525207"/>
                  <a:pt x="11314737" y="6525207"/>
                  <a:pt x="11314737" y="6525207"/>
                </a:cubicBezTo>
                <a:cubicBezTo>
                  <a:pt x="11314737" y="6521784"/>
                  <a:pt x="11316107" y="6520415"/>
                  <a:pt x="11320217" y="6520415"/>
                </a:cubicBezTo>
                <a:cubicBezTo>
                  <a:pt x="11340768" y="6520415"/>
                  <a:pt x="11340768" y="6520415"/>
                  <a:pt x="11340768" y="6520415"/>
                </a:cubicBezTo>
                <a:cubicBezTo>
                  <a:pt x="11356523" y="6520415"/>
                  <a:pt x="11362688" y="6527946"/>
                  <a:pt x="11362688" y="6543692"/>
                </a:cubicBezTo>
                <a:cubicBezTo>
                  <a:pt x="11362688" y="6613522"/>
                  <a:pt x="11362688" y="6613522"/>
                  <a:pt x="11362688" y="6613522"/>
                </a:cubicBezTo>
                <a:cubicBezTo>
                  <a:pt x="11388719" y="6613522"/>
                  <a:pt x="11388719" y="6613522"/>
                  <a:pt x="11388719" y="6613522"/>
                </a:cubicBezTo>
                <a:cubicBezTo>
                  <a:pt x="11388719" y="6541638"/>
                  <a:pt x="11388719" y="6541638"/>
                  <a:pt x="11388719" y="6541638"/>
                </a:cubicBezTo>
                <a:cubicBezTo>
                  <a:pt x="11388719" y="6510146"/>
                  <a:pt x="11366798" y="6504669"/>
                  <a:pt x="11344878" y="6503984"/>
                </a:cubicBezTo>
                <a:cubicBezTo>
                  <a:pt x="11307887" y="6503984"/>
                  <a:pt x="11307887" y="6503984"/>
                  <a:pt x="11307887" y="6503984"/>
                </a:cubicBezTo>
                <a:close/>
                <a:moveTo>
                  <a:pt x="11055343" y="6503984"/>
                </a:moveTo>
                <a:cubicBezTo>
                  <a:pt x="11058758" y="6509461"/>
                  <a:pt x="11060124" y="6512884"/>
                  <a:pt x="11062856" y="6520415"/>
                </a:cubicBezTo>
                <a:lnTo>
                  <a:pt x="11098372" y="6520415"/>
                </a:lnTo>
                <a:cubicBezTo>
                  <a:pt x="11098372" y="6520415"/>
                  <a:pt x="11098372" y="6520415"/>
                  <a:pt x="11098372" y="6613522"/>
                </a:cubicBezTo>
                <a:cubicBezTo>
                  <a:pt x="11098372" y="6613522"/>
                  <a:pt x="11098372" y="6613522"/>
                  <a:pt x="11125008" y="6613522"/>
                </a:cubicBezTo>
                <a:cubicBezTo>
                  <a:pt x="11125008" y="6613522"/>
                  <a:pt x="11125008" y="6613522"/>
                  <a:pt x="11125008" y="6520415"/>
                </a:cubicBezTo>
                <a:cubicBezTo>
                  <a:pt x="11125008" y="6520415"/>
                  <a:pt x="11125008" y="6520415"/>
                  <a:pt x="11158475" y="6520415"/>
                </a:cubicBezTo>
                <a:cubicBezTo>
                  <a:pt x="11161207" y="6513569"/>
                  <a:pt x="11166671" y="6508092"/>
                  <a:pt x="11172818" y="6503984"/>
                </a:cubicBezTo>
                <a:cubicBezTo>
                  <a:pt x="11172818" y="6503984"/>
                  <a:pt x="11172818" y="6503984"/>
                  <a:pt x="11055343" y="6503984"/>
                </a:cubicBezTo>
                <a:close/>
                <a:moveTo>
                  <a:pt x="11576751" y="6503134"/>
                </a:moveTo>
                <a:cubicBezTo>
                  <a:pt x="11561947" y="6503645"/>
                  <a:pt x="11547398" y="6508067"/>
                  <a:pt x="11539183" y="6516912"/>
                </a:cubicBezTo>
                <a:cubicBezTo>
                  <a:pt x="11522068" y="6534601"/>
                  <a:pt x="11523437" y="6576103"/>
                  <a:pt x="11533022" y="6593792"/>
                </a:cubicBezTo>
                <a:cubicBezTo>
                  <a:pt x="11535076" y="6598554"/>
                  <a:pt x="11540553" y="6604678"/>
                  <a:pt x="11548083" y="6608760"/>
                </a:cubicBezTo>
                <a:cubicBezTo>
                  <a:pt x="11554245" y="6612162"/>
                  <a:pt x="11562460" y="6613522"/>
                  <a:pt x="11570675" y="6613522"/>
                </a:cubicBezTo>
                <a:cubicBezTo>
                  <a:pt x="11574099" y="6613522"/>
                  <a:pt x="11628183" y="6613522"/>
                  <a:pt x="11628183" y="6613522"/>
                </a:cubicBezTo>
                <a:cubicBezTo>
                  <a:pt x="11628183" y="6597874"/>
                  <a:pt x="11628183" y="6597874"/>
                  <a:pt x="11628183" y="6597874"/>
                </a:cubicBezTo>
                <a:cubicBezTo>
                  <a:pt x="11574783" y="6597874"/>
                  <a:pt x="11574783" y="6597874"/>
                  <a:pt x="11574783" y="6597874"/>
                </a:cubicBezTo>
                <a:cubicBezTo>
                  <a:pt x="11557668" y="6597874"/>
                  <a:pt x="11553560" y="6584947"/>
                  <a:pt x="11552876" y="6572020"/>
                </a:cubicBezTo>
                <a:cubicBezTo>
                  <a:pt x="11552876" y="6570660"/>
                  <a:pt x="11552191" y="6569979"/>
                  <a:pt x="11552191" y="6567938"/>
                </a:cubicBezTo>
                <a:cubicBezTo>
                  <a:pt x="11609698" y="6567938"/>
                  <a:pt x="11609698" y="6567938"/>
                  <a:pt x="11609698" y="6567938"/>
                </a:cubicBezTo>
                <a:cubicBezTo>
                  <a:pt x="11611068" y="6567938"/>
                  <a:pt x="11615860" y="6567938"/>
                  <a:pt x="11619283" y="6567258"/>
                </a:cubicBezTo>
                <a:cubicBezTo>
                  <a:pt x="11624760" y="6565897"/>
                  <a:pt x="11631606" y="6561135"/>
                  <a:pt x="11631606" y="6546847"/>
                </a:cubicBezTo>
                <a:cubicBezTo>
                  <a:pt x="11631606" y="6529838"/>
                  <a:pt x="11625444" y="6519633"/>
                  <a:pt x="11615860" y="6512829"/>
                </a:cubicBezTo>
                <a:cubicBezTo>
                  <a:pt x="11606618" y="6506026"/>
                  <a:pt x="11591556" y="6502624"/>
                  <a:pt x="11576751" y="6503134"/>
                </a:cubicBezTo>
                <a:close/>
                <a:moveTo>
                  <a:pt x="11215941" y="6503134"/>
                </a:moveTo>
                <a:cubicBezTo>
                  <a:pt x="11200922" y="6503645"/>
                  <a:pt x="11186163" y="6508067"/>
                  <a:pt x="11177481" y="6516912"/>
                </a:cubicBezTo>
                <a:cubicBezTo>
                  <a:pt x="11160118" y="6534601"/>
                  <a:pt x="11162202" y="6576103"/>
                  <a:pt x="11171231" y="6593792"/>
                </a:cubicBezTo>
                <a:cubicBezTo>
                  <a:pt x="11174009" y="6598554"/>
                  <a:pt x="11178870" y="6604678"/>
                  <a:pt x="11187205" y="6608760"/>
                </a:cubicBezTo>
                <a:cubicBezTo>
                  <a:pt x="11192761" y="6612162"/>
                  <a:pt x="11201095" y="6613522"/>
                  <a:pt x="11209430" y="6613522"/>
                </a:cubicBezTo>
                <a:cubicBezTo>
                  <a:pt x="11212902" y="6613522"/>
                  <a:pt x="11267770" y="6613522"/>
                  <a:pt x="11267770" y="6613522"/>
                </a:cubicBezTo>
                <a:cubicBezTo>
                  <a:pt x="11267770" y="6597874"/>
                  <a:pt x="11267770" y="6597874"/>
                  <a:pt x="11267770" y="6597874"/>
                </a:cubicBezTo>
                <a:cubicBezTo>
                  <a:pt x="11213597" y="6597874"/>
                  <a:pt x="11213597" y="6597874"/>
                  <a:pt x="11213597" y="6597874"/>
                </a:cubicBezTo>
                <a:cubicBezTo>
                  <a:pt x="11196234" y="6597874"/>
                  <a:pt x="11192066" y="6584947"/>
                  <a:pt x="11191372" y="6572020"/>
                </a:cubicBezTo>
                <a:cubicBezTo>
                  <a:pt x="11191372" y="6570660"/>
                  <a:pt x="11191372" y="6569979"/>
                  <a:pt x="11191372" y="6567938"/>
                </a:cubicBezTo>
                <a:cubicBezTo>
                  <a:pt x="11249713" y="6567938"/>
                  <a:pt x="11249713" y="6567938"/>
                  <a:pt x="11249713" y="6567938"/>
                </a:cubicBezTo>
                <a:cubicBezTo>
                  <a:pt x="11250407" y="6567938"/>
                  <a:pt x="11255963" y="6567938"/>
                  <a:pt x="11258741" y="6567258"/>
                </a:cubicBezTo>
                <a:cubicBezTo>
                  <a:pt x="11264992" y="6565897"/>
                  <a:pt x="11271243" y="6561135"/>
                  <a:pt x="11271243" y="6546847"/>
                </a:cubicBezTo>
                <a:cubicBezTo>
                  <a:pt x="11271243" y="6529838"/>
                  <a:pt x="11264992" y="6519633"/>
                  <a:pt x="11255963" y="6512829"/>
                </a:cubicBezTo>
                <a:cubicBezTo>
                  <a:pt x="11246240" y="6506026"/>
                  <a:pt x="11230960" y="6502624"/>
                  <a:pt x="11215941" y="6503134"/>
                </a:cubicBezTo>
                <a:close/>
                <a:moveTo>
                  <a:pt x="10943122" y="6471560"/>
                </a:moveTo>
                <a:cubicBezTo>
                  <a:pt x="10927039" y="6471325"/>
                  <a:pt x="10909962" y="6473375"/>
                  <a:pt x="10892671" y="6477989"/>
                </a:cubicBezTo>
                <a:cubicBezTo>
                  <a:pt x="10848843" y="6489609"/>
                  <a:pt x="10813918" y="6515582"/>
                  <a:pt x="10798168" y="6544289"/>
                </a:cubicBezTo>
                <a:cubicBezTo>
                  <a:pt x="10954988" y="6519683"/>
                  <a:pt x="10954988" y="6519683"/>
                  <a:pt x="10954988" y="6519683"/>
                </a:cubicBezTo>
                <a:cubicBezTo>
                  <a:pt x="10904313" y="6557959"/>
                  <a:pt x="10904313" y="6557959"/>
                  <a:pt x="10904313" y="6557959"/>
                </a:cubicBezTo>
                <a:cubicBezTo>
                  <a:pt x="11039904" y="6557959"/>
                  <a:pt x="11039904" y="6557959"/>
                  <a:pt x="11039904" y="6557959"/>
                </a:cubicBezTo>
                <a:cubicBezTo>
                  <a:pt x="11042643" y="6547707"/>
                  <a:pt x="11042643" y="6537454"/>
                  <a:pt x="11039904" y="6527885"/>
                </a:cubicBezTo>
                <a:cubicBezTo>
                  <a:pt x="11030659" y="6493538"/>
                  <a:pt x="10991368" y="6472264"/>
                  <a:pt x="10943122" y="6471560"/>
                </a:cubicBezTo>
                <a:close/>
                <a:moveTo>
                  <a:pt x="387606" y="5558169"/>
                </a:moveTo>
                <a:lnTo>
                  <a:pt x="1034211" y="5558169"/>
                </a:lnTo>
                <a:lnTo>
                  <a:pt x="1034211" y="5592376"/>
                </a:lnTo>
                <a:lnTo>
                  <a:pt x="1068421" y="5592376"/>
                </a:lnTo>
                <a:lnTo>
                  <a:pt x="1068421" y="6239697"/>
                </a:lnTo>
                <a:lnTo>
                  <a:pt x="1034209" y="6239697"/>
                </a:lnTo>
                <a:lnTo>
                  <a:pt x="1034209" y="6273904"/>
                </a:lnTo>
                <a:lnTo>
                  <a:pt x="387605" y="6273904"/>
                </a:lnTo>
                <a:lnTo>
                  <a:pt x="387605" y="6239697"/>
                </a:lnTo>
                <a:lnTo>
                  <a:pt x="353402" y="6239697"/>
                </a:lnTo>
                <a:lnTo>
                  <a:pt x="353402" y="5592376"/>
                </a:lnTo>
                <a:lnTo>
                  <a:pt x="387606" y="5592376"/>
                </a:lnTo>
                <a:close/>
                <a:moveTo>
                  <a:pt x="0" y="5558169"/>
                </a:moveTo>
                <a:lnTo>
                  <a:pt x="315592" y="5558169"/>
                </a:lnTo>
                <a:lnTo>
                  <a:pt x="315592" y="5592376"/>
                </a:lnTo>
                <a:lnTo>
                  <a:pt x="349802" y="5592376"/>
                </a:lnTo>
                <a:lnTo>
                  <a:pt x="349802" y="6239697"/>
                </a:lnTo>
                <a:lnTo>
                  <a:pt x="315591" y="6239697"/>
                </a:lnTo>
                <a:lnTo>
                  <a:pt x="315591" y="6273904"/>
                </a:lnTo>
                <a:lnTo>
                  <a:pt x="0" y="6273904"/>
                </a:lnTo>
                <a:close/>
                <a:moveTo>
                  <a:pt x="387606" y="4838831"/>
                </a:moveTo>
                <a:lnTo>
                  <a:pt x="1034211" y="4838831"/>
                </a:lnTo>
                <a:lnTo>
                  <a:pt x="1034211" y="4873038"/>
                </a:lnTo>
                <a:lnTo>
                  <a:pt x="1068421" y="4873038"/>
                </a:lnTo>
                <a:lnTo>
                  <a:pt x="1068421" y="5520362"/>
                </a:lnTo>
                <a:lnTo>
                  <a:pt x="1034211" y="5520362"/>
                </a:lnTo>
                <a:lnTo>
                  <a:pt x="1034211" y="5554569"/>
                </a:lnTo>
                <a:lnTo>
                  <a:pt x="387606" y="5554569"/>
                </a:lnTo>
                <a:lnTo>
                  <a:pt x="387606" y="5520362"/>
                </a:lnTo>
                <a:lnTo>
                  <a:pt x="353402" y="5520362"/>
                </a:lnTo>
                <a:lnTo>
                  <a:pt x="353402" y="4873038"/>
                </a:lnTo>
                <a:lnTo>
                  <a:pt x="387606" y="4873038"/>
                </a:lnTo>
                <a:close/>
                <a:moveTo>
                  <a:pt x="0" y="4838831"/>
                </a:moveTo>
                <a:lnTo>
                  <a:pt x="315592" y="4838831"/>
                </a:lnTo>
                <a:lnTo>
                  <a:pt x="315592" y="4873038"/>
                </a:lnTo>
                <a:lnTo>
                  <a:pt x="349802" y="4873038"/>
                </a:lnTo>
                <a:lnTo>
                  <a:pt x="349802" y="5520362"/>
                </a:lnTo>
                <a:lnTo>
                  <a:pt x="315592" y="5520362"/>
                </a:lnTo>
                <a:lnTo>
                  <a:pt x="315592" y="5554569"/>
                </a:lnTo>
                <a:lnTo>
                  <a:pt x="0" y="5554569"/>
                </a:lnTo>
                <a:close/>
                <a:moveTo>
                  <a:pt x="387607" y="4119493"/>
                </a:moveTo>
                <a:lnTo>
                  <a:pt x="1034211" y="4119493"/>
                </a:lnTo>
                <a:lnTo>
                  <a:pt x="1034211" y="4153700"/>
                </a:lnTo>
                <a:lnTo>
                  <a:pt x="1068421" y="4153700"/>
                </a:lnTo>
                <a:lnTo>
                  <a:pt x="1068421" y="4801024"/>
                </a:lnTo>
                <a:lnTo>
                  <a:pt x="1034211" y="4801024"/>
                </a:lnTo>
                <a:lnTo>
                  <a:pt x="1034211" y="4835231"/>
                </a:lnTo>
                <a:lnTo>
                  <a:pt x="387606" y="4835231"/>
                </a:lnTo>
                <a:lnTo>
                  <a:pt x="387606" y="4801024"/>
                </a:lnTo>
                <a:lnTo>
                  <a:pt x="353402" y="4801024"/>
                </a:lnTo>
                <a:lnTo>
                  <a:pt x="353402" y="4153700"/>
                </a:lnTo>
                <a:lnTo>
                  <a:pt x="387607" y="4153700"/>
                </a:lnTo>
                <a:close/>
                <a:moveTo>
                  <a:pt x="387607" y="3400156"/>
                </a:moveTo>
                <a:lnTo>
                  <a:pt x="1034211" y="3400156"/>
                </a:lnTo>
                <a:lnTo>
                  <a:pt x="1034211" y="3434363"/>
                </a:lnTo>
                <a:lnTo>
                  <a:pt x="1068421" y="3434363"/>
                </a:lnTo>
                <a:lnTo>
                  <a:pt x="1068421" y="4081686"/>
                </a:lnTo>
                <a:lnTo>
                  <a:pt x="1034211" y="4081686"/>
                </a:lnTo>
                <a:lnTo>
                  <a:pt x="1034211" y="4115893"/>
                </a:lnTo>
                <a:lnTo>
                  <a:pt x="387607" y="4115893"/>
                </a:lnTo>
                <a:lnTo>
                  <a:pt x="387607" y="4081686"/>
                </a:lnTo>
                <a:lnTo>
                  <a:pt x="353402" y="4081686"/>
                </a:lnTo>
                <a:lnTo>
                  <a:pt x="353402" y="3434363"/>
                </a:lnTo>
                <a:lnTo>
                  <a:pt x="387607" y="3434363"/>
                </a:lnTo>
                <a:close/>
                <a:moveTo>
                  <a:pt x="387606" y="2680820"/>
                </a:moveTo>
                <a:lnTo>
                  <a:pt x="1034211" y="2680820"/>
                </a:lnTo>
                <a:lnTo>
                  <a:pt x="1034211" y="2715026"/>
                </a:lnTo>
                <a:lnTo>
                  <a:pt x="1068421" y="2715026"/>
                </a:lnTo>
                <a:lnTo>
                  <a:pt x="1068421" y="3362349"/>
                </a:lnTo>
                <a:lnTo>
                  <a:pt x="1034211" y="3362349"/>
                </a:lnTo>
                <a:lnTo>
                  <a:pt x="1034211" y="3396556"/>
                </a:lnTo>
                <a:lnTo>
                  <a:pt x="387607" y="3396556"/>
                </a:lnTo>
                <a:lnTo>
                  <a:pt x="387607" y="3362349"/>
                </a:lnTo>
                <a:lnTo>
                  <a:pt x="353402" y="3362349"/>
                </a:lnTo>
                <a:lnTo>
                  <a:pt x="353402" y="2715026"/>
                </a:lnTo>
                <a:lnTo>
                  <a:pt x="387606" y="2715026"/>
                </a:lnTo>
                <a:close/>
                <a:moveTo>
                  <a:pt x="387608" y="1961483"/>
                </a:moveTo>
                <a:lnTo>
                  <a:pt x="1034213" y="1961483"/>
                </a:lnTo>
                <a:lnTo>
                  <a:pt x="1034213" y="1995689"/>
                </a:lnTo>
                <a:lnTo>
                  <a:pt x="1068421" y="1995689"/>
                </a:lnTo>
                <a:lnTo>
                  <a:pt x="1068421" y="2643013"/>
                </a:lnTo>
                <a:lnTo>
                  <a:pt x="1034211" y="2643013"/>
                </a:lnTo>
                <a:lnTo>
                  <a:pt x="1034211" y="2677220"/>
                </a:lnTo>
                <a:lnTo>
                  <a:pt x="387606" y="2677220"/>
                </a:lnTo>
                <a:lnTo>
                  <a:pt x="387606" y="2643013"/>
                </a:lnTo>
                <a:lnTo>
                  <a:pt x="353402" y="2643013"/>
                </a:lnTo>
                <a:lnTo>
                  <a:pt x="353402" y="1995689"/>
                </a:lnTo>
                <a:lnTo>
                  <a:pt x="387608" y="1995689"/>
                </a:lnTo>
                <a:close/>
                <a:moveTo>
                  <a:pt x="387608" y="1242144"/>
                </a:moveTo>
                <a:lnTo>
                  <a:pt x="1034213" y="1242144"/>
                </a:lnTo>
                <a:lnTo>
                  <a:pt x="1034213" y="1276351"/>
                </a:lnTo>
                <a:lnTo>
                  <a:pt x="1068421" y="1276351"/>
                </a:lnTo>
                <a:lnTo>
                  <a:pt x="1068421" y="1923675"/>
                </a:lnTo>
                <a:lnTo>
                  <a:pt x="1034213" y="1923675"/>
                </a:lnTo>
                <a:lnTo>
                  <a:pt x="1034213" y="1957883"/>
                </a:lnTo>
                <a:lnTo>
                  <a:pt x="387608" y="1957883"/>
                </a:lnTo>
                <a:lnTo>
                  <a:pt x="387608" y="1923675"/>
                </a:lnTo>
                <a:lnTo>
                  <a:pt x="353402" y="1923675"/>
                </a:lnTo>
                <a:lnTo>
                  <a:pt x="353402" y="1276351"/>
                </a:lnTo>
                <a:lnTo>
                  <a:pt x="387608" y="1276351"/>
                </a:lnTo>
                <a:close/>
                <a:moveTo>
                  <a:pt x="387607" y="522805"/>
                </a:moveTo>
                <a:lnTo>
                  <a:pt x="1034211" y="522805"/>
                </a:lnTo>
                <a:lnTo>
                  <a:pt x="1034211" y="557012"/>
                </a:lnTo>
                <a:lnTo>
                  <a:pt x="1068421" y="557012"/>
                </a:lnTo>
                <a:lnTo>
                  <a:pt x="1068421" y="1204337"/>
                </a:lnTo>
                <a:lnTo>
                  <a:pt x="1034213" y="1204337"/>
                </a:lnTo>
                <a:lnTo>
                  <a:pt x="1034213" y="1238545"/>
                </a:lnTo>
                <a:lnTo>
                  <a:pt x="387608" y="1238545"/>
                </a:lnTo>
                <a:lnTo>
                  <a:pt x="387608" y="1204337"/>
                </a:lnTo>
                <a:lnTo>
                  <a:pt x="353402" y="1204337"/>
                </a:lnTo>
                <a:lnTo>
                  <a:pt x="353402" y="557012"/>
                </a:lnTo>
                <a:lnTo>
                  <a:pt x="387607" y="557012"/>
                </a:lnTo>
                <a:close/>
                <a:moveTo>
                  <a:pt x="1072021" y="0"/>
                </a:moveTo>
                <a:lnTo>
                  <a:pt x="1152939" y="0"/>
                </a:lnTo>
                <a:lnTo>
                  <a:pt x="1152939" y="6"/>
                </a:lnTo>
                <a:lnTo>
                  <a:pt x="12191995" y="6"/>
                </a:lnTo>
                <a:lnTo>
                  <a:pt x="12191995" y="6875997"/>
                </a:lnTo>
                <a:lnTo>
                  <a:pt x="11" y="6875997"/>
                </a:lnTo>
                <a:lnTo>
                  <a:pt x="11" y="6875990"/>
                </a:lnTo>
                <a:lnTo>
                  <a:pt x="0" y="6875990"/>
                </a:lnTo>
                <a:lnTo>
                  <a:pt x="0" y="6277504"/>
                </a:lnTo>
                <a:lnTo>
                  <a:pt x="315591" y="6277504"/>
                </a:lnTo>
                <a:lnTo>
                  <a:pt x="315591" y="6311711"/>
                </a:lnTo>
                <a:lnTo>
                  <a:pt x="349802" y="6311711"/>
                </a:lnTo>
                <a:lnTo>
                  <a:pt x="349802" y="6857996"/>
                </a:lnTo>
                <a:lnTo>
                  <a:pt x="353402" y="6857996"/>
                </a:lnTo>
                <a:lnTo>
                  <a:pt x="353402" y="6311711"/>
                </a:lnTo>
                <a:lnTo>
                  <a:pt x="387605" y="6311711"/>
                </a:lnTo>
                <a:lnTo>
                  <a:pt x="387605" y="6277504"/>
                </a:lnTo>
                <a:lnTo>
                  <a:pt x="1034209" y="6277504"/>
                </a:lnTo>
                <a:lnTo>
                  <a:pt x="1034209" y="6311711"/>
                </a:lnTo>
                <a:lnTo>
                  <a:pt x="1068421" y="6311711"/>
                </a:lnTo>
                <a:lnTo>
                  <a:pt x="1068421" y="6857996"/>
                </a:lnTo>
                <a:lnTo>
                  <a:pt x="1072021" y="6857996"/>
                </a:lnTo>
                <a:lnTo>
                  <a:pt x="1072021" y="6311711"/>
                </a:lnTo>
                <a:lnTo>
                  <a:pt x="1106224" y="6311711"/>
                </a:lnTo>
                <a:lnTo>
                  <a:pt x="1106224" y="6239697"/>
                </a:lnTo>
                <a:lnTo>
                  <a:pt x="1072021" y="6239697"/>
                </a:lnTo>
                <a:lnTo>
                  <a:pt x="1072021" y="5592376"/>
                </a:lnTo>
                <a:lnTo>
                  <a:pt x="1106225" y="5592376"/>
                </a:lnTo>
                <a:lnTo>
                  <a:pt x="1106225" y="5520362"/>
                </a:lnTo>
                <a:lnTo>
                  <a:pt x="1072021" y="5520362"/>
                </a:lnTo>
                <a:lnTo>
                  <a:pt x="1072021" y="4873038"/>
                </a:lnTo>
                <a:lnTo>
                  <a:pt x="1106225" y="4873038"/>
                </a:lnTo>
                <a:lnTo>
                  <a:pt x="1106225" y="4801024"/>
                </a:lnTo>
                <a:lnTo>
                  <a:pt x="1072021" y="4801024"/>
                </a:lnTo>
                <a:lnTo>
                  <a:pt x="1072021" y="4153700"/>
                </a:lnTo>
                <a:lnTo>
                  <a:pt x="1106226" y="4153700"/>
                </a:lnTo>
                <a:lnTo>
                  <a:pt x="1106226" y="4081686"/>
                </a:lnTo>
                <a:lnTo>
                  <a:pt x="1072021" y="4081686"/>
                </a:lnTo>
                <a:lnTo>
                  <a:pt x="1072021" y="3434363"/>
                </a:lnTo>
                <a:lnTo>
                  <a:pt x="1106226" y="3434363"/>
                </a:lnTo>
                <a:lnTo>
                  <a:pt x="1106226" y="3362349"/>
                </a:lnTo>
                <a:lnTo>
                  <a:pt x="1072021" y="3362349"/>
                </a:lnTo>
                <a:lnTo>
                  <a:pt x="1072021" y="2715026"/>
                </a:lnTo>
                <a:lnTo>
                  <a:pt x="1106225" y="2715026"/>
                </a:lnTo>
                <a:lnTo>
                  <a:pt x="1106225" y="2643013"/>
                </a:lnTo>
                <a:lnTo>
                  <a:pt x="1072021" y="2643013"/>
                </a:lnTo>
                <a:lnTo>
                  <a:pt x="1072021" y="1995689"/>
                </a:lnTo>
                <a:lnTo>
                  <a:pt x="1106227" y="1995689"/>
                </a:lnTo>
                <a:lnTo>
                  <a:pt x="1106227" y="1923675"/>
                </a:lnTo>
                <a:lnTo>
                  <a:pt x="1072021" y="1923675"/>
                </a:lnTo>
                <a:lnTo>
                  <a:pt x="1072021" y="1276351"/>
                </a:lnTo>
                <a:lnTo>
                  <a:pt x="1106227" y="1276351"/>
                </a:lnTo>
                <a:lnTo>
                  <a:pt x="1106227" y="1204337"/>
                </a:lnTo>
                <a:lnTo>
                  <a:pt x="1072021" y="1204337"/>
                </a:lnTo>
                <a:lnTo>
                  <a:pt x="1072021" y="557012"/>
                </a:lnTo>
                <a:lnTo>
                  <a:pt x="1106226" y="557012"/>
                </a:lnTo>
                <a:lnTo>
                  <a:pt x="1106226" y="484998"/>
                </a:lnTo>
                <a:lnTo>
                  <a:pt x="1072021" y="484998"/>
                </a:lnTo>
                <a:close/>
                <a:moveTo>
                  <a:pt x="353402" y="0"/>
                </a:moveTo>
                <a:lnTo>
                  <a:pt x="1068421" y="0"/>
                </a:lnTo>
                <a:lnTo>
                  <a:pt x="1068421" y="484998"/>
                </a:lnTo>
                <a:lnTo>
                  <a:pt x="1034211" y="484998"/>
                </a:lnTo>
                <a:lnTo>
                  <a:pt x="1034211" y="519205"/>
                </a:lnTo>
                <a:lnTo>
                  <a:pt x="387607" y="519205"/>
                </a:lnTo>
                <a:lnTo>
                  <a:pt x="387607" y="484998"/>
                </a:lnTo>
                <a:lnTo>
                  <a:pt x="353402" y="484998"/>
                </a:lnTo>
                <a:close/>
                <a:moveTo>
                  <a:pt x="0" y="0"/>
                </a:moveTo>
                <a:lnTo>
                  <a:pt x="349802" y="0"/>
                </a:lnTo>
                <a:lnTo>
                  <a:pt x="349802" y="484998"/>
                </a:lnTo>
                <a:lnTo>
                  <a:pt x="315593" y="484998"/>
                </a:lnTo>
                <a:lnTo>
                  <a:pt x="315593" y="519205"/>
                </a:lnTo>
                <a:lnTo>
                  <a:pt x="1" y="519205"/>
                </a:lnTo>
                <a:lnTo>
                  <a:pt x="1" y="522805"/>
                </a:lnTo>
                <a:lnTo>
                  <a:pt x="315593" y="522805"/>
                </a:lnTo>
                <a:lnTo>
                  <a:pt x="315593" y="557012"/>
                </a:lnTo>
                <a:lnTo>
                  <a:pt x="349802" y="557012"/>
                </a:lnTo>
                <a:lnTo>
                  <a:pt x="349802" y="1204337"/>
                </a:lnTo>
                <a:lnTo>
                  <a:pt x="315594" y="1204337"/>
                </a:lnTo>
                <a:lnTo>
                  <a:pt x="315594" y="1238545"/>
                </a:lnTo>
                <a:lnTo>
                  <a:pt x="1" y="1238545"/>
                </a:lnTo>
                <a:lnTo>
                  <a:pt x="1" y="1242144"/>
                </a:lnTo>
                <a:lnTo>
                  <a:pt x="315594" y="1242144"/>
                </a:lnTo>
                <a:lnTo>
                  <a:pt x="315594" y="1276351"/>
                </a:lnTo>
                <a:lnTo>
                  <a:pt x="349802" y="1276351"/>
                </a:lnTo>
                <a:lnTo>
                  <a:pt x="349802" y="1923675"/>
                </a:lnTo>
                <a:lnTo>
                  <a:pt x="315594" y="1923675"/>
                </a:lnTo>
                <a:lnTo>
                  <a:pt x="315594" y="1957883"/>
                </a:lnTo>
                <a:lnTo>
                  <a:pt x="1" y="1957883"/>
                </a:lnTo>
                <a:lnTo>
                  <a:pt x="1" y="1961483"/>
                </a:lnTo>
                <a:lnTo>
                  <a:pt x="315594" y="1961483"/>
                </a:lnTo>
                <a:lnTo>
                  <a:pt x="315594" y="1995689"/>
                </a:lnTo>
                <a:lnTo>
                  <a:pt x="349802" y="1995689"/>
                </a:lnTo>
                <a:lnTo>
                  <a:pt x="349802" y="2643013"/>
                </a:lnTo>
                <a:lnTo>
                  <a:pt x="315592" y="2643013"/>
                </a:lnTo>
                <a:lnTo>
                  <a:pt x="315592" y="2677220"/>
                </a:lnTo>
                <a:lnTo>
                  <a:pt x="1" y="2677220"/>
                </a:lnTo>
                <a:lnTo>
                  <a:pt x="1" y="2680820"/>
                </a:lnTo>
                <a:lnTo>
                  <a:pt x="315592" y="2680820"/>
                </a:lnTo>
                <a:lnTo>
                  <a:pt x="315592" y="2715026"/>
                </a:lnTo>
                <a:lnTo>
                  <a:pt x="349802" y="2715026"/>
                </a:lnTo>
                <a:lnTo>
                  <a:pt x="349802" y="3362349"/>
                </a:lnTo>
                <a:lnTo>
                  <a:pt x="315593" y="3362349"/>
                </a:lnTo>
                <a:lnTo>
                  <a:pt x="315593" y="3396556"/>
                </a:lnTo>
                <a:lnTo>
                  <a:pt x="1" y="3396556"/>
                </a:lnTo>
                <a:lnTo>
                  <a:pt x="1" y="3400156"/>
                </a:lnTo>
                <a:lnTo>
                  <a:pt x="315593" y="3400156"/>
                </a:lnTo>
                <a:lnTo>
                  <a:pt x="315593" y="3434363"/>
                </a:lnTo>
                <a:lnTo>
                  <a:pt x="349802" y="3434363"/>
                </a:lnTo>
                <a:lnTo>
                  <a:pt x="349802" y="4081686"/>
                </a:lnTo>
                <a:lnTo>
                  <a:pt x="315593" y="4081686"/>
                </a:lnTo>
                <a:lnTo>
                  <a:pt x="315593" y="4115893"/>
                </a:lnTo>
                <a:lnTo>
                  <a:pt x="1" y="4115893"/>
                </a:lnTo>
                <a:lnTo>
                  <a:pt x="1" y="4119493"/>
                </a:lnTo>
                <a:lnTo>
                  <a:pt x="315593" y="4119493"/>
                </a:lnTo>
                <a:lnTo>
                  <a:pt x="315593" y="4153700"/>
                </a:lnTo>
                <a:lnTo>
                  <a:pt x="349802" y="4153700"/>
                </a:lnTo>
                <a:lnTo>
                  <a:pt x="349802" y="4801024"/>
                </a:lnTo>
                <a:lnTo>
                  <a:pt x="315592" y="4801024"/>
                </a:lnTo>
                <a:lnTo>
                  <a:pt x="315592" y="4835231"/>
                </a:lnTo>
                <a:lnTo>
                  <a:pt x="0" y="4835231"/>
                </a:lnTo>
                <a:close/>
              </a:path>
            </a:pathLst>
          </a:custGeom>
          <a:solidFill>
            <a:srgbClr val="EAEEF0"/>
          </a:solidFill>
        </p:spPr>
        <p:txBody>
          <a:bodyPr wrap="square" anchor="ctr">
            <a:noAutofit/>
          </a:bodyPr>
          <a:lstStyle>
            <a:lvl1pPr marL="0" marR="0" indent="-252000" algn="ctr" defTabSz="914400" rtl="0" eaLnBrk="1" fontAlgn="ctr" latinLnBrk="0" hangingPunct="1">
              <a:lnSpc>
                <a:spcPct val="90000"/>
              </a:lnSpc>
              <a:spcBef>
                <a:spcPts val="500"/>
              </a:spcBef>
              <a:spcAft>
                <a:spcPts val="0"/>
              </a:spcAft>
              <a:buClrTx/>
              <a:buSzPct val="80000"/>
              <a:buFont typeface="Systeemlettertype regulier"/>
              <a:buNone/>
              <a:tabLst/>
              <a:defRPr sz="1000" b="1">
                <a:solidFill>
                  <a:schemeClr val="tx2"/>
                </a:solidFill>
              </a:defRPr>
            </a:lvl1pPr>
          </a:lstStyle>
          <a:p>
            <a:pPr marL="0" marR="0" lvl="0" indent="-252000" algn="ctr" defTabSz="914400" rtl="0" eaLnBrk="1" fontAlgn="ctr" latinLnBrk="0" hangingPunct="1">
              <a:lnSpc>
                <a:spcPct val="90000"/>
              </a:lnSpc>
              <a:spcBef>
                <a:spcPts val="500"/>
              </a:spcBef>
              <a:spcAft>
                <a:spcPts val="0"/>
              </a:spcAft>
              <a:buClrTx/>
              <a:buSzPct val="80000"/>
              <a:buFont typeface="Systeemlettertype regulier"/>
              <a:buNone/>
              <a:tabLst/>
              <a:defRPr/>
            </a:pPr>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2178434B-33BA-4C43-9513-49004E444397}"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solidFill>
                  <a:schemeClr val="bg1"/>
                </a:solidFill>
              </a:defRPr>
            </a:lvl1pPr>
          </a:lstStyle>
          <a:p>
            <a:r>
              <a:rPr lang="en-GB" noProof="0" dirty="0"/>
              <a:t>Confidentiality</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en-GB" noProof="0" smtClean="0"/>
              <a:pPr/>
              <a:t>‹Nr.›</a:t>
            </a:fld>
            <a:endParaRPr lang="en-GB" noProof="0" dirty="0"/>
          </a:p>
        </p:txBody>
      </p:sp>
      <p:sp>
        <p:nvSpPr>
          <p:cNvPr id="8" name="Tijdelijke aanduiding voor tekst 7">
            <a:extLst>
              <a:ext uri="{FF2B5EF4-FFF2-40B4-BE49-F238E27FC236}">
                <a16:creationId xmlns:a16="http://schemas.microsoft.com/office/drawing/2014/main" id="{E724E4EA-3AAA-1C4F-8E07-C8C275A97B92}"/>
              </a:ext>
            </a:extLst>
          </p:cNvPr>
          <p:cNvSpPr>
            <a:spLocks noGrp="1"/>
          </p:cNvSpPr>
          <p:nvPr>
            <p:ph type="body" sz="quarter" idx="13"/>
          </p:nvPr>
        </p:nvSpPr>
        <p:spPr>
          <a:xfrm>
            <a:off x="1347788" y="953522"/>
            <a:ext cx="10399736" cy="432000"/>
          </a:xfrm>
          <a:prstGeom prst="rect">
            <a:avLst/>
          </a:prstGeom>
        </p:spPr>
        <p:txBody>
          <a:bodyPr>
            <a:noAutofit/>
          </a:bodyPr>
          <a:lstStyle>
            <a:lvl1pPr marL="0" indent="0">
              <a:spcBef>
                <a:spcPts val="0"/>
              </a:spcBef>
              <a:buNone/>
              <a:defRPr sz="3000" b="0">
                <a:solidFill>
                  <a:schemeClr val="bg1"/>
                </a:solidFill>
              </a:defRPr>
            </a:lvl1pPr>
          </a:lstStyle>
          <a:p>
            <a:pPr lvl="0"/>
            <a:r>
              <a:rPr lang="de-DE" noProof="0"/>
              <a:t>Mastertextformat bearbeiten</a:t>
            </a:r>
          </a:p>
        </p:txBody>
      </p:sp>
      <p:sp>
        <p:nvSpPr>
          <p:cNvPr id="2" name="Titel 1">
            <a:extLst>
              <a:ext uri="{FF2B5EF4-FFF2-40B4-BE49-F238E27FC236}">
                <a16:creationId xmlns:a16="http://schemas.microsoft.com/office/drawing/2014/main" id="{38DE48DA-EB3C-F347-8DB3-2229CD0E8E77}"/>
              </a:ext>
            </a:extLst>
          </p:cNvPr>
          <p:cNvSpPr>
            <a:spLocks noGrp="1"/>
          </p:cNvSpPr>
          <p:nvPr>
            <p:ph type="title"/>
          </p:nvPr>
        </p:nvSpPr>
        <p:spPr>
          <a:xfrm>
            <a:off x="1347597" y="518822"/>
            <a:ext cx="10399736" cy="430503"/>
          </a:xfrm>
        </p:spPr>
        <p:txBody>
          <a:bodyPr/>
          <a:lstStyle>
            <a:lvl1pPr>
              <a:defRPr>
                <a:solidFill>
                  <a:schemeClr val="bg1"/>
                </a:solidFill>
              </a:defRPr>
            </a:lvl1pPr>
          </a:lstStyle>
          <a:p>
            <a:r>
              <a:rPr lang="de-DE" noProof="0"/>
              <a:t>Mastertitelformat bearbeiten</a:t>
            </a:r>
            <a:endParaRPr lang="en-GB" noProof="0" dirty="0"/>
          </a:p>
        </p:txBody>
      </p:sp>
      <p:sp>
        <p:nvSpPr>
          <p:cNvPr id="33" name="Tijdelijke aanduiding voor tekst 10">
            <a:extLst>
              <a:ext uri="{FF2B5EF4-FFF2-40B4-BE49-F238E27FC236}">
                <a16:creationId xmlns:a16="http://schemas.microsoft.com/office/drawing/2014/main" id="{6FB3581A-6B7B-EF41-9F87-32E6783C121D}"/>
              </a:ext>
            </a:extLst>
          </p:cNvPr>
          <p:cNvSpPr>
            <a:spLocks noGrp="1"/>
          </p:cNvSpPr>
          <p:nvPr>
            <p:ph type="body" sz="quarter" idx="38" hasCustomPrompt="1"/>
          </p:nvPr>
        </p:nvSpPr>
        <p:spPr>
          <a:xfrm>
            <a:off x="1354192" y="5786438"/>
            <a:ext cx="2185088" cy="288926"/>
          </a:xfrm>
          <a:prstGeom prst="rect">
            <a:avLst/>
          </a:prstGeom>
        </p:spPr>
        <p:txBody>
          <a:bodyPr>
            <a:noAutofit/>
          </a:bodyPr>
          <a:lstStyle>
            <a:lvl1pPr marL="11113" indent="-11113" algn="ctr">
              <a:buNone/>
              <a:tabLst/>
              <a:defRPr sz="1400" b="1">
                <a:solidFill>
                  <a:schemeClr val="bg1"/>
                </a:solidFill>
              </a:defRPr>
            </a:lvl1pPr>
          </a:lstStyle>
          <a:p>
            <a:pPr lvl="0"/>
            <a:r>
              <a:rPr lang="en-GB" noProof="0" dirty="0"/>
              <a:t>Click here</a:t>
            </a:r>
          </a:p>
        </p:txBody>
      </p:sp>
      <p:sp>
        <p:nvSpPr>
          <p:cNvPr id="38" name="Tijdelijke aanduiding voor afbeelding 27">
            <a:extLst>
              <a:ext uri="{FF2B5EF4-FFF2-40B4-BE49-F238E27FC236}">
                <a16:creationId xmlns:a16="http://schemas.microsoft.com/office/drawing/2014/main" id="{061F9440-28C8-6B4D-BE0A-3F09F5CE3BA8}"/>
              </a:ext>
            </a:extLst>
          </p:cNvPr>
          <p:cNvSpPr>
            <a:spLocks noGrp="1"/>
          </p:cNvSpPr>
          <p:nvPr>
            <p:ph type="pic" sz="quarter" idx="39"/>
          </p:nvPr>
        </p:nvSpPr>
        <p:spPr>
          <a:xfrm>
            <a:off x="1643936" y="4096253"/>
            <a:ext cx="1605600" cy="1606550"/>
          </a:xfrm>
          <a:prstGeom prst="ellipse">
            <a:avLst/>
          </a:prstGeom>
          <a:solidFill>
            <a:schemeClr val="bg1"/>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39" name="Tijdelijke aanduiding voor tekst 10">
            <a:extLst>
              <a:ext uri="{FF2B5EF4-FFF2-40B4-BE49-F238E27FC236}">
                <a16:creationId xmlns:a16="http://schemas.microsoft.com/office/drawing/2014/main" id="{7F4C6FD3-632B-CF4C-BD6B-DEA0EE1E4971}"/>
              </a:ext>
            </a:extLst>
          </p:cNvPr>
          <p:cNvSpPr>
            <a:spLocks noGrp="1"/>
          </p:cNvSpPr>
          <p:nvPr>
            <p:ph type="body" sz="quarter" idx="40" hasCustomPrompt="1"/>
          </p:nvPr>
        </p:nvSpPr>
        <p:spPr>
          <a:xfrm>
            <a:off x="1354192" y="3512635"/>
            <a:ext cx="2185088" cy="288926"/>
          </a:xfrm>
          <a:prstGeom prst="rect">
            <a:avLst/>
          </a:prstGeom>
        </p:spPr>
        <p:txBody>
          <a:bodyPr>
            <a:noAutofit/>
          </a:bodyPr>
          <a:lstStyle>
            <a:lvl1pPr marL="11113" indent="-11113" algn="ctr">
              <a:buNone/>
              <a:tabLst/>
              <a:defRPr sz="1400" b="1">
                <a:solidFill>
                  <a:schemeClr val="bg1"/>
                </a:solidFill>
              </a:defRPr>
            </a:lvl1pPr>
          </a:lstStyle>
          <a:p>
            <a:pPr lvl="0"/>
            <a:r>
              <a:rPr lang="en-GB" noProof="0" dirty="0"/>
              <a:t>Click here</a:t>
            </a:r>
          </a:p>
        </p:txBody>
      </p:sp>
      <p:sp>
        <p:nvSpPr>
          <p:cNvPr id="40" name="Tijdelijke aanduiding voor afbeelding 29">
            <a:extLst>
              <a:ext uri="{FF2B5EF4-FFF2-40B4-BE49-F238E27FC236}">
                <a16:creationId xmlns:a16="http://schemas.microsoft.com/office/drawing/2014/main" id="{3D2B0EBC-280C-C945-9D1E-148098C2C70D}"/>
              </a:ext>
            </a:extLst>
          </p:cNvPr>
          <p:cNvSpPr>
            <a:spLocks noGrp="1"/>
          </p:cNvSpPr>
          <p:nvPr>
            <p:ph type="pic" sz="quarter" idx="41"/>
          </p:nvPr>
        </p:nvSpPr>
        <p:spPr>
          <a:xfrm>
            <a:off x="1643936" y="1822450"/>
            <a:ext cx="1605600" cy="1606550"/>
          </a:xfrm>
          <a:prstGeom prst="ellipse">
            <a:avLst/>
          </a:prstGeom>
          <a:solidFill>
            <a:schemeClr val="bg1"/>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1" name="Tijdelijke aanduiding voor tekst 10">
            <a:extLst>
              <a:ext uri="{FF2B5EF4-FFF2-40B4-BE49-F238E27FC236}">
                <a16:creationId xmlns:a16="http://schemas.microsoft.com/office/drawing/2014/main" id="{0417667C-5DC2-BC49-909C-A2078785EC4B}"/>
              </a:ext>
            </a:extLst>
          </p:cNvPr>
          <p:cNvSpPr>
            <a:spLocks noGrp="1"/>
          </p:cNvSpPr>
          <p:nvPr>
            <p:ph type="body" sz="quarter" idx="42" hasCustomPrompt="1"/>
          </p:nvPr>
        </p:nvSpPr>
        <p:spPr>
          <a:xfrm>
            <a:off x="3973787" y="5786438"/>
            <a:ext cx="2185088" cy="288926"/>
          </a:xfrm>
          <a:prstGeom prst="rect">
            <a:avLst/>
          </a:prstGeom>
        </p:spPr>
        <p:txBody>
          <a:bodyPr>
            <a:noAutofit/>
          </a:bodyPr>
          <a:lstStyle>
            <a:lvl1pPr marL="11113" indent="-11113" algn="ctr">
              <a:buNone/>
              <a:tabLst/>
              <a:defRPr sz="1400" b="1">
                <a:solidFill>
                  <a:schemeClr val="bg1"/>
                </a:solidFill>
              </a:defRPr>
            </a:lvl1pPr>
          </a:lstStyle>
          <a:p>
            <a:pPr lvl="0"/>
            <a:r>
              <a:rPr lang="en-GB" noProof="0" dirty="0"/>
              <a:t>Click here</a:t>
            </a:r>
          </a:p>
        </p:txBody>
      </p:sp>
      <p:sp>
        <p:nvSpPr>
          <p:cNvPr id="42" name="Tijdelijke aanduiding voor afbeelding 27">
            <a:extLst>
              <a:ext uri="{FF2B5EF4-FFF2-40B4-BE49-F238E27FC236}">
                <a16:creationId xmlns:a16="http://schemas.microsoft.com/office/drawing/2014/main" id="{FB1AE3E4-F84F-6649-B127-7C4652FE425B}"/>
              </a:ext>
            </a:extLst>
          </p:cNvPr>
          <p:cNvSpPr>
            <a:spLocks noGrp="1"/>
          </p:cNvSpPr>
          <p:nvPr>
            <p:ph type="pic" sz="quarter" idx="43"/>
          </p:nvPr>
        </p:nvSpPr>
        <p:spPr>
          <a:xfrm>
            <a:off x="4263531" y="4096253"/>
            <a:ext cx="1605600" cy="1606550"/>
          </a:xfrm>
          <a:prstGeom prst="ellipse">
            <a:avLst/>
          </a:prstGeom>
          <a:solidFill>
            <a:schemeClr val="bg1"/>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3" name="Tijdelijke aanduiding voor tekst 10">
            <a:extLst>
              <a:ext uri="{FF2B5EF4-FFF2-40B4-BE49-F238E27FC236}">
                <a16:creationId xmlns:a16="http://schemas.microsoft.com/office/drawing/2014/main" id="{0CFBC638-8F63-054D-92AC-CFF2EB31B2A5}"/>
              </a:ext>
            </a:extLst>
          </p:cNvPr>
          <p:cNvSpPr>
            <a:spLocks noGrp="1"/>
          </p:cNvSpPr>
          <p:nvPr>
            <p:ph type="body" sz="quarter" idx="44" hasCustomPrompt="1"/>
          </p:nvPr>
        </p:nvSpPr>
        <p:spPr>
          <a:xfrm>
            <a:off x="3973787" y="3512635"/>
            <a:ext cx="2185088" cy="288926"/>
          </a:xfrm>
          <a:prstGeom prst="rect">
            <a:avLst/>
          </a:prstGeom>
        </p:spPr>
        <p:txBody>
          <a:bodyPr>
            <a:noAutofit/>
          </a:bodyPr>
          <a:lstStyle>
            <a:lvl1pPr marL="11113" indent="-11113" algn="ctr">
              <a:buNone/>
              <a:tabLst/>
              <a:defRPr sz="1400" b="1">
                <a:solidFill>
                  <a:schemeClr val="bg1"/>
                </a:solidFill>
              </a:defRPr>
            </a:lvl1pPr>
          </a:lstStyle>
          <a:p>
            <a:pPr lvl="0"/>
            <a:r>
              <a:rPr lang="en-GB" noProof="0" dirty="0"/>
              <a:t>Click here</a:t>
            </a:r>
          </a:p>
        </p:txBody>
      </p:sp>
      <p:sp>
        <p:nvSpPr>
          <p:cNvPr id="44" name="Tijdelijke aanduiding voor afbeelding 29">
            <a:extLst>
              <a:ext uri="{FF2B5EF4-FFF2-40B4-BE49-F238E27FC236}">
                <a16:creationId xmlns:a16="http://schemas.microsoft.com/office/drawing/2014/main" id="{C403D52D-FCAC-4E41-855F-4D439ED9C166}"/>
              </a:ext>
            </a:extLst>
          </p:cNvPr>
          <p:cNvSpPr>
            <a:spLocks noGrp="1"/>
          </p:cNvSpPr>
          <p:nvPr>
            <p:ph type="pic" sz="quarter" idx="45"/>
          </p:nvPr>
        </p:nvSpPr>
        <p:spPr>
          <a:xfrm>
            <a:off x="4263531" y="1822450"/>
            <a:ext cx="1605600" cy="1606550"/>
          </a:xfrm>
          <a:prstGeom prst="ellipse">
            <a:avLst/>
          </a:prstGeom>
          <a:solidFill>
            <a:schemeClr val="bg1"/>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45" name="Tijdelijke aanduiding voor tekst 10">
            <a:extLst>
              <a:ext uri="{FF2B5EF4-FFF2-40B4-BE49-F238E27FC236}">
                <a16:creationId xmlns:a16="http://schemas.microsoft.com/office/drawing/2014/main" id="{813DB3F6-08C0-CE45-A463-06EE69AE8F76}"/>
              </a:ext>
            </a:extLst>
          </p:cNvPr>
          <p:cNvSpPr>
            <a:spLocks noGrp="1"/>
          </p:cNvSpPr>
          <p:nvPr>
            <p:ph type="body" sz="quarter" idx="46" hasCustomPrompt="1"/>
          </p:nvPr>
        </p:nvSpPr>
        <p:spPr>
          <a:xfrm>
            <a:off x="6593382" y="5786438"/>
            <a:ext cx="2185088" cy="288926"/>
          </a:xfrm>
          <a:prstGeom prst="rect">
            <a:avLst/>
          </a:prstGeom>
        </p:spPr>
        <p:txBody>
          <a:bodyPr>
            <a:noAutofit/>
          </a:bodyPr>
          <a:lstStyle>
            <a:lvl1pPr marL="11113" indent="-11113" algn="ctr">
              <a:buNone/>
              <a:tabLst/>
              <a:defRPr sz="1400" b="1">
                <a:solidFill>
                  <a:schemeClr val="bg1"/>
                </a:solidFill>
              </a:defRPr>
            </a:lvl1pPr>
          </a:lstStyle>
          <a:p>
            <a:pPr lvl="0"/>
            <a:r>
              <a:rPr lang="en-GB" noProof="0" dirty="0"/>
              <a:t>Click here</a:t>
            </a:r>
          </a:p>
        </p:txBody>
      </p:sp>
      <p:sp>
        <p:nvSpPr>
          <p:cNvPr id="54" name="Tijdelijke aanduiding voor afbeelding 27">
            <a:extLst>
              <a:ext uri="{FF2B5EF4-FFF2-40B4-BE49-F238E27FC236}">
                <a16:creationId xmlns:a16="http://schemas.microsoft.com/office/drawing/2014/main" id="{35E2D6D1-F912-354C-AE9D-C338AC3843CA}"/>
              </a:ext>
            </a:extLst>
          </p:cNvPr>
          <p:cNvSpPr>
            <a:spLocks noGrp="1"/>
          </p:cNvSpPr>
          <p:nvPr>
            <p:ph type="pic" sz="quarter" idx="47"/>
          </p:nvPr>
        </p:nvSpPr>
        <p:spPr>
          <a:xfrm>
            <a:off x="6883126" y="4096253"/>
            <a:ext cx="1605600" cy="1606550"/>
          </a:xfrm>
          <a:prstGeom prst="ellipse">
            <a:avLst/>
          </a:prstGeom>
          <a:solidFill>
            <a:schemeClr val="bg1"/>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55" name="Tijdelijke aanduiding voor tekst 10">
            <a:extLst>
              <a:ext uri="{FF2B5EF4-FFF2-40B4-BE49-F238E27FC236}">
                <a16:creationId xmlns:a16="http://schemas.microsoft.com/office/drawing/2014/main" id="{1EF2BBAD-B4F4-FC4A-8609-1F4F87B905FB}"/>
              </a:ext>
            </a:extLst>
          </p:cNvPr>
          <p:cNvSpPr>
            <a:spLocks noGrp="1"/>
          </p:cNvSpPr>
          <p:nvPr>
            <p:ph type="body" sz="quarter" idx="48" hasCustomPrompt="1"/>
          </p:nvPr>
        </p:nvSpPr>
        <p:spPr>
          <a:xfrm>
            <a:off x="6593382" y="3512635"/>
            <a:ext cx="2185088" cy="288926"/>
          </a:xfrm>
          <a:prstGeom prst="rect">
            <a:avLst/>
          </a:prstGeom>
        </p:spPr>
        <p:txBody>
          <a:bodyPr>
            <a:noAutofit/>
          </a:bodyPr>
          <a:lstStyle>
            <a:lvl1pPr marL="11113" indent="-11113" algn="ctr">
              <a:buNone/>
              <a:tabLst/>
              <a:defRPr sz="1400" b="1">
                <a:solidFill>
                  <a:schemeClr val="bg1"/>
                </a:solidFill>
              </a:defRPr>
            </a:lvl1pPr>
          </a:lstStyle>
          <a:p>
            <a:pPr lvl="0"/>
            <a:r>
              <a:rPr lang="en-GB" noProof="0" dirty="0"/>
              <a:t>Click here</a:t>
            </a:r>
          </a:p>
        </p:txBody>
      </p:sp>
      <p:sp>
        <p:nvSpPr>
          <p:cNvPr id="56" name="Tijdelijke aanduiding voor afbeelding 29">
            <a:extLst>
              <a:ext uri="{FF2B5EF4-FFF2-40B4-BE49-F238E27FC236}">
                <a16:creationId xmlns:a16="http://schemas.microsoft.com/office/drawing/2014/main" id="{BBA3890D-332A-F74A-92E0-950BB6F5EF84}"/>
              </a:ext>
            </a:extLst>
          </p:cNvPr>
          <p:cNvSpPr>
            <a:spLocks noGrp="1"/>
          </p:cNvSpPr>
          <p:nvPr>
            <p:ph type="pic" sz="quarter" idx="49"/>
          </p:nvPr>
        </p:nvSpPr>
        <p:spPr>
          <a:xfrm>
            <a:off x="6883126" y="1822450"/>
            <a:ext cx="1605600" cy="1606550"/>
          </a:xfrm>
          <a:prstGeom prst="ellipse">
            <a:avLst/>
          </a:prstGeom>
          <a:solidFill>
            <a:schemeClr val="bg1"/>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57" name="Tijdelijke aanduiding voor tekst 10">
            <a:extLst>
              <a:ext uri="{FF2B5EF4-FFF2-40B4-BE49-F238E27FC236}">
                <a16:creationId xmlns:a16="http://schemas.microsoft.com/office/drawing/2014/main" id="{1F196F95-C6D3-6C47-8DCB-8CB6D6CD8ED9}"/>
              </a:ext>
            </a:extLst>
          </p:cNvPr>
          <p:cNvSpPr>
            <a:spLocks noGrp="1"/>
          </p:cNvSpPr>
          <p:nvPr>
            <p:ph type="body" sz="quarter" idx="50" hasCustomPrompt="1"/>
          </p:nvPr>
        </p:nvSpPr>
        <p:spPr>
          <a:xfrm>
            <a:off x="9212977" y="5786438"/>
            <a:ext cx="2185088" cy="288926"/>
          </a:xfrm>
          <a:prstGeom prst="rect">
            <a:avLst/>
          </a:prstGeom>
        </p:spPr>
        <p:txBody>
          <a:bodyPr>
            <a:noAutofit/>
          </a:bodyPr>
          <a:lstStyle>
            <a:lvl1pPr marL="11113" indent="-11113" algn="ctr">
              <a:buNone/>
              <a:tabLst/>
              <a:defRPr sz="1400" b="1">
                <a:solidFill>
                  <a:schemeClr val="bg1"/>
                </a:solidFill>
              </a:defRPr>
            </a:lvl1pPr>
          </a:lstStyle>
          <a:p>
            <a:pPr lvl="0"/>
            <a:r>
              <a:rPr lang="en-GB" noProof="0" dirty="0"/>
              <a:t>Click here</a:t>
            </a:r>
          </a:p>
        </p:txBody>
      </p:sp>
      <p:sp>
        <p:nvSpPr>
          <p:cNvPr id="58" name="Tijdelijke aanduiding voor afbeelding 27">
            <a:extLst>
              <a:ext uri="{FF2B5EF4-FFF2-40B4-BE49-F238E27FC236}">
                <a16:creationId xmlns:a16="http://schemas.microsoft.com/office/drawing/2014/main" id="{136E60C8-0A7B-0E42-BDF1-64FCD4E754E9}"/>
              </a:ext>
            </a:extLst>
          </p:cNvPr>
          <p:cNvSpPr>
            <a:spLocks noGrp="1"/>
          </p:cNvSpPr>
          <p:nvPr>
            <p:ph type="pic" sz="quarter" idx="51"/>
          </p:nvPr>
        </p:nvSpPr>
        <p:spPr>
          <a:xfrm>
            <a:off x="9502721" y="4096253"/>
            <a:ext cx="1605600" cy="1606550"/>
          </a:xfrm>
          <a:prstGeom prst="ellipse">
            <a:avLst/>
          </a:prstGeom>
          <a:solidFill>
            <a:schemeClr val="bg1"/>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59" name="Tijdelijke aanduiding voor tekst 10">
            <a:extLst>
              <a:ext uri="{FF2B5EF4-FFF2-40B4-BE49-F238E27FC236}">
                <a16:creationId xmlns:a16="http://schemas.microsoft.com/office/drawing/2014/main" id="{AD65659A-481B-2D46-A53F-A93B24725F00}"/>
              </a:ext>
            </a:extLst>
          </p:cNvPr>
          <p:cNvSpPr>
            <a:spLocks noGrp="1"/>
          </p:cNvSpPr>
          <p:nvPr>
            <p:ph type="body" sz="quarter" idx="52" hasCustomPrompt="1"/>
          </p:nvPr>
        </p:nvSpPr>
        <p:spPr>
          <a:xfrm>
            <a:off x="9212977" y="3512635"/>
            <a:ext cx="2185088" cy="288926"/>
          </a:xfrm>
          <a:prstGeom prst="rect">
            <a:avLst/>
          </a:prstGeom>
        </p:spPr>
        <p:txBody>
          <a:bodyPr>
            <a:noAutofit/>
          </a:bodyPr>
          <a:lstStyle>
            <a:lvl1pPr marL="11113" indent="-11113" algn="ctr">
              <a:buNone/>
              <a:tabLst/>
              <a:defRPr sz="1400" b="1">
                <a:solidFill>
                  <a:schemeClr val="bg1"/>
                </a:solidFill>
              </a:defRPr>
            </a:lvl1pPr>
          </a:lstStyle>
          <a:p>
            <a:pPr lvl="0"/>
            <a:r>
              <a:rPr lang="en-GB" noProof="0" dirty="0"/>
              <a:t>Click here</a:t>
            </a:r>
          </a:p>
        </p:txBody>
      </p:sp>
      <p:sp>
        <p:nvSpPr>
          <p:cNvPr id="60" name="Tijdelijke aanduiding voor afbeelding 29">
            <a:extLst>
              <a:ext uri="{FF2B5EF4-FFF2-40B4-BE49-F238E27FC236}">
                <a16:creationId xmlns:a16="http://schemas.microsoft.com/office/drawing/2014/main" id="{1993B1CC-1289-114C-A293-AF7FC2DB1279}"/>
              </a:ext>
            </a:extLst>
          </p:cNvPr>
          <p:cNvSpPr>
            <a:spLocks noGrp="1"/>
          </p:cNvSpPr>
          <p:nvPr>
            <p:ph type="pic" sz="quarter" idx="53"/>
          </p:nvPr>
        </p:nvSpPr>
        <p:spPr>
          <a:xfrm>
            <a:off x="9502721" y="1822450"/>
            <a:ext cx="1605600" cy="1606550"/>
          </a:xfrm>
          <a:prstGeom prst="ellipse">
            <a:avLst/>
          </a:prstGeom>
          <a:solidFill>
            <a:schemeClr val="bg1"/>
          </a:solidFill>
          <a:ln>
            <a:noFill/>
          </a:ln>
        </p:spPr>
        <p:txBody>
          <a:bodyPr wrap="square" bIns="0" anchor="ctr" anchorCtr="0">
            <a:noAutofit/>
          </a:bodyPr>
          <a:lstStyle>
            <a:lvl1pPr marL="0" indent="0" algn="ctr">
              <a:spcBef>
                <a:spcPts val="0"/>
              </a:spcBef>
              <a:buNone/>
              <a:defRPr sz="1000" b="1"/>
            </a:lvl1pPr>
          </a:lstStyle>
          <a:p>
            <a:r>
              <a:rPr lang="de-DE" noProof="0"/>
              <a:t>Bild durch Klicken auf Symbol hinzufügen</a:t>
            </a:r>
            <a:endParaRPr lang="en-GB" noProof="0" dirty="0"/>
          </a:p>
        </p:txBody>
      </p:sp>
      <p:sp>
        <p:nvSpPr>
          <p:cNvPr id="62" name="Tekstvak 61">
            <a:extLst>
              <a:ext uri="{FF2B5EF4-FFF2-40B4-BE49-F238E27FC236}">
                <a16:creationId xmlns:a16="http://schemas.microsoft.com/office/drawing/2014/main" id="{B8E8F2C3-BB88-6844-85EB-7963C615B8B1}"/>
              </a:ext>
            </a:extLst>
          </p:cNvPr>
          <p:cNvSpPr txBox="1"/>
          <p:nvPr userDrawn="1"/>
        </p:nvSpPr>
        <p:spPr bwMode="auto">
          <a:xfrm>
            <a:off x="-2926970" y="-2"/>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The big image in the back</a:t>
            </a:r>
          </a:p>
          <a:p>
            <a:pPr fontAlgn="auto">
              <a:spcBef>
                <a:spcPts val="0"/>
              </a:spcBef>
              <a:spcAft>
                <a:spcPts val="600"/>
              </a:spcAft>
              <a:defRPr/>
            </a:pPr>
            <a:r>
              <a:rPr lang="en-GB" sz="1200" noProof="0" dirty="0">
                <a:solidFill>
                  <a:schemeClr val="tx2"/>
                </a:solidFill>
                <a:latin typeface="+mn-lt"/>
                <a:cs typeface="+mn-cs"/>
              </a:rPr>
              <a:t>Make sure the big image in the background is not busy and has enough contrast with the white text and the images in the circles.</a:t>
            </a:r>
          </a:p>
          <a:p>
            <a:pPr fontAlgn="auto">
              <a:spcBef>
                <a:spcPts val="0"/>
              </a:spcBef>
              <a:spcAft>
                <a:spcPts val="600"/>
              </a:spcAft>
              <a:defRPr/>
            </a:pPr>
            <a:r>
              <a:rPr lang="en-GB" sz="1200" noProof="0" dirty="0">
                <a:solidFill>
                  <a:schemeClr val="tx2"/>
                </a:solidFill>
                <a:latin typeface="+mn-lt"/>
                <a:cs typeface="+mn-cs"/>
              </a:rPr>
              <a:t>Change white text to dark grey </a:t>
            </a:r>
            <a:br>
              <a:rPr lang="en-GB" sz="1200" noProof="0" dirty="0">
                <a:solidFill>
                  <a:schemeClr val="tx2"/>
                </a:solidFill>
                <a:latin typeface="+mn-lt"/>
                <a:cs typeface="+mn-cs"/>
              </a:rPr>
            </a:br>
            <a:r>
              <a:rPr lang="en-GB" sz="1200" noProof="0" dirty="0">
                <a:solidFill>
                  <a:schemeClr val="tx2"/>
                </a:solidFill>
                <a:latin typeface="+mn-lt"/>
                <a:cs typeface="+mn-cs"/>
              </a:rPr>
              <a:t>when the big image in the back is light-coloured.</a:t>
            </a:r>
          </a:p>
          <a:p>
            <a:pPr fontAlgn="auto">
              <a:spcBef>
                <a:spcPts val="0"/>
              </a:spcBef>
              <a:spcAft>
                <a:spcPts val="600"/>
              </a:spcAft>
              <a:defRPr/>
            </a:pPr>
            <a:endParaRPr lang="en-GB" sz="1200" noProof="0" dirty="0">
              <a:solidFill>
                <a:schemeClr val="tx2"/>
              </a:solidFill>
              <a:latin typeface="+mn-lt"/>
              <a:cs typeface="+mn-cs"/>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p:txBody>
      </p:sp>
      <p:pic>
        <p:nvPicPr>
          <p:cNvPr id="30" name="Picture 29">
            <a:extLst>
              <a:ext uri="{FF2B5EF4-FFF2-40B4-BE49-F238E27FC236}">
                <a16:creationId xmlns:a16="http://schemas.microsoft.com/office/drawing/2014/main" id="{336AA935-DB85-4673-80AF-F1D93699CEF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36580" y="3116951"/>
            <a:ext cx="1689394" cy="312049"/>
          </a:xfrm>
          <a:prstGeom prst="rect">
            <a:avLst/>
          </a:prstGeom>
        </p:spPr>
      </p:pic>
      <p:grpSp>
        <p:nvGrpSpPr>
          <p:cNvPr id="31" name="Groep 30">
            <a:extLst>
              <a:ext uri="{FF2B5EF4-FFF2-40B4-BE49-F238E27FC236}">
                <a16:creationId xmlns:a16="http://schemas.microsoft.com/office/drawing/2014/main" id="{7E1F9F54-7338-B245-9770-4ECB0E2B430F}"/>
              </a:ext>
            </a:extLst>
          </p:cNvPr>
          <p:cNvGrpSpPr/>
          <p:nvPr userDrawn="1"/>
        </p:nvGrpSpPr>
        <p:grpSpPr>
          <a:xfrm>
            <a:off x="12443133" y="-1"/>
            <a:ext cx="2670175" cy="6875997"/>
            <a:chOff x="12443133" y="-1"/>
            <a:chExt cx="2670175" cy="6875997"/>
          </a:xfrm>
        </p:grpSpPr>
        <p:sp>
          <p:nvSpPr>
            <p:cNvPr id="34" name="Tekstvak 33">
              <a:extLst>
                <a:ext uri="{FF2B5EF4-FFF2-40B4-BE49-F238E27FC236}">
                  <a16:creationId xmlns:a16="http://schemas.microsoft.com/office/drawing/2014/main" id="{0ECC31E7-9B1E-B74E-82B3-F0CDC630719B}"/>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p:txBody>
        </p:sp>
        <p:pic>
          <p:nvPicPr>
            <p:cNvPr id="35" name="Afbeelding 34">
              <a:extLst>
                <a:ext uri="{FF2B5EF4-FFF2-40B4-BE49-F238E27FC236}">
                  <a16:creationId xmlns:a16="http://schemas.microsoft.com/office/drawing/2014/main" id="{BDB22DCF-AE06-904E-8580-5720B9F1D7B4}"/>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 name="Afbeelding 35">
            <a:extLst>
              <a:ext uri="{FF2B5EF4-FFF2-40B4-BE49-F238E27FC236}">
                <a16:creationId xmlns:a16="http://schemas.microsoft.com/office/drawing/2014/main" id="{3EDC0987-8DD1-7745-840A-F9E7E7FCD88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41675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Header Long - Text/Char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EF3522CC-F636-4492-926F-4DF479A5EB93}"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2" name="Titel 1">
            <a:extLst>
              <a:ext uri="{FF2B5EF4-FFF2-40B4-BE49-F238E27FC236}">
                <a16:creationId xmlns:a16="http://schemas.microsoft.com/office/drawing/2014/main" id="{D0641892-5A0D-284E-8093-6227FAE4A757}"/>
              </a:ext>
            </a:extLst>
          </p:cNvPr>
          <p:cNvSpPr>
            <a:spLocks noGrp="1"/>
          </p:cNvSpPr>
          <p:nvPr>
            <p:ph type="title"/>
          </p:nvPr>
        </p:nvSpPr>
        <p:spPr/>
        <p:txBody>
          <a:bodyPr/>
          <a:lstStyle/>
          <a:p>
            <a:r>
              <a:rPr lang="de-DE" noProof="0"/>
              <a:t>Mastertitelformat bearbeiten</a:t>
            </a:r>
            <a:endParaRPr lang="en-GB" noProof="0"/>
          </a:p>
        </p:txBody>
      </p:sp>
      <p:sp>
        <p:nvSpPr>
          <p:cNvPr id="11" name="Tekstvak 10">
            <a:extLst>
              <a:ext uri="{FF2B5EF4-FFF2-40B4-BE49-F238E27FC236}">
                <a16:creationId xmlns:a16="http://schemas.microsoft.com/office/drawing/2014/main" id="{BFC97248-B869-CB4D-9739-8FE354233A73}"/>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body text has </a:t>
            </a:r>
            <a:br>
              <a:rPr lang="en-GB" sz="1400" b="1" noProof="0">
                <a:solidFill>
                  <a:schemeClr val="tx2"/>
                </a:solidFill>
              </a:rPr>
            </a:br>
            <a:r>
              <a:rPr lang="en-GB" sz="1400" b="1" noProof="0">
                <a:solidFill>
                  <a:schemeClr val="tx2"/>
                </a:solidFill>
              </a:rPr>
              <a:t>3 list levels:</a:t>
            </a:r>
          </a:p>
          <a:p>
            <a:pPr>
              <a:defRPr/>
            </a:pPr>
            <a:endParaRPr lang="en-GB" sz="1200" noProof="0">
              <a:solidFill>
                <a:schemeClr val="tx2"/>
              </a:solidFill>
            </a:endParaRPr>
          </a:p>
          <a:p>
            <a:pPr marL="108000" indent="-108000">
              <a:buFont typeface="Wingdings" pitchFamily="2" charset="2"/>
              <a:buChar char="§"/>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108000" indent="-108000">
              <a:buFont typeface="Wingdings" pitchFamily="2" charset="2"/>
              <a:buChar char="§"/>
              <a:defRPr/>
            </a:pPr>
            <a:endParaRPr lang="en-GB" sz="900" noProof="0">
              <a:solidFill>
                <a:schemeClr val="tx2"/>
              </a:solidFill>
            </a:endParaRPr>
          </a:p>
          <a:p>
            <a:pPr marL="216000" indent="-108000">
              <a:buFont typeface=".Lucida Grande UI Regular"/>
              <a:buChar char="▫"/>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324000" indent="-108000">
              <a:buFont typeface=".Lucida Grande UI Regular"/>
              <a:buChar char="▫"/>
              <a:defRPr/>
            </a:pPr>
            <a:r>
              <a:rPr lang="en-GB" sz="1200" noProof="0">
                <a:solidFill>
                  <a:schemeClr val="tx2"/>
                </a:solidFill>
              </a:rPr>
              <a:t>Regular text (level 3)</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0" indent="0">
              <a:buFont typeface=".Lucida Grande UI Regular"/>
              <a:buNone/>
              <a:tabLst/>
              <a:defRPr/>
            </a:pPr>
            <a:r>
              <a:rPr lang="en-GB"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a:solidFill>
                <a:schemeClr val="tx2"/>
              </a:solidFill>
            </a:endParaRPr>
          </a:p>
          <a:p>
            <a:pPr marL="0" indent="0">
              <a:buFont typeface=".Lucida Grande UI Regular"/>
              <a:buNone/>
              <a:tabLst/>
              <a:defRPr/>
            </a:pPr>
            <a:r>
              <a:rPr lang="en-GB" sz="1200" noProof="0">
                <a:solidFill>
                  <a:schemeClr val="tx2"/>
                </a:solidFill>
              </a:rPr>
              <a:t>Keep your titles short and to the point. They will not become smaller.</a:t>
            </a:r>
          </a:p>
        </p:txBody>
      </p:sp>
      <p:sp>
        <p:nvSpPr>
          <p:cNvPr id="9" name="Text Placeholder 8">
            <a:extLst>
              <a:ext uri="{FF2B5EF4-FFF2-40B4-BE49-F238E27FC236}">
                <a16:creationId xmlns:a16="http://schemas.microsoft.com/office/drawing/2014/main" id="{539676CE-C48D-4055-BF99-E49D7DA73EEA}"/>
              </a:ext>
            </a:extLst>
          </p:cNvPr>
          <p:cNvSpPr>
            <a:spLocks noGrp="1"/>
          </p:cNvSpPr>
          <p:nvPr>
            <p:ph type="body" sz="quarter" idx="13"/>
          </p:nvPr>
        </p:nvSpPr>
        <p:spPr>
          <a:xfrm>
            <a:off x="1347789" y="1376364"/>
            <a:ext cx="4644777" cy="46989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12" name="Chart Placeholder 6">
            <a:extLst>
              <a:ext uri="{FF2B5EF4-FFF2-40B4-BE49-F238E27FC236}">
                <a16:creationId xmlns:a16="http://schemas.microsoft.com/office/drawing/2014/main" id="{F4924234-AE1F-4A4A-901D-43DB4D0729F7}"/>
              </a:ext>
            </a:extLst>
          </p:cNvPr>
          <p:cNvSpPr>
            <a:spLocks noGrp="1"/>
          </p:cNvSpPr>
          <p:nvPr>
            <p:ph type="chart" sz="quarter" idx="16"/>
          </p:nvPr>
        </p:nvSpPr>
        <p:spPr>
          <a:xfrm>
            <a:off x="6199188" y="1376363"/>
            <a:ext cx="5541962" cy="4699000"/>
          </a:xfrm>
        </p:spPr>
        <p:txBody>
          <a:bodyPr anchor="ctr"/>
          <a:lstStyle>
            <a:lvl1pPr algn="ctr">
              <a:buNone/>
              <a:defRPr sz="1000" b="1"/>
            </a:lvl1pPr>
          </a:lstStyle>
          <a:p>
            <a:r>
              <a:rPr lang="de-DE" noProof="0"/>
              <a:t>Diagramm durch Klicken auf Symbol hinzufügen</a:t>
            </a:r>
            <a:endParaRPr lang="en-GB" noProof="0"/>
          </a:p>
        </p:txBody>
      </p:sp>
    </p:spTree>
    <p:extLst>
      <p:ext uri="{BB962C8B-B14F-4D97-AF65-F5344CB8AC3E}">
        <p14:creationId xmlns:p14="http://schemas.microsoft.com/office/powerpoint/2010/main" val="12646131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Header Long - Text/Char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656EC1E0-4C42-46B0-80D2-08BE5714FCE6}"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dirty="0"/>
              <a:t>Intraday Capacity Calculation</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12" name="Tijdelijke aanduiding voor tekst 7">
            <a:extLst>
              <a:ext uri="{FF2B5EF4-FFF2-40B4-BE49-F238E27FC236}">
                <a16:creationId xmlns:a16="http://schemas.microsoft.com/office/drawing/2014/main" id="{F4E0C8EA-33D2-FD4B-AC7B-F0C892770AB4}"/>
              </a:ext>
            </a:extLst>
          </p:cNvPr>
          <p:cNvSpPr>
            <a:spLocks noGrp="1"/>
          </p:cNvSpPr>
          <p:nvPr>
            <p:ph type="body" sz="quarter" idx="13"/>
          </p:nvPr>
        </p:nvSpPr>
        <p:spPr>
          <a:xfrm>
            <a:off x="1347788" y="953522"/>
            <a:ext cx="10390499"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D0641892-5A0D-284E-8093-6227FAE4A757}"/>
              </a:ext>
            </a:extLst>
          </p:cNvPr>
          <p:cNvSpPr>
            <a:spLocks noGrp="1"/>
          </p:cNvSpPr>
          <p:nvPr>
            <p:ph type="title"/>
          </p:nvPr>
        </p:nvSpPr>
        <p:spPr/>
        <p:txBody>
          <a:bodyPr/>
          <a:lstStyle/>
          <a:p>
            <a:r>
              <a:rPr lang="de-DE" noProof="0"/>
              <a:t>Mastertitelformat bearbeiten</a:t>
            </a:r>
            <a:endParaRPr lang="en-GB" noProof="0"/>
          </a:p>
        </p:txBody>
      </p:sp>
      <p:sp>
        <p:nvSpPr>
          <p:cNvPr id="11" name="Text Placeholder 8">
            <a:extLst>
              <a:ext uri="{FF2B5EF4-FFF2-40B4-BE49-F238E27FC236}">
                <a16:creationId xmlns:a16="http://schemas.microsoft.com/office/drawing/2014/main" id="{7F964774-FCB7-4FC3-8BF3-60BD55274C9A}"/>
              </a:ext>
            </a:extLst>
          </p:cNvPr>
          <p:cNvSpPr>
            <a:spLocks noGrp="1"/>
          </p:cNvSpPr>
          <p:nvPr>
            <p:ph type="body" sz="quarter" idx="16"/>
          </p:nvPr>
        </p:nvSpPr>
        <p:spPr>
          <a:xfrm>
            <a:off x="1347789" y="1822450"/>
            <a:ext cx="4644777" cy="425291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15" name="Chart Placeholder 6">
            <a:extLst>
              <a:ext uri="{FF2B5EF4-FFF2-40B4-BE49-F238E27FC236}">
                <a16:creationId xmlns:a16="http://schemas.microsoft.com/office/drawing/2014/main" id="{F7036366-EE88-482F-9B33-58019CF6396D}"/>
              </a:ext>
            </a:extLst>
          </p:cNvPr>
          <p:cNvSpPr>
            <a:spLocks noGrp="1"/>
          </p:cNvSpPr>
          <p:nvPr>
            <p:ph type="chart" sz="quarter" idx="17"/>
          </p:nvPr>
        </p:nvSpPr>
        <p:spPr>
          <a:xfrm>
            <a:off x="6199188" y="1822449"/>
            <a:ext cx="5541962" cy="4252913"/>
          </a:xfrm>
        </p:spPr>
        <p:txBody>
          <a:bodyPr anchor="ctr"/>
          <a:lstStyle>
            <a:lvl1pPr algn="ctr">
              <a:buNone/>
              <a:defRPr sz="1000" b="1"/>
            </a:lvl1pPr>
          </a:lstStyle>
          <a:p>
            <a:r>
              <a:rPr lang="de-DE" noProof="0"/>
              <a:t>Diagramm durch Klicken auf Symbol hinzufügen</a:t>
            </a:r>
            <a:endParaRPr lang="en-GB" noProof="0"/>
          </a:p>
        </p:txBody>
      </p:sp>
      <p:sp>
        <p:nvSpPr>
          <p:cNvPr id="10" name="Tekstvak 9">
            <a:extLst>
              <a:ext uri="{FF2B5EF4-FFF2-40B4-BE49-F238E27FC236}">
                <a16:creationId xmlns:a16="http://schemas.microsoft.com/office/drawing/2014/main" id="{5388E3C7-423E-1D4B-818D-A5A047A8E8E7}"/>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body text has </a:t>
            </a:r>
            <a:br>
              <a:rPr lang="en-GB" sz="1400" b="1" noProof="0">
                <a:solidFill>
                  <a:schemeClr val="tx2"/>
                </a:solidFill>
              </a:rPr>
            </a:br>
            <a:r>
              <a:rPr lang="en-GB" sz="1400" b="1" noProof="0">
                <a:solidFill>
                  <a:schemeClr val="tx2"/>
                </a:solidFill>
              </a:rPr>
              <a:t>3 list levels:</a:t>
            </a:r>
          </a:p>
          <a:p>
            <a:pPr>
              <a:defRPr/>
            </a:pPr>
            <a:endParaRPr lang="en-GB" sz="1200" noProof="0">
              <a:solidFill>
                <a:schemeClr val="tx2"/>
              </a:solidFill>
            </a:endParaRPr>
          </a:p>
          <a:p>
            <a:pPr marL="108000" indent="-108000">
              <a:buFont typeface="Wingdings" pitchFamily="2" charset="2"/>
              <a:buChar char="§"/>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108000" indent="-108000">
              <a:buFont typeface="Wingdings" pitchFamily="2" charset="2"/>
              <a:buChar char="§"/>
              <a:defRPr/>
            </a:pPr>
            <a:endParaRPr lang="en-GB" sz="900" noProof="0">
              <a:solidFill>
                <a:schemeClr val="tx2"/>
              </a:solidFill>
            </a:endParaRPr>
          </a:p>
          <a:p>
            <a:pPr marL="216000" indent="-108000">
              <a:buFont typeface=".Lucida Grande UI Regular"/>
              <a:buChar char="▫"/>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324000" indent="-108000">
              <a:buFont typeface=".Lucida Grande UI Regular"/>
              <a:buChar char="▫"/>
              <a:defRPr/>
            </a:pPr>
            <a:r>
              <a:rPr lang="en-GB" sz="1200" noProof="0">
                <a:solidFill>
                  <a:schemeClr val="tx2"/>
                </a:solidFill>
              </a:rPr>
              <a:t>Regular text (level 3)</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0" indent="0">
              <a:buFont typeface=".Lucida Grande UI Regular"/>
              <a:buNone/>
              <a:tabLst/>
              <a:defRPr/>
            </a:pPr>
            <a:r>
              <a:rPr lang="en-GB"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a:solidFill>
                <a:schemeClr val="tx2"/>
              </a:solidFill>
            </a:endParaRPr>
          </a:p>
          <a:p>
            <a:pPr marL="0" indent="0">
              <a:buFont typeface=".Lucida Grande UI Regular"/>
              <a:buNone/>
              <a:tabLst/>
              <a:defRPr/>
            </a:pPr>
            <a:r>
              <a:rPr lang="en-GB" sz="1200" noProof="0">
                <a:solidFill>
                  <a:schemeClr val="tx2"/>
                </a:solidFill>
              </a:rPr>
              <a:t>Keep your titles short and to the point. They will not become smaller.</a:t>
            </a:r>
          </a:p>
        </p:txBody>
      </p:sp>
    </p:spTree>
    <p:extLst>
      <p:ext uri="{BB962C8B-B14F-4D97-AF65-F5344CB8AC3E}">
        <p14:creationId xmlns:p14="http://schemas.microsoft.com/office/powerpoint/2010/main" val="36016603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Header Long - Text/ChartGrey">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0A3ABBB9-0F5D-4A26-902B-B070FB5C9D3B}"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13" name="Vrije vorm 12">
            <a:extLst>
              <a:ext uri="{FF2B5EF4-FFF2-40B4-BE49-F238E27FC236}">
                <a16:creationId xmlns:a16="http://schemas.microsoft.com/office/drawing/2014/main" id="{4B698DD7-BF74-D24F-82E8-ACC9D81A4FF3}"/>
              </a:ext>
            </a:extLst>
          </p:cNvPr>
          <p:cNvSpPr>
            <a:spLocks/>
          </p:cNvSpPr>
          <p:nvPr userDrawn="1"/>
        </p:nvSpPr>
        <p:spPr bwMode="auto">
          <a:xfrm>
            <a:off x="6199436" y="1376364"/>
            <a:ext cx="5548087" cy="4687174"/>
          </a:xfrm>
          <a:custGeom>
            <a:avLst/>
            <a:gdLst>
              <a:gd name="connsiteX0" fmla="*/ 0 w 5548087"/>
              <a:gd name="connsiteY0" fmla="*/ 0 h 4687174"/>
              <a:gd name="connsiteX1" fmla="*/ 5547573 w 5548087"/>
              <a:gd name="connsiteY1" fmla="*/ 0 h 4687174"/>
              <a:gd name="connsiteX2" fmla="*/ 5547573 w 5548087"/>
              <a:gd name="connsiteY2" fmla="*/ 446086 h 4687174"/>
              <a:gd name="connsiteX3" fmla="*/ 5548087 w 5548087"/>
              <a:gd name="connsiteY3" fmla="*/ 446086 h 4687174"/>
              <a:gd name="connsiteX4" fmla="*/ 5548087 w 5548087"/>
              <a:gd name="connsiteY4" fmla="*/ 4478948 h 4687174"/>
              <a:gd name="connsiteX5" fmla="*/ 5088832 w 5548087"/>
              <a:gd name="connsiteY5" fmla="*/ 4687174 h 4687174"/>
              <a:gd name="connsiteX6" fmla="*/ 514 w 5548087"/>
              <a:gd name="connsiteY6" fmla="*/ 4687174 h 4687174"/>
              <a:gd name="connsiteX7" fmla="*/ 514 w 5548087"/>
              <a:gd name="connsiteY7" fmla="*/ 446086 h 4687174"/>
              <a:gd name="connsiteX8" fmla="*/ 0 w 5548087"/>
              <a:gd name="connsiteY8" fmla="*/ 446086 h 468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087" h="4687174">
                <a:moveTo>
                  <a:pt x="0" y="0"/>
                </a:moveTo>
                <a:lnTo>
                  <a:pt x="5547573" y="0"/>
                </a:lnTo>
                <a:lnTo>
                  <a:pt x="5547573" y="446086"/>
                </a:lnTo>
                <a:lnTo>
                  <a:pt x="5548087" y="446086"/>
                </a:lnTo>
                <a:lnTo>
                  <a:pt x="5548087" y="4478948"/>
                </a:lnTo>
                <a:lnTo>
                  <a:pt x="5088832" y="4687174"/>
                </a:lnTo>
                <a:lnTo>
                  <a:pt x="514" y="4687174"/>
                </a:lnTo>
                <a:lnTo>
                  <a:pt x="514" y="446086"/>
                </a:lnTo>
                <a:lnTo>
                  <a:pt x="0" y="446086"/>
                </a:lnTo>
                <a:close/>
              </a:path>
            </a:pathLst>
          </a:custGeom>
          <a:solidFill>
            <a:srgbClr val="EAEEF0"/>
          </a:solidFill>
          <a:ln>
            <a:noFill/>
          </a:ln>
        </p:spPr>
        <p:txBody>
          <a:bodyPr vert="horz" wrap="square" lIns="91419" tIns="45709" rIns="91419" bIns="45709" numCol="1" anchor="t" anchorCtr="0" compatLnSpc="1">
            <a:prstTxWarp prst="textNoShape">
              <a:avLst/>
            </a:prstTxWarp>
            <a:noAutofit/>
          </a:bodyPr>
          <a:lstStyle/>
          <a:p>
            <a:endParaRPr lang="en-GB" sz="1116" noProof="0"/>
          </a:p>
        </p:txBody>
      </p:sp>
      <p:sp>
        <p:nvSpPr>
          <p:cNvPr id="2" name="Titel 1">
            <a:extLst>
              <a:ext uri="{FF2B5EF4-FFF2-40B4-BE49-F238E27FC236}">
                <a16:creationId xmlns:a16="http://schemas.microsoft.com/office/drawing/2014/main" id="{C8DA1B61-7DEC-FA4C-A759-F9492B6D97E7}"/>
              </a:ext>
            </a:extLst>
          </p:cNvPr>
          <p:cNvSpPr>
            <a:spLocks noGrp="1"/>
          </p:cNvSpPr>
          <p:nvPr>
            <p:ph type="title"/>
          </p:nvPr>
        </p:nvSpPr>
        <p:spPr/>
        <p:txBody>
          <a:bodyPr/>
          <a:lstStyle/>
          <a:p>
            <a:r>
              <a:rPr lang="de-DE" noProof="0"/>
              <a:t>Mastertitelformat bearbeiten</a:t>
            </a:r>
            <a:endParaRPr lang="en-GB" noProof="0"/>
          </a:p>
        </p:txBody>
      </p:sp>
      <p:sp>
        <p:nvSpPr>
          <p:cNvPr id="10" name="Text Placeholder 8">
            <a:extLst>
              <a:ext uri="{FF2B5EF4-FFF2-40B4-BE49-F238E27FC236}">
                <a16:creationId xmlns:a16="http://schemas.microsoft.com/office/drawing/2014/main" id="{112D26A6-1F2F-46F1-944B-3D55326348BA}"/>
              </a:ext>
            </a:extLst>
          </p:cNvPr>
          <p:cNvSpPr>
            <a:spLocks noGrp="1"/>
          </p:cNvSpPr>
          <p:nvPr>
            <p:ph type="body" sz="quarter" idx="13"/>
          </p:nvPr>
        </p:nvSpPr>
        <p:spPr>
          <a:xfrm>
            <a:off x="1347789" y="1376364"/>
            <a:ext cx="4644777" cy="46989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15" name="Chart Placeholder 6">
            <a:extLst>
              <a:ext uri="{FF2B5EF4-FFF2-40B4-BE49-F238E27FC236}">
                <a16:creationId xmlns:a16="http://schemas.microsoft.com/office/drawing/2014/main" id="{5F91B1AE-0011-4CA9-937E-CE13443AAF02}"/>
              </a:ext>
            </a:extLst>
          </p:cNvPr>
          <p:cNvSpPr>
            <a:spLocks noGrp="1"/>
          </p:cNvSpPr>
          <p:nvPr>
            <p:ph type="chart" sz="quarter" idx="16"/>
          </p:nvPr>
        </p:nvSpPr>
        <p:spPr>
          <a:xfrm>
            <a:off x="6386776" y="1607126"/>
            <a:ext cx="5171876" cy="4226666"/>
          </a:xfrm>
        </p:spPr>
        <p:txBody>
          <a:bodyPr anchor="ctr"/>
          <a:lstStyle>
            <a:lvl1pPr algn="ctr">
              <a:buNone/>
              <a:defRPr sz="1000" b="1"/>
            </a:lvl1pPr>
          </a:lstStyle>
          <a:p>
            <a:r>
              <a:rPr lang="de-DE" noProof="0"/>
              <a:t>Diagramm durch Klicken auf Symbol hinzufügen</a:t>
            </a:r>
            <a:endParaRPr lang="en-GB" noProof="0"/>
          </a:p>
        </p:txBody>
      </p:sp>
      <p:sp>
        <p:nvSpPr>
          <p:cNvPr id="16" name="Tekstvak 15">
            <a:extLst>
              <a:ext uri="{FF2B5EF4-FFF2-40B4-BE49-F238E27FC236}">
                <a16:creationId xmlns:a16="http://schemas.microsoft.com/office/drawing/2014/main" id="{CE4928D9-5CE0-0A40-96C3-A916E3785695}"/>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body text has </a:t>
            </a:r>
            <a:br>
              <a:rPr lang="en-GB" sz="1400" b="1" noProof="0">
                <a:solidFill>
                  <a:schemeClr val="tx2"/>
                </a:solidFill>
              </a:rPr>
            </a:br>
            <a:r>
              <a:rPr lang="en-GB" sz="1400" b="1" noProof="0">
                <a:solidFill>
                  <a:schemeClr val="tx2"/>
                </a:solidFill>
              </a:rPr>
              <a:t>3 list levels:</a:t>
            </a:r>
          </a:p>
          <a:p>
            <a:pPr>
              <a:defRPr/>
            </a:pPr>
            <a:endParaRPr lang="en-GB" sz="1200" noProof="0">
              <a:solidFill>
                <a:schemeClr val="tx2"/>
              </a:solidFill>
            </a:endParaRPr>
          </a:p>
          <a:p>
            <a:pPr marL="108000" indent="-108000">
              <a:buFont typeface="Wingdings" pitchFamily="2" charset="2"/>
              <a:buChar char="§"/>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108000" indent="-108000">
              <a:buFont typeface="Wingdings" pitchFamily="2" charset="2"/>
              <a:buChar char="§"/>
              <a:defRPr/>
            </a:pPr>
            <a:endParaRPr lang="en-GB" sz="900" noProof="0">
              <a:solidFill>
                <a:schemeClr val="tx2"/>
              </a:solidFill>
            </a:endParaRPr>
          </a:p>
          <a:p>
            <a:pPr marL="216000" indent="-108000">
              <a:buFont typeface=".Lucida Grande UI Regular"/>
              <a:buChar char="▫"/>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324000" indent="-108000">
              <a:buFont typeface=".Lucida Grande UI Regular"/>
              <a:buChar char="▫"/>
              <a:defRPr/>
            </a:pPr>
            <a:r>
              <a:rPr lang="en-GB" sz="1200" noProof="0">
                <a:solidFill>
                  <a:schemeClr val="tx2"/>
                </a:solidFill>
              </a:rPr>
              <a:t>Regular text (level 3)</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0" indent="0">
              <a:buFont typeface=".Lucida Grande UI Regular"/>
              <a:buNone/>
              <a:tabLst/>
              <a:defRPr/>
            </a:pPr>
            <a:r>
              <a:rPr lang="en-GB"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a:solidFill>
                <a:schemeClr val="tx2"/>
              </a:solidFill>
            </a:endParaRPr>
          </a:p>
          <a:p>
            <a:pPr marL="0" indent="0">
              <a:buFont typeface=".Lucida Grande UI Regular"/>
              <a:buNone/>
              <a:tabLst/>
              <a:defRPr/>
            </a:pPr>
            <a:r>
              <a:rPr lang="en-GB" sz="1200" noProof="0">
                <a:solidFill>
                  <a:schemeClr val="tx2"/>
                </a:solidFill>
              </a:rPr>
              <a:t>Keep your titles short and to the point. They will not become smaller.</a:t>
            </a:r>
          </a:p>
        </p:txBody>
      </p:sp>
    </p:spTree>
    <p:extLst>
      <p:ext uri="{BB962C8B-B14F-4D97-AF65-F5344CB8AC3E}">
        <p14:creationId xmlns:p14="http://schemas.microsoft.com/office/powerpoint/2010/main" val="21071726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Header Long - Text/ChartGrey">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99F92C12-B1F1-4819-8895-6F1751FB73F0}"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12" name="Tijdelijke aanduiding voor tekst 7">
            <a:extLst>
              <a:ext uri="{FF2B5EF4-FFF2-40B4-BE49-F238E27FC236}">
                <a16:creationId xmlns:a16="http://schemas.microsoft.com/office/drawing/2014/main" id="{F4E0C8EA-33D2-FD4B-AC7B-F0C892770AB4}"/>
              </a:ext>
            </a:extLst>
          </p:cNvPr>
          <p:cNvSpPr>
            <a:spLocks noGrp="1"/>
          </p:cNvSpPr>
          <p:nvPr>
            <p:ph type="body" sz="quarter" idx="13"/>
          </p:nvPr>
        </p:nvSpPr>
        <p:spPr>
          <a:xfrm>
            <a:off x="1347788" y="953522"/>
            <a:ext cx="10390499"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17" name="Vrije vorm 16">
            <a:extLst>
              <a:ext uri="{FF2B5EF4-FFF2-40B4-BE49-F238E27FC236}">
                <a16:creationId xmlns:a16="http://schemas.microsoft.com/office/drawing/2014/main" id="{5A8D8619-71A1-BD45-99DF-BA6C567A426F}"/>
              </a:ext>
            </a:extLst>
          </p:cNvPr>
          <p:cNvSpPr>
            <a:spLocks/>
          </p:cNvSpPr>
          <p:nvPr userDrawn="1"/>
        </p:nvSpPr>
        <p:spPr bwMode="auto">
          <a:xfrm>
            <a:off x="6199950" y="1822450"/>
            <a:ext cx="5547573" cy="4241088"/>
          </a:xfrm>
          <a:custGeom>
            <a:avLst/>
            <a:gdLst>
              <a:gd name="connsiteX0" fmla="*/ 0 w 5547573"/>
              <a:gd name="connsiteY0" fmla="*/ 0 h 4241088"/>
              <a:gd name="connsiteX1" fmla="*/ 5547573 w 5547573"/>
              <a:gd name="connsiteY1" fmla="*/ 0 h 4241088"/>
              <a:gd name="connsiteX2" fmla="*/ 5547573 w 5547573"/>
              <a:gd name="connsiteY2" fmla="*/ 4032862 h 4241088"/>
              <a:gd name="connsiteX3" fmla="*/ 5088318 w 5547573"/>
              <a:gd name="connsiteY3" fmla="*/ 4241088 h 4241088"/>
              <a:gd name="connsiteX4" fmla="*/ 0 w 5547573"/>
              <a:gd name="connsiteY4" fmla="*/ 4241088 h 4241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7573" h="4241088">
                <a:moveTo>
                  <a:pt x="0" y="0"/>
                </a:moveTo>
                <a:lnTo>
                  <a:pt x="5547573" y="0"/>
                </a:lnTo>
                <a:lnTo>
                  <a:pt x="5547573" y="4032862"/>
                </a:lnTo>
                <a:lnTo>
                  <a:pt x="5088318" y="4241088"/>
                </a:lnTo>
                <a:lnTo>
                  <a:pt x="0" y="4241088"/>
                </a:lnTo>
                <a:close/>
              </a:path>
            </a:pathLst>
          </a:custGeom>
          <a:solidFill>
            <a:srgbClr val="EAEEF0"/>
          </a:solidFill>
          <a:ln>
            <a:noFill/>
          </a:ln>
        </p:spPr>
        <p:txBody>
          <a:bodyPr vert="horz" wrap="square" lIns="91419" tIns="45709" rIns="91419" bIns="45709" numCol="1" anchor="t" anchorCtr="0" compatLnSpc="1">
            <a:prstTxWarp prst="textNoShape">
              <a:avLst/>
            </a:prstTxWarp>
            <a:noAutofit/>
          </a:bodyPr>
          <a:lstStyle/>
          <a:p>
            <a:endParaRPr lang="en-GB" sz="1116" noProof="0"/>
          </a:p>
        </p:txBody>
      </p:sp>
      <p:sp>
        <p:nvSpPr>
          <p:cNvPr id="2" name="Titel 1">
            <a:extLst>
              <a:ext uri="{FF2B5EF4-FFF2-40B4-BE49-F238E27FC236}">
                <a16:creationId xmlns:a16="http://schemas.microsoft.com/office/drawing/2014/main" id="{C8DA1B61-7DEC-FA4C-A759-F9492B6D97E7}"/>
              </a:ext>
            </a:extLst>
          </p:cNvPr>
          <p:cNvSpPr>
            <a:spLocks noGrp="1"/>
          </p:cNvSpPr>
          <p:nvPr>
            <p:ph type="title"/>
          </p:nvPr>
        </p:nvSpPr>
        <p:spPr/>
        <p:txBody>
          <a:bodyPr/>
          <a:lstStyle/>
          <a:p>
            <a:r>
              <a:rPr lang="de-DE" noProof="0"/>
              <a:t>Mastertitelformat bearbeiten</a:t>
            </a:r>
            <a:endParaRPr lang="en-GB" noProof="0"/>
          </a:p>
        </p:txBody>
      </p:sp>
      <p:sp>
        <p:nvSpPr>
          <p:cNvPr id="13" name="Tekstvak 12">
            <a:extLst>
              <a:ext uri="{FF2B5EF4-FFF2-40B4-BE49-F238E27FC236}">
                <a16:creationId xmlns:a16="http://schemas.microsoft.com/office/drawing/2014/main" id="{F3503D65-27C1-1D42-B803-8DB31E3C5A83}"/>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body text has </a:t>
            </a:r>
            <a:br>
              <a:rPr lang="en-GB" sz="1400" b="1" noProof="0">
                <a:solidFill>
                  <a:schemeClr val="tx2"/>
                </a:solidFill>
              </a:rPr>
            </a:br>
            <a:r>
              <a:rPr lang="en-GB" sz="1400" b="1" noProof="0">
                <a:solidFill>
                  <a:schemeClr val="tx2"/>
                </a:solidFill>
              </a:rPr>
              <a:t>3 list levels:</a:t>
            </a:r>
          </a:p>
          <a:p>
            <a:pPr>
              <a:defRPr/>
            </a:pPr>
            <a:endParaRPr lang="en-GB" sz="1200" noProof="0">
              <a:solidFill>
                <a:schemeClr val="tx2"/>
              </a:solidFill>
            </a:endParaRPr>
          </a:p>
          <a:p>
            <a:pPr marL="108000" indent="-108000">
              <a:buFont typeface="Wingdings" pitchFamily="2" charset="2"/>
              <a:buChar char="§"/>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108000" indent="-108000">
              <a:buFont typeface="Wingdings" pitchFamily="2" charset="2"/>
              <a:buChar char="§"/>
              <a:defRPr/>
            </a:pPr>
            <a:endParaRPr lang="en-GB" sz="900" noProof="0">
              <a:solidFill>
                <a:schemeClr val="tx2"/>
              </a:solidFill>
            </a:endParaRPr>
          </a:p>
          <a:p>
            <a:pPr marL="216000" indent="-108000">
              <a:buFont typeface=".Lucida Grande UI Regular"/>
              <a:buChar char="▫"/>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324000" indent="-108000">
              <a:buFont typeface=".Lucida Grande UI Regular"/>
              <a:buChar char="▫"/>
              <a:defRPr/>
            </a:pPr>
            <a:r>
              <a:rPr lang="en-GB" sz="1200" noProof="0">
                <a:solidFill>
                  <a:schemeClr val="tx2"/>
                </a:solidFill>
              </a:rPr>
              <a:t>Regular text (level 3)</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0" indent="0">
              <a:buFont typeface=".Lucida Grande UI Regular"/>
              <a:buNone/>
              <a:tabLst/>
              <a:defRPr/>
            </a:pPr>
            <a:r>
              <a:rPr lang="en-GB"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a:solidFill>
                <a:schemeClr val="tx2"/>
              </a:solidFill>
            </a:endParaRPr>
          </a:p>
          <a:p>
            <a:pPr marL="0" indent="0">
              <a:buFont typeface=".Lucida Grande UI Regular"/>
              <a:buNone/>
              <a:tabLst/>
              <a:defRPr/>
            </a:pPr>
            <a:r>
              <a:rPr lang="en-GB" sz="1200" noProof="0">
                <a:solidFill>
                  <a:schemeClr val="tx2"/>
                </a:solidFill>
              </a:rPr>
              <a:t>Keep your titles short and to the point. They will not become smaller.</a:t>
            </a:r>
          </a:p>
        </p:txBody>
      </p:sp>
      <p:sp>
        <p:nvSpPr>
          <p:cNvPr id="11" name="Text Placeholder 8">
            <a:extLst>
              <a:ext uri="{FF2B5EF4-FFF2-40B4-BE49-F238E27FC236}">
                <a16:creationId xmlns:a16="http://schemas.microsoft.com/office/drawing/2014/main" id="{54AA4933-4C25-4463-8ED9-484C6F93E22C}"/>
              </a:ext>
            </a:extLst>
          </p:cNvPr>
          <p:cNvSpPr>
            <a:spLocks noGrp="1"/>
          </p:cNvSpPr>
          <p:nvPr>
            <p:ph type="body" sz="quarter" idx="16"/>
          </p:nvPr>
        </p:nvSpPr>
        <p:spPr>
          <a:xfrm>
            <a:off x="1347789" y="1822450"/>
            <a:ext cx="4644777" cy="425291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16" name="Chart Placeholder 6">
            <a:extLst>
              <a:ext uri="{FF2B5EF4-FFF2-40B4-BE49-F238E27FC236}">
                <a16:creationId xmlns:a16="http://schemas.microsoft.com/office/drawing/2014/main" id="{0C38DFE6-F2E9-4DA5-A938-7DF7409E6DB4}"/>
              </a:ext>
            </a:extLst>
          </p:cNvPr>
          <p:cNvSpPr>
            <a:spLocks noGrp="1"/>
          </p:cNvSpPr>
          <p:nvPr>
            <p:ph type="chart" sz="quarter" idx="17"/>
          </p:nvPr>
        </p:nvSpPr>
        <p:spPr>
          <a:xfrm>
            <a:off x="6386776" y="2011680"/>
            <a:ext cx="5171876" cy="3822112"/>
          </a:xfrm>
        </p:spPr>
        <p:txBody>
          <a:bodyPr anchor="ctr"/>
          <a:lstStyle>
            <a:lvl1pPr algn="ctr">
              <a:buNone/>
              <a:defRPr sz="1000" b="1"/>
            </a:lvl1pPr>
          </a:lstStyle>
          <a:p>
            <a:r>
              <a:rPr lang="de-DE" noProof="0"/>
              <a:t>Diagramm durch Klicken auf Symbol hinzufügen</a:t>
            </a:r>
            <a:endParaRPr lang="en-GB" noProof="0"/>
          </a:p>
        </p:txBody>
      </p:sp>
    </p:spTree>
    <p:extLst>
      <p:ext uri="{BB962C8B-B14F-4D97-AF65-F5344CB8AC3E}">
        <p14:creationId xmlns:p14="http://schemas.microsoft.com/office/powerpoint/2010/main" val="4133003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rgbClr val="EAEEF0"/>
        </a:solidFill>
        <a:effectLst/>
      </p:bgPr>
    </p:bg>
    <p:spTree>
      <p:nvGrpSpPr>
        <p:cNvPr id="1" name=""/>
        <p:cNvGrpSpPr/>
        <p:nvPr/>
      </p:nvGrpSpPr>
      <p:grpSpPr>
        <a:xfrm>
          <a:off x="0" y="0"/>
          <a:ext cx="0" cy="0"/>
          <a:chOff x="0" y="0"/>
          <a:chExt cx="0" cy="0"/>
        </a:xfrm>
      </p:grpSpPr>
      <p:pic>
        <p:nvPicPr>
          <p:cNvPr id="56" name="Picture 55" descr="A close up of a logo&#10;&#10;Description automatically generated">
            <a:extLst>
              <a:ext uri="{FF2B5EF4-FFF2-40B4-BE49-F238E27FC236}">
                <a16:creationId xmlns:a16="http://schemas.microsoft.com/office/drawing/2014/main" id="{3F744EDE-D865-2344-BEAE-CF6E9F5A94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4" name="Vrije vorm 153">
            <a:extLst>
              <a:ext uri="{FF2B5EF4-FFF2-40B4-BE49-F238E27FC236}">
                <a16:creationId xmlns:a16="http://schemas.microsoft.com/office/drawing/2014/main" id="{C0902E77-316B-C548-A0DF-98BE72EB39CC}"/>
              </a:ext>
            </a:extLst>
          </p:cNvPr>
          <p:cNvSpPr/>
          <p:nvPr userDrawn="1"/>
        </p:nvSpPr>
        <p:spPr>
          <a:xfrm>
            <a:off x="0" y="5962615"/>
            <a:ext cx="12192000" cy="895384"/>
          </a:xfrm>
          <a:custGeom>
            <a:avLst/>
            <a:gdLst>
              <a:gd name="connsiteX0" fmla="*/ 12191999 w 12192000"/>
              <a:gd name="connsiteY0" fmla="*/ 0 h 895384"/>
              <a:gd name="connsiteX1" fmla="*/ 12191999 w 12192000"/>
              <a:gd name="connsiteY1" fmla="*/ 107966 h 895384"/>
              <a:gd name="connsiteX2" fmla="*/ 12192000 w 12192000"/>
              <a:gd name="connsiteY2" fmla="*/ 107966 h 895384"/>
              <a:gd name="connsiteX3" fmla="*/ 12192000 w 12192000"/>
              <a:gd name="connsiteY3" fmla="*/ 895384 h 895384"/>
              <a:gd name="connsiteX4" fmla="*/ 0 w 12192000"/>
              <a:gd name="connsiteY4" fmla="*/ 895384 h 895384"/>
              <a:gd name="connsiteX5" fmla="*/ 0 w 12192000"/>
              <a:gd name="connsiteY5" fmla="*/ 107966 h 895384"/>
              <a:gd name="connsiteX6" fmla="*/ 11953874 w 12192000"/>
              <a:gd name="connsiteY6" fmla="*/ 107966 h 89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895384">
                <a:moveTo>
                  <a:pt x="12191999" y="0"/>
                </a:moveTo>
                <a:lnTo>
                  <a:pt x="12191999" y="107966"/>
                </a:lnTo>
                <a:lnTo>
                  <a:pt x="12192000" y="107966"/>
                </a:lnTo>
                <a:lnTo>
                  <a:pt x="12192000" y="895384"/>
                </a:lnTo>
                <a:lnTo>
                  <a:pt x="0" y="895384"/>
                </a:lnTo>
                <a:lnTo>
                  <a:pt x="0" y="107966"/>
                </a:lnTo>
                <a:lnTo>
                  <a:pt x="11953874" y="10796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73" name="Rechthoek 72">
            <a:extLst>
              <a:ext uri="{FF2B5EF4-FFF2-40B4-BE49-F238E27FC236}">
                <a16:creationId xmlns:a16="http://schemas.microsoft.com/office/drawing/2014/main" id="{375454C8-AC7F-3744-960C-34163B74CB1A}"/>
              </a:ext>
            </a:extLst>
          </p:cNvPr>
          <p:cNvSpPr/>
          <p:nvPr userDrawn="1"/>
        </p:nvSpPr>
        <p:spPr>
          <a:xfrm>
            <a:off x="9638342"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4" name="Rechthoek 73">
            <a:extLst>
              <a:ext uri="{FF2B5EF4-FFF2-40B4-BE49-F238E27FC236}">
                <a16:creationId xmlns:a16="http://schemas.microsoft.com/office/drawing/2014/main" id="{CBB8B2D2-2F54-3C4E-8C9F-0D212FC7525E}"/>
              </a:ext>
            </a:extLst>
          </p:cNvPr>
          <p:cNvSpPr/>
          <p:nvPr userDrawn="1"/>
        </p:nvSpPr>
        <p:spPr>
          <a:xfrm>
            <a:off x="10356346"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1" name="Rechthoek 80">
            <a:extLst>
              <a:ext uri="{FF2B5EF4-FFF2-40B4-BE49-F238E27FC236}">
                <a16:creationId xmlns:a16="http://schemas.microsoft.com/office/drawing/2014/main" id="{6EF32E3F-BCD0-9A49-AAAC-7419A5D2A78D}"/>
              </a:ext>
            </a:extLst>
          </p:cNvPr>
          <p:cNvSpPr/>
          <p:nvPr userDrawn="1"/>
        </p:nvSpPr>
        <p:spPr>
          <a:xfrm>
            <a:off x="9638342"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Rechthoek 81">
            <a:extLst>
              <a:ext uri="{FF2B5EF4-FFF2-40B4-BE49-F238E27FC236}">
                <a16:creationId xmlns:a16="http://schemas.microsoft.com/office/drawing/2014/main" id="{2F0231DE-AF5E-304F-84B8-2AD86B559B83}"/>
              </a:ext>
            </a:extLst>
          </p:cNvPr>
          <p:cNvSpPr/>
          <p:nvPr userDrawn="1"/>
        </p:nvSpPr>
        <p:spPr>
          <a:xfrm>
            <a:off x="10356346"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7" name="Rechthoek 96">
            <a:extLst>
              <a:ext uri="{FF2B5EF4-FFF2-40B4-BE49-F238E27FC236}">
                <a16:creationId xmlns:a16="http://schemas.microsoft.com/office/drawing/2014/main" id="{F2231E1F-3F7F-1C43-AB61-3E7E502869B2}"/>
              </a:ext>
            </a:extLst>
          </p:cNvPr>
          <p:cNvSpPr/>
          <p:nvPr userDrawn="1"/>
        </p:nvSpPr>
        <p:spPr>
          <a:xfrm>
            <a:off x="9638342" y="262231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3" name="Rechthoek 102">
            <a:extLst>
              <a:ext uri="{FF2B5EF4-FFF2-40B4-BE49-F238E27FC236}">
                <a16:creationId xmlns:a16="http://schemas.microsoft.com/office/drawing/2014/main" id="{806F4CCB-BCCB-B841-B969-BD56E00641EB}"/>
              </a:ext>
            </a:extLst>
          </p:cNvPr>
          <p:cNvSpPr/>
          <p:nvPr userDrawn="1"/>
        </p:nvSpPr>
        <p:spPr>
          <a:xfrm>
            <a:off x="9638342"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4" name="Rechthoek 103">
            <a:extLst>
              <a:ext uri="{FF2B5EF4-FFF2-40B4-BE49-F238E27FC236}">
                <a16:creationId xmlns:a16="http://schemas.microsoft.com/office/drawing/2014/main" id="{03D3E625-FB6C-D842-A109-C88E19DB7E79}"/>
              </a:ext>
            </a:extLst>
          </p:cNvPr>
          <p:cNvSpPr/>
          <p:nvPr userDrawn="1"/>
        </p:nvSpPr>
        <p:spPr>
          <a:xfrm>
            <a:off x="10356346"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5" name="Rechthoek 104">
            <a:extLst>
              <a:ext uri="{FF2B5EF4-FFF2-40B4-BE49-F238E27FC236}">
                <a16:creationId xmlns:a16="http://schemas.microsoft.com/office/drawing/2014/main" id="{180FF53F-5D62-C440-9FD2-77A2B37D133F}"/>
              </a:ext>
            </a:extLst>
          </p:cNvPr>
          <p:cNvSpPr/>
          <p:nvPr userDrawn="1"/>
        </p:nvSpPr>
        <p:spPr>
          <a:xfrm>
            <a:off x="11074926"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6" name="Rechthoek 105">
            <a:extLst>
              <a:ext uri="{FF2B5EF4-FFF2-40B4-BE49-F238E27FC236}">
                <a16:creationId xmlns:a16="http://schemas.microsoft.com/office/drawing/2014/main" id="{380C17DC-8BB0-6B48-968C-D008C62C7BA2}"/>
              </a:ext>
            </a:extLst>
          </p:cNvPr>
          <p:cNvSpPr/>
          <p:nvPr userDrawn="1"/>
        </p:nvSpPr>
        <p:spPr>
          <a:xfrm>
            <a:off x="11793510" y="478122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3" name="Rechthoek 112">
            <a:extLst>
              <a:ext uri="{FF2B5EF4-FFF2-40B4-BE49-F238E27FC236}">
                <a16:creationId xmlns:a16="http://schemas.microsoft.com/office/drawing/2014/main" id="{55A0D827-F304-6D45-ACD3-825897EAFBAC}"/>
              </a:ext>
            </a:extLst>
          </p:cNvPr>
          <p:cNvSpPr/>
          <p:nvPr userDrawn="1"/>
        </p:nvSpPr>
        <p:spPr>
          <a:xfrm>
            <a:off x="9638342"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4" name="Rechthoek 113">
            <a:extLst>
              <a:ext uri="{FF2B5EF4-FFF2-40B4-BE49-F238E27FC236}">
                <a16:creationId xmlns:a16="http://schemas.microsoft.com/office/drawing/2014/main" id="{C068AE08-99A1-7D4D-97E1-E2BFF462F174}"/>
              </a:ext>
            </a:extLst>
          </p:cNvPr>
          <p:cNvSpPr/>
          <p:nvPr userDrawn="1"/>
        </p:nvSpPr>
        <p:spPr>
          <a:xfrm>
            <a:off x="10356346"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5" name="Rechthoek 114">
            <a:extLst>
              <a:ext uri="{FF2B5EF4-FFF2-40B4-BE49-F238E27FC236}">
                <a16:creationId xmlns:a16="http://schemas.microsoft.com/office/drawing/2014/main" id="{83E07369-0BAF-E449-94AA-05C93F2F6B13}"/>
              </a:ext>
            </a:extLst>
          </p:cNvPr>
          <p:cNvSpPr/>
          <p:nvPr userDrawn="1"/>
        </p:nvSpPr>
        <p:spPr>
          <a:xfrm>
            <a:off x="11074926"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6" name="Rechthoek 115">
            <a:extLst>
              <a:ext uri="{FF2B5EF4-FFF2-40B4-BE49-F238E27FC236}">
                <a16:creationId xmlns:a16="http://schemas.microsoft.com/office/drawing/2014/main" id="{A84E5EE5-FFD3-B14C-BB93-59BDAAFD8D91}"/>
              </a:ext>
            </a:extLst>
          </p:cNvPr>
          <p:cNvSpPr/>
          <p:nvPr userDrawn="1"/>
        </p:nvSpPr>
        <p:spPr>
          <a:xfrm>
            <a:off x="11793510" y="550055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ep 1">
            <a:extLst>
              <a:ext uri="{FF2B5EF4-FFF2-40B4-BE49-F238E27FC236}">
                <a16:creationId xmlns:a16="http://schemas.microsoft.com/office/drawing/2014/main" id="{3AD82602-730F-A343-A70F-DFB2336DB39F}"/>
              </a:ext>
            </a:extLst>
          </p:cNvPr>
          <p:cNvGrpSpPr/>
          <p:nvPr userDrawn="1"/>
        </p:nvGrpSpPr>
        <p:grpSpPr>
          <a:xfrm>
            <a:off x="9746715" y="519378"/>
            <a:ext cx="2445285" cy="5035366"/>
            <a:chOff x="-1601" y="519378"/>
            <a:chExt cx="12193601" cy="5035366"/>
          </a:xfrm>
        </p:grpSpPr>
        <p:cxnSp>
          <p:nvCxnSpPr>
            <p:cNvPr id="3" name="Rechte verbindingslijn 2">
              <a:extLst>
                <a:ext uri="{FF2B5EF4-FFF2-40B4-BE49-F238E27FC236}">
                  <a16:creationId xmlns:a16="http://schemas.microsoft.com/office/drawing/2014/main" id="{08F81A43-1C37-DD4A-9DDD-FB037562FA22}"/>
                </a:ext>
              </a:extLst>
            </p:cNvPr>
            <p:cNvCxnSpPr>
              <a:cxnSpLocks/>
            </p:cNvCxnSpPr>
            <p:nvPr userDrawn="1"/>
          </p:nvCxnSpPr>
          <p:spPr>
            <a:xfrm>
              <a:off x="0" y="519378"/>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Rechte verbindingslijn 152">
              <a:extLst>
                <a:ext uri="{FF2B5EF4-FFF2-40B4-BE49-F238E27FC236}">
                  <a16:creationId xmlns:a16="http://schemas.microsoft.com/office/drawing/2014/main" id="{28E030FA-7EFA-A44B-BF59-F330E53F00B7}"/>
                </a:ext>
              </a:extLst>
            </p:cNvPr>
            <p:cNvCxnSpPr>
              <a:cxnSpLocks/>
            </p:cNvCxnSpPr>
            <p:nvPr userDrawn="1"/>
          </p:nvCxnSpPr>
          <p:spPr>
            <a:xfrm>
              <a:off x="0" y="123871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Rechte verbindingslijn 154">
              <a:extLst>
                <a:ext uri="{FF2B5EF4-FFF2-40B4-BE49-F238E27FC236}">
                  <a16:creationId xmlns:a16="http://schemas.microsoft.com/office/drawing/2014/main" id="{06AAAE0D-5D05-274C-88DC-E9BDA5471EDC}"/>
                </a:ext>
              </a:extLst>
            </p:cNvPr>
            <p:cNvCxnSpPr>
              <a:cxnSpLocks/>
            </p:cNvCxnSpPr>
            <p:nvPr userDrawn="1"/>
          </p:nvCxnSpPr>
          <p:spPr>
            <a:xfrm>
              <a:off x="0" y="1958054"/>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6" name="Rechte verbindingslijn 155">
              <a:extLst>
                <a:ext uri="{FF2B5EF4-FFF2-40B4-BE49-F238E27FC236}">
                  <a16:creationId xmlns:a16="http://schemas.microsoft.com/office/drawing/2014/main" id="{7A15C41D-1C60-EA48-B260-99FEEEE447CA}"/>
                </a:ext>
              </a:extLst>
            </p:cNvPr>
            <p:cNvCxnSpPr>
              <a:cxnSpLocks/>
            </p:cNvCxnSpPr>
            <p:nvPr userDrawn="1"/>
          </p:nvCxnSpPr>
          <p:spPr>
            <a:xfrm>
              <a:off x="-1601" y="2676498"/>
              <a:ext cx="1219359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Rechte verbindingslijn 151">
              <a:extLst>
                <a:ext uri="{FF2B5EF4-FFF2-40B4-BE49-F238E27FC236}">
                  <a16:creationId xmlns:a16="http://schemas.microsoft.com/office/drawing/2014/main" id="{4CA93E74-E642-C44B-A498-3789A76C05D8}"/>
                </a:ext>
              </a:extLst>
            </p:cNvPr>
            <p:cNvCxnSpPr>
              <a:cxnSpLocks/>
            </p:cNvCxnSpPr>
            <p:nvPr userDrawn="1"/>
          </p:nvCxnSpPr>
          <p:spPr>
            <a:xfrm>
              <a:off x="-1211" y="5554744"/>
              <a:ext cx="1219320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CA41BF2-E985-C242-8DA7-8C1CFEF17EAD}"/>
                </a:ext>
              </a:extLst>
            </p:cNvPr>
            <p:cNvCxnSpPr>
              <a:cxnSpLocks/>
            </p:cNvCxnSpPr>
            <p:nvPr userDrawn="1"/>
          </p:nvCxnSpPr>
          <p:spPr>
            <a:xfrm>
              <a:off x="-1211" y="3396730"/>
              <a:ext cx="1219320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98A0910C-C282-3346-BB10-01494C2B6F0C}"/>
                </a:ext>
              </a:extLst>
            </p:cNvPr>
            <p:cNvCxnSpPr>
              <a:cxnSpLocks/>
            </p:cNvCxnSpPr>
            <p:nvPr userDrawn="1"/>
          </p:nvCxnSpPr>
          <p:spPr>
            <a:xfrm>
              <a:off x="-1211" y="4116068"/>
              <a:ext cx="1219320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B1C06D9-BAC1-714E-AFD3-0564827B161C}"/>
                </a:ext>
              </a:extLst>
            </p:cNvPr>
            <p:cNvCxnSpPr>
              <a:cxnSpLocks/>
            </p:cNvCxnSpPr>
            <p:nvPr userDrawn="1"/>
          </p:nvCxnSpPr>
          <p:spPr>
            <a:xfrm>
              <a:off x="-1211" y="4835406"/>
              <a:ext cx="1219320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73" name="Rechte verbindingslijn 172">
            <a:extLst>
              <a:ext uri="{FF2B5EF4-FFF2-40B4-BE49-F238E27FC236}">
                <a16:creationId xmlns:a16="http://schemas.microsoft.com/office/drawing/2014/main" id="{12B6274F-6939-3142-883F-376629314F15}"/>
              </a:ext>
            </a:extLst>
          </p:cNvPr>
          <p:cNvCxnSpPr>
            <a:cxnSpLocks/>
          </p:cNvCxnSpPr>
          <p:nvPr userDrawn="1"/>
        </p:nvCxnSpPr>
        <p:spPr>
          <a:xfrm>
            <a:off x="9692528"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Rechte verbindingslijn 173">
            <a:extLst>
              <a:ext uri="{FF2B5EF4-FFF2-40B4-BE49-F238E27FC236}">
                <a16:creationId xmlns:a16="http://schemas.microsoft.com/office/drawing/2014/main" id="{CCF9CA99-F55A-D44E-8ABD-C16AABD7CFC8}"/>
              </a:ext>
            </a:extLst>
          </p:cNvPr>
          <p:cNvCxnSpPr>
            <a:cxnSpLocks/>
          </p:cNvCxnSpPr>
          <p:nvPr userDrawn="1"/>
        </p:nvCxnSpPr>
        <p:spPr>
          <a:xfrm>
            <a:off x="10410532"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Rechte verbindingslijn 174">
            <a:extLst>
              <a:ext uri="{FF2B5EF4-FFF2-40B4-BE49-F238E27FC236}">
                <a16:creationId xmlns:a16="http://schemas.microsoft.com/office/drawing/2014/main" id="{FB315C66-EB86-184C-B8C3-73C9691FDDAB}"/>
              </a:ext>
            </a:extLst>
          </p:cNvPr>
          <p:cNvCxnSpPr>
            <a:cxnSpLocks/>
          </p:cNvCxnSpPr>
          <p:nvPr userDrawn="1"/>
        </p:nvCxnSpPr>
        <p:spPr>
          <a:xfrm>
            <a:off x="11129112"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Rechte verbindingslijn 175">
            <a:extLst>
              <a:ext uri="{FF2B5EF4-FFF2-40B4-BE49-F238E27FC236}">
                <a16:creationId xmlns:a16="http://schemas.microsoft.com/office/drawing/2014/main" id="{0796196D-AABF-D34C-9A60-A52EDA0E7E00}"/>
              </a:ext>
            </a:extLst>
          </p:cNvPr>
          <p:cNvCxnSpPr>
            <a:cxnSpLocks/>
          </p:cNvCxnSpPr>
          <p:nvPr userDrawn="1"/>
        </p:nvCxnSpPr>
        <p:spPr>
          <a:xfrm>
            <a:off x="11847696" y="0"/>
            <a:ext cx="0" cy="606699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01" name="Rechthoek 200">
            <a:extLst>
              <a:ext uri="{FF2B5EF4-FFF2-40B4-BE49-F238E27FC236}">
                <a16:creationId xmlns:a16="http://schemas.microsoft.com/office/drawing/2014/main" id="{EFB2774C-60EE-4440-83DD-E4DCFF4474BA}"/>
              </a:ext>
            </a:extLst>
          </p:cNvPr>
          <p:cNvSpPr/>
          <p:nvPr userDrawn="1"/>
        </p:nvSpPr>
        <p:spPr>
          <a:xfrm>
            <a:off x="9638342"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2" name="Rechthoek 201">
            <a:extLst>
              <a:ext uri="{FF2B5EF4-FFF2-40B4-BE49-F238E27FC236}">
                <a16:creationId xmlns:a16="http://schemas.microsoft.com/office/drawing/2014/main" id="{59295579-802E-FD4D-B67C-534F87415BC8}"/>
              </a:ext>
            </a:extLst>
          </p:cNvPr>
          <p:cNvSpPr/>
          <p:nvPr userDrawn="1"/>
        </p:nvSpPr>
        <p:spPr>
          <a:xfrm>
            <a:off x="9638342"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3" name="Rechthoek 202">
            <a:extLst>
              <a:ext uri="{FF2B5EF4-FFF2-40B4-BE49-F238E27FC236}">
                <a16:creationId xmlns:a16="http://schemas.microsoft.com/office/drawing/2014/main" id="{0FD6F20D-991B-E646-AE35-590BC8E51C6B}"/>
              </a:ext>
            </a:extLst>
          </p:cNvPr>
          <p:cNvSpPr/>
          <p:nvPr userDrawn="1"/>
        </p:nvSpPr>
        <p:spPr>
          <a:xfrm>
            <a:off x="9638342"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5" name="Rechthoek 204">
            <a:extLst>
              <a:ext uri="{FF2B5EF4-FFF2-40B4-BE49-F238E27FC236}">
                <a16:creationId xmlns:a16="http://schemas.microsoft.com/office/drawing/2014/main" id="{714BAAD6-1D5C-9347-88F8-E8A7F04D6821}"/>
              </a:ext>
            </a:extLst>
          </p:cNvPr>
          <p:cNvSpPr/>
          <p:nvPr userDrawn="1"/>
        </p:nvSpPr>
        <p:spPr>
          <a:xfrm>
            <a:off x="10356346" y="262231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6" name="Rechthoek 205">
            <a:extLst>
              <a:ext uri="{FF2B5EF4-FFF2-40B4-BE49-F238E27FC236}">
                <a16:creationId xmlns:a16="http://schemas.microsoft.com/office/drawing/2014/main" id="{9CD9CE5E-0CF1-DD41-8DCE-5272A6051A9C}"/>
              </a:ext>
            </a:extLst>
          </p:cNvPr>
          <p:cNvSpPr/>
          <p:nvPr userDrawn="1"/>
        </p:nvSpPr>
        <p:spPr>
          <a:xfrm>
            <a:off x="10356346"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7" name="Rechthoek 206">
            <a:extLst>
              <a:ext uri="{FF2B5EF4-FFF2-40B4-BE49-F238E27FC236}">
                <a16:creationId xmlns:a16="http://schemas.microsoft.com/office/drawing/2014/main" id="{593BF631-3067-5B49-B473-B3EE7A1EE32E}"/>
              </a:ext>
            </a:extLst>
          </p:cNvPr>
          <p:cNvSpPr/>
          <p:nvPr userDrawn="1"/>
        </p:nvSpPr>
        <p:spPr>
          <a:xfrm>
            <a:off x="10356346"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8" name="Rechthoek 207">
            <a:extLst>
              <a:ext uri="{FF2B5EF4-FFF2-40B4-BE49-F238E27FC236}">
                <a16:creationId xmlns:a16="http://schemas.microsoft.com/office/drawing/2014/main" id="{5FFB3878-EF4C-D545-AE2F-1E7B2EA8D222}"/>
              </a:ext>
            </a:extLst>
          </p:cNvPr>
          <p:cNvSpPr/>
          <p:nvPr userDrawn="1"/>
        </p:nvSpPr>
        <p:spPr>
          <a:xfrm>
            <a:off x="10356346"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09" name="Rechthoek 208">
            <a:extLst>
              <a:ext uri="{FF2B5EF4-FFF2-40B4-BE49-F238E27FC236}">
                <a16:creationId xmlns:a16="http://schemas.microsoft.com/office/drawing/2014/main" id="{AB40EC33-1A78-1642-B32A-CE192B6782A2}"/>
              </a:ext>
            </a:extLst>
          </p:cNvPr>
          <p:cNvSpPr/>
          <p:nvPr userDrawn="1"/>
        </p:nvSpPr>
        <p:spPr>
          <a:xfrm>
            <a:off x="11074926" y="262231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0" name="Rechthoek 209">
            <a:extLst>
              <a:ext uri="{FF2B5EF4-FFF2-40B4-BE49-F238E27FC236}">
                <a16:creationId xmlns:a16="http://schemas.microsoft.com/office/drawing/2014/main" id="{C5D2AC67-B248-7142-BD4C-B410C713F1E0}"/>
              </a:ext>
            </a:extLst>
          </p:cNvPr>
          <p:cNvSpPr/>
          <p:nvPr userDrawn="1"/>
        </p:nvSpPr>
        <p:spPr>
          <a:xfrm>
            <a:off x="11074926"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1" name="Rechthoek 210">
            <a:extLst>
              <a:ext uri="{FF2B5EF4-FFF2-40B4-BE49-F238E27FC236}">
                <a16:creationId xmlns:a16="http://schemas.microsoft.com/office/drawing/2014/main" id="{158F5BD3-BBAB-E348-8943-BFC1CF0E7615}"/>
              </a:ext>
            </a:extLst>
          </p:cNvPr>
          <p:cNvSpPr/>
          <p:nvPr userDrawn="1"/>
        </p:nvSpPr>
        <p:spPr>
          <a:xfrm>
            <a:off x="11074926"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2" name="Rechthoek 211">
            <a:extLst>
              <a:ext uri="{FF2B5EF4-FFF2-40B4-BE49-F238E27FC236}">
                <a16:creationId xmlns:a16="http://schemas.microsoft.com/office/drawing/2014/main" id="{C8C9E515-07DF-2743-BAE7-E7E7DFB07177}"/>
              </a:ext>
            </a:extLst>
          </p:cNvPr>
          <p:cNvSpPr/>
          <p:nvPr userDrawn="1"/>
        </p:nvSpPr>
        <p:spPr>
          <a:xfrm>
            <a:off x="11074926"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3" name="Rechthoek 212">
            <a:extLst>
              <a:ext uri="{FF2B5EF4-FFF2-40B4-BE49-F238E27FC236}">
                <a16:creationId xmlns:a16="http://schemas.microsoft.com/office/drawing/2014/main" id="{2B548E3B-25A8-E84B-9EFD-DFEC496E3E05}"/>
              </a:ext>
            </a:extLst>
          </p:cNvPr>
          <p:cNvSpPr/>
          <p:nvPr userDrawn="1"/>
        </p:nvSpPr>
        <p:spPr>
          <a:xfrm>
            <a:off x="11793510" y="262231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4" name="Rechthoek 213">
            <a:extLst>
              <a:ext uri="{FF2B5EF4-FFF2-40B4-BE49-F238E27FC236}">
                <a16:creationId xmlns:a16="http://schemas.microsoft.com/office/drawing/2014/main" id="{04D4890E-363D-4146-A95A-80DBF665CC4F}"/>
              </a:ext>
            </a:extLst>
          </p:cNvPr>
          <p:cNvSpPr/>
          <p:nvPr userDrawn="1"/>
        </p:nvSpPr>
        <p:spPr>
          <a:xfrm>
            <a:off x="11793510" y="1184530"/>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5" name="Rechthoek 214">
            <a:extLst>
              <a:ext uri="{FF2B5EF4-FFF2-40B4-BE49-F238E27FC236}">
                <a16:creationId xmlns:a16="http://schemas.microsoft.com/office/drawing/2014/main" id="{1EBFAB7B-C6B9-4741-B26F-58877A68951C}"/>
              </a:ext>
            </a:extLst>
          </p:cNvPr>
          <p:cNvSpPr/>
          <p:nvPr userDrawn="1"/>
        </p:nvSpPr>
        <p:spPr>
          <a:xfrm>
            <a:off x="11793510" y="46519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6" name="Rechthoek 215">
            <a:extLst>
              <a:ext uri="{FF2B5EF4-FFF2-40B4-BE49-F238E27FC236}">
                <a16:creationId xmlns:a16="http://schemas.microsoft.com/office/drawing/2014/main" id="{9EBDB85B-3009-FE41-BF98-B4BFF4696743}"/>
              </a:ext>
            </a:extLst>
          </p:cNvPr>
          <p:cNvSpPr/>
          <p:nvPr userDrawn="1"/>
        </p:nvSpPr>
        <p:spPr>
          <a:xfrm>
            <a:off x="11793510" y="1903868"/>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25" name="Rechthoek 224">
            <a:extLst>
              <a:ext uri="{FF2B5EF4-FFF2-40B4-BE49-F238E27FC236}">
                <a16:creationId xmlns:a16="http://schemas.microsoft.com/office/drawing/2014/main" id="{48C45837-FE17-7C45-A8DA-35E46C383FCB}"/>
              </a:ext>
            </a:extLst>
          </p:cNvPr>
          <p:cNvSpPr/>
          <p:nvPr userDrawn="1"/>
        </p:nvSpPr>
        <p:spPr>
          <a:xfrm>
            <a:off x="11074926"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26" name="Rechthoek 225">
            <a:extLst>
              <a:ext uri="{FF2B5EF4-FFF2-40B4-BE49-F238E27FC236}">
                <a16:creationId xmlns:a16="http://schemas.microsoft.com/office/drawing/2014/main" id="{9EC252F5-9713-D440-BABA-255E27FFB352}"/>
              </a:ext>
            </a:extLst>
          </p:cNvPr>
          <p:cNvSpPr/>
          <p:nvPr userDrawn="1"/>
        </p:nvSpPr>
        <p:spPr>
          <a:xfrm>
            <a:off x="11074926"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27" name="Rechthoek 226">
            <a:extLst>
              <a:ext uri="{FF2B5EF4-FFF2-40B4-BE49-F238E27FC236}">
                <a16:creationId xmlns:a16="http://schemas.microsoft.com/office/drawing/2014/main" id="{0838EC7F-38C4-9447-9EB4-D70C879793EA}"/>
              </a:ext>
            </a:extLst>
          </p:cNvPr>
          <p:cNvSpPr/>
          <p:nvPr userDrawn="1"/>
        </p:nvSpPr>
        <p:spPr>
          <a:xfrm>
            <a:off x="11793510" y="4061882"/>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28" name="Rechthoek 227">
            <a:extLst>
              <a:ext uri="{FF2B5EF4-FFF2-40B4-BE49-F238E27FC236}">
                <a16:creationId xmlns:a16="http://schemas.microsoft.com/office/drawing/2014/main" id="{247EBF27-63E3-D64E-B3F3-42DD492A1C32}"/>
              </a:ext>
            </a:extLst>
          </p:cNvPr>
          <p:cNvSpPr/>
          <p:nvPr userDrawn="1"/>
        </p:nvSpPr>
        <p:spPr>
          <a:xfrm>
            <a:off x="11793510" y="3342544"/>
            <a:ext cx="108373" cy="108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Ondertitel 2">
            <a:extLst>
              <a:ext uri="{FF2B5EF4-FFF2-40B4-BE49-F238E27FC236}">
                <a16:creationId xmlns:a16="http://schemas.microsoft.com/office/drawing/2014/main" id="{E25C2218-6731-6548-8649-FC497F84CD34}"/>
              </a:ext>
            </a:extLst>
          </p:cNvPr>
          <p:cNvSpPr>
            <a:spLocks noGrp="1"/>
          </p:cNvSpPr>
          <p:nvPr userDrawn="1">
            <p:ph type="subTitle" idx="1" hasCustomPrompt="1"/>
          </p:nvPr>
        </p:nvSpPr>
        <p:spPr>
          <a:xfrm>
            <a:off x="454698" y="4933790"/>
            <a:ext cx="8519233" cy="253692"/>
          </a:xfrm>
          <a:prstGeom prst="rect">
            <a:avLst/>
          </a:prstGeom>
        </p:spPr>
        <p:txBody>
          <a:bodyPr anchor="b">
            <a:noAutofit/>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 presenter</a:t>
            </a:r>
          </a:p>
        </p:txBody>
      </p:sp>
      <p:sp>
        <p:nvSpPr>
          <p:cNvPr id="308" name="Titel 10">
            <a:extLst>
              <a:ext uri="{FF2B5EF4-FFF2-40B4-BE49-F238E27FC236}">
                <a16:creationId xmlns:a16="http://schemas.microsoft.com/office/drawing/2014/main" id="{AEA3059D-9D3D-1E43-9012-6F21ADEA9B0E}"/>
              </a:ext>
            </a:extLst>
          </p:cNvPr>
          <p:cNvSpPr>
            <a:spLocks noGrp="1"/>
          </p:cNvSpPr>
          <p:nvPr>
            <p:ph type="ctrTitle"/>
          </p:nvPr>
        </p:nvSpPr>
        <p:spPr>
          <a:xfrm>
            <a:off x="454698" y="2348489"/>
            <a:ext cx="8519243" cy="2354244"/>
          </a:xfrm>
          <a:prstGeom prst="rect">
            <a:avLst/>
          </a:prstGeom>
          <a:noFill/>
        </p:spPr>
        <p:txBody>
          <a:bodyPr wrap="square" lIns="0" rIns="0" bIns="0" anchor="b">
            <a:noAutofit/>
          </a:bodyPr>
          <a:lstStyle>
            <a:lvl1pPr algn="l">
              <a:defRPr sz="4800" b="1">
                <a:solidFill>
                  <a:schemeClr val="bg1"/>
                </a:solidFill>
              </a:defRPr>
            </a:lvl1pPr>
          </a:lstStyle>
          <a:p>
            <a:r>
              <a:rPr lang="de-DE" noProof="0"/>
              <a:t>Mastertitelformat bearbeiten</a:t>
            </a:r>
            <a:endParaRPr lang="en-GB" noProof="0"/>
          </a:p>
        </p:txBody>
      </p:sp>
      <p:sp>
        <p:nvSpPr>
          <p:cNvPr id="57" name="Tijdelijke aanduiding voor tekst 2">
            <a:extLst>
              <a:ext uri="{FF2B5EF4-FFF2-40B4-BE49-F238E27FC236}">
                <a16:creationId xmlns:a16="http://schemas.microsoft.com/office/drawing/2014/main" id="{38E149E1-C620-5741-BA48-5C514B7441FF}"/>
              </a:ext>
            </a:extLst>
          </p:cNvPr>
          <p:cNvSpPr>
            <a:spLocks noGrp="1"/>
          </p:cNvSpPr>
          <p:nvPr>
            <p:ph type="body" sz="quarter" idx="19" hasCustomPrompt="1"/>
          </p:nvPr>
        </p:nvSpPr>
        <p:spPr>
          <a:xfrm>
            <a:off x="454697" y="5228780"/>
            <a:ext cx="8519233" cy="211432"/>
          </a:xfrm>
          <a:prstGeom prst="rect">
            <a:avLst/>
          </a:prstGeom>
        </p:spPr>
        <p:txBody>
          <a:bodyPr anchor="t">
            <a:noAutofit/>
          </a:bodyPr>
          <a:lstStyle>
            <a:lvl1pPr marL="0" indent="0">
              <a:spcBef>
                <a:spcPts val="0"/>
              </a:spcBef>
              <a:buNone/>
              <a:defRPr sz="2000">
                <a:solidFill>
                  <a:schemeClr val="bg1"/>
                </a:solidFill>
              </a:defRPr>
            </a:lvl1pPr>
          </a:lstStyle>
          <a:p>
            <a:pPr lvl="0"/>
            <a:r>
              <a:rPr lang="en-GB" noProof="0"/>
              <a:t>Job title</a:t>
            </a:r>
          </a:p>
        </p:txBody>
      </p:sp>
      <p:sp>
        <p:nvSpPr>
          <p:cNvPr id="59" name="Tekstvak 185">
            <a:extLst>
              <a:ext uri="{FF2B5EF4-FFF2-40B4-BE49-F238E27FC236}">
                <a16:creationId xmlns:a16="http://schemas.microsoft.com/office/drawing/2014/main" id="{60EB07B1-7806-4BB4-9B40-502638190912}"/>
              </a:ext>
            </a:extLst>
          </p:cNvPr>
          <p:cNvSpPr txBox="1"/>
          <p:nvPr userDrawn="1"/>
        </p:nvSpPr>
        <p:spPr bwMode="auto">
          <a:xfrm>
            <a:off x="12429807" y="-2"/>
            <a:ext cx="2670175" cy="6858001"/>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a:solidFill>
                  <a:schemeClr val="tx2"/>
                </a:solidFill>
                <a:latin typeface="+mn-lt"/>
                <a:cs typeface="+mn-cs"/>
              </a:rPr>
              <a:t>Insert or replace image</a:t>
            </a:r>
          </a:p>
          <a:p>
            <a:pPr fontAlgn="auto">
              <a:spcBef>
                <a:spcPts val="0"/>
              </a:spcBef>
              <a:spcAft>
                <a:spcPts val="0"/>
              </a:spcAft>
              <a:defRPr/>
            </a:pPr>
            <a:r>
              <a:rPr lang="en-GB" sz="1400" b="0" noProof="0">
                <a:solidFill>
                  <a:schemeClr val="tx2"/>
                </a:solidFill>
                <a:latin typeface="+mn-lt"/>
                <a:cs typeface="+mn-cs"/>
              </a:rPr>
              <a:t>The title slides in this template have a background image</a:t>
            </a:r>
          </a:p>
          <a:p>
            <a:pPr>
              <a:spcAft>
                <a:spcPts val="600"/>
              </a:spcAft>
            </a:pPr>
            <a:endParaRPr lang="en-GB" sz="1200" noProof="0">
              <a:solidFill>
                <a:schemeClr val="tx2"/>
              </a:solidFill>
            </a:endParaRPr>
          </a:p>
          <a:p>
            <a:pPr marL="228600" indent="-228600">
              <a:spcAft>
                <a:spcPts val="600"/>
              </a:spcAft>
              <a:buFont typeface="Arial" panose="020B0604020202020204" pitchFamily="34" charset="0"/>
              <a:buChar char="•"/>
            </a:pPr>
            <a:r>
              <a:rPr lang="en-GB" sz="1200" noProof="0">
                <a:solidFill>
                  <a:schemeClr val="tx2"/>
                </a:solidFill>
              </a:rPr>
              <a:t>To change or insert a background image, right click your mouse on the picture and select Format background.</a:t>
            </a:r>
          </a:p>
          <a:p>
            <a:pPr marL="228600" indent="-228600">
              <a:spcAft>
                <a:spcPts val="600"/>
              </a:spcAft>
              <a:buFont typeface="Arial" panose="020B0604020202020204" pitchFamily="34" charset="0"/>
              <a:buChar char="•"/>
            </a:pPr>
            <a:r>
              <a:rPr lang="en-GB" sz="1200" noProof="0">
                <a:solidFill>
                  <a:schemeClr val="tx2"/>
                </a:solidFill>
              </a:rPr>
              <a:t>A Format Background dialogue box appears on the right of your screen.</a:t>
            </a:r>
          </a:p>
          <a:p>
            <a:pPr marL="228600" indent="-228600">
              <a:spcAft>
                <a:spcPts val="600"/>
              </a:spcAft>
              <a:buFont typeface="Arial" panose="020B0604020202020204" pitchFamily="34" charset="0"/>
              <a:buChar char="•"/>
            </a:pPr>
            <a:r>
              <a:rPr lang="en-GB" sz="1200" noProof="0">
                <a:solidFill>
                  <a:schemeClr val="tx2"/>
                </a:solidFill>
              </a:rPr>
              <a:t>Select Picture or texture fill.</a:t>
            </a:r>
          </a:p>
          <a:p>
            <a:pPr marL="228600" indent="-228600">
              <a:spcAft>
                <a:spcPts val="600"/>
              </a:spcAft>
              <a:buFont typeface="Arial" panose="020B0604020202020204" pitchFamily="34" charset="0"/>
              <a:buChar char="•"/>
            </a:pPr>
            <a:r>
              <a:rPr lang="en-GB" sz="1200" noProof="0">
                <a:solidFill>
                  <a:schemeClr val="tx2"/>
                </a:solidFill>
              </a:rPr>
              <a:t>Click on the Insert button and browse to your image of choice and click OK.</a:t>
            </a:r>
          </a:p>
          <a:p>
            <a:pPr marL="228600" indent="-228600">
              <a:spcAft>
                <a:spcPts val="600"/>
              </a:spcAft>
              <a:buFont typeface="Arial" panose="020B0604020202020204" pitchFamily="34" charset="0"/>
              <a:buChar char="•"/>
            </a:pPr>
            <a:r>
              <a:rPr lang="en-GB" sz="1200" b="1" noProof="0">
                <a:solidFill>
                  <a:schemeClr val="tx2"/>
                </a:solidFill>
                <a:latin typeface="+mn-lt"/>
                <a:cs typeface="+mn-cs"/>
              </a:rPr>
              <a:t>Make sure that your image has the ratio 4x3 for a standard presentation and 16x9 for a widescreen presentation for the best result</a:t>
            </a:r>
            <a:r>
              <a:rPr lang="en-GB" sz="1200" b="0" noProof="0">
                <a:solidFill>
                  <a:schemeClr val="tx2"/>
                </a:solidFill>
                <a:latin typeface="+mn-lt"/>
                <a:cs typeface="+mn-cs"/>
              </a:rPr>
              <a:t>. </a:t>
            </a:r>
          </a:p>
          <a:p>
            <a:pPr marL="0" indent="0" algn="l">
              <a:spcAft>
                <a:spcPts val="600"/>
              </a:spcAft>
              <a:buFont typeface="Arial" panose="020B0604020202020204" pitchFamily="34" charset="0"/>
              <a:buNone/>
            </a:pPr>
            <a:endParaRPr lang="en-GB" sz="1200" b="1" noProof="0">
              <a:solidFill>
                <a:schemeClr val="tx2"/>
              </a:solidFill>
              <a:latin typeface="+mn-lt"/>
              <a:cs typeface="+mn-cs"/>
            </a:endParaRPr>
          </a:p>
        </p:txBody>
      </p:sp>
      <p:pic>
        <p:nvPicPr>
          <p:cNvPr id="58" name="Afbeelding 176">
            <a:extLst>
              <a:ext uri="{FF2B5EF4-FFF2-40B4-BE49-F238E27FC236}">
                <a16:creationId xmlns:a16="http://schemas.microsoft.com/office/drawing/2014/main" id="{A19CC820-C096-445A-833D-144C64B6C2C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77948" y="6339141"/>
            <a:ext cx="1369142" cy="258353"/>
          </a:xfrm>
          <a:prstGeom prst="rect">
            <a:avLst/>
          </a:prstGeom>
        </p:spPr>
      </p:pic>
      <p:sp>
        <p:nvSpPr>
          <p:cNvPr id="60" name="Date Placeholder 1">
            <a:extLst>
              <a:ext uri="{FF2B5EF4-FFF2-40B4-BE49-F238E27FC236}">
                <a16:creationId xmlns:a16="http://schemas.microsoft.com/office/drawing/2014/main" id="{61B869E1-6DE0-4EE6-975F-5E727C8529CF}"/>
              </a:ext>
            </a:extLst>
          </p:cNvPr>
          <p:cNvSpPr>
            <a:spLocks noGrp="1"/>
          </p:cNvSpPr>
          <p:nvPr>
            <p:ph type="dt" sz="half" idx="20"/>
          </p:nvPr>
        </p:nvSpPr>
        <p:spPr>
          <a:xfrm>
            <a:off x="454698" y="6378834"/>
            <a:ext cx="1528579" cy="365125"/>
          </a:xfrm>
        </p:spPr>
        <p:txBody>
          <a:bodyPr/>
          <a:lstStyle/>
          <a:p>
            <a:fld id="{BD1A5834-24D2-4C8D-A5F3-A91E46414B14}" type="datetime4">
              <a:rPr lang="en-GB" noProof="0" smtClean="0"/>
              <a:t>23 January 2025</a:t>
            </a:fld>
            <a:endParaRPr lang="en-US" noProof="0" dirty="0"/>
          </a:p>
        </p:txBody>
      </p:sp>
      <p:sp>
        <p:nvSpPr>
          <p:cNvPr id="61" name="Footer Placeholder 3">
            <a:extLst>
              <a:ext uri="{FF2B5EF4-FFF2-40B4-BE49-F238E27FC236}">
                <a16:creationId xmlns:a16="http://schemas.microsoft.com/office/drawing/2014/main" id="{DBE62056-ECAD-4387-BD73-F0481E5BAAC6}"/>
              </a:ext>
            </a:extLst>
          </p:cNvPr>
          <p:cNvSpPr>
            <a:spLocks noGrp="1"/>
          </p:cNvSpPr>
          <p:nvPr>
            <p:ph type="ftr" sz="quarter" idx="21"/>
          </p:nvPr>
        </p:nvSpPr>
        <p:spPr>
          <a:xfrm>
            <a:off x="2258853" y="6378834"/>
            <a:ext cx="4616234" cy="365125"/>
          </a:xfrm>
        </p:spPr>
        <p:txBody>
          <a:bodyPr/>
          <a:lstStyle/>
          <a:p>
            <a:r>
              <a:rPr lang="en-US" noProof="0" dirty="0"/>
              <a:t>Confidentiality</a:t>
            </a:r>
          </a:p>
        </p:txBody>
      </p:sp>
    </p:spTree>
    <p:extLst>
      <p:ext uri="{BB962C8B-B14F-4D97-AF65-F5344CB8AC3E}">
        <p14:creationId xmlns:p14="http://schemas.microsoft.com/office/powerpoint/2010/main" val="1798796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Header Long - Text/SmartAr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DC4BD5E2-54E6-4782-8034-377B604B91DF}"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2" name="Titel 1">
            <a:extLst>
              <a:ext uri="{FF2B5EF4-FFF2-40B4-BE49-F238E27FC236}">
                <a16:creationId xmlns:a16="http://schemas.microsoft.com/office/drawing/2014/main" id="{D0641892-5A0D-284E-8093-6227FAE4A757}"/>
              </a:ext>
            </a:extLst>
          </p:cNvPr>
          <p:cNvSpPr>
            <a:spLocks noGrp="1"/>
          </p:cNvSpPr>
          <p:nvPr>
            <p:ph type="title"/>
          </p:nvPr>
        </p:nvSpPr>
        <p:spPr/>
        <p:txBody>
          <a:bodyPr/>
          <a:lstStyle/>
          <a:p>
            <a:r>
              <a:rPr lang="de-DE" noProof="0"/>
              <a:t>Mastertitelformat bearbeiten</a:t>
            </a:r>
            <a:endParaRPr lang="en-GB" noProof="0"/>
          </a:p>
        </p:txBody>
      </p:sp>
      <p:sp>
        <p:nvSpPr>
          <p:cNvPr id="9" name="Text Placeholder 8">
            <a:extLst>
              <a:ext uri="{FF2B5EF4-FFF2-40B4-BE49-F238E27FC236}">
                <a16:creationId xmlns:a16="http://schemas.microsoft.com/office/drawing/2014/main" id="{BAA63F31-9913-47FD-AF06-6BAB432D70C8}"/>
              </a:ext>
            </a:extLst>
          </p:cNvPr>
          <p:cNvSpPr>
            <a:spLocks noGrp="1"/>
          </p:cNvSpPr>
          <p:nvPr>
            <p:ph type="body" sz="quarter" idx="13"/>
          </p:nvPr>
        </p:nvSpPr>
        <p:spPr>
          <a:xfrm>
            <a:off x="1347789" y="1376364"/>
            <a:ext cx="4644777" cy="46989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13" name="SmartArt Placeholder 6">
            <a:extLst>
              <a:ext uri="{FF2B5EF4-FFF2-40B4-BE49-F238E27FC236}">
                <a16:creationId xmlns:a16="http://schemas.microsoft.com/office/drawing/2014/main" id="{96E6470B-ED05-4996-9BAC-7EEB535349D5}"/>
              </a:ext>
            </a:extLst>
          </p:cNvPr>
          <p:cNvSpPr>
            <a:spLocks noGrp="1"/>
          </p:cNvSpPr>
          <p:nvPr>
            <p:ph type="dgm" sz="quarter" idx="17"/>
          </p:nvPr>
        </p:nvSpPr>
        <p:spPr>
          <a:xfrm>
            <a:off x="6199188" y="1376363"/>
            <a:ext cx="5536800" cy="4694237"/>
          </a:xfrm>
        </p:spPr>
        <p:txBody>
          <a:bodyPr anchor="ctr"/>
          <a:lstStyle>
            <a:lvl1pPr algn="ctr">
              <a:buNone/>
              <a:defRPr sz="1000" b="1"/>
            </a:lvl1pPr>
          </a:lstStyle>
          <a:p>
            <a:r>
              <a:rPr lang="de-DE" noProof="0"/>
              <a:t>Klicken Sie auf das Symbol, um die SmartArt-Grafik hinzuzufügen</a:t>
            </a:r>
            <a:endParaRPr lang="en-GB" noProof="0"/>
          </a:p>
        </p:txBody>
      </p:sp>
      <p:sp>
        <p:nvSpPr>
          <p:cNvPr id="10" name="Tekstvak 9">
            <a:extLst>
              <a:ext uri="{FF2B5EF4-FFF2-40B4-BE49-F238E27FC236}">
                <a16:creationId xmlns:a16="http://schemas.microsoft.com/office/drawing/2014/main" id="{BEBE45CF-C0BE-CD47-941A-9DA56E3B4F3D}"/>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body text has </a:t>
            </a:r>
            <a:br>
              <a:rPr lang="en-GB" sz="1400" b="1" noProof="0">
                <a:solidFill>
                  <a:schemeClr val="tx2"/>
                </a:solidFill>
              </a:rPr>
            </a:br>
            <a:r>
              <a:rPr lang="en-GB" sz="1400" b="1" noProof="0">
                <a:solidFill>
                  <a:schemeClr val="tx2"/>
                </a:solidFill>
              </a:rPr>
              <a:t>3 list levels:</a:t>
            </a:r>
          </a:p>
          <a:p>
            <a:pPr>
              <a:defRPr/>
            </a:pPr>
            <a:endParaRPr lang="en-GB" sz="1200" noProof="0">
              <a:solidFill>
                <a:schemeClr val="tx2"/>
              </a:solidFill>
            </a:endParaRPr>
          </a:p>
          <a:p>
            <a:pPr marL="108000" indent="-108000">
              <a:buFont typeface="Wingdings" pitchFamily="2" charset="2"/>
              <a:buChar char="§"/>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108000" indent="-108000">
              <a:buFont typeface="Wingdings" pitchFamily="2" charset="2"/>
              <a:buChar char="§"/>
              <a:defRPr/>
            </a:pPr>
            <a:endParaRPr lang="en-GB" sz="900" noProof="0">
              <a:solidFill>
                <a:schemeClr val="tx2"/>
              </a:solidFill>
            </a:endParaRPr>
          </a:p>
          <a:p>
            <a:pPr marL="216000" indent="-108000">
              <a:buFont typeface=".Lucida Grande UI Regular"/>
              <a:buChar char="▫"/>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324000" indent="-108000">
              <a:buFont typeface=".Lucida Grande UI Regular"/>
              <a:buChar char="▫"/>
              <a:defRPr/>
            </a:pPr>
            <a:r>
              <a:rPr lang="en-GB" sz="1200" noProof="0">
                <a:solidFill>
                  <a:schemeClr val="tx2"/>
                </a:solidFill>
              </a:rPr>
              <a:t>Regular text (level 3)</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0" indent="0">
              <a:buFont typeface=".Lucida Grande UI Regular"/>
              <a:buNone/>
              <a:tabLst/>
              <a:defRPr/>
            </a:pPr>
            <a:r>
              <a:rPr lang="en-GB"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a:solidFill>
                <a:schemeClr val="tx2"/>
              </a:solidFill>
            </a:endParaRPr>
          </a:p>
          <a:p>
            <a:pPr marL="0" indent="0">
              <a:buFont typeface=".Lucida Grande UI Regular"/>
              <a:buNone/>
              <a:tabLst/>
              <a:defRPr/>
            </a:pPr>
            <a:r>
              <a:rPr lang="en-GB" sz="1200" noProof="0">
                <a:solidFill>
                  <a:schemeClr val="tx2"/>
                </a:solidFill>
              </a:rPr>
              <a:t>Keep your titles short and to the point. They will not become smaller.</a:t>
            </a:r>
          </a:p>
        </p:txBody>
      </p:sp>
    </p:spTree>
    <p:extLst>
      <p:ext uri="{BB962C8B-B14F-4D97-AF65-F5344CB8AC3E}">
        <p14:creationId xmlns:p14="http://schemas.microsoft.com/office/powerpoint/2010/main" val="30410650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Header Long - Text/SmartAr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7003B288-B473-4CBF-BC14-9AC2BECCEB93}"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12" name="Tijdelijke aanduiding voor tekst 7">
            <a:extLst>
              <a:ext uri="{FF2B5EF4-FFF2-40B4-BE49-F238E27FC236}">
                <a16:creationId xmlns:a16="http://schemas.microsoft.com/office/drawing/2014/main" id="{F4E0C8EA-33D2-FD4B-AC7B-F0C892770AB4}"/>
              </a:ext>
            </a:extLst>
          </p:cNvPr>
          <p:cNvSpPr>
            <a:spLocks noGrp="1"/>
          </p:cNvSpPr>
          <p:nvPr>
            <p:ph type="body" sz="quarter" idx="13"/>
          </p:nvPr>
        </p:nvSpPr>
        <p:spPr>
          <a:xfrm>
            <a:off x="1347788" y="953522"/>
            <a:ext cx="10390499"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D0641892-5A0D-284E-8093-6227FAE4A757}"/>
              </a:ext>
            </a:extLst>
          </p:cNvPr>
          <p:cNvSpPr>
            <a:spLocks noGrp="1"/>
          </p:cNvSpPr>
          <p:nvPr>
            <p:ph type="title"/>
          </p:nvPr>
        </p:nvSpPr>
        <p:spPr/>
        <p:txBody>
          <a:bodyPr/>
          <a:lstStyle/>
          <a:p>
            <a:r>
              <a:rPr lang="de-DE" noProof="0"/>
              <a:t>Mastertitelformat bearbeiten</a:t>
            </a:r>
            <a:endParaRPr lang="en-GB" noProof="0"/>
          </a:p>
        </p:txBody>
      </p:sp>
      <p:sp>
        <p:nvSpPr>
          <p:cNvPr id="13" name="Text Placeholder 8">
            <a:extLst>
              <a:ext uri="{FF2B5EF4-FFF2-40B4-BE49-F238E27FC236}">
                <a16:creationId xmlns:a16="http://schemas.microsoft.com/office/drawing/2014/main" id="{B2A9B00E-FC13-4CD6-9F6A-E99577FE2112}"/>
              </a:ext>
            </a:extLst>
          </p:cNvPr>
          <p:cNvSpPr>
            <a:spLocks noGrp="1"/>
          </p:cNvSpPr>
          <p:nvPr>
            <p:ph type="body" sz="quarter" idx="17"/>
          </p:nvPr>
        </p:nvSpPr>
        <p:spPr>
          <a:xfrm>
            <a:off x="1347789" y="1822450"/>
            <a:ext cx="4644777" cy="425291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15" name="SmartArt Placeholder 6">
            <a:extLst>
              <a:ext uri="{FF2B5EF4-FFF2-40B4-BE49-F238E27FC236}">
                <a16:creationId xmlns:a16="http://schemas.microsoft.com/office/drawing/2014/main" id="{8F4ED698-A74D-48B4-A5EA-27A48EE43921}"/>
              </a:ext>
            </a:extLst>
          </p:cNvPr>
          <p:cNvSpPr>
            <a:spLocks noGrp="1"/>
          </p:cNvSpPr>
          <p:nvPr>
            <p:ph type="dgm" sz="quarter" idx="18"/>
          </p:nvPr>
        </p:nvSpPr>
        <p:spPr>
          <a:xfrm>
            <a:off x="6199188" y="1822450"/>
            <a:ext cx="5536800" cy="4248150"/>
          </a:xfrm>
        </p:spPr>
        <p:txBody>
          <a:bodyPr anchor="ctr"/>
          <a:lstStyle>
            <a:lvl1pPr algn="ctr">
              <a:buNone/>
              <a:defRPr sz="1000" b="1"/>
            </a:lvl1pPr>
          </a:lstStyle>
          <a:p>
            <a:r>
              <a:rPr lang="de-DE" noProof="0"/>
              <a:t>Klicken Sie auf das Symbol, um die SmartArt-Grafik hinzuzufügen</a:t>
            </a:r>
            <a:endParaRPr lang="en-GB" noProof="0"/>
          </a:p>
        </p:txBody>
      </p:sp>
      <p:sp>
        <p:nvSpPr>
          <p:cNvPr id="10" name="Tekstvak 9">
            <a:extLst>
              <a:ext uri="{FF2B5EF4-FFF2-40B4-BE49-F238E27FC236}">
                <a16:creationId xmlns:a16="http://schemas.microsoft.com/office/drawing/2014/main" id="{361013A7-5AC0-C14C-9F81-2B9AF52C6C8E}"/>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body text has </a:t>
            </a:r>
            <a:br>
              <a:rPr lang="en-GB" sz="1400" b="1" noProof="0">
                <a:solidFill>
                  <a:schemeClr val="tx2"/>
                </a:solidFill>
              </a:rPr>
            </a:br>
            <a:r>
              <a:rPr lang="en-GB" sz="1400" b="1" noProof="0">
                <a:solidFill>
                  <a:schemeClr val="tx2"/>
                </a:solidFill>
              </a:rPr>
              <a:t>3 list levels:</a:t>
            </a:r>
          </a:p>
          <a:p>
            <a:pPr>
              <a:defRPr/>
            </a:pPr>
            <a:endParaRPr lang="en-GB" sz="1200" noProof="0">
              <a:solidFill>
                <a:schemeClr val="tx2"/>
              </a:solidFill>
            </a:endParaRPr>
          </a:p>
          <a:p>
            <a:pPr marL="108000" indent="-108000">
              <a:buFont typeface="Wingdings" pitchFamily="2" charset="2"/>
              <a:buChar char="§"/>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108000" indent="-108000">
              <a:buFont typeface="Wingdings" pitchFamily="2" charset="2"/>
              <a:buChar char="§"/>
              <a:defRPr/>
            </a:pPr>
            <a:endParaRPr lang="en-GB" sz="900" noProof="0">
              <a:solidFill>
                <a:schemeClr val="tx2"/>
              </a:solidFill>
            </a:endParaRPr>
          </a:p>
          <a:p>
            <a:pPr marL="216000" indent="-108000">
              <a:buFont typeface=".Lucida Grande UI Regular"/>
              <a:buChar char="▫"/>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324000" indent="-108000">
              <a:buFont typeface=".Lucida Grande UI Regular"/>
              <a:buChar char="▫"/>
              <a:defRPr/>
            </a:pPr>
            <a:r>
              <a:rPr lang="en-GB" sz="1200" noProof="0">
                <a:solidFill>
                  <a:schemeClr val="tx2"/>
                </a:solidFill>
              </a:rPr>
              <a:t>Regular text (level 3)</a:t>
            </a:r>
            <a:br>
              <a:rPr lang="en-GB" sz="1200" noProof="0">
                <a:solidFill>
                  <a:schemeClr val="tx2"/>
                </a:solidFill>
              </a:rPr>
            </a:br>
            <a:r>
              <a:rPr lang="en-GB" sz="1200" noProof="0">
                <a:solidFill>
                  <a:schemeClr val="tx2"/>
                </a:solidFill>
              </a:rPr>
              <a:t>Arial, 20pt, 80% dark grey</a:t>
            </a:r>
          </a:p>
          <a:p>
            <a:pPr marL="285750" indent="-171450">
              <a:buFont typeface=".Lucida Grande UI Regular"/>
              <a:buChar char="▫"/>
              <a:defRPr/>
            </a:pPr>
            <a:endParaRPr lang="en-GB" sz="1200" noProof="0">
              <a:solidFill>
                <a:schemeClr val="tx2"/>
              </a:solidFill>
            </a:endParaRPr>
          </a:p>
          <a:p>
            <a:pPr marL="0" indent="0">
              <a:buFont typeface=".Lucida Grande UI Regular"/>
              <a:buNone/>
              <a:tabLst/>
              <a:defRPr/>
            </a:pPr>
            <a:r>
              <a:rPr lang="en-GB"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en-GB" sz="1200" noProof="0">
              <a:solidFill>
                <a:schemeClr val="tx2"/>
              </a:solidFill>
            </a:endParaRPr>
          </a:p>
          <a:p>
            <a:pPr marL="0" indent="0">
              <a:buFont typeface=".Lucida Grande UI Regular"/>
              <a:buNone/>
              <a:tabLst/>
              <a:defRPr/>
            </a:pPr>
            <a:r>
              <a:rPr lang="en-GB" sz="1200" noProof="0">
                <a:solidFill>
                  <a:schemeClr val="tx2"/>
                </a:solidFill>
              </a:rPr>
              <a:t>Keep your titles short and to the point. They will not become smaller.</a:t>
            </a:r>
          </a:p>
        </p:txBody>
      </p:sp>
    </p:spTree>
    <p:extLst>
      <p:ext uri="{BB962C8B-B14F-4D97-AF65-F5344CB8AC3E}">
        <p14:creationId xmlns:p14="http://schemas.microsoft.com/office/powerpoint/2010/main" val="9456410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 Header Long - Table">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87CF0512-2CE1-4CFA-812E-5489CDC455F7}"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i="0">
                <a:latin typeface="Arial" panose="020B0604020202020204" pitchFamily="34" charset="0"/>
                <a:cs typeface="Arial" panose="020B0604020202020204" pitchFamily="34" charset="0"/>
              </a:defRPr>
            </a:lvl1pPr>
          </a:lstStyle>
          <a:p>
            <a:r>
              <a:rPr lang="en-GB" noProof="0"/>
              <a:t>Confidentiality</a:t>
            </a:r>
            <a:endParaRPr lang="en-GB" b="1" noProof="0">
              <a:cs typeface="Arial" panose="020B0604020202020204" pitchFamily="34" charset="0"/>
            </a:endParaRP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9" name="Table Placeholder 6">
            <a:extLst>
              <a:ext uri="{FF2B5EF4-FFF2-40B4-BE49-F238E27FC236}">
                <a16:creationId xmlns:a16="http://schemas.microsoft.com/office/drawing/2014/main" id="{75C229FC-3139-7D40-AB83-4BD992B6D7F9}"/>
              </a:ext>
            </a:extLst>
          </p:cNvPr>
          <p:cNvSpPr>
            <a:spLocks noGrp="1"/>
          </p:cNvSpPr>
          <p:nvPr>
            <p:ph type="tbl" sz="quarter" idx="15"/>
          </p:nvPr>
        </p:nvSpPr>
        <p:spPr>
          <a:xfrm>
            <a:off x="1346400" y="1376363"/>
            <a:ext cx="10389600" cy="4698999"/>
          </a:xfrm>
          <a:prstGeom prst="rect">
            <a:avLst/>
          </a:prstGeom>
        </p:spPr>
        <p:txBody>
          <a:bodyPr anchor="ctr">
            <a:normAutofit/>
          </a:bodyPr>
          <a:lstStyle>
            <a:lvl1pPr algn="ctr">
              <a:buNone/>
              <a:defRPr sz="1000" b="1" i="0">
                <a:solidFill>
                  <a:schemeClr val="tx2"/>
                </a:solidFill>
                <a:latin typeface="Arial" panose="020B0604020202020204" pitchFamily="34" charset="0"/>
                <a:cs typeface="Arial" panose="020B0604020202020204" pitchFamily="34" charset="0"/>
              </a:defRPr>
            </a:lvl1pPr>
          </a:lstStyle>
          <a:p>
            <a:r>
              <a:rPr lang="de-DE" noProof="0"/>
              <a:t>Tabelle durch Klicken auf Symbol hinzufügen</a:t>
            </a:r>
            <a:endParaRPr lang="en-GB" noProof="0"/>
          </a:p>
        </p:txBody>
      </p:sp>
      <p:sp>
        <p:nvSpPr>
          <p:cNvPr id="3" name="Titel 2">
            <a:extLst>
              <a:ext uri="{FF2B5EF4-FFF2-40B4-BE49-F238E27FC236}">
                <a16:creationId xmlns:a16="http://schemas.microsoft.com/office/drawing/2014/main" id="{675B166D-CD8B-E344-8C09-DD92DB5C36A6}"/>
              </a:ext>
            </a:extLst>
          </p:cNvPr>
          <p:cNvSpPr>
            <a:spLocks noGrp="1"/>
          </p:cNvSpPr>
          <p:nvPr>
            <p:ph type="title"/>
          </p:nvPr>
        </p:nvSpPr>
        <p:spPr/>
        <p:txBody>
          <a:bodyPr/>
          <a:lstStyle/>
          <a:p>
            <a:r>
              <a:rPr lang="de-DE" noProof="0"/>
              <a:t>Mastertitelformat bearbeiten</a:t>
            </a:r>
            <a:endParaRPr lang="en-GB" noProof="0"/>
          </a:p>
        </p:txBody>
      </p:sp>
    </p:spTree>
    <p:extLst>
      <p:ext uri="{BB962C8B-B14F-4D97-AF65-F5344CB8AC3E}">
        <p14:creationId xmlns:p14="http://schemas.microsoft.com/office/powerpoint/2010/main" val="14819141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Header Long - Table">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BBFFFD10-875E-45C5-8B0B-748811021970}"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i="0">
                <a:latin typeface="Arial" panose="020B0604020202020204" pitchFamily="34" charset="0"/>
                <a:cs typeface="Arial" panose="020B0604020202020204" pitchFamily="34" charset="0"/>
              </a:defRPr>
            </a:lvl1pPr>
          </a:lstStyle>
          <a:p>
            <a:r>
              <a:rPr lang="en-GB" dirty="0"/>
              <a:t>Intraday Capacity Calculation</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12" name="Tijdelijke aanduiding voor tekst 7">
            <a:extLst>
              <a:ext uri="{FF2B5EF4-FFF2-40B4-BE49-F238E27FC236}">
                <a16:creationId xmlns:a16="http://schemas.microsoft.com/office/drawing/2014/main" id="{F4E0C8EA-33D2-FD4B-AC7B-F0C892770AB4}"/>
              </a:ext>
            </a:extLst>
          </p:cNvPr>
          <p:cNvSpPr>
            <a:spLocks noGrp="1"/>
          </p:cNvSpPr>
          <p:nvPr>
            <p:ph type="body" sz="quarter" idx="13"/>
          </p:nvPr>
        </p:nvSpPr>
        <p:spPr>
          <a:xfrm>
            <a:off x="1347788" y="953522"/>
            <a:ext cx="10390187" cy="432000"/>
          </a:xfrm>
          <a:prstGeom prst="rect">
            <a:avLst/>
          </a:prstGeom>
        </p:spPr>
        <p:txBody>
          <a:bodyPr>
            <a:noAutofit/>
          </a:bodyPr>
          <a:lstStyle>
            <a:lvl1pPr marL="0" indent="0">
              <a:lnSpc>
                <a:spcPct val="90000"/>
              </a:lnSpc>
              <a:spcBef>
                <a:spcPts val="0"/>
              </a:spcBef>
              <a:buNone/>
              <a:defRPr sz="3000" b="0"/>
            </a:lvl1pPr>
          </a:lstStyle>
          <a:p>
            <a:pPr lvl="0"/>
            <a:r>
              <a:rPr lang="de-DE" noProof="0"/>
              <a:t>Mastertextformat bearbeiten</a:t>
            </a:r>
          </a:p>
        </p:txBody>
      </p:sp>
      <p:sp>
        <p:nvSpPr>
          <p:cNvPr id="3" name="Titel 2">
            <a:extLst>
              <a:ext uri="{FF2B5EF4-FFF2-40B4-BE49-F238E27FC236}">
                <a16:creationId xmlns:a16="http://schemas.microsoft.com/office/drawing/2014/main" id="{675B166D-CD8B-E344-8C09-DD92DB5C36A6}"/>
              </a:ext>
            </a:extLst>
          </p:cNvPr>
          <p:cNvSpPr>
            <a:spLocks noGrp="1"/>
          </p:cNvSpPr>
          <p:nvPr>
            <p:ph type="title"/>
          </p:nvPr>
        </p:nvSpPr>
        <p:spPr/>
        <p:txBody>
          <a:bodyPr/>
          <a:lstStyle/>
          <a:p>
            <a:r>
              <a:rPr lang="de-DE" noProof="0"/>
              <a:t>Mastertitelformat bearbeiten</a:t>
            </a:r>
            <a:endParaRPr lang="en-GB" noProof="0"/>
          </a:p>
        </p:txBody>
      </p:sp>
      <p:sp>
        <p:nvSpPr>
          <p:cNvPr id="10" name="Tijdelijke aanduiding voor tabel 6">
            <a:extLst>
              <a:ext uri="{FF2B5EF4-FFF2-40B4-BE49-F238E27FC236}">
                <a16:creationId xmlns:a16="http://schemas.microsoft.com/office/drawing/2014/main" id="{1327E8B4-D2DC-E34A-882A-F332DFFA7FF5}"/>
              </a:ext>
            </a:extLst>
          </p:cNvPr>
          <p:cNvSpPr>
            <a:spLocks noGrp="1"/>
          </p:cNvSpPr>
          <p:nvPr>
            <p:ph type="tbl" sz="quarter" idx="16"/>
          </p:nvPr>
        </p:nvSpPr>
        <p:spPr>
          <a:xfrm>
            <a:off x="1346399" y="1822449"/>
            <a:ext cx="10389599" cy="4252912"/>
          </a:xfrm>
          <a:prstGeom prst="rect">
            <a:avLst/>
          </a:prstGeom>
        </p:spPr>
        <p:txBody>
          <a:bodyPr anchor="ctr"/>
          <a:lstStyle>
            <a:lvl1pPr algn="ctr">
              <a:buNone/>
              <a:defRPr sz="1000" b="1"/>
            </a:lvl1pPr>
          </a:lstStyle>
          <a:p>
            <a:r>
              <a:rPr lang="de-DE" noProof="0"/>
              <a:t>Tabelle durch Klicken auf Symbol hinzufügen</a:t>
            </a:r>
            <a:endParaRPr lang="en-GB" noProof="0"/>
          </a:p>
        </p:txBody>
      </p:sp>
    </p:spTree>
    <p:extLst>
      <p:ext uri="{BB962C8B-B14F-4D97-AF65-F5344CB8AC3E}">
        <p14:creationId xmlns:p14="http://schemas.microsoft.com/office/powerpoint/2010/main" val="9428425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Header Only">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43C3EADC-ED98-4083-A046-9E4C16FC611D}"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i="0">
                <a:latin typeface="Arial" panose="020B0604020202020204" pitchFamily="34" charset="0"/>
                <a:cs typeface="Arial" panose="020B0604020202020204" pitchFamily="34" charset="0"/>
              </a:defRPr>
            </a:lvl1pPr>
          </a:lstStyle>
          <a:p>
            <a:r>
              <a:rPr lang="en-GB" dirty="0"/>
              <a:t>Intraday Capacity Calculation</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2" name="Titel 1">
            <a:extLst>
              <a:ext uri="{FF2B5EF4-FFF2-40B4-BE49-F238E27FC236}">
                <a16:creationId xmlns:a16="http://schemas.microsoft.com/office/drawing/2014/main" id="{1D99C20D-EFE1-434B-81F2-97DF17FC3096}"/>
              </a:ext>
            </a:extLst>
          </p:cNvPr>
          <p:cNvSpPr>
            <a:spLocks noGrp="1"/>
          </p:cNvSpPr>
          <p:nvPr>
            <p:ph type="title"/>
          </p:nvPr>
        </p:nvSpPr>
        <p:spPr/>
        <p:txBody>
          <a:bodyPr/>
          <a:lstStyle/>
          <a:p>
            <a:r>
              <a:rPr lang="de-DE" noProof="0"/>
              <a:t>Mastertitelformat bearbeiten</a:t>
            </a:r>
            <a:endParaRPr lang="en-GB" noProof="0"/>
          </a:p>
        </p:txBody>
      </p:sp>
    </p:spTree>
    <p:extLst>
      <p:ext uri="{BB962C8B-B14F-4D97-AF65-F5344CB8AC3E}">
        <p14:creationId xmlns:p14="http://schemas.microsoft.com/office/powerpoint/2010/main" val="19900793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Header Only">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A0050CDF-A4D4-437C-8CD5-720E7F8AD988}"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i="0">
                <a:latin typeface="Arial" panose="020B0604020202020204" pitchFamily="34" charset="0"/>
                <a:cs typeface="Arial" panose="020B0604020202020204" pitchFamily="34" charset="0"/>
              </a:defRPr>
            </a:lvl1pPr>
          </a:lstStyle>
          <a:p>
            <a:r>
              <a:rPr lang="en-GB" noProof="0"/>
              <a:t>Confidentiality</a:t>
            </a:r>
            <a:endParaRPr lang="en-GB" noProof="0">
              <a:cs typeface="Arial" panose="020B0604020202020204" pitchFamily="34" charset="0"/>
            </a:endParaRP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12" name="Tijdelijke aanduiding voor tekst 7">
            <a:extLst>
              <a:ext uri="{FF2B5EF4-FFF2-40B4-BE49-F238E27FC236}">
                <a16:creationId xmlns:a16="http://schemas.microsoft.com/office/drawing/2014/main" id="{F4E0C8EA-33D2-FD4B-AC7B-F0C892770AB4}"/>
              </a:ext>
            </a:extLst>
          </p:cNvPr>
          <p:cNvSpPr>
            <a:spLocks noGrp="1"/>
          </p:cNvSpPr>
          <p:nvPr>
            <p:ph type="body" sz="quarter" idx="13"/>
          </p:nvPr>
        </p:nvSpPr>
        <p:spPr>
          <a:xfrm>
            <a:off x="1347788" y="953522"/>
            <a:ext cx="10390187" cy="432000"/>
          </a:xfrm>
          <a:prstGeom prst="rect">
            <a:avLst/>
          </a:prstGeom>
        </p:spPr>
        <p:txBody>
          <a:bodyPr>
            <a:noAutofit/>
          </a:bodyPr>
          <a:lstStyle>
            <a:lvl1pPr marL="0" indent="0">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1D99C20D-EFE1-434B-81F2-97DF17FC3096}"/>
              </a:ext>
            </a:extLst>
          </p:cNvPr>
          <p:cNvSpPr>
            <a:spLocks noGrp="1"/>
          </p:cNvSpPr>
          <p:nvPr>
            <p:ph type="title"/>
          </p:nvPr>
        </p:nvSpPr>
        <p:spPr/>
        <p:txBody>
          <a:bodyPr/>
          <a:lstStyle/>
          <a:p>
            <a:r>
              <a:rPr lang="de-DE" noProof="0"/>
              <a:t>Mastertitelformat bearbeiten</a:t>
            </a:r>
            <a:endParaRPr lang="en-GB" noProof="0"/>
          </a:p>
        </p:txBody>
      </p:sp>
    </p:spTree>
    <p:extLst>
      <p:ext uri="{BB962C8B-B14F-4D97-AF65-F5344CB8AC3E}">
        <p14:creationId xmlns:p14="http://schemas.microsoft.com/office/powerpoint/2010/main" val="37377183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2C9FC866-B897-439D-A7D7-BE23BCC09D22}"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dirty="0"/>
              <a:t>Intraday Capacity Calculation</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Tree>
    <p:extLst>
      <p:ext uri="{BB962C8B-B14F-4D97-AF65-F5344CB8AC3E}">
        <p14:creationId xmlns:p14="http://schemas.microsoft.com/office/powerpoint/2010/main" val="12602171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Header - Colour boxes">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B1185000-A165-4776-8340-1C67E70B6B38}"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10" name="Tijdelijke aanduiding voor tekst 7">
            <a:extLst>
              <a:ext uri="{FF2B5EF4-FFF2-40B4-BE49-F238E27FC236}">
                <a16:creationId xmlns:a16="http://schemas.microsoft.com/office/drawing/2014/main" id="{760AC7FD-16A2-7B49-91AE-8CE6F4044E1D}"/>
              </a:ext>
            </a:extLst>
          </p:cNvPr>
          <p:cNvSpPr>
            <a:spLocks noGrp="1"/>
          </p:cNvSpPr>
          <p:nvPr>
            <p:ph type="body" sz="quarter" idx="13"/>
          </p:nvPr>
        </p:nvSpPr>
        <p:spPr>
          <a:xfrm>
            <a:off x="1347788" y="953522"/>
            <a:ext cx="10390187" cy="432000"/>
          </a:xfrm>
          <a:prstGeom prst="rect">
            <a:avLst/>
          </a:prstGeom>
        </p:spPr>
        <p:txBody>
          <a:bodyPr>
            <a:noAutofit/>
          </a:bodyPr>
          <a:lstStyle>
            <a:lvl1pPr>
              <a:spcBef>
                <a:spcPts val="0"/>
              </a:spcBef>
              <a:buNone/>
              <a:defRPr sz="3000" b="0"/>
            </a:lvl1pPr>
          </a:lstStyle>
          <a:p>
            <a:pPr lvl="0"/>
            <a:r>
              <a:rPr lang="de-DE" noProof="0"/>
              <a:t>Mastertextformat bearbeiten</a:t>
            </a:r>
          </a:p>
        </p:txBody>
      </p:sp>
      <p:sp>
        <p:nvSpPr>
          <p:cNvPr id="2" name="Titel 1">
            <a:extLst>
              <a:ext uri="{FF2B5EF4-FFF2-40B4-BE49-F238E27FC236}">
                <a16:creationId xmlns:a16="http://schemas.microsoft.com/office/drawing/2014/main" id="{5F362E91-5A20-E648-BC8A-01290FE706C4}"/>
              </a:ext>
            </a:extLst>
          </p:cNvPr>
          <p:cNvSpPr>
            <a:spLocks noGrp="1"/>
          </p:cNvSpPr>
          <p:nvPr>
            <p:ph type="title"/>
          </p:nvPr>
        </p:nvSpPr>
        <p:spPr/>
        <p:txBody>
          <a:bodyPr/>
          <a:lstStyle/>
          <a:p>
            <a:r>
              <a:rPr lang="de-DE" noProof="0"/>
              <a:t>Mastertitelformat bearbeiten</a:t>
            </a:r>
            <a:endParaRPr lang="en-GB" noProof="0"/>
          </a:p>
        </p:txBody>
      </p:sp>
      <p:sp>
        <p:nvSpPr>
          <p:cNvPr id="30" name="Text Placeholder 12">
            <a:extLst>
              <a:ext uri="{FF2B5EF4-FFF2-40B4-BE49-F238E27FC236}">
                <a16:creationId xmlns:a16="http://schemas.microsoft.com/office/drawing/2014/main" id="{8E3FDEF6-BFA2-9F42-B783-7CDA2B077D99}"/>
              </a:ext>
            </a:extLst>
          </p:cNvPr>
          <p:cNvSpPr>
            <a:spLocks noGrp="1" noChangeAspect="1"/>
          </p:cNvSpPr>
          <p:nvPr>
            <p:ph type="body" sz="quarter" idx="30" hasCustomPrompt="1"/>
          </p:nvPr>
        </p:nvSpPr>
        <p:spPr>
          <a:xfrm>
            <a:off x="1364395" y="1798048"/>
            <a:ext cx="1907747" cy="1908000"/>
          </a:xfrm>
          <a:custGeom>
            <a:avLst/>
            <a:gdLst>
              <a:gd name="connsiteX0" fmla="*/ 0 w 2107931"/>
              <a:gd name="connsiteY0" fmla="*/ 0 h 2108200"/>
              <a:gd name="connsiteX1" fmla="*/ 2107931 w 2107931"/>
              <a:gd name="connsiteY1" fmla="*/ 0 h 2108200"/>
              <a:gd name="connsiteX2" fmla="*/ 2107931 w 2107931"/>
              <a:gd name="connsiteY2" fmla="*/ 1989385 h 2108200"/>
              <a:gd name="connsiteX3" fmla="*/ 1864325 w 2107931"/>
              <a:gd name="connsiteY3" fmla="*/ 2108200 h 2108200"/>
              <a:gd name="connsiteX4" fmla="*/ 0 w 2107931"/>
              <a:gd name="connsiteY4" fmla="*/ 2108200 h 2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31" h="2108200">
                <a:moveTo>
                  <a:pt x="0" y="0"/>
                </a:moveTo>
                <a:lnTo>
                  <a:pt x="2107931" y="0"/>
                </a:lnTo>
                <a:lnTo>
                  <a:pt x="2107931" y="1989385"/>
                </a:lnTo>
                <a:lnTo>
                  <a:pt x="1864325" y="2108200"/>
                </a:lnTo>
                <a:lnTo>
                  <a:pt x="0" y="2108200"/>
                </a:lnTo>
                <a:close/>
              </a:path>
            </a:pathLst>
          </a:custGeom>
          <a:solidFill>
            <a:schemeClr val="accent1"/>
          </a:solidFill>
        </p:spPr>
        <p:txBody>
          <a:bodyPr wrap="square" lIns="108000" tIns="108000" rIns="108000" bIns="108000">
            <a:noAutofit/>
          </a:bodyPr>
          <a:lstStyle>
            <a:lvl1pPr marL="144000" indent="-144000">
              <a:lnSpc>
                <a:spcPct val="100000"/>
              </a:lnSpc>
              <a:spcBef>
                <a:spcPts val="300"/>
              </a:spcBef>
              <a:buFont typeface="Systeemlettertype regulier"/>
              <a:buChar char="■"/>
              <a:defRPr sz="1400">
                <a:solidFill>
                  <a:schemeClr val="bg1"/>
                </a:solidFill>
              </a:defRPr>
            </a:lvl1pPr>
            <a:lvl2pPr marL="288000" indent="-144000">
              <a:lnSpc>
                <a:spcPct val="100000"/>
              </a:lnSpc>
              <a:spcBef>
                <a:spcPts val="300"/>
              </a:spcBef>
              <a:buFont typeface=".Lucida Grande UI Regular"/>
              <a:buChar char="▫"/>
              <a:tabLst/>
              <a:defRPr sz="1400">
                <a:solidFill>
                  <a:schemeClr val="bg1"/>
                </a:solidFill>
              </a:defRPr>
            </a:lvl2pPr>
            <a:lvl3pPr marL="432000" indent="-144000">
              <a:lnSpc>
                <a:spcPct val="100000"/>
              </a:lnSpc>
              <a:spcBef>
                <a:spcPts val="300"/>
              </a:spcBef>
              <a:defRPr sz="1400">
                <a:solidFill>
                  <a:schemeClr val="bg1"/>
                </a:solidFill>
              </a:defRPr>
            </a:lvl3pPr>
            <a:lvl4pPr marL="576000" indent="-144000">
              <a:lnSpc>
                <a:spcPct val="100000"/>
              </a:lnSpc>
              <a:spcBef>
                <a:spcPts val="300"/>
              </a:spcBef>
              <a:defRPr sz="1400">
                <a:solidFill>
                  <a:schemeClr val="bg1"/>
                </a:solidFill>
              </a:defRPr>
            </a:lvl4pPr>
            <a:lvl5pPr marL="720000" indent="-144000">
              <a:lnSpc>
                <a:spcPct val="100000"/>
              </a:lnSpc>
              <a:spcBef>
                <a:spcPts val="300"/>
              </a:spcBef>
              <a:defRPr sz="1400">
                <a:solidFill>
                  <a:schemeClr val="bg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23">
            <a:extLst>
              <a:ext uri="{FF2B5EF4-FFF2-40B4-BE49-F238E27FC236}">
                <a16:creationId xmlns:a16="http://schemas.microsoft.com/office/drawing/2014/main" id="{9796288C-94F3-5B41-AB5E-E26B9EEAC3A0}"/>
              </a:ext>
            </a:extLst>
          </p:cNvPr>
          <p:cNvSpPr>
            <a:spLocks noGrp="1" noChangeAspect="1"/>
          </p:cNvSpPr>
          <p:nvPr>
            <p:ph type="body" sz="quarter" idx="31" hasCustomPrompt="1"/>
          </p:nvPr>
        </p:nvSpPr>
        <p:spPr>
          <a:xfrm>
            <a:off x="6154382" y="1798048"/>
            <a:ext cx="1787252" cy="1908000"/>
          </a:xfrm>
          <a:custGeom>
            <a:avLst/>
            <a:gdLst>
              <a:gd name="connsiteX0" fmla="*/ 0 w 2107931"/>
              <a:gd name="connsiteY0" fmla="*/ 0 h 2250357"/>
              <a:gd name="connsiteX1" fmla="*/ 2107931 w 2107931"/>
              <a:gd name="connsiteY1" fmla="*/ 0 h 2250357"/>
              <a:gd name="connsiteX2" fmla="*/ 2107931 w 2107931"/>
              <a:gd name="connsiteY2" fmla="*/ 2029802 h 2250357"/>
              <a:gd name="connsiteX3" fmla="*/ 2105757 w 2107931"/>
              <a:gd name="connsiteY3" fmla="*/ 2029802 h 2250357"/>
              <a:gd name="connsiteX4" fmla="*/ 2105757 w 2107931"/>
              <a:gd name="connsiteY4" fmla="*/ 2250357 h 2250357"/>
              <a:gd name="connsiteX5" fmla="*/ 1653554 w 2107931"/>
              <a:gd name="connsiteY5" fmla="*/ 2029802 h 2250357"/>
              <a:gd name="connsiteX6" fmla="*/ 0 w 2107931"/>
              <a:gd name="connsiteY6" fmla="*/ 2029802 h 225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7931" h="2250357">
                <a:moveTo>
                  <a:pt x="0" y="0"/>
                </a:moveTo>
                <a:lnTo>
                  <a:pt x="2107931" y="0"/>
                </a:lnTo>
                <a:lnTo>
                  <a:pt x="2107931" y="2029802"/>
                </a:lnTo>
                <a:lnTo>
                  <a:pt x="2105757" y="2029802"/>
                </a:lnTo>
                <a:lnTo>
                  <a:pt x="2105757" y="2250357"/>
                </a:lnTo>
                <a:lnTo>
                  <a:pt x="1653554" y="2029802"/>
                </a:lnTo>
                <a:lnTo>
                  <a:pt x="0" y="2029802"/>
                </a:lnTo>
                <a:close/>
              </a:path>
            </a:pathLst>
          </a:custGeom>
          <a:solidFill>
            <a:schemeClr val="accent3"/>
          </a:solidFill>
        </p:spPr>
        <p:txBody>
          <a:bodyPr wrap="square" lIns="108000" tIns="108000" rIns="108000" bIns="108000">
            <a:noAutofit/>
          </a:bodyPr>
          <a:lstStyle>
            <a:lvl1pPr marL="144000" indent="-144000">
              <a:lnSpc>
                <a:spcPct val="100000"/>
              </a:lnSpc>
              <a:buFont typeface="Systeemlettertype regulier"/>
              <a:buChar char="■"/>
              <a:tabLst/>
              <a:defRPr sz="1400">
                <a:solidFill>
                  <a:schemeClr val="bg1"/>
                </a:solidFill>
              </a:defRPr>
            </a:lvl1pPr>
            <a:lvl2pPr marL="288000" indent="-144000">
              <a:lnSpc>
                <a:spcPct val="100000"/>
              </a:lnSpc>
              <a:spcBef>
                <a:spcPts val="300"/>
              </a:spcBef>
              <a:buFont typeface=".Lucida Grande UI Regular"/>
              <a:buChar char="▫"/>
              <a:tabLst/>
              <a:defRPr sz="1400">
                <a:solidFill>
                  <a:schemeClr val="bg1"/>
                </a:solidFill>
              </a:defRPr>
            </a:lvl2pPr>
            <a:lvl3pPr marL="432000" indent="-144000">
              <a:lnSpc>
                <a:spcPct val="100000"/>
              </a:lnSpc>
              <a:spcBef>
                <a:spcPts val="300"/>
              </a:spcBef>
              <a:defRPr sz="1400">
                <a:solidFill>
                  <a:schemeClr val="bg1"/>
                </a:solidFill>
              </a:defRPr>
            </a:lvl3pPr>
            <a:lvl4pPr marL="576000" indent="-144000">
              <a:lnSpc>
                <a:spcPct val="100000"/>
              </a:lnSpc>
              <a:spcBef>
                <a:spcPts val="300"/>
              </a:spcBef>
              <a:defRPr sz="1400">
                <a:solidFill>
                  <a:schemeClr val="bg1"/>
                </a:solidFill>
              </a:defRPr>
            </a:lvl4pPr>
            <a:lvl5pPr marL="720000" indent="-144000">
              <a:lnSpc>
                <a:spcPct val="100000"/>
              </a:lnSpc>
              <a:spcBef>
                <a:spcPts val="300"/>
              </a:spcBef>
              <a:defRPr sz="1400">
                <a:solidFill>
                  <a:schemeClr val="bg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2" name="Text Placeholder 12">
            <a:extLst>
              <a:ext uri="{FF2B5EF4-FFF2-40B4-BE49-F238E27FC236}">
                <a16:creationId xmlns:a16="http://schemas.microsoft.com/office/drawing/2014/main" id="{219F542B-C42B-BA4D-B23E-E242BBE5C498}"/>
              </a:ext>
            </a:extLst>
          </p:cNvPr>
          <p:cNvSpPr>
            <a:spLocks noGrp="1" noChangeAspect="1"/>
          </p:cNvSpPr>
          <p:nvPr>
            <p:ph type="body" sz="quarter" idx="32" hasCustomPrompt="1"/>
          </p:nvPr>
        </p:nvSpPr>
        <p:spPr>
          <a:xfrm>
            <a:off x="3759388" y="1798048"/>
            <a:ext cx="1907747" cy="1908000"/>
          </a:xfrm>
          <a:custGeom>
            <a:avLst/>
            <a:gdLst>
              <a:gd name="connsiteX0" fmla="*/ 0 w 2107931"/>
              <a:gd name="connsiteY0" fmla="*/ 0 h 2108200"/>
              <a:gd name="connsiteX1" fmla="*/ 2107931 w 2107931"/>
              <a:gd name="connsiteY1" fmla="*/ 0 h 2108200"/>
              <a:gd name="connsiteX2" fmla="*/ 2107931 w 2107931"/>
              <a:gd name="connsiteY2" fmla="*/ 1989385 h 2108200"/>
              <a:gd name="connsiteX3" fmla="*/ 1864325 w 2107931"/>
              <a:gd name="connsiteY3" fmla="*/ 2108200 h 2108200"/>
              <a:gd name="connsiteX4" fmla="*/ 0 w 2107931"/>
              <a:gd name="connsiteY4" fmla="*/ 2108200 h 2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31" h="2108200">
                <a:moveTo>
                  <a:pt x="0" y="0"/>
                </a:moveTo>
                <a:lnTo>
                  <a:pt x="2107931" y="0"/>
                </a:lnTo>
                <a:lnTo>
                  <a:pt x="2107931" y="1989385"/>
                </a:lnTo>
                <a:lnTo>
                  <a:pt x="1864325" y="2108200"/>
                </a:lnTo>
                <a:lnTo>
                  <a:pt x="0" y="2108200"/>
                </a:lnTo>
                <a:close/>
              </a:path>
            </a:pathLst>
          </a:custGeom>
          <a:solidFill>
            <a:schemeClr val="accent2"/>
          </a:solidFill>
        </p:spPr>
        <p:txBody>
          <a:bodyPr wrap="square" lIns="108000" tIns="108000" rIns="108000" bIns="108000">
            <a:noAutofit/>
          </a:bodyPr>
          <a:lstStyle>
            <a:lvl1pPr marL="144000" indent="-144000">
              <a:lnSpc>
                <a:spcPct val="100000"/>
              </a:lnSpc>
              <a:spcBef>
                <a:spcPts val="300"/>
              </a:spcBef>
              <a:buFont typeface="Systeemlettertype regulier"/>
              <a:buChar char="■"/>
              <a:defRPr sz="1400">
                <a:solidFill>
                  <a:schemeClr val="bg1"/>
                </a:solidFill>
              </a:defRPr>
            </a:lvl1pPr>
            <a:lvl2pPr marL="288000" indent="-144000">
              <a:lnSpc>
                <a:spcPct val="100000"/>
              </a:lnSpc>
              <a:spcBef>
                <a:spcPts val="300"/>
              </a:spcBef>
              <a:buFont typeface=".Lucida Grande UI Regular"/>
              <a:buChar char="▫"/>
              <a:tabLst/>
              <a:defRPr sz="1400">
                <a:solidFill>
                  <a:schemeClr val="bg1"/>
                </a:solidFill>
              </a:defRPr>
            </a:lvl2pPr>
            <a:lvl3pPr marL="432000" indent="-144000">
              <a:lnSpc>
                <a:spcPct val="100000"/>
              </a:lnSpc>
              <a:spcBef>
                <a:spcPts val="300"/>
              </a:spcBef>
              <a:defRPr sz="1400">
                <a:solidFill>
                  <a:schemeClr val="bg1"/>
                </a:solidFill>
              </a:defRPr>
            </a:lvl3pPr>
            <a:lvl4pPr marL="576000" indent="-144000">
              <a:lnSpc>
                <a:spcPct val="100000"/>
              </a:lnSpc>
              <a:spcBef>
                <a:spcPts val="300"/>
              </a:spcBef>
              <a:defRPr sz="1400">
                <a:solidFill>
                  <a:schemeClr val="bg1"/>
                </a:solidFill>
              </a:defRPr>
            </a:lvl4pPr>
            <a:lvl5pPr marL="720000" indent="-144000">
              <a:lnSpc>
                <a:spcPct val="100000"/>
              </a:lnSpc>
              <a:spcBef>
                <a:spcPts val="300"/>
              </a:spcBef>
              <a:defRPr sz="1400">
                <a:solidFill>
                  <a:schemeClr val="bg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Text Placeholder 12">
            <a:extLst>
              <a:ext uri="{FF2B5EF4-FFF2-40B4-BE49-F238E27FC236}">
                <a16:creationId xmlns:a16="http://schemas.microsoft.com/office/drawing/2014/main" id="{96E4E261-D992-8646-9F79-DD6AB78F9222}"/>
              </a:ext>
            </a:extLst>
          </p:cNvPr>
          <p:cNvSpPr>
            <a:spLocks noGrp="1" noChangeAspect="1"/>
          </p:cNvSpPr>
          <p:nvPr>
            <p:ph type="body" sz="quarter" idx="33" hasCustomPrompt="1"/>
          </p:nvPr>
        </p:nvSpPr>
        <p:spPr>
          <a:xfrm>
            <a:off x="1364395" y="4118574"/>
            <a:ext cx="1907747" cy="1908000"/>
          </a:xfrm>
          <a:custGeom>
            <a:avLst/>
            <a:gdLst>
              <a:gd name="connsiteX0" fmla="*/ 0 w 2107931"/>
              <a:gd name="connsiteY0" fmla="*/ 0 h 2108200"/>
              <a:gd name="connsiteX1" fmla="*/ 2107931 w 2107931"/>
              <a:gd name="connsiteY1" fmla="*/ 0 h 2108200"/>
              <a:gd name="connsiteX2" fmla="*/ 2107931 w 2107931"/>
              <a:gd name="connsiteY2" fmla="*/ 1989385 h 2108200"/>
              <a:gd name="connsiteX3" fmla="*/ 1864325 w 2107931"/>
              <a:gd name="connsiteY3" fmla="*/ 2108200 h 2108200"/>
              <a:gd name="connsiteX4" fmla="*/ 0 w 2107931"/>
              <a:gd name="connsiteY4" fmla="*/ 2108200 h 2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31" h="2108200">
                <a:moveTo>
                  <a:pt x="0" y="0"/>
                </a:moveTo>
                <a:lnTo>
                  <a:pt x="2107931" y="0"/>
                </a:lnTo>
                <a:lnTo>
                  <a:pt x="2107931" y="1989385"/>
                </a:lnTo>
                <a:lnTo>
                  <a:pt x="1864325" y="2108200"/>
                </a:lnTo>
                <a:lnTo>
                  <a:pt x="0" y="2108200"/>
                </a:lnTo>
                <a:close/>
              </a:path>
            </a:pathLst>
          </a:custGeom>
          <a:noFill/>
          <a:ln w="76200">
            <a:solidFill>
              <a:schemeClr val="accent1"/>
            </a:solidFill>
            <a:miter lim="800000"/>
          </a:ln>
        </p:spPr>
        <p:txBody>
          <a:bodyPr wrap="square" lIns="108000" tIns="108000" rIns="108000" bIns="108000">
            <a:noAutofit/>
          </a:bodyPr>
          <a:lstStyle>
            <a:lvl1pPr marL="144000" indent="-144000">
              <a:lnSpc>
                <a:spcPct val="100000"/>
              </a:lnSpc>
              <a:spcBef>
                <a:spcPts val="300"/>
              </a:spcBef>
              <a:buFont typeface="Systeemlettertype regulier"/>
              <a:buChar char="■"/>
              <a:defRPr sz="1400">
                <a:solidFill>
                  <a:schemeClr val="tx1"/>
                </a:solidFill>
              </a:defRPr>
            </a:lvl1pPr>
            <a:lvl2pPr marL="288000" indent="-144000">
              <a:lnSpc>
                <a:spcPct val="100000"/>
              </a:lnSpc>
              <a:spcBef>
                <a:spcPts val="300"/>
              </a:spcBef>
              <a:buFont typeface=".Lucida Grande UI Regular"/>
              <a:buChar char="▫"/>
              <a:tabLst/>
              <a:defRPr sz="1400">
                <a:solidFill>
                  <a:schemeClr val="tx1"/>
                </a:solidFill>
              </a:defRPr>
            </a:lvl2pPr>
            <a:lvl3pPr marL="432000" indent="-144000">
              <a:lnSpc>
                <a:spcPct val="100000"/>
              </a:lnSpc>
              <a:spcBef>
                <a:spcPts val="300"/>
              </a:spcBef>
              <a:defRPr sz="1400">
                <a:solidFill>
                  <a:schemeClr val="tx1"/>
                </a:solidFill>
              </a:defRPr>
            </a:lvl3pPr>
            <a:lvl4pPr marL="576000" indent="-144000">
              <a:lnSpc>
                <a:spcPct val="100000"/>
              </a:lnSpc>
              <a:spcBef>
                <a:spcPts val="300"/>
              </a:spcBef>
              <a:defRPr sz="1400">
                <a:solidFill>
                  <a:schemeClr val="tx1"/>
                </a:solidFill>
              </a:defRPr>
            </a:lvl4pPr>
            <a:lvl5pPr marL="720000" indent="-144000">
              <a:lnSpc>
                <a:spcPct val="100000"/>
              </a:lnSpc>
              <a:spcBef>
                <a:spcPts val="300"/>
              </a:spcBef>
              <a:defRPr sz="1400">
                <a:solidFill>
                  <a:schemeClr val="tx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4" name="Text Placeholder 12">
            <a:extLst>
              <a:ext uri="{FF2B5EF4-FFF2-40B4-BE49-F238E27FC236}">
                <a16:creationId xmlns:a16="http://schemas.microsoft.com/office/drawing/2014/main" id="{DA3D2E5B-E8FE-DD4E-83D3-1DE1523218C4}"/>
              </a:ext>
            </a:extLst>
          </p:cNvPr>
          <p:cNvSpPr>
            <a:spLocks noGrp="1" noChangeAspect="1"/>
          </p:cNvSpPr>
          <p:nvPr>
            <p:ph type="body" sz="quarter" idx="34" hasCustomPrompt="1"/>
          </p:nvPr>
        </p:nvSpPr>
        <p:spPr>
          <a:xfrm>
            <a:off x="3759388" y="4118574"/>
            <a:ext cx="1907747" cy="1908000"/>
          </a:xfrm>
          <a:custGeom>
            <a:avLst/>
            <a:gdLst>
              <a:gd name="connsiteX0" fmla="*/ 0 w 2107931"/>
              <a:gd name="connsiteY0" fmla="*/ 0 h 2108200"/>
              <a:gd name="connsiteX1" fmla="*/ 2107931 w 2107931"/>
              <a:gd name="connsiteY1" fmla="*/ 0 h 2108200"/>
              <a:gd name="connsiteX2" fmla="*/ 2107931 w 2107931"/>
              <a:gd name="connsiteY2" fmla="*/ 1989385 h 2108200"/>
              <a:gd name="connsiteX3" fmla="*/ 1864325 w 2107931"/>
              <a:gd name="connsiteY3" fmla="*/ 2108200 h 2108200"/>
              <a:gd name="connsiteX4" fmla="*/ 0 w 2107931"/>
              <a:gd name="connsiteY4" fmla="*/ 2108200 h 2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31" h="2108200">
                <a:moveTo>
                  <a:pt x="0" y="0"/>
                </a:moveTo>
                <a:lnTo>
                  <a:pt x="2107931" y="0"/>
                </a:lnTo>
                <a:lnTo>
                  <a:pt x="2107931" y="1989385"/>
                </a:lnTo>
                <a:lnTo>
                  <a:pt x="1864325" y="2108200"/>
                </a:lnTo>
                <a:lnTo>
                  <a:pt x="0" y="2108200"/>
                </a:lnTo>
                <a:close/>
              </a:path>
            </a:pathLst>
          </a:custGeom>
          <a:noFill/>
          <a:ln w="76200">
            <a:solidFill>
              <a:schemeClr val="accent2"/>
            </a:solidFill>
            <a:miter lim="800000"/>
          </a:ln>
        </p:spPr>
        <p:txBody>
          <a:bodyPr wrap="square" lIns="108000" tIns="108000" rIns="108000" bIns="108000">
            <a:noAutofit/>
          </a:bodyPr>
          <a:lstStyle>
            <a:lvl1pPr marL="144000" indent="-144000">
              <a:lnSpc>
                <a:spcPct val="100000"/>
              </a:lnSpc>
              <a:spcBef>
                <a:spcPts val="300"/>
              </a:spcBef>
              <a:buFont typeface="Systeemlettertype regulier"/>
              <a:buChar char="■"/>
              <a:defRPr sz="1400">
                <a:solidFill>
                  <a:schemeClr val="tx1"/>
                </a:solidFill>
              </a:defRPr>
            </a:lvl1pPr>
            <a:lvl2pPr marL="288000" indent="-144000">
              <a:lnSpc>
                <a:spcPct val="100000"/>
              </a:lnSpc>
              <a:spcBef>
                <a:spcPts val="300"/>
              </a:spcBef>
              <a:buFont typeface=".Lucida Grande UI Regular"/>
              <a:buChar char="▫"/>
              <a:tabLst/>
              <a:defRPr sz="1400">
                <a:solidFill>
                  <a:schemeClr val="tx1"/>
                </a:solidFill>
              </a:defRPr>
            </a:lvl2pPr>
            <a:lvl3pPr marL="432000" indent="-144000">
              <a:lnSpc>
                <a:spcPct val="100000"/>
              </a:lnSpc>
              <a:spcBef>
                <a:spcPts val="300"/>
              </a:spcBef>
              <a:defRPr sz="1400">
                <a:solidFill>
                  <a:schemeClr val="tx1"/>
                </a:solidFill>
              </a:defRPr>
            </a:lvl3pPr>
            <a:lvl4pPr marL="576000" indent="-144000">
              <a:lnSpc>
                <a:spcPct val="100000"/>
              </a:lnSpc>
              <a:spcBef>
                <a:spcPts val="300"/>
              </a:spcBef>
              <a:defRPr sz="1400">
                <a:solidFill>
                  <a:schemeClr val="tx1"/>
                </a:solidFill>
              </a:defRPr>
            </a:lvl4pPr>
            <a:lvl5pPr marL="720000" indent="-144000">
              <a:lnSpc>
                <a:spcPct val="100000"/>
              </a:lnSpc>
              <a:spcBef>
                <a:spcPts val="300"/>
              </a:spcBef>
              <a:defRPr sz="1400">
                <a:solidFill>
                  <a:schemeClr val="tx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Text Placeholder 23">
            <a:extLst>
              <a:ext uri="{FF2B5EF4-FFF2-40B4-BE49-F238E27FC236}">
                <a16:creationId xmlns:a16="http://schemas.microsoft.com/office/drawing/2014/main" id="{A228290A-0AA4-8F43-80B7-1180AD8F5F3A}"/>
              </a:ext>
            </a:extLst>
          </p:cNvPr>
          <p:cNvSpPr>
            <a:spLocks noGrp="1" noChangeAspect="1"/>
          </p:cNvSpPr>
          <p:nvPr>
            <p:ph type="body" sz="quarter" idx="35" hasCustomPrompt="1"/>
          </p:nvPr>
        </p:nvSpPr>
        <p:spPr>
          <a:xfrm>
            <a:off x="8549375" y="1798048"/>
            <a:ext cx="1787252" cy="1908000"/>
          </a:xfrm>
          <a:custGeom>
            <a:avLst/>
            <a:gdLst>
              <a:gd name="connsiteX0" fmla="*/ 0 w 2107931"/>
              <a:gd name="connsiteY0" fmla="*/ 0 h 2250357"/>
              <a:gd name="connsiteX1" fmla="*/ 2107931 w 2107931"/>
              <a:gd name="connsiteY1" fmla="*/ 0 h 2250357"/>
              <a:gd name="connsiteX2" fmla="*/ 2107931 w 2107931"/>
              <a:gd name="connsiteY2" fmla="*/ 2029802 h 2250357"/>
              <a:gd name="connsiteX3" fmla="*/ 2105757 w 2107931"/>
              <a:gd name="connsiteY3" fmla="*/ 2029802 h 2250357"/>
              <a:gd name="connsiteX4" fmla="*/ 2105757 w 2107931"/>
              <a:gd name="connsiteY4" fmla="*/ 2250357 h 2250357"/>
              <a:gd name="connsiteX5" fmla="*/ 1653554 w 2107931"/>
              <a:gd name="connsiteY5" fmla="*/ 2029802 h 2250357"/>
              <a:gd name="connsiteX6" fmla="*/ 0 w 2107931"/>
              <a:gd name="connsiteY6" fmla="*/ 2029802 h 225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7931" h="2250357">
                <a:moveTo>
                  <a:pt x="0" y="0"/>
                </a:moveTo>
                <a:lnTo>
                  <a:pt x="2107931" y="0"/>
                </a:lnTo>
                <a:lnTo>
                  <a:pt x="2107931" y="2029802"/>
                </a:lnTo>
                <a:lnTo>
                  <a:pt x="2105757" y="2029802"/>
                </a:lnTo>
                <a:lnTo>
                  <a:pt x="2105757" y="2250357"/>
                </a:lnTo>
                <a:lnTo>
                  <a:pt x="1653554" y="2029802"/>
                </a:lnTo>
                <a:lnTo>
                  <a:pt x="0" y="2029802"/>
                </a:lnTo>
                <a:close/>
              </a:path>
            </a:pathLst>
          </a:custGeom>
          <a:solidFill>
            <a:schemeClr val="accent6"/>
          </a:solidFill>
        </p:spPr>
        <p:txBody>
          <a:bodyPr wrap="square" lIns="108000" tIns="108000" rIns="108000" bIns="108000">
            <a:noAutofit/>
          </a:bodyPr>
          <a:lstStyle>
            <a:lvl1pPr marL="144000" indent="-144000">
              <a:lnSpc>
                <a:spcPct val="100000"/>
              </a:lnSpc>
              <a:buFont typeface="Systeemlettertype regulier"/>
              <a:buChar char="■"/>
              <a:tabLst/>
              <a:defRPr sz="1400">
                <a:solidFill>
                  <a:schemeClr val="bg1"/>
                </a:solidFill>
              </a:defRPr>
            </a:lvl1pPr>
            <a:lvl2pPr marL="288000" indent="-144000">
              <a:lnSpc>
                <a:spcPct val="100000"/>
              </a:lnSpc>
              <a:spcBef>
                <a:spcPts val="300"/>
              </a:spcBef>
              <a:buFont typeface=".Lucida Grande UI Regular"/>
              <a:buChar char="▫"/>
              <a:tabLst/>
              <a:defRPr sz="1400">
                <a:solidFill>
                  <a:schemeClr val="bg1"/>
                </a:solidFill>
              </a:defRPr>
            </a:lvl2pPr>
            <a:lvl3pPr marL="432000" indent="-144000">
              <a:lnSpc>
                <a:spcPct val="100000"/>
              </a:lnSpc>
              <a:spcBef>
                <a:spcPts val="300"/>
              </a:spcBef>
              <a:defRPr sz="1400">
                <a:solidFill>
                  <a:schemeClr val="bg1"/>
                </a:solidFill>
              </a:defRPr>
            </a:lvl3pPr>
            <a:lvl4pPr marL="576000" indent="-144000">
              <a:lnSpc>
                <a:spcPct val="100000"/>
              </a:lnSpc>
              <a:spcBef>
                <a:spcPts val="300"/>
              </a:spcBef>
              <a:defRPr sz="1400">
                <a:solidFill>
                  <a:schemeClr val="bg1"/>
                </a:solidFill>
              </a:defRPr>
            </a:lvl4pPr>
            <a:lvl5pPr marL="720000" indent="-144000">
              <a:lnSpc>
                <a:spcPct val="100000"/>
              </a:lnSpc>
              <a:spcBef>
                <a:spcPts val="300"/>
              </a:spcBef>
              <a:defRPr sz="1400">
                <a:solidFill>
                  <a:schemeClr val="bg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6" name="Text Placeholder 23">
            <a:extLst>
              <a:ext uri="{FF2B5EF4-FFF2-40B4-BE49-F238E27FC236}">
                <a16:creationId xmlns:a16="http://schemas.microsoft.com/office/drawing/2014/main" id="{E0CE6ED2-5678-2540-8EAA-0F5608B1BEA6}"/>
              </a:ext>
            </a:extLst>
          </p:cNvPr>
          <p:cNvSpPr>
            <a:spLocks noGrp="1" noChangeAspect="1"/>
          </p:cNvSpPr>
          <p:nvPr>
            <p:ph type="body" sz="quarter" idx="36" hasCustomPrompt="1"/>
          </p:nvPr>
        </p:nvSpPr>
        <p:spPr>
          <a:xfrm>
            <a:off x="6154382" y="4118574"/>
            <a:ext cx="1787252" cy="1908000"/>
          </a:xfrm>
          <a:custGeom>
            <a:avLst/>
            <a:gdLst>
              <a:gd name="connsiteX0" fmla="*/ 0 w 2107931"/>
              <a:gd name="connsiteY0" fmla="*/ 0 h 2250357"/>
              <a:gd name="connsiteX1" fmla="*/ 2107931 w 2107931"/>
              <a:gd name="connsiteY1" fmla="*/ 0 h 2250357"/>
              <a:gd name="connsiteX2" fmla="*/ 2107931 w 2107931"/>
              <a:gd name="connsiteY2" fmla="*/ 2029802 h 2250357"/>
              <a:gd name="connsiteX3" fmla="*/ 2105757 w 2107931"/>
              <a:gd name="connsiteY3" fmla="*/ 2029802 h 2250357"/>
              <a:gd name="connsiteX4" fmla="*/ 2105757 w 2107931"/>
              <a:gd name="connsiteY4" fmla="*/ 2250357 h 2250357"/>
              <a:gd name="connsiteX5" fmla="*/ 1653554 w 2107931"/>
              <a:gd name="connsiteY5" fmla="*/ 2029802 h 2250357"/>
              <a:gd name="connsiteX6" fmla="*/ 0 w 2107931"/>
              <a:gd name="connsiteY6" fmla="*/ 2029802 h 225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7931" h="2250357">
                <a:moveTo>
                  <a:pt x="0" y="0"/>
                </a:moveTo>
                <a:lnTo>
                  <a:pt x="2107931" y="0"/>
                </a:lnTo>
                <a:lnTo>
                  <a:pt x="2107931" y="2029802"/>
                </a:lnTo>
                <a:lnTo>
                  <a:pt x="2105757" y="2029802"/>
                </a:lnTo>
                <a:lnTo>
                  <a:pt x="2105757" y="2250357"/>
                </a:lnTo>
                <a:lnTo>
                  <a:pt x="1653554" y="2029802"/>
                </a:lnTo>
                <a:lnTo>
                  <a:pt x="0" y="2029802"/>
                </a:lnTo>
                <a:close/>
              </a:path>
            </a:pathLst>
          </a:custGeom>
          <a:noFill/>
          <a:ln w="76200">
            <a:solidFill>
              <a:schemeClr val="accent3"/>
            </a:solidFill>
            <a:miter lim="800000"/>
          </a:ln>
        </p:spPr>
        <p:txBody>
          <a:bodyPr wrap="square" lIns="108000" tIns="108000" rIns="108000" bIns="108000">
            <a:noAutofit/>
          </a:bodyPr>
          <a:lstStyle>
            <a:lvl1pPr marL="144000" indent="-144000">
              <a:lnSpc>
                <a:spcPct val="100000"/>
              </a:lnSpc>
              <a:buFont typeface="Systeemlettertype regulier"/>
              <a:buChar char="■"/>
              <a:tabLst/>
              <a:defRPr sz="1400">
                <a:solidFill>
                  <a:schemeClr val="tx1"/>
                </a:solidFill>
              </a:defRPr>
            </a:lvl1pPr>
            <a:lvl2pPr marL="288000" indent="-144000">
              <a:lnSpc>
                <a:spcPct val="100000"/>
              </a:lnSpc>
              <a:spcBef>
                <a:spcPts val="300"/>
              </a:spcBef>
              <a:buFont typeface=".Lucida Grande UI Regular"/>
              <a:buChar char="▫"/>
              <a:tabLst/>
              <a:defRPr sz="1400">
                <a:solidFill>
                  <a:schemeClr val="tx1"/>
                </a:solidFill>
              </a:defRPr>
            </a:lvl2pPr>
            <a:lvl3pPr marL="432000" indent="-144000">
              <a:lnSpc>
                <a:spcPct val="100000"/>
              </a:lnSpc>
              <a:spcBef>
                <a:spcPts val="300"/>
              </a:spcBef>
              <a:defRPr sz="1400">
                <a:solidFill>
                  <a:schemeClr val="tx1"/>
                </a:solidFill>
              </a:defRPr>
            </a:lvl3pPr>
            <a:lvl4pPr marL="576000" indent="-144000">
              <a:lnSpc>
                <a:spcPct val="100000"/>
              </a:lnSpc>
              <a:spcBef>
                <a:spcPts val="300"/>
              </a:spcBef>
              <a:defRPr sz="1400">
                <a:solidFill>
                  <a:schemeClr val="tx1"/>
                </a:solidFill>
              </a:defRPr>
            </a:lvl4pPr>
            <a:lvl5pPr marL="720000" indent="-144000">
              <a:lnSpc>
                <a:spcPct val="100000"/>
              </a:lnSpc>
              <a:spcBef>
                <a:spcPts val="300"/>
              </a:spcBef>
              <a:defRPr sz="1400">
                <a:solidFill>
                  <a:schemeClr val="tx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7" name="Text Placeholder 23">
            <a:extLst>
              <a:ext uri="{FF2B5EF4-FFF2-40B4-BE49-F238E27FC236}">
                <a16:creationId xmlns:a16="http://schemas.microsoft.com/office/drawing/2014/main" id="{2AB90623-7457-F34B-82A0-F4522A6D9DE4}"/>
              </a:ext>
            </a:extLst>
          </p:cNvPr>
          <p:cNvSpPr>
            <a:spLocks noGrp="1" noChangeAspect="1"/>
          </p:cNvSpPr>
          <p:nvPr>
            <p:ph type="body" sz="quarter" idx="37" hasCustomPrompt="1"/>
          </p:nvPr>
        </p:nvSpPr>
        <p:spPr>
          <a:xfrm>
            <a:off x="8549375" y="4118574"/>
            <a:ext cx="1787252" cy="1908000"/>
          </a:xfrm>
          <a:custGeom>
            <a:avLst/>
            <a:gdLst>
              <a:gd name="connsiteX0" fmla="*/ 0 w 2107931"/>
              <a:gd name="connsiteY0" fmla="*/ 0 h 2250357"/>
              <a:gd name="connsiteX1" fmla="*/ 2107931 w 2107931"/>
              <a:gd name="connsiteY1" fmla="*/ 0 h 2250357"/>
              <a:gd name="connsiteX2" fmla="*/ 2107931 w 2107931"/>
              <a:gd name="connsiteY2" fmla="*/ 2029802 h 2250357"/>
              <a:gd name="connsiteX3" fmla="*/ 2105757 w 2107931"/>
              <a:gd name="connsiteY3" fmla="*/ 2029802 h 2250357"/>
              <a:gd name="connsiteX4" fmla="*/ 2105757 w 2107931"/>
              <a:gd name="connsiteY4" fmla="*/ 2250357 h 2250357"/>
              <a:gd name="connsiteX5" fmla="*/ 1653554 w 2107931"/>
              <a:gd name="connsiteY5" fmla="*/ 2029802 h 2250357"/>
              <a:gd name="connsiteX6" fmla="*/ 0 w 2107931"/>
              <a:gd name="connsiteY6" fmla="*/ 2029802 h 225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7931" h="2250357">
                <a:moveTo>
                  <a:pt x="0" y="0"/>
                </a:moveTo>
                <a:lnTo>
                  <a:pt x="2107931" y="0"/>
                </a:lnTo>
                <a:lnTo>
                  <a:pt x="2107931" y="2029802"/>
                </a:lnTo>
                <a:lnTo>
                  <a:pt x="2105757" y="2029802"/>
                </a:lnTo>
                <a:lnTo>
                  <a:pt x="2105757" y="2250357"/>
                </a:lnTo>
                <a:lnTo>
                  <a:pt x="1653554" y="2029802"/>
                </a:lnTo>
                <a:lnTo>
                  <a:pt x="0" y="2029802"/>
                </a:lnTo>
                <a:close/>
              </a:path>
            </a:pathLst>
          </a:custGeom>
          <a:noFill/>
          <a:ln w="76200">
            <a:solidFill>
              <a:schemeClr val="accent6"/>
            </a:solidFill>
            <a:miter lim="800000"/>
          </a:ln>
        </p:spPr>
        <p:txBody>
          <a:bodyPr wrap="square" lIns="108000" tIns="108000" rIns="108000" bIns="108000">
            <a:noAutofit/>
          </a:bodyPr>
          <a:lstStyle>
            <a:lvl1pPr marL="144000" indent="-144000">
              <a:lnSpc>
                <a:spcPct val="100000"/>
              </a:lnSpc>
              <a:buFont typeface="Systeemlettertype regulier"/>
              <a:buChar char="■"/>
              <a:tabLst/>
              <a:defRPr sz="1400">
                <a:solidFill>
                  <a:schemeClr val="tx1"/>
                </a:solidFill>
              </a:defRPr>
            </a:lvl1pPr>
            <a:lvl2pPr marL="288000" indent="-144000">
              <a:lnSpc>
                <a:spcPct val="100000"/>
              </a:lnSpc>
              <a:spcBef>
                <a:spcPts val="300"/>
              </a:spcBef>
              <a:buFont typeface=".Lucida Grande UI Regular"/>
              <a:buChar char="▫"/>
              <a:tabLst/>
              <a:defRPr sz="1400">
                <a:solidFill>
                  <a:schemeClr val="tx1"/>
                </a:solidFill>
              </a:defRPr>
            </a:lvl2pPr>
            <a:lvl3pPr marL="432000" indent="-144000">
              <a:lnSpc>
                <a:spcPct val="100000"/>
              </a:lnSpc>
              <a:spcBef>
                <a:spcPts val="300"/>
              </a:spcBef>
              <a:defRPr sz="1400">
                <a:solidFill>
                  <a:schemeClr val="tx1"/>
                </a:solidFill>
              </a:defRPr>
            </a:lvl3pPr>
            <a:lvl4pPr marL="576000" indent="-144000">
              <a:lnSpc>
                <a:spcPct val="100000"/>
              </a:lnSpc>
              <a:spcBef>
                <a:spcPts val="300"/>
              </a:spcBef>
              <a:defRPr sz="1400">
                <a:solidFill>
                  <a:schemeClr val="tx1"/>
                </a:solidFill>
              </a:defRPr>
            </a:lvl4pPr>
            <a:lvl5pPr marL="720000" indent="-144000">
              <a:lnSpc>
                <a:spcPct val="100000"/>
              </a:lnSpc>
              <a:spcBef>
                <a:spcPts val="300"/>
              </a:spcBef>
              <a:defRPr sz="1400">
                <a:solidFill>
                  <a:schemeClr val="tx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kstvak 14">
            <a:extLst>
              <a:ext uri="{FF2B5EF4-FFF2-40B4-BE49-F238E27FC236}">
                <a16:creationId xmlns:a16="http://schemas.microsoft.com/office/drawing/2014/main" id="{545A7E7D-D1A5-5D48-AA11-A1007443994A}"/>
              </a:ext>
            </a:extLst>
          </p:cNvPr>
          <p:cNvSpPr txBox="1"/>
          <p:nvPr userDrawn="1"/>
        </p:nvSpPr>
        <p:spPr bwMode="auto">
          <a:xfrm>
            <a:off x="-2921308" y="0"/>
            <a:ext cx="2670175" cy="6858000"/>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text in the boxes</a:t>
            </a:r>
            <a:br>
              <a:rPr lang="en-GB" sz="1400" b="1" noProof="0" dirty="0">
                <a:solidFill>
                  <a:schemeClr val="tx2"/>
                </a:solidFill>
              </a:rPr>
            </a:br>
            <a:r>
              <a:rPr lang="en-GB" sz="1400" b="1" noProof="0" dirty="0">
                <a:solidFill>
                  <a:schemeClr val="tx2"/>
                </a:solidFill>
              </a:rPr>
              <a:t>has 2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14pt</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14pt</a:t>
            </a:r>
          </a:p>
        </p:txBody>
      </p:sp>
    </p:spTree>
    <p:extLst>
      <p:ext uri="{BB962C8B-B14F-4D97-AF65-F5344CB8AC3E}">
        <p14:creationId xmlns:p14="http://schemas.microsoft.com/office/powerpoint/2010/main" val="37838655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Header - Colour boxes">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5FD544DA-2B7F-4BFB-8ADA-FC6CD54F6400}"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2" name="Titel 1">
            <a:extLst>
              <a:ext uri="{FF2B5EF4-FFF2-40B4-BE49-F238E27FC236}">
                <a16:creationId xmlns:a16="http://schemas.microsoft.com/office/drawing/2014/main" id="{5F362E91-5A20-E648-BC8A-01290FE706C4}"/>
              </a:ext>
            </a:extLst>
          </p:cNvPr>
          <p:cNvSpPr>
            <a:spLocks noGrp="1"/>
          </p:cNvSpPr>
          <p:nvPr>
            <p:ph type="title"/>
          </p:nvPr>
        </p:nvSpPr>
        <p:spPr/>
        <p:txBody>
          <a:bodyPr/>
          <a:lstStyle/>
          <a:p>
            <a:r>
              <a:rPr lang="de-DE" noProof="0"/>
              <a:t>Mastertitelformat bearbeiten</a:t>
            </a:r>
            <a:endParaRPr lang="en-GB" noProof="0"/>
          </a:p>
        </p:txBody>
      </p:sp>
      <p:sp>
        <p:nvSpPr>
          <p:cNvPr id="15" name="Text Placeholder 12">
            <a:extLst>
              <a:ext uri="{FF2B5EF4-FFF2-40B4-BE49-F238E27FC236}">
                <a16:creationId xmlns:a16="http://schemas.microsoft.com/office/drawing/2014/main" id="{CF3783B6-1543-0549-B12E-32CFD5B9EE81}"/>
              </a:ext>
            </a:extLst>
          </p:cNvPr>
          <p:cNvSpPr>
            <a:spLocks noGrp="1" noChangeAspect="1"/>
          </p:cNvSpPr>
          <p:nvPr>
            <p:ph type="body" sz="quarter" idx="15" hasCustomPrompt="1"/>
          </p:nvPr>
        </p:nvSpPr>
        <p:spPr>
          <a:xfrm>
            <a:off x="1364392" y="1376363"/>
            <a:ext cx="2087722" cy="2088000"/>
          </a:xfrm>
          <a:custGeom>
            <a:avLst/>
            <a:gdLst>
              <a:gd name="connsiteX0" fmla="*/ 0 w 2107931"/>
              <a:gd name="connsiteY0" fmla="*/ 0 h 2108200"/>
              <a:gd name="connsiteX1" fmla="*/ 2107931 w 2107931"/>
              <a:gd name="connsiteY1" fmla="*/ 0 h 2108200"/>
              <a:gd name="connsiteX2" fmla="*/ 2107931 w 2107931"/>
              <a:gd name="connsiteY2" fmla="*/ 1989385 h 2108200"/>
              <a:gd name="connsiteX3" fmla="*/ 1864325 w 2107931"/>
              <a:gd name="connsiteY3" fmla="*/ 2108200 h 2108200"/>
              <a:gd name="connsiteX4" fmla="*/ 0 w 2107931"/>
              <a:gd name="connsiteY4" fmla="*/ 2108200 h 2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31" h="2108200">
                <a:moveTo>
                  <a:pt x="0" y="0"/>
                </a:moveTo>
                <a:lnTo>
                  <a:pt x="2107931" y="0"/>
                </a:lnTo>
                <a:lnTo>
                  <a:pt x="2107931" y="1989385"/>
                </a:lnTo>
                <a:lnTo>
                  <a:pt x="1864325" y="2108200"/>
                </a:lnTo>
                <a:lnTo>
                  <a:pt x="0" y="2108200"/>
                </a:lnTo>
                <a:close/>
              </a:path>
            </a:pathLst>
          </a:custGeom>
          <a:solidFill>
            <a:schemeClr val="accent1"/>
          </a:solidFill>
        </p:spPr>
        <p:txBody>
          <a:bodyPr wrap="square" lIns="108000" tIns="108000" rIns="108000" bIns="108000">
            <a:noAutofit/>
          </a:bodyPr>
          <a:lstStyle>
            <a:lvl1pPr marL="144000" indent="-144000">
              <a:lnSpc>
                <a:spcPct val="100000"/>
              </a:lnSpc>
              <a:spcBef>
                <a:spcPts val="300"/>
              </a:spcBef>
              <a:buFont typeface="Systeemlettertype regulier"/>
              <a:buChar char="■"/>
              <a:defRPr sz="1400">
                <a:solidFill>
                  <a:schemeClr val="bg1"/>
                </a:solidFill>
              </a:defRPr>
            </a:lvl1pPr>
            <a:lvl2pPr marL="288000" indent="-144000">
              <a:lnSpc>
                <a:spcPct val="100000"/>
              </a:lnSpc>
              <a:spcBef>
                <a:spcPts val="300"/>
              </a:spcBef>
              <a:buFont typeface=".Lucida Grande UI Regular"/>
              <a:buChar char="▫"/>
              <a:tabLst/>
              <a:defRPr sz="1400">
                <a:solidFill>
                  <a:schemeClr val="bg1"/>
                </a:solidFill>
              </a:defRPr>
            </a:lvl2pPr>
            <a:lvl3pPr marL="432000" indent="-144000">
              <a:lnSpc>
                <a:spcPct val="100000"/>
              </a:lnSpc>
              <a:spcBef>
                <a:spcPts val="300"/>
              </a:spcBef>
              <a:defRPr sz="1400">
                <a:solidFill>
                  <a:schemeClr val="bg1"/>
                </a:solidFill>
              </a:defRPr>
            </a:lvl3pPr>
            <a:lvl4pPr marL="576000" indent="-144000">
              <a:lnSpc>
                <a:spcPct val="100000"/>
              </a:lnSpc>
              <a:spcBef>
                <a:spcPts val="300"/>
              </a:spcBef>
              <a:defRPr sz="1400">
                <a:solidFill>
                  <a:schemeClr val="bg1"/>
                </a:solidFill>
              </a:defRPr>
            </a:lvl4pPr>
            <a:lvl5pPr marL="720000" indent="-144000">
              <a:lnSpc>
                <a:spcPct val="100000"/>
              </a:lnSpc>
              <a:spcBef>
                <a:spcPts val="300"/>
              </a:spcBef>
              <a:defRPr sz="1400">
                <a:solidFill>
                  <a:schemeClr val="bg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 Placeholder 23">
            <a:extLst>
              <a:ext uri="{FF2B5EF4-FFF2-40B4-BE49-F238E27FC236}">
                <a16:creationId xmlns:a16="http://schemas.microsoft.com/office/drawing/2014/main" id="{3FFFB2D3-0A66-E54F-A3CB-85E231454679}"/>
              </a:ext>
            </a:extLst>
          </p:cNvPr>
          <p:cNvSpPr>
            <a:spLocks noGrp="1" noChangeAspect="1"/>
          </p:cNvSpPr>
          <p:nvPr>
            <p:ph type="body" sz="quarter" idx="17" hasCustomPrompt="1"/>
          </p:nvPr>
        </p:nvSpPr>
        <p:spPr>
          <a:xfrm>
            <a:off x="6154382" y="1376363"/>
            <a:ext cx="1955862" cy="2088000"/>
          </a:xfrm>
          <a:custGeom>
            <a:avLst/>
            <a:gdLst>
              <a:gd name="connsiteX0" fmla="*/ 0 w 2107931"/>
              <a:gd name="connsiteY0" fmla="*/ 0 h 2250357"/>
              <a:gd name="connsiteX1" fmla="*/ 2107931 w 2107931"/>
              <a:gd name="connsiteY1" fmla="*/ 0 h 2250357"/>
              <a:gd name="connsiteX2" fmla="*/ 2107931 w 2107931"/>
              <a:gd name="connsiteY2" fmla="*/ 2029802 h 2250357"/>
              <a:gd name="connsiteX3" fmla="*/ 2105757 w 2107931"/>
              <a:gd name="connsiteY3" fmla="*/ 2029802 h 2250357"/>
              <a:gd name="connsiteX4" fmla="*/ 2105757 w 2107931"/>
              <a:gd name="connsiteY4" fmla="*/ 2250357 h 2250357"/>
              <a:gd name="connsiteX5" fmla="*/ 1653554 w 2107931"/>
              <a:gd name="connsiteY5" fmla="*/ 2029802 h 2250357"/>
              <a:gd name="connsiteX6" fmla="*/ 0 w 2107931"/>
              <a:gd name="connsiteY6" fmla="*/ 2029802 h 225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7931" h="2250357">
                <a:moveTo>
                  <a:pt x="0" y="0"/>
                </a:moveTo>
                <a:lnTo>
                  <a:pt x="2107931" y="0"/>
                </a:lnTo>
                <a:lnTo>
                  <a:pt x="2107931" y="2029802"/>
                </a:lnTo>
                <a:lnTo>
                  <a:pt x="2105757" y="2029802"/>
                </a:lnTo>
                <a:lnTo>
                  <a:pt x="2105757" y="2250357"/>
                </a:lnTo>
                <a:lnTo>
                  <a:pt x="1653554" y="2029802"/>
                </a:lnTo>
                <a:lnTo>
                  <a:pt x="0" y="2029802"/>
                </a:lnTo>
                <a:close/>
              </a:path>
            </a:pathLst>
          </a:custGeom>
          <a:solidFill>
            <a:schemeClr val="accent3"/>
          </a:solidFill>
        </p:spPr>
        <p:txBody>
          <a:bodyPr wrap="square" lIns="108000" tIns="108000" rIns="108000" bIns="108000">
            <a:noAutofit/>
          </a:bodyPr>
          <a:lstStyle>
            <a:lvl1pPr marL="144000" indent="-144000">
              <a:lnSpc>
                <a:spcPct val="100000"/>
              </a:lnSpc>
              <a:buFont typeface="Systeemlettertype regulier"/>
              <a:buChar char="■"/>
              <a:tabLst/>
              <a:defRPr sz="1400">
                <a:solidFill>
                  <a:schemeClr val="bg1"/>
                </a:solidFill>
              </a:defRPr>
            </a:lvl1pPr>
            <a:lvl2pPr marL="288000" indent="-144000">
              <a:lnSpc>
                <a:spcPct val="100000"/>
              </a:lnSpc>
              <a:spcBef>
                <a:spcPts val="300"/>
              </a:spcBef>
              <a:buFont typeface=".Lucida Grande UI Regular"/>
              <a:buChar char="▫"/>
              <a:tabLst/>
              <a:defRPr sz="1400">
                <a:solidFill>
                  <a:schemeClr val="bg1"/>
                </a:solidFill>
              </a:defRPr>
            </a:lvl2pPr>
            <a:lvl3pPr marL="432000" indent="-144000">
              <a:lnSpc>
                <a:spcPct val="100000"/>
              </a:lnSpc>
              <a:spcBef>
                <a:spcPts val="300"/>
              </a:spcBef>
              <a:defRPr sz="1400">
                <a:solidFill>
                  <a:schemeClr val="bg1"/>
                </a:solidFill>
              </a:defRPr>
            </a:lvl3pPr>
            <a:lvl4pPr marL="576000" indent="-144000">
              <a:lnSpc>
                <a:spcPct val="100000"/>
              </a:lnSpc>
              <a:spcBef>
                <a:spcPts val="300"/>
              </a:spcBef>
              <a:defRPr sz="1400">
                <a:solidFill>
                  <a:schemeClr val="bg1"/>
                </a:solidFill>
              </a:defRPr>
            </a:lvl4pPr>
            <a:lvl5pPr marL="720000" indent="-144000">
              <a:lnSpc>
                <a:spcPct val="100000"/>
              </a:lnSpc>
              <a:spcBef>
                <a:spcPts val="300"/>
              </a:spcBef>
              <a:defRPr sz="1400">
                <a:solidFill>
                  <a:schemeClr val="bg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0" name="Text Placeholder 12">
            <a:extLst>
              <a:ext uri="{FF2B5EF4-FFF2-40B4-BE49-F238E27FC236}">
                <a16:creationId xmlns:a16="http://schemas.microsoft.com/office/drawing/2014/main" id="{08693363-A485-AE42-B985-09D68D6DF8E5}"/>
              </a:ext>
            </a:extLst>
          </p:cNvPr>
          <p:cNvSpPr>
            <a:spLocks noGrp="1" noChangeAspect="1"/>
          </p:cNvSpPr>
          <p:nvPr>
            <p:ph type="body" sz="quarter" idx="30" hasCustomPrompt="1"/>
          </p:nvPr>
        </p:nvSpPr>
        <p:spPr>
          <a:xfrm>
            <a:off x="3759385" y="1376363"/>
            <a:ext cx="2087722" cy="2088000"/>
          </a:xfrm>
          <a:custGeom>
            <a:avLst/>
            <a:gdLst>
              <a:gd name="connsiteX0" fmla="*/ 0 w 2107931"/>
              <a:gd name="connsiteY0" fmla="*/ 0 h 2108200"/>
              <a:gd name="connsiteX1" fmla="*/ 2107931 w 2107931"/>
              <a:gd name="connsiteY1" fmla="*/ 0 h 2108200"/>
              <a:gd name="connsiteX2" fmla="*/ 2107931 w 2107931"/>
              <a:gd name="connsiteY2" fmla="*/ 1989385 h 2108200"/>
              <a:gd name="connsiteX3" fmla="*/ 1864325 w 2107931"/>
              <a:gd name="connsiteY3" fmla="*/ 2108200 h 2108200"/>
              <a:gd name="connsiteX4" fmla="*/ 0 w 2107931"/>
              <a:gd name="connsiteY4" fmla="*/ 2108200 h 2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31" h="2108200">
                <a:moveTo>
                  <a:pt x="0" y="0"/>
                </a:moveTo>
                <a:lnTo>
                  <a:pt x="2107931" y="0"/>
                </a:lnTo>
                <a:lnTo>
                  <a:pt x="2107931" y="1989385"/>
                </a:lnTo>
                <a:lnTo>
                  <a:pt x="1864325" y="2108200"/>
                </a:lnTo>
                <a:lnTo>
                  <a:pt x="0" y="2108200"/>
                </a:lnTo>
                <a:close/>
              </a:path>
            </a:pathLst>
          </a:custGeom>
          <a:solidFill>
            <a:schemeClr val="accent2"/>
          </a:solidFill>
        </p:spPr>
        <p:txBody>
          <a:bodyPr wrap="square" lIns="108000" tIns="108000" rIns="108000" bIns="108000">
            <a:noAutofit/>
          </a:bodyPr>
          <a:lstStyle>
            <a:lvl1pPr marL="144000" indent="-144000">
              <a:lnSpc>
                <a:spcPct val="100000"/>
              </a:lnSpc>
              <a:spcBef>
                <a:spcPts val="300"/>
              </a:spcBef>
              <a:buFont typeface="Systeemlettertype regulier"/>
              <a:buChar char="■"/>
              <a:defRPr sz="1400">
                <a:solidFill>
                  <a:schemeClr val="bg1"/>
                </a:solidFill>
              </a:defRPr>
            </a:lvl1pPr>
            <a:lvl2pPr marL="288000" indent="-144000">
              <a:lnSpc>
                <a:spcPct val="100000"/>
              </a:lnSpc>
              <a:spcBef>
                <a:spcPts val="300"/>
              </a:spcBef>
              <a:buFont typeface=".Lucida Grande UI Regular"/>
              <a:buChar char="▫"/>
              <a:tabLst/>
              <a:defRPr sz="1400">
                <a:solidFill>
                  <a:schemeClr val="bg1"/>
                </a:solidFill>
              </a:defRPr>
            </a:lvl2pPr>
            <a:lvl3pPr marL="432000" indent="-144000">
              <a:lnSpc>
                <a:spcPct val="100000"/>
              </a:lnSpc>
              <a:spcBef>
                <a:spcPts val="300"/>
              </a:spcBef>
              <a:defRPr sz="1400">
                <a:solidFill>
                  <a:schemeClr val="bg1"/>
                </a:solidFill>
              </a:defRPr>
            </a:lvl3pPr>
            <a:lvl4pPr marL="576000" indent="-144000">
              <a:lnSpc>
                <a:spcPct val="100000"/>
              </a:lnSpc>
              <a:spcBef>
                <a:spcPts val="300"/>
              </a:spcBef>
              <a:defRPr sz="1400">
                <a:solidFill>
                  <a:schemeClr val="bg1"/>
                </a:solidFill>
              </a:defRPr>
            </a:lvl4pPr>
            <a:lvl5pPr marL="720000" indent="-144000">
              <a:lnSpc>
                <a:spcPct val="100000"/>
              </a:lnSpc>
              <a:spcBef>
                <a:spcPts val="300"/>
              </a:spcBef>
              <a:defRPr sz="1400">
                <a:solidFill>
                  <a:schemeClr val="bg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12">
            <a:extLst>
              <a:ext uri="{FF2B5EF4-FFF2-40B4-BE49-F238E27FC236}">
                <a16:creationId xmlns:a16="http://schemas.microsoft.com/office/drawing/2014/main" id="{7AA81ABA-3F6C-4944-B364-429E7D038BBA}"/>
              </a:ext>
            </a:extLst>
          </p:cNvPr>
          <p:cNvSpPr>
            <a:spLocks noGrp="1" noChangeAspect="1"/>
          </p:cNvSpPr>
          <p:nvPr>
            <p:ph type="body" sz="quarter" idx="31" hasCustomPrompt="1"/>
          </p:nvPr>
        </p:nvSpPr>
        <p:spPr>
          <a:xfrm>
            <a:off x="1364392" y="3849554"/>
            <a:ext cx="2087722" cy="2088000"/>
          </a:xfrm>
          <a:custGeom>
            <a:avLst/>
            <a:gdLst>
              <a:gd name="connsiteX0" fmla="*/ 0 w 2107931"/>
              <a:gd name="connsiteY0" fmla="*/ 0 h 2108200"/>
              <a:gd name="connsiteX1" fmla="*/ 2107931 w 2107931"/>
              <a:gd name="connsiteY1" fmla="*/ 0 h 2108200"/>
              <a:gd name="connsiteX2" fmla="*/ 2107931 w 2107931"/>
              <a:gd name="connsiteY2" fmla="*/ 1989385 h 2108200"/>
              <a:gd name="connsiteX3" fmla="*/ 1864325 w 2107931"/>
              <a:gd name="connsiteY3" fmla="*/ 2108200 h 2108200"/>
              <a:gd name="connsiteX4" fmla="*/ 0 w 2107931"/>
              <a:gd name="connsiteY4" fmla="*/ 2108200 h 2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31" h="2108200">
                <a:moveTo>
                  <a:pt x="0" y="0"/>
                </a:moveTo>
                <a:lnTo>
                  <a:pt x="2107931" y="0"/>
                </a:lnTo>
                <a:lnTo>
                  <a:pt x="2107931" y="1989385"/>
                </a:lnTo>
                <a:lnTo>
                  <a:pt x="1864325" y="2108200"/>
                </a:lnTo>
                <a:lnTo>
                  <a:pt x="0" y="2108200"/>
                </a:lnTo>
                <a:close/>
              </a:path>
            </a:pathLst>
          </a:custGeom>
          <a:noFill/>
          <a:ln w="76200">
            <a:solidFill>
              <a:schemeClr val="accent1"/>
            </a:solidFill>
            <a:miter lim="800000"/>
          </a:ln>
        </p:spPr>
        <p:txBody>
          <a:bodyPr wrap="square" lIns="108000" tIns="108000" rIns="108000" bIns="108000">
            <a:noAutofit/>
          </a:bodyPr>
          <a:lstStyle>
            <a:lvl1pPr marL="144000" indent="-144000">
              <a:lnSpc>
                <a:spcPct val="100000"/>
              </a:lnSpc>
              <a:spcBef>
                <a:spcPts val="300"/>
              </a:spcBef>
              <a:buFont typeface="Systeemlettertype regulier"/>
              <a:buChar char="■"/>
              <a:defRPr sz="1400">
                <a:solidFill>
                  <a:schemeClr val="tx1"/>
                </a:solidFill>
              </a:defRPr>
            </a:lvl1pPr>
            <a:lvl2pPr marL="288000" indent="-144000">
              <a:lnSpc>
                <a:spcPct val="100000"/>
              </a:lnSpc>
              <a:spcBef>
                <a:spcPts val="300"/>
              </a:spcBef>
              <a:buFont typeface=".Lucida Grande UI Regular"/>
              <a:buChar char="▫"/>
              <a:tabLst/>
              <a:defRPr sz="1400">
                <a:solidFill>
                  <a:schemeClr val="tx1"/>
                </a:solidFill>
              </a:defRPr>
            </a:lvl2pPr>
            <a:lvl3pPr marL="432000" indent="-144000">
              <a:lnSpc>
                <a:spcPct val="100000"/>
              </a:lnSpc>
              <a:spcBef>
                <a:spcPts val="300"/>
              </a:spcBef>
              <a:defRPr sz="1400">
                <a:solidFill>
                  <a:schemeClr val="tx1"/>
                </a:solidFill>
              </a:defRPr>
            </a:lvl3pPr>
            <a:lvl4pPr marL="576000" indent="-144000">
              <a:lnSpc>
                <a:spcPct val="100000"/>
              </a:lnSpc>
              <a:spcBef>
                <a:spcPts val="300"/>
              </a:spcBef>
              <a:defRPr sz="1400">
                <a:solidFill>
                  <a:schemeClr val="tx1"/>
                </a:solidFill>
              </a:defRPr>
            </a:lvl4pPr>
            <a:lvl5pPr marL="720000" indent="-144000">
              <a:lnSpc>
                <a:spcPct val="100000"/>
              </a:lnSpc>
              <a:spcBef>
                <a:spcPts val="300"/>
              </a:spcBef>
              <a:defRPr sz="1400">
                <a:solidFill>
                  <a:schemeClr val="tx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2" name="Text Placeholder 12">
            <a:extLst>
              <a:ext uri="{FF2B5EF4-FFF2-40B4-BE49-F238E27FC236}">
                <a16:creationId xmlns:a16="http://schemas.microsoft.com/office/drawing/2014/main" id="{33FA5E41-F7DF-0147-AA27-E1ECB5BB318C}"/>
              </a:ext>
            </a:extLst>
          </p:cNvPr>
          <p:cNvSpPr>
            <a:spLocks noGrp="1" noChangeAspect="1"/>
          </p:cNvSpPr>
          <p:nvPr>
            <p:ph type="body" sz="quarter" idx="32" hasCustomPrompt="1"/>
          </p:nvPr>
        </p:nvSpPr>
        <p:spPr>
          <a:xfrm>
            <a:off x="3759385" y="3849554"/>
            <a:ext cx="2087722" cy="2088000"/>
          </a:xfrm>
          <a:custGeom>
            <a:avLst/>
            <a:gdLst>
              <a:gd name="connsiteX0" fmla="*/ 0 w 2107931"/>
              <a:gd name="connsiteY0" fmla="*/ 0 h 2108200"/>
              <a:gd name="connsiteX1" fmla="*/ 2107931 w 2107931"/>
              <a:gd name="connsiteY1" fmla="*/ 0 h 2108200"/>
              <a:gd name="connsiteX2" fmla="*/ 2107931 w 2107931"/>
              <a:gd name="connsiteY2" fmla="*/ 1989385 h 2108200"/>
              <a:gd name="connsiteX3" fmla="*/ 1864325 w 2107931"/>
              <a:gd name="connsiteY3" fmla="*/ 2108200 h 2108200"/>
              <a:gd name="connsiteX4" fmla="*/ 0 w 2107931"/>
              <a:gd name="connsiteY4" fmla="*/ 2108200 h 2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31" h="2108200">
                <a:moveTo>
                  <a:pt x="0" y="0"/>
                </a:moveTo>
                <a:lnTo>
                  <a:pt x="2107931" y="0"/>
                </a:lnTo>
                <a:lnTo>
                  <a:pt x="2107931" y="1989385"/>
                </a:lnTo>
                <a:lnTo>
                  <a:pt x="1864325" y="2108200"/>
                </a:lnTo>
                <a:lnTo>
                  <a:pt x="0" y="2108200"/>
                </a:lnTo>
                <a:close/>
              </a:path>
            </a:pathLst>
          </a:custGeom>
          <a:noFill/>
          <a:ln w="76200">
            <a:solidFill>
              <a:schemeClr val="accent2"/>
            </a:solidFill>
            <a:miter lim="800000"/>
          </a:ln>
        </p:spPr>
        <p:txBody>
          <a:bodyPr wrap="square" lIns="108000" tIns="108000" rIns="108000" bIns="108000">
            <a:noAutofit/>
          </a:bodyPr>
          <a:lstStyle>
            <a:lvl1pPr marL="144000" indent="-144000">
              <a:lnSpc>
                <a:spcPct val="100000"/>
              </a:lnSpc>
              <a:spcBef>
                <a:spcPts val="300"/>
              </a:spcBef>
              <a:buFont typeface="Systeemlettertype regulier"/>
              <a:buChar char="■"/>
              <a:defRPr sz="1400">
                <a:solidFill>
                  <a:schemeClr val="tx1"/>
                </a:solidFill>
              </a:defRPr>
            </a:lvl1pPr>
            <a:lvl2pPr marL="288000" indent="-144000">
              <a:lnSpc>
                <a:spcPct val="100000"/>
              </a:lnSpc>
              <a:spcBef>
                <a:spcPts val="300"/>
              </a:spcBef>
              <a:buFont typeface=".Lucida Grande UI Regular"/>
              <a:buChar char="▫"/>
              <a:tabLst/>
              <a:defRPr sz="1400">
                <a:solidFill>
                  <a:schemeClr val="tx1"/>
                </a:solidFill>
              </a:defRPr>
            </a:lvl2pPr>
            <a:lvl3pPr marL="432000" indent="-144000">
              <a:lnSpc>
                <a:spcPct val="100000"/>
              </a:lnSpc>
              <a:spcBef>
                <a:spcPts val="300"/>
              </a:spcBef>
              <a:defRPr sz="1400">
                <a:solidFill>
                  <a:schemeClr val="tx1"/>
                </a:solidFill>
              </a:defRPr>
            </a:lvl3pPr>
            <a:lvl4pPr marL="576000" indent="-144000">
              <a:lnSpc>
                <a:spcPct val="100000"/>
              </a:lnSpc>
              <a:spcBef>
                <a:spcPts val="300"/>
              </a:spcBef>
              <a:defRPr sz="1400">
                <a:solidFill>
                  <a:schemeClr val="tx1"/>
                </a:solidFill>
              </a:defRPr>
            </a:lvl4pPr>
            <a:lvl5pPr marL="720000" indent="-144000">
              <a:lnSpc>
                <a:spcPct val="100000"/>
              </a:lnSpc>
              <a:spcBef>
                <a:spcPts val="300"/>
              </a:spcBef>
              <a:defRPr sz="1400">
                <a:solidFill>
                  <a:schemeClr val="tx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4" name="Text Placeholder 23">
            <a:extLst>
              <a:ext uri="{FF2B5EF4-FFF2-40B4-BE49-F238E27FC236}">
                <a16:creationId xmlns:a16="http://schemas.microsoft.com/office/drawing/2014/main" id="{3CCDAB73-7C55-F44F-AB86-A5005161D5A0}"/>
              </a:ext>
            </a:extLst>
          </p:cNvPr>
          <p:cNvSpPr>
            <a:spLocks noGrp="1" noChangeAspect="1"/>
          </p:cNvSpPr>
          <p:nvPr>
            <p:ph type="body" sz="quarter" idx="33" hasCustomPrompt="1"/>
          </p:nvPr>
        </p:nvSpPr>
        <p:spPr>
          <a:xfrm>
            <a:off x="8549375" y="1376363"/>
            <a:ext cx="1955862" cy="2088000"/>
          </a:xfrm>
          <a:custGeom>
            <a:avLst/>
            <a:gdLst>
              <a:gd name="connsiteX0" fmla="*/ 0 w 2107931"/>
              <a:gd name="connsiteY0" fmla="*/ 0 h 2250357"/>
              <a:gd name="connsiteX1" fmla="*/ 2107931 w 2107931"/>
              <a:gd name="connsiteY1" fmla="*/ 0 h 2250357"/>
              <a:gd name="connsiteX2" fmla="*/ 2107931 w 2107931"/>
              <a:gd name="connsiteY2" fmla="*/ 2029802 h 2250357"/>
              <a:gd name="connsiteX3" fmla="*/ 2105757 w 2107931"/>
              <a:gd name="connsiteY3" fmla="*/ 2029802 h 2250357"/>
              <a:gd name="connsiteX4" fmla="*/ 2105757 w 2107931"/>
              <a:gd name="connsiteY4" fmla="*/ 2250357 h 2250357"/>
              <a:gd name="connsiteX5" fmla="*/ 1653554 w 2107931"/>
              <a:gd name="connsiteY5" fmla="*/ 2029802 h 2250357"/>
              <a:gd name="connsiteX6" fmla="*/ 0 w 2107931"/>
              <a:gd name="connsiteY6" fmla="*/ 2029802 h 225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7931" h="2250357">
                <a:moveTo>
                  <a:pt x="0" y="0"/>
                </a:moveTo>
                <a:lnTo>
                  <a:pt x="2107931" y="0"/>
                </a:lnTo>
                <a:lnTo>
                  <a:pt x="2107931" y="2029802"/>
                </a:lnTo>
                <a:lnTo>
                  <a:pt x="2105757" y="2029802"/>
                </a:lnTo>
                <a:lnTo>
                  <a:pt x="2105757" y="2250357"/>
                </a:lnTo>
                <a:lnTo>
                  <a:pt x="1653554" y="2029802"/>
                </a:lnTo>
                <a:lnTo>
                  <a:pt x="0" y="2029802"/>
                </a:lnTo>
                <a:close/>
              </a:path>
            </a:pathLst>
          </a:custGeom>
          <a:solidFill>
            <a:schemeClr val="accent6"/>
          </a:solidFill>
        </p:spPr>
        <p:txBody>
          <a:bodyPr wrap="square" lIns="108000" tIns="108000" rIns="108000" bIns="108000">
            <a:noAutofit/>
          </a:bodyPr>
          <a:lstStyle>
            <a:lvl1pPr marL="144000" indent="-144000">
              <a:lnSpc>
                <a:spcPct val="100000"/>
              </a:lnSpc>
              <a:buFont typeface="Systeemlettertype regulier"/>
              <a:buChar char="■"/>
              <a:tabLst/>
              <a:defRPr sz="1400">
                <a:solidFill>
                  <a:schemeClr val="bg1"/>
                </a:solidFill>
              </a:defRPr>
            </a:lvl1pPr>
            <a:lvl2pPr marL="288000" indent="-144000">
              <a:lnSpc>
                <a:spcPct val="100000"/>
              </a:lnSpc>
              <a:spcBef>
                <a:spcPts val="300"/>
              </a:spcBef>
              <a:buFont typeface=".Lucida Grande UI Regular"/>
              <a:buChar char="▫"/>
              <a:tabLst/>
              <a:defRPr sz="1400">
                <a:solidFill>
                  <a:schemeClr val="bg1"/>
                </a:solidFill>
              </a:defRPr>
            </a:lvl2pPr>
            <a:lvl3pPr marL="432000" indent="-144000">
              <a:lnSpc>
                <a:spcPct val="100000"/>
              </a:lnSpc>
              <a:spcBef>
                <a:spcPts val="300"/>
              </a:spcBef>
              <a:defRPr sz="1400">
                <a:solidFill>
                  <a:schemeClr val="bg1"/>
                </a:solidFill>
              </a:defRPr>
            </a:lvl3pPr>
            <a:lvl4pPr marL="576000" indent="-144000">
              <a:lnSpc>
                <a:spcPct val="100000"/>
              </a:lnSpc>
              <a:spcBef>
                <a:spcPts val="300"/>
              </a:spcBef>
              <a:defRPr sz="1400">
                <a:solidFill>
                  <a:schemeClr val="bg1"/>
                </a:solidFill>
              </a:defRPr>
            </a:lvl4pPr>
            <a:lvl5pPr marL="720000" indent="-144000">
              <a:lnSpc>
                <a:spcPct val="100000"/>
              </a:lnSpc>
              <a:spcBef>
                <a:spcPts val="300"/>
              </a:spcBef>
              <a:defRPr sz="1400">
                <a:solidFill>
                  <a:schemeClr val="bg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Text Placeholder 23">
            <a:extLst>
              <a:ext uri="{FF2B5EF4-FFF2-40B4-BE49-F238E27FC236}">
                <a16:creationId xmlns:a16="http://schemas.microsoft.com/office/drawing/2014/main" id="{91CD67F3-672C-C943-A0A5-06CE4B3583A9}"/>
              </a:ext>
            </a:extLst>
          </p:cNvPr>
          <p:cNvSpPr>
            <a:spLocks noGrp="1" noChangeAspect="1"/>
          </p:cNvSpPr>
          <p:nvPr>
            <p:ph type="body" sz="quarter" idx="34" hasCustomPrompt="1"/>
          </p:nvPr>
        </p:nvSpPr>
        <p:spPr>
          <a:xfrm>
            <a:off x="6154382" y="3849554"/>
            <a:ext cx="1955862" cy="2088000"/>
          </a:xfrm>
          <a:custGeom>
            <a:avLst/>
            <a:gdLst>
              <a:gd name="connsiteX0" fmla="*/ 0 w 2107931"/>
              <a:gd name="connsiteY0" fmla="*/ 0 h 2250357"/>
              <a:gd name="connsiteX1" fmla="*/ 2107931 w 2107931"/>
              <a:gd name="connsiteY1" fmla="*/ 0 h 2250357"/>
              <a:gd name="connsiteX2" fmla="*/ 2107931 w 2107931"/>
              <a:gd name="connsiteY2" fmla="*/ 2029802 h 2250357"/>
              <a:gd name="connsiteX3" fmla="*/ 2105757 w 2107931"/>
              <a:gd name="connsiteY3" fmla="*/ 2029802 h 2250357"/>
              <a:gd name="connsiteX4" fmla="*/ 2105757 w 2107931"/>
              <a:gd name="connsiteY4" fmla="*/ 2250357 h 2250357"/>
              <a:gd name="connsiteX5" fmla="*/ 1653554 w 2107931"/>
              <a:gd name="connsiteY5" fmla="*/ 2029802 h 2250357"/>
              <a:gd name="connsiteX6" fmla="*/ 0 w 2107931"/>
              <a:gd name="connsiteY6" fmla="*/ 2029802 h 225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7931" h="2250357">
                <a:moveTo>
                  <a:pt x="0" y="0"/>
                </a:moveTo>
                <a:lnTo>
                  <a:pt x="2107931" y="0"/>
                </a:lnTo>
                <a:lnTo>
                  <a:pt x="2107931" y="2029802"/>
                </a:lnTo>
                <a:lnTo>
                  <a:pt x="2105757" y="2029802"/>
                </a:lnTo>
                <a:lnTo>
                  <a:pt x="2105757" y="2250357"/>
                </a:lnTo>
                <a:lnTo>
                  <a:pt x="1653554" y="2029802"/>
                </a:lnTo>
                <a:lnTo>
                  <a:pt x="0" y="2029802"/>
                </a:lnTo>
                <a:close/>
              </a:path>
            </a:pathLst>
          </a:custGeom>
          <a:noFill/>
          <a:ln w="76200">
            <a:solidFill>
              <a:schemeClr val="accent3"/>
            </a:solidFill>
            <a:miter lim="800000"/>
          </a:ln>
        </p:spPr>
        <p:txBody>
          <a:bodyPr wrap="square" lIns="108000" tIns="108000" rIns="108000" bIns="108000">
            <a:noAutofit/>
          </a:bodyPr>
          <a:lstStyle>
            <a:lvl1pPr marL="144000" indent="-144000">
              <a:lnSpc>
                <a:spcPct val="100000"/>
              </a:lnSpc>
              <a:buFont typeface="Systeemlettertype regulier"/>
              <a:buChar char="■"/>
              <a:tabLst/>
              <a:defRPr sz="1400">
                <a:solidFill>
                  <a:schemeClr val="tx1"/>
                </a:solidFill>
              </a:defRPr>
            </a:lvl1pPr>
            <a:lvl2pPr marL="288000" indent="-144000">
              <a:lnSpc>
                <a:spcPct val="100000"/>
              </a:lnSpc>
              <a:spcBef>
                <a:spcPts val="300"/>
              </a:spcBef>
              <a:buFont typeface=".Lucida Grande UI Regular"/>
              <a:buChar char="▫"/>
              <a:tabLst/>
              <a:defRPr sz="1400">
                <a:solidFill>
                  <a:schemeClr val="tx1"/>
                </a:solidFill>
              </a:defRPr>
            </a:lvl2pPr>
            <a:lvl3pPr marL="432000" indent="-144000">
              <a:lnSpc>
                <a:spcPct val="100000"/>
              </a:lnSpc>
              <a:spcBef>
                <a:spcPts val="300"/>
              </a:spcBef>
              <a:defRPr sz="1400">
                <a:solidFill>
                  <a:schemeClr val="tx1"/>
                </a:solidFill>
              </a:defRPr>
            </a:lvl3pPr>
            <a:lvl4pPr marL="576000" indent="-144000">
              <a:lnSpc>
                <a:spcPct val="100000"/>
              </a:lnSpc>
              <a:spcBef>
                <a:spcPts val="300"/>
              </a:spcBef>
              <a:defRPr sz="1400">
                <a:solidFill>
                  <a:schemeClr val="tx1"/>
                </a:solidFill>
              </a:defRPr>
            </a:lvl4pPr>
            <a:lvl5pPr marL="720000" indent="-144000">
              <a:lnSpc>
                <a:spcPct val="100000"/>
              </a:lnSpc>
              <a:spcBef>
                <a:spcPts val="300"/>
              </a:spcBef>
              <a:defRPr sz="1400">
                <a:solidFill>
                  <a:schemeClr val="tx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6" name="Text Placeholder 23">
            <a:extLst>
              <a:ext uri="{FF2B5EF4-FFF2-40B4-BE49-F238E27FC236}">
                <a16:creationId xmlns:a16="http://schemas.microsoft.com/office/drawing/2014/main" id="{6C309B4B-14F9-8745-B919-86BDB4881D2F}"/>
              </a:ext>
            </a:extLst>
          </p:cNvPr>
          <p:cNvSpPr>
            <a:spLocks noGrp="1" noChangeAspect="1"/>
          </p:cNvSpPr>
          <p:nvPr>
            <p:ph type="body" sz="quarter" idx="35" hasCustomPrompt="1"/>
          </p:nvPr>
        </p:nvSpPr>
        <p:spPr>
          <a:xfrm>
            <a:off x="8549375" y="3849554"/>
            <a:ext cx="1955862" cy="2088000"/>
          </a:xfrm>
          <a:custGeom>
            <a:avLst/>
            <a:gdLst>
              <a:gd name="connsiteX0" fmla="*/ 0 w 2107931"/>
              <a:gd name="connsiteY0" fmla="*/ 0 h 2250357"/>
              <a:gd name="connsiteX1" fmla="*/ 2107931 w 2107931"/>
              <a:gd name="connsiteY1" fmla="*/ 0 h 2250357"/>
              <a:gd name="connsiteX2" fmla="*/ 2107931 w 2107931"/>
              <a:gd name="connsiteY2" fmla="*/ 2029802 h 2250357"/>
              <a:gd name="connsiteX3" fmla="*/ 2105757 w 2107931"/>
              <a:gd name="connsiteY3" fmla="*/ 2029802 h 2250357"/>
              <a:gd name="connsiteX4" fmla="*/ 2105757 w 2107931"/>
              <a:gd name="connsiteY4" fmla="*/ 2250357 h 2250357"/>
              <a:gd name="connsiteX5" fmla="*/ 1653554 w 2107931"/>
              <a:gd name="connsiteY5" fmla="*/ 2029802 h 2250357"/>
              <a:gd name="connsiteX6" fmla="*/ 0 w 2107931"/>
              <a:gd name="connsiteY6" fmla="*/ 2029802 h 225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7931" h="2250357">
                <a:moveTo>
                  <a:pt x="0" y="0"/>
                </a:moveTo>
                <a:lnTo>
                  <a:pt x="2107931" y="0"/>
                </a:lnTo>
                <a:lnTo>
                  <a:pt x="2107931" y="2029802"/>
                </a:lnTo>
                <a:lnTo>
                  <a:pt x="2105757" y="2029802"/>
                </a:lnTo>
                <a:lnTo>
                  <a:pt x="2105757" y="2250357"/>
                </a:lnTo>
                <a:lnTo>
                  <a:pt x="1653554" y="2029802"/>
                </a:lnTo>
                <a:lnTo>
                  <a:pt x="0" y="2029802"/>
                </a:lnTo>
                <a:close/>
              </a:path>
            </a:pathLst>
          </a:custGeom>
          <a:noFill/>
          <a:ln w="76200">
            <a:solidFill>
              <a:schemeClr val="accent6"/>
            </a:solidFill>
            <a:miter lim="800000"/>
          </a:ln>
        </p:spPr>
        <p:txBody>
          <a:bodyPr wrap="square" lIns="108000" tIns="108000" rIns="108000" bIns="108000">
            <a:noAutofit/>
          </a:bodyPr>
          <a:lstStyle>
            <a:lvl1pPr marL="144000" indent="-144000">
              <a:lnSpc>
                <a:spcPct val="100000"/>
              </a:lnSpc>
              <a:buFont typeface="Systeemlettertype regulier"/>
              <a:buChar char="■"/>
              <a:tabLst/>
              <a:defRPr sz="1400">
                <a:solidFill>
                  <a:schemeClr val="tx1"/>
                </a:solidFill>
              </a:defRPr>
            </a:lvl1pPr>
            <a:lvl2pPr marL="288000" indent="-144000">
              <a:lnSpc>
                <a:spcPct val="100000"/>
              </a:lnSpc>
              <a:spcBef>
                <a:spcPts val="300"/>
              </a:spcBef>
              <a:buFont typeface=".Lucida Grande UI Regular"/>
              <a:buChar char="▫"/>
              <a:tabLst/>
              <a:defRPr sz="1400">
                <a:solidFill>
                  <a:schemeClr val="tx1"/>
                </a:solidFill>
              </a:defRPr>
            </a:lvl2pPr>
            <a:lvl3pPr marL="432000" indent="-144000">
              <a:lnSpc>
                <a:spcPct val="100000"/>
              </a:lnSpc>
              <a:spcBef>
                <a:spcPts val="300"/>
              </a:spcBef>
              <a:defRPr sz="1400">
                <a:solidFill>
                  <a:schemeClr val="tx1"/>
                </a:solidFill>
              </a:defRPr>
            </a:lvl3pPr>
            <a:lvl4pPr marL="576000" indent="-144000">
              <a:lnSpc>
                <a:spcPct val="100000"/>
              </a:lnSpc>
              <a:spcBef>
                <a:spcPts val="300"/>
              </a:spcBef>
              <a:defRPr sz="1400">
                <a:solidFill>
                  <a:schemeClr val="tx1"/>
                </a:solidFill>
              </a:defRPr>
            </a:lvl4pPr>
            <a:lvl5pPr marL="720000" indent="-144000">
              <a:lnSpc>
                <a:spcPct val="100000"/>
              </a:lnSpc>
              <a:spcBef>
                <a:spcPts val="300"/>
              </a:spcBef>
              <a:defRPr sz="1400">
                <a:solidFill>
                  <a:schemeClr val="tx1"/>
                </a:solidFill>
              </a:defRPr>
            </a:lvl5pPr>
          </a:lstStyle>
          <a:p>
            <a:pPr lvl="0"/>
            <a:r>
              <a:rPr lang="en-GB" noProof="0"/>
              <a:t>Click to edit first level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kstvak 17">
            <a:extLst>
              <a:ext uri="{FF2B5EF4-FFF2-40B4-BE49-F238E27FC236}">
                <a16:creationId xmlns:a16="http://schemas.microsoft.com/office/drawing/2014/main" id="{19ED5860-28C8-8044-99C8-481833D737A3}"/>
              </a:ext>
            </a:extLst>
          </p:cNvPr>
          <p:cNvSpPr txBox="1"/>
          <p:nvPr userDrawn="1"/>
        </p:nvSpPr>
        <p:spPr bwMode="auto">
          <a:xfrm>
            <a:off x="-2921308" y="0"/>
            <a:ext cx="2670175" cy="6858000"/>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dirty="0">
                <a:solidFill>
                  <a:schemeClr val="tx2"/>
                </a:solidFill>
              </a:rPr>
              <a:t>The text in the boxes</a:t>
            </a:r>
            <a:br>
              <a:rPr lang="en-GB" sz="1400" b="1" noProof="0" dirty="0">
                <a:solidFill>
                  <a:schemeClr val="tx2"/>
                </a:solidFill>
              </a:rPr>
            </a:br>
            <a:r>
              <a:rPr lang="en-GB" sz="1400" b="1" noProof="0" dirty="0">
                <a:solidFill>
                  <a:schemeClr val="tx2"/>
                </a:solidFill>
              </a:rPr>
              <a:t>has 2 list levels:</a:t>
            </a:r>
          </a:p>
          <a:p>
            <a:pPr>
              <a:defRPr/>
            </a:pPr>
            <a:endParaRPr lang="en-GB" sz="1200" noProof="0" dirty="0">
              <a:solidFill>
                <a:schemeClr val="tx2"/>
              </a:solidFill>
            </a:endParaRPr>
          </a:p>
          <a:p>
            <a:pPr marL="108000" indent="-108000">
              <a:buFont typeface="Wingdings" pitchFamily="2" charset="2"/>
              <a:buChar char="§"/>
              <a:defRPr/>
            </a:pPr>
            <a:r>
              <a:rPr lang="en-GB" sz="1200" noProof="0" dirty="0">
                <a:solidFill>
                  <a:schemeClr val="tx2"/>
                </a:solidFill>
              </a:rPr>
              <a:t>Regular text (level 1)</a:t>
            </a:r>
            <a:br>
              <a:rPr lang="en-GB" sz="1200" noProof="0" dirty="0">
                <a:solidFill>
                  <a:schemeClr val="tx2"/>
                </a:solidFill>
              </a:rPr>
            </a:br>
            <a:r>
              <a:rPr lang="en-GB" sz="1200" noProof="0" dirty="0">
                <a:solidFill>
                  <a:schemeClr val="tx2"/>
                </a:solidFill>
              </a:rPr>
              <a:t>Arial, 14pt</a:t>
            </a:r>
          </a:p>
          <a:p>
            <a:pPr marL="108000" indent="-108000">
              <a:buFont typeface="Wingdings" pitchFamily="2" charset="2"/>
              <a:buChar char="§"/>
              <a:defRPr/>
            </a:pPr>
            <a:endParaRPr lang="en-GB" sz="900" noProof="0" dirty="0">
              <a:solidFill>
                <a:schemeClr val="tx2"/>
              </a:solidFill>
            </a:endParaRPr>
          </a:p>
          <a:p>
            <a:pPr marL="216000" indent="-108000">
              <a:buFont typeface=".Lucida Grande UI Regular"/>
              <a:buChar char="▫"/>
              <a:defRPr/>
            </a:pPr>
            <a:r>
              <a:rPr lang="en-GB" sz="1200" noProof="0" dirty="0">
                <a:solidFill>
                  <a:schemeClr val="tx2"/>
                </a:solidFill>
              </a:rPr>
              <a:t>Regular text (level 2)</a:t>
            </a:r>
            <a:br>
              <a:rPr lang="en-GB" sz="1200" noProof="0" dirty="0">
                <a:solidFill>
                  <a:schemeClr val="tx2"/>
                </a:solidFill>
              </a:rPr>
            </a:br>
            <a:r>
              <a:rPr lang="en-GB" sz="1200" noProof="0" dirty="0">
                <a:solidFill>
                  <a:schemeClr val="tx2"/>
                </a:solidFill>
              </a:rPr>
              <a:t>Arial, 14pt</a:t>
            </a:r>
          </a:p>
        </p:txBody>
      </p:sp>
    </p:spTree>
    <p:extLst>
      <p:ext uri="{BB962C8B-B14F-4D97-AF65-F5344CB8AC3E}">
        <p14:creationId xmlns:p14="http://schemas.microsoft.com/office/powerpoint/2010/main" val="19264376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7D253E4E-329B-8E4E-AD56-3F205ACC817A}"/>
              </a:ext>
            </a:extLst>
          </p:cNvPr>
          <p:cNvSpPr>
            <a:spLocks noGrp="1"/>
          </p:cNvSpPr>
          <p:nvPr>
            <p:ph type="pic" sz="quarter" idx="13"/>
          </p:nvPr>
        </p:nvSpPr>
        <p:spPr>
          <a:xfrm>
            <a:off x="0" y="0"/>
            <a:ext cx="12192002" cy="6890355"/>
          </a:xfrm>
          <a:custGeom>
            <a:avLst/>
            <a:gdLst>
              <a:gd name="connsiteX0" fmla="*/ 11039475 w 12192002"/>
              <a:gd name="connsiteY0" fmla="*/ 6562726 h 6890355"/>
              <a:gd name="connsiteX1" fmla="*/ 11033989 w 12192002"/>
              <a:gd name="connsiteY1" fmla="*/ 6564084 h 6890355"/>
              <a:gd name="connsiteX2" fmla="*/ 10915345 w 12192002"/>
              <a:gd name="connsiteY2" fmla="*/ 6583764 h 6890355"/>
              <a:gd name="connsiteX3" fmla="*/ 10909859 w 12192002"/>
              <a:gd name="connsiteY3" fmla="*/ 6585800 h 6890355"/>
              <a:gd name="connsiteX4" fmla="*/ 10878998 w 12192002"/>
              <a:gd name="connsiteY4" fmla="*/ 6608873 h 6890355"/>
              <a:gd name="connsiteX5" fmla="*/ 10993526 w 12192002"/>
              <a:gd name="connsiteY5" fmla="*/ 6608873 h 6890355"/>
              <a:gd name="connsiteX6" fmla="*/ 10981868 w 12192002"/>
              <a:gd name="connsiteY6" fmla="*/ 6615659 h 6890355"/>
              <a:gd name="connsiteX7" fmla="*/ 10894771 w 12192002"/>
              <a:gd name="connsiteY7" fmla="*/ 6630589 h 6890355"/>
              <a:gd name="connsiteX8" fmla="*/ 10889285 w 12192002"/>
              <a:gd name="connsiteY8" fmla="*/ 6632625 h 6890355"/>
              <a:gd name="connsiteX9" fmla="*/ 10868025 w 12192002"/>
              <a:gd name="connsiteY9" fmla="*/ 6648912 h 6890355"/>
              <a:gd name="connsiteX10" fmla="*/ 10937291 w 12192002"/>
              <a:gd name="connsiteY10" fmla="*/ 6644161 h 6890355"/>
              <a:gd name="connsiteX11" fmla="*/ 11039475 w 12192002"/>
              <a:gd name="connsiteY11" fmla="*/ 6562726 h 6890355"/>
              <a:gd name="connsiteX12" fmla="*/ 10791895 w 12192002"/>
              <a:gd name="connsiteY12" fmla="*/ 6557963 h 6890355"/>
              <a:gd name="connsiteX13" fmla="*/ 10790514 w 12192002"/>
              <a:gd name="connsiteY13" fmla="*/ 6594022 h 6890355"/>
              <a:gd name="connsiteX14" fmla="*/ 10866438 w 12192002"/>
              <a:gd name="connsiteY14" fmla="*/ 6648451 h 6890355"/>
              <a:gd name="connsiteX15" fmla="*/ 10866438 w 12192002"/>
              <a:gd name="connsiteY15" fmla="*/ 6557963 h 6890355"/>
              <a:gd name="connsiteX16" fmla="*/ 10791895 w 12192002"/>
              <a:gd name="connsiteY16" fmla="*/ 6557963 h 6890355"/>
              <a:gd name="connsiteX17" fmla="*/ 11578432 w 12192002"/>
              <a:gd name="connsiteY17" fmla="*/ 6519863 h 6890355"/>
              <a:gd name="connsiteX18" fmla="*/ 11604626 w 12192002"/>
              <a:gd name="connsiteY18" fmla="*/ 6543014 h 6890355"/>
              <a:gd name="connsiteX19" fmla="*/ 11599925 w 12192002"/>
              <a:gd name="connsiteY19" fmla="*/ 6551613 h 6890355"/>
              <a:gd name="connsiteX20" fmla="*/ 11552238 w 12192002"/>
              <a:gd name="connsiteY20" fmla="*/ 6551613 h 6890355"/>
              <a:gd name="connsiteX21" fmla="*/ 11552910 w 12192002"/>
              <a:gd name="connsiteY21" fmla="*/ 6543676 h 6890355"/>
              <a:gd name="connsiteX22" fmla="*/ 11578432 w 12192002"/>
              <a:gd name="connsiteY22" fmla="*/ 6519863 h 6890355"/>
              <a:gd name="connsiteX23" fmla="*/ 11218862 w 12192002"/>
              <a:gd name="connsiteY23" fmla="*/ 6519863 h 6890355"/>
              <a:gd name="connsiteX24" fmla="*/ 11245850 w 12192002"/>
              <a:gd name="connsiteY24" fmla="*/ 6543014 h 6890355"/>
              <a:gd name="connsiteX25" fmla="*/ 11240314 w 12192002"/>
              <a:gd name="connsiteY25" fmla="*/ 6551613 h 6890355"/>
              <a:gd name="connsiteX26" fmla="*/ 11191875 w 12192002"/>
              <a:gd name="connsiteY26" fmla="*/ 6551613 h 6890355"/>
              <a:gd name="connsiteX27" fmla="*/ 11191875 w 12192002"/>
              <a:gd name="connsiteY27" fmla="*/ 6543676 h 6890355"/>
              <a:gd name="connsiteX28" fmla="*/ 11218862 w 12192002"/>
              <a:gd name="connsiteY28" fmla="*/ 6519863 h 6890355"/>
              <a:gd name="connsiteX29" fmla="*/ 11625263 w 12192002"/>
              <a:gd name="connsiteY29" fmla="*/ 6503988 h 6890355"/>
              <a:gd name="connsiteX30" fmla="*/ 11640383 w 12192002"/>
              <a:gd name="connsiteY30" fmla="*/ 6520419 h 6890355"/>
              <a:gd name="connsiteX31" fmla="*/ 11674059 w 12192002"/>
              <a:gd name="connsiteY31" fmla="*/ 6520419 h 6890355"/>
              <a:gd name="connsiteX32" fmla="*/ 11674059 w 12192002"/>
              <a:gd name="connsiteY32" fmla="*/ 6613526 h 6890355"/>
              <a:gd name="connsiteX33" fmla="*/ 11700176 w 12192002"/>
              <a:gd name="connsiteY33" fmla="*/ 6613526 h 6890355"/>
              <a:gd name="connsiteX34" fmla="*/ 11700176 w 12192002"/>
              <a:gd name="connsiteY34" fmla="*/ 6520419 h 6890355"/>
              <a:gd name="connsiteX35" fmla="*/ 11737976 w 12192002"/>
              <a:gd name="connsiteY35" fmla="*/ 6520419 h 6890355"/>
              <a:gd name="connsiteX36" fmla="*/ 11737976 w 12192002"/>
              <a:gd name="connsiteY36" fmla="*/ 6503988 h 6890355"/>
              <a:gd name="connsiteX37" fmla="*/ 11625263 w 12192002"/>
              <a:gd name="connsiteY37" fmla="*/ 6503988 h 6890355"/>
              <a:gd name="connsiteX38" fmla="*/ 11426956 w 12192002"/>
              <a:gd name="connsiteY38" fmla="*/ 6503988 h 6890355"/>
              <a:gd name="connsiteX39" fmla="*/ 11407775 w 12192002"/>
              <a:gd name="connsiteY39" fmla="*/ 6523157 h 6890355"/>
              <a:gd name="connsiteX40" fmla="*/ 11407775 w 12192002"/>
              <a:gd name="connsiteY40" fmla="*/ 6613526 h 6890355"/>
              <a:gd name="connsiteX41" fmla="*/ 11433806 w 12192002"/>
              <a:gd name="connsiteY41" fmla="*/ 6613526 h 6890355"/>
              <a:gd name="connsiteX42" fmla="*/ 11433806 w 12192002"/>
              <a:gd name="connsiteY42" fmla="*/ 6525211 h 6890355"/>
              <a:gd name="connsiteX43" fmla="*/ 11439286 w 12192002"/>
              <a:gd name="connsiteY43" fmla="*/ 6520419 h 6890355"/>
              <a:gd name="connsiteX44" fmla="*/ 11459837 w 12192002"/>
              <a:gd name="connsiteY44" fmla="*/ 6520419 h 6890355"/>
              <a:gd name="connsiteX45" fmla="*/ 11481757 w 12192002"/>
              <a:gd name="connsiteY45" fmla="*/ 6543696 h 6890355"/>
              <a:gd name="connsiteX46" fmla="*/ 11481757 w 12192002"/>
              <a:gd name="connsiteY46" fmla="*/ 6613526 h 6890355"/>
              <a:gd name="connsiteX47" fmla="*/ 11507788 w 12192002"/>
              <a:gd name="connsiteY47" fmla="*/ 6613526 h 6890355"/>
              <a:gd name="connsiteX48" fmla="*/ 11507788 w 12192002"/>
              <a:gd name="connsiteY48" fmla="*/ 6541642 h 6890355"/>
              <a:gd name="connsiteX49" fmla="*/ 11463947 w 12192002"/>
              <a:gd name="connsiteY49" fmla="*/ 6503988 h 6890355"/>
              <a:gd name="connsiteX50" fmla="*/ 11426956 w 12192002"/>
              <a:gd name="connsiteY50" fmla="*/ 6503988 h 6890355"/>
              <a:gd name="connsiteX51" fmla="*/ 11307894 w 12192002"/>
              <a:gd name="connsiteY51" fmla="*/ 6503988 h 6890355"/>
              <a:gd name="connsiteX52" fmla="*/ 11288713 w 12192002"/>
              <a:gd name="connsiteY52" fmla="*/ 6523157 h 6890355"/>
              <a:gd name="connsiteX53" fmla="*/ 11288713 w 12192002"/>
              <a:gd name="connsiteY53" fmla="*/ 6613526 h 6890355"/>
              <a:gd name="connsiteX54" fmla="*/ 11314744 w 12192002"/>
              <a:gd name="connsiteY54" fmla="*/ 6613526 h 6890355"/>
              <a:gd name="connsiteX55" fmla="*/ 11314744 w 12192002"/>
              <a:gd name="connsiteY55" fmla="*/ 6525211 h 6890355"/>
              <a:gd name="connsiteX56" fmla="*/ 11320224 w 12192002"/>
              <a:gd name="connsiteY56" fmla="*/ 6520419 h 6890355"/>
              <a:gd name="connsiteX57" fmla="*/ 11340775 w 12192002"/>
              <a:gd name="connsiteY57" fmla="*/ 6520419 h 6890355"/>
              <a:gd name="connsiteX58" fmla="*/ 11362695 w 12192002"/>
              <a:gd name="connsiteY58" fmla="*/ 6543696 h 6890355"/>
              <a:gd name="connsiteX59" fmla="*/ 11362695 w 12192002"/>
              <a:gd name="connsiteY59" fmla="*/ 6613526 h 6890355"/>
              <a:gd name="connsiteX60" fmla="*/ 11388726 w 12192002"/>
              <a:gd name="connsiteY60" fmla="*/ 6613526 h 6890355"/>
              <a:gd name="connsiteX61" fmla="*/ 11388726 w 12192002"/>
              <a:gd name="connsiteY61" fmla="*/ 6541642 h 6890355"/>
              <a:gd name="connsiteX62" fmla="*/ 11344885 w 12192002"/>
              <a:gd name="connsiteY62" fmla="*/ 6503988 h 6890355"/>
              <a:gd name="connsiteX63" fmla="*/ 11307894 w 12192002"/>
              <a:gd name="connsiteY63" fmla="*/ 6503988 h 6890355"/>
              <a:gd name="connsiteX64" fmla="*/ 11055350 w 12192002"/>
              <a:gd name="connsiteY64" fmla="*/ 6503988 h 6890355"/>
              <a:gd name="connsiteX65" fmla="*/ 11062863 w 12192002"/>
              <a:gd name="connsiteY65" fmla="*/ 6520419 h 6890355"/>
              <a:gd name="connsiteX66" fmla="*/ 11098379 w 12192002"/>
              <a:gd name="connsiteY66" fmla="*/ 6520419 h 6890355"/>
              <a:gd name="connsiteX67" fmla="*/ 11098379 w 12192002"/>
              <a:gd name="connsiteY67" fmla="*/ 6613526 h 6890355"/>
              <a:gd name="connsiteX68" fmla="*/ 11125015 w 12192002"/>
              <a:gd name="connsiteY68" fmla="*/ 6613526 h 6890355"/>
              <a:gd name="connsiteX69" fmla="*/ 11125015 w 12192002"/>
              <a:gd name="connsiteY69" fmla="*/ 6520419 h 6890355"/>
              <a:gd name="connsiteX70" fmla="*/ 11158482 w 12192002"/>
              <a:gd name="connsiteY70" fmla="*/ 6520419 h 6890355"/>
              <a:gd name="connsiteX71" fmla="*/ 11172825 w 12192002"/>
              <a:gd name="connsiteY71" fmla="*/ 6503988 h 6890355"/>
              <a:gd name="connsiteX72" fmla="*/ 11055350 w 12192002"/>
              <a:gd name="connsiteY72" fmla="*/ 6503988 h 6890355"/>
              <a:gd name="connsiteX73" fmla="*/ 11576758 w 12192002"/>
              <a:gd name="connsiteY73" fmla="*/ 6503138 h 6890355"/>
              <a:gd name="connsiteX74" fmla="*/ 11539190 w 12192002"/>
              <a:gd name="connsiteY74" fmla="*/ 6516916 h 6890355"/>
              <a:gd name="connsiteX75" fmla="*/ 11533029 w 12192002"/>
              <a:gd name="connsiteY75" fmla="*/ 6593796 h 6890355"/>
              <a:gd name="connsiteX76" fmla="*/ 11548090 w 12192002"/>
              <a:gd name="connsiteY76" fmla="*/ 6608764 h 6890355"/>
              <a:gd name="connsiteX77" fmla="*/ 11570682 w 12192002"/>
              <a:gd name="connsiteY77" fmla="*/ 6613526 h 6890355"/>
              <a:gd name="connsiteX78" fmla="*/ 11628190 w 12192002"/>
              <a:gd name="connsiteY78" fmla="*/ 6613526 h 6890355"/>
              <a:gd name="connsiteX79" fmla="*/ 11628190 w 12192002"/>
              <a:gd name="connsiteY79" fmla="*/ 6597878 h 6890355"/>
              <a:gd name="connsiteX80" fmla="*/ 11574790 w 12192002"/>
              <a:gd name="connsiteY80" fmla="*/ 6597878 h 6890355"/>
              <a:gd name="connsiteX81" fmla="*/ 11552883 w 12192002"/>
              <a:gd name="connsiteY81" fmla="*/ 6572024 h 6890355"/>
              <a:gd name="connsiteX82" fmla="*/ 11552198 w 12192002"/>
              <a:gd name="connsiteY82" fmla="*/ 6567942 h 6890355"/>
              <a:gd name="connsiteX83" fmla="*/ 11609705 w 12192002"/>
              <a:gd name="connsiteY83" fmla="*/ 6567942 h 6890355"/>
              <a:gd name="connsiteX84" fmla="*/ 11619290 w 12192002"/>
              <a:gd name="connsiteY84" fmla="*/ 6567262 h 6890355"/>
              <a:gd name="connsiteX85" fmla="*/ 11631613 w 12192002"/>
              <a:gd name="connsiteY85" fmla="*/ 6546851 h 6890355"/>
              <a:gd name="connsiteX86" fmla="*/ 11615867 w 12192002"/>
              <a:gd name="connsiteY86" fmla="*/ 6512833 h 6890355"/>
              <a:gd name="connsiteX87" fmla="*/ 11576758 w 12192002"/>
              <a:gd name="connsiteY87" fmla="*/ 6503138 h 6890355"/>
              <a:gd name="connsiteX88" fmla="*/ 11215948 w 12192002"/>
              <a:gd name="connsiteY88" fmla="*/ 6503138 h 6890355"/>
              <a:gd name="connsiteX89" fmla="*/ 11177488 w 12192002"/>
              <a:gd name="connsiteY89" fmla="*/ 6516916 h 6890355"/>
              <a:gd name="connsiteX90" fmla="*/ 11171238 w 12192002"/>
              <a:gd name="connsiteY90" fmla="*/ 6593796 h 6890355"/>
              <a:gd name="connsiteX91" fmla="*/ 11187212 w 12192002"/>
              <a:gd name="connsiteY91" fmla="*/ 6608764 h 6890355"/>
              <a:gd name="connsiteX92" fmla="*/ 11209437 w 12192002"/>
              <a:gd name="connsiteY92" fmla="*/ 6613526 h 6890355"/>
              <a:gd name="connsiteX93" fmla="*/ 11267777 w 12192002"/>
              <a:gd name="connsiteY93" fmla="*/ 6613526 h 6890355"/>
              <a:gd name="connsiteX94" fmla="*/ 11267777 w 12192002"/>
              <a:gd name="connsiteY94" fmla="*/ 6597878 h 6890355"/>
              <a:gd name="connsiteX95" fmla="*/ 11213604 w 12192002"/>
              <a:gd name="connsiteY95" fmla="*/ 6597878 h 6890355"/>
              <a:gd name="connsiteX96" fmla="*/ 11191379 w 12192002"/>
              <a:gd name="connsiteY96" fmla="*/ 6572024 h 6890355"/>
              <a:gd name="connsiteX97" fmla="*/ 11191379 w 12192002"/>
              <a:gd name="connsiteY97" fmla="*/ 6567942 h 6890355"/>
              <a:gd name="connsiteX98" fmla="*/ 11249720 w 12192002"/>
              <a:gd name="connsiteY98" fmla="*/ 6567942 h 6890355"/>
              <a:gd name="connsiteX99" fmla="*/ 11258748 w 12192002"/>
              <a:gd name="connsiteY99" fmla="*/ 6567262 h 6890355"/>
              <a:gd name="connsiteX100" fmla="*/ 11271250 w 12192002"/>
              <a:gd name="connsiteY100" fmla="*/ 6546851 h 6890355"/>
              <a:gd name="connsiteX101" fmla="*/ 11255970 w 12192002"/>
              <a:gd name="connsiteY101" fmla="*/ 6512833 h 6890355"/>
              <a:gd name="connsiteX102" fmla="*/ 11215948 w 12192002"/>
              <a:gd name="connsiteY102" fmla="*/ 6503138 h 6890355"/>
              <a:gd name="connsiteX103" fmla="*/ 10943129 w 12192002"/>
              <a:gd name="connsiteY103" fmla="*/ 6471564 h 6890355"/>
              <a:gd name="connsiteX104" fmla="*/ 10892678 w 12192002"/>
              <a:gd name="connsiteY104" fmla="*/ 6477993 h 6890355"/>
              <a:gd name="connsiteX105" fmla="*/ 10798175 w 12192002"/>
              <a:gd name="connsiteY105" fmla="*/ 6544293 h 6890355"/>
              <a:gd name="connsiteX106" fmla="*/ 10954995 w 12192002"/>
              <a:gd name="connsiteY106" fmla="*/ 6519687 h 6890355"/>
              <a:gd name="connsiteX107" fmla="*/ 10904320 w 12192002"/>
              <a:gd name="connsiteY107" fmla="*/ 6557963 h 6890355"/>
              <a:gd name="connsiteX108" fmla="*/ 11039911 w 12192002"/>
              <a:gd name="connsiteY108" fmla="*/ 6557963 h 6890355"/>
              <a:gd name="connsiteX109" fmla="*/ 11039911 w 12192002"/>
              <a:gd name="connsiteY109" fmla="*/ 6527889 h 6890355"/>
              <a:gd name="connsiteX110" fmla="*/ 10943129 w 12192002"/>
              <a:gd name="connsiteY110" fmla="*/ 6471564 h 6890355"/>
              <a:gd name="connsiteX111" fmla="*/ 0 w 12192002"/>
              <a:gd name="connsiteY111" fmla="*/ 0 h 6890355"/>
              <a:gd name="connsiteX112" fmla="*/ 12191998 w 12192002"/>
              <a:gd name="connsiteY112" fmla="*/ 0 h 6890355"/>
              <a:gd name="connsiteX113" fmla="*/ 12191998 w 12192002"/>
              <a:gd name="connsiteY113" fmla="*/ 14361 h 6890355"/>
              <a:gd name="connsiteX114" fmla="*/ 12192002 w 12192002"/>
              <a:gd name="connsiteY114" fmla="*/ 14361 h 6890355"/>
              <a:gd name="connsiteX115" fmla="*/ 12192002 w 12192002"/>
              <a:gd name="connsiteY115" fmla="*/ 6890355 h 6890355"/>
              <a:gd name="connsiteX116" fmla="*/ 13 w 12192002"/>
              <a:gd name="connsiteY116" fmla="*/ 6890355 h 6890355"/>
              <a:gd name="connsiteX117" fmla="*/ 13 w 12192002"/>
              <a:gd name="connsiteY117" fmla="*/ 6890348 h 6890355"/>
              <a:gd name="connsiteX118" fmla="*/ 2 w 12192002"/>
              <a:gd name="connsiteY118" fmla="*/ 6890348 h 6890355"/>
              <a:gd name="connsiteX119" fmla="*/ 2 w 12192002"/>
              <a:gd name="connsiteY119" fmla="*/ 1216241 h 6890355"/>
              <a:gd name="connsiteX120" fmla="*/ 0 w 12192002"/>
              <a:gd name="connsiteY120" fmla="*/ 1216241 h 689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2192002" h="6890355">
                <a:moveTo>
                  <a:pt x="11039475" y="6562726"/>
                </a:moveTo>
                <a:cubicBezTo>
                  <a:pt x="11037418" y="6563405"/>
                  <a:pt x="11035360" y="6564084"/>
                  <a:pt x="11033989" y="6564084"/>
                </a:cubicBezTo>
                <a:lnTo>
                  <a:pt x="10915345" y="6583764"/>
                </a:lnTo>
                <a:cubicBezTo>
                  <a:pt x="10913974" y="6583764"/>
                  <a:pt x="10911230" y="6584442"/>
                  <a:pt x="10909859" y="6585800"/>
                </a:cubicBezTo>
                <a:cubicBezTo>
                  <a:pt x="10878998" y="6608873"/>
                  <a:pt x="10878998" y="6608873"/>
                  <a:pt x="10878998" y="6608873"/>
                </a:cubicBezTo>
                <a:cubicBezTo>
                  <a:pt x="10993526" y="6608873"/>
                  <a:pt x="10993526" y="6608873"/>
                  <a:pt x="10993526" y="6608873"/>
                </a:cubicBezTo>
                <a:cubicBezTo>
                  <a:pt x="10993526" y="6608873"/>
                  <a:pt x="10988726" y="6614302"/>
                  <a:pt x="10981868" y="6615659"/>
                </a:cubicBezTo>
                <a:cubicBezTo>
                  <a:pt x="10975010" y="6617016"/>
                  <a:pt x="10894771" y="6630589"/>
                  <a:pt x="10894771" y="6630589"/>
                </a:cubicBezTo>
                <a:cubicBezTo>
                  <a:pt x="10893400" y="6630589"/>
                  <a:pt x="10890656" y="6631946"/>
                  <a:pt x="10889285" y="6632625"/>
                </a:cubicBezTo>
                <a:cubicBezTo>
                  <a:pt x="10868025" y="6648912"/>
                  <a:pt x="10868025" y="6648912"/>
                  <a:pt x="10868025" y="6648912"/>
                </a:cubicBezTo>
                <a:cubicBezTo>
                  <a:pt x="10889285" y="6651626"/>
                  <a:pt x="10913288" y="6650269"/>
                  <a:pt x="10937291" y="6644161"/>
                </a:cubicBezTo>
                <a:cubicBezTo>
                  <a:pt x="10989412" y="6629910"/>
                  <a:pt x="11028502" y="6597336"/>
                  <a:pt x="11039475" y="6562726"/>
                </a:cubicBezTo>
                <a:close/>
                <a:moveTo>
                  <a:pt x="10791895" y="6557963"/>
                </a:moveTo>
                <a:cubicBezTo>
                  <a:pt x="10787753" y="6570210"/>
                  <a:pt x="10787063" y="6582456"/>
                  <a:pt x="10790514" y="6594022"/>
                </a:cubicBezTo>
                <a:cubicBezTo>
                  <a:pt x="10798106" y="6623278"/>
                  <a:pt x="10827786" y="6643008"/>
                  <a:pt x="10866438" y="6648451"/>
                </a:cubicBezTo>
                <a:cubicBezTo>
                  <a:pt x="10866438" y="6557963"/>
                  <a:pt x="10866438" y="6557963"/>
                  <a:pt x="10866438" y="6557963"/>
                </a:cubicBezTo>
                <a:cubicBezTo>
                  <a:pt x="10791895" y="6557963"/>
                  <a:pt x="10791895" y="6557963"/>
                  <a:pt x="10791895" y="6557963"/>
                </a:cubicBezTo>
                <a:close/>
                <a:moveTo>
                  <a:pt x="11578432" y="6519863"/>
                </a:moveTo>
                <a:cubicBezTo>
                  <a:pt x="11597910" y="6519863"/>
                  <a:pt x="11604626" y="6529124"/>
                  <a:pt x="11604626" y="6543014"/>
                </a:cubicBezTo>
                <a:cubicBezTo>
                  <a:pt x="11604626" y="6549629"/>
                  <a:pt x="11603954" y="6551613"/>
                  <a:pt x="11599925" y="6551613"/>
                </a:cubicBezTo>
                <a:cubicBezTo>
                  <a:pt x="11552238" y="6551613"/>
                  <a:pt x="11552238" y="6551613"/>
                  <a:pt x="11552238" y="6551613"/>
                </a:cubicBezTo>
                <a:cubicBezTo>
                  <a:pt x="11552238" y="6546983"/>
                  <a:pt x="11552910" y="6543676"/>
                  <a:pt x="11552910" y="6543676"/>
                </a:cubicBezTo>
                <a:cubicBezTo>
                  <a:pt x="11554253" y="6531108"/>
                  <a:pt x="11560298" y="6519863"/>
                  <a:pt x="11578432" y="6519863"/>
                </a:cubicBezTo>
                <a:close/>
                <a:moveTo>
                  <a:pt x="11218862" y="6519863"/>
                </a:moveTo>
                <a:cubicBezTo>
                  <a:pt x="11238238" y="6519863"/>
                  <a:pt x="11245850" y="6529124"/>
                  <a:pt x="11245850" y="6543014"/>
                </a:cubicBezTo>
                <a:cubicBezTo>
                  <a:pt x="11245158" y="6549629"/>
                  <a:pt x="11244466" y="6551613"/>
                  <a:pt x="11240314" y="6551613"/>
                </a:cubicBezTo>
                <a:cubicBezTo>
                  <a:pt x="11191875" y="6551613"/>
                  <a:pt x="11191875" y="6551613"/>
                  <a:pt x="11191875" y="6551613"/>
                </a:cubicBezTo>
                <a:cubicBezTo>
                  <a:pt x="11191875" y="6546983"/>
                  <a:pt x="11191875" y="6543676"/>
                  <a:pt x="11191875" y="6543676"/>
                </a:cubicBezTo>
                <a:cubicBezTo>
                  <a:pt x="11193259" y="6531108"/>
                  <a:pt x="11199487" y="6519863"/>
                  <a:pt x="11218862" y="6519863"/>
                </a:cubicBezTo>
                <a:close/>
                <a:moveTo>
                  <a:pt x="11625263" y="6503988"/>
                </a:moveTo>
                <a:cubicBezTo>
                  <a:pt x="11632136" y="6508096"/>
                  <a:pt x="11636947" y="6513573"/>
                  <a:pt x="11640383" y="6520419"/>
                </a:cubicBezTo>
                <a:cubicBezTo>
                  <a:pt x="11674059" y="6520419"/>
                  <a:pt x="11674059" y="6520419"/>
                  <a:pt x="11674059" y="6520419"/>
                </a:cubicBezTo>
                <a:cubicBezTo>
                  <a:pt x="11674059" y="6613526"/>
                  <a:pt x="11674059" y="6613526"/>
                  <a:pt x="11674059" y="6613526"/>
                </a:cubicBezTo>
                <a:cubicBezTo>
                  <a:pt x="11700176" y="6613526"/>
                  <a:pt x="11700176" y="6613526"/>
                  <a:pt x="11700176" y="6613526"/>
                </a:cubicBezTo>
                <a:cubicBezTo>
                  <a:pt x="11700176" y="6520419"/>
                  <a:pt x="11700176" y="6520419"/>
                  <a:pt x="11700176" y="6520419"/>
                </a:cubicBezTo>
                <a:lnTo>
                  <a:pt x="11737976" y="6520419"/>
                </a:lnTo>
                <a:cubicBezTo>
                  <a:pt x="11737976" y="6503988"/>
                  <a:pt x="11737976" y="6503988"/>
                  <a:pt x="11737976" y="6503988"/>
                </a:cubicBezTo>
                <a:cubicBezTo>
                  <a:pt x="11625263" y="6503988"/>
                  <a:pt x="11625263" y="6503988"/>
                  <a:pt x="11625263" y="6503988"/>
                </a:cubicBezTo>
                <a:close/>
                <a:moveTo>
                  <a:pt x="11426956" y="6503988"/>
                </a:moveTo>
                <a:cubicBezTo>
                  <a:pt x="11413940" y="6504673"/>
                  <a:pt x="11407775" y="6510834"/>
                  <a:pt x="11407775" y="6523157"/>
                </a:cubicBezTo>
                <a:cubicBezTo>
                  <a:pt x="11407775" y="6613526"/>
                  <a:pt x="11407775" y="6613526"/>
                  <a:pt x="11407775" y="6613526"/>
                </a:cubicBezTo>
                <a:cubicBezTo>
                  <a:pt x="11433806" y="6613526"/>
                  <a:pt x="11433806" y="6613526"/>
                  <a:pt x="11433806" y="6613526"/>
                </a:cubicBezTo>
                <a:cubicBezTo>
                  <a:pt x="11433806" y="6525211"/>
                  <a:pt x="11433806" y="6525211"/>
                  <a:pt x="11433806" y="6525211"/>
                </a:cubicBezTo>
                <a:cubicBezTo>
                  <a:pt x="11433806" y="6521788"/>
                  <a:pt x="11435176" y="6520419"/>
                  <a:pt x="11439286" y="6520419"/>
                </a:cubicBezTo>
                <a:cubicBezTo>
                  <a:pt x="11459837" y="6520419"/>
                  <a:pt x="11459837" y="6520419"/>
                  <a:pt x="11459837" y="6520419"/>
                </a:cubicBezTo>
                <a:cubicBezTo>
                  <a:pt x="11475592" y="6520419"/>
                  <a:pt x="11481757" y="6527950"/>
                  <a:pt x="11481757" y="6543696"/>
                </a:cubicBezTo>
                <a:cubicBezTo>
                  <a:pt x="11481757" y="6613526"/>
                  <a:pt x="11481757" y="6613526"/>
                  <a:pt x="11481757" y="6613526"/>
                </a:cubicBezTo>
                <a:cubicBezTo>
                  <a:pt x="11507788" y="6613526"/>
                  <a:pt x="11507788" y="6613526"/>
                  <a:pt x="11507788" y="6613526"/>
                </a:cubicBezTo>
                <a:cubicBezTo>
                  <a:pt x="11507788" y="6541642"/>
                  <a:pt x="11507788" y="6541642"/>
                  <a:pt x="11507788" y="6541642"/>
                </a:cubicBezTo>
                <a:cubicBezTo>
                  <a:pt x="11507788" y="6510150"/>
                  <a:pt x="11485867" y="6504673"/>
                  <a:pt x="11463947" y="6503988"/>
                </a:cubicBezTo>
                <a:cubicBezTo>
                  <a:pt x="11426956" y="6503988"/>
                  <a:pt x="11426956" y="6503988"/>
                  <a:pt x="11426956" y="6503988"/>
                </a:cubicBezTo>
                <a:close/>
                <a:moveTo>
                  <a:pt x="11307894" y="6503988"/>
                </a:moveTo>
                <a:cubicBezTo>
                  <a:pt x="11294878" y="6504673"/>
                  <a:pt x="11288713" y="6510834"/>
                  <a:pt x="11288713" y="6523157"/>
                </a:cubicBezTo>
                <a:cubicBezTo>
                  <a:pt x="11288713" y="6613526"/>
                  <a:pt x="11288713" y="6613526"/>
                  <a:pt x="11288713" y="6613526"/>
                </a:cubicBezTo>
                <a:cubicBezTo>
                  <a:pt x="11314744" y="6613526"/>
                  <a:pt x="11314744" y="6613526"/>
                  <a:pt x="11314744" y="6613526"/>
                </a:cubicBezTo>
                <a:cubicBezTo>
                  <a:pt x="11314744" y="6525211"/>
                  <a:pt x="11314744" y="6525211"/>
                  <a:pt x="11314744" y="6525211"/>
                </a:cubicBezTo>
                <a:cubicBezTo>
                  <a:pt x="11314744" y="6521788"/>
                  <a:pt x="11316114" y="6520419"/>
                  <a:pt x="11320224" y="6520419"/>
                </a:cubicBezTo>
                <a:cubicBezTo>
                  <a:pt x="11340775" y="6520419"/>
                  <a:pt x="11340775" y="6520419"/>
                  <a:pt x="11340775" y="6520419"/>
                </a:cubicBezTo>
                <a:cubicBezTo>
                  <a:pt x="11356530" y="6520419"/>
                  <a:pt x="11362695" y="6527950"/>
                  <a:pt x="11362695" y="6543696"/>
                </a:cubicBezTo>
                <a:cubicBezTo>
                  <a:pt x="11362695" y="6613526"/>
                  <a:pt x="11362695" y="6613526"/>
                  <a:pt x="11362695" y="6613526"/>
                </a:cubicBezTo>
                <a:cubicBezTo>
                  <a:pt x="11388726" y="6613526"/>
                  <a:pt x="11388726" y="6613526"/>
                  <a:pt x="11388726" y="6613526"/>
                </a:cubicBezTo>
                <a:cubicBezTo>
                  <a:pt x="11388726" y="6541642"/>
                  <a:pt x="11388726" y="6541642"/>
                  <a:pt x="11388726" y="6541642"/>
                </a:cubicBezTo>
                <a:cubicBezTo>
                  <a:pt x="11388726" y="6510150"/>
                  <a:pt x="11366805" y="6504673"/>
                  <a:pt x="11344885" y="6503988"/>
                </a:cubicBezTo>
                <a:cubicBezTo>
                  <a:pt x="11307894" y="6503988"/>
                  <a:pt x="11307894" y="6503988"/>
                  <a:pt x="11307894" y="6503988"/>
                </a:cubicBezTo>
                <a:close/>
                <a:moveTo>
                  <a:pt x="11055350" y="6503988"/>
                </a:moveTo>
                <a:cubicBezTo>
                  <a:pt x="11058765" y="6509465"/>
                  <a:pt x="11060131" y="6512888"/>
                  <a:pt x="11062863" y="6520419"/>
                </a:cubicBezTo>
                <a:lnTo>
                  <a:pt x="11098379" y="6520419"/>
                </a:lnTo>
                <a:cubicBezTo>
                  <a:pt x="11098379" y="6520419"/>
                  <a:pt x="11098379" y="6520419"/>
                  <a:pt x="11098379" y="6613526"/>
                </a:cubicBezTo>
                <a:cubicBezTo>
                  <a:pt x="11098379" y="6613526"/>
                  <a:pt x="11098379" y="6613526"/>
                  <a:pt x="11125015" y="6613526"/>
                </a:cubicBezTo>
                <a:cubicBezTo>
                  <a:pt x="11125015" y="6613526"/>
                  <a:pt x="11125015" y="6613526"/>
                  <a:pt x="11125015" y="6520419"/>
                </a:cubicBezTo>
                <a:cubicBezTo>
                  <a:pt x="11125015" y="6520419"/>
                  <a:pt x="11125015" y="6520419"/>
                  <a:pt x="11158482" y="6520419"/>
                </a:cubicBezTo>
                <a:cubicBezTo>
                  <a:pt x="11161214" y="6513573"/>
                  <a:pt x="11166678" y="6508096"/>
                  <a:pt x="11172825" y="6503988"/>
                </a:cubicBezTo>
                <a:cubicBezTo>
                  <a:pt x="11172825" y="6503988"/>
                  <a:pt x="11172825" y="6503988"/>
                  <a:pt x="11055350" y="6503988"/>
                </a:cubicBezTo>
                <a:close/>
                <a:moveTo>
                  <a:pt x="11576758" y="6503138"/>
                </a:moveTo>
                <a:cubicBezTo>
                  <a:pt x="11561953" y="6503649"/>
                  <a:pt x="11547405" y="6508071"/>
                  <a:pt x="11539190" y="6516916"/>
                </a:cubicBezTo>
                <a:cubicBezTo>
                  <a:pt x="11522075" y="6534605"/>
                  <a:pt x="11523444" y="6576107"/>
                  <a:pt x="11533029" y="6593796"/>
                </a:cubicBezTo>
                <a:cubicBezTo>
                  <a:pt x="11535083" y="6598558"/>
                  <a:pt x="11540560" y="6604682"/>
                  <a:pt x="11548090" y="6608764"/>
                </a:cubicBezTo>
                <a:cubicBezTo>
                  <a:pt x="11554252" y="6612166"/>
                  <a:pt x="11562467" y="6613526"/>
                  <a:pt x="11570682" y="6613526"/>
                </a:cubicBezTo>
                <a:cubicBezTo>
                  <a:pt x="11574106" y="6613526"/>
                  <a:pt x="11628190" y="6613526"/>
                  <a:pt x="11628190" y="6613526"/>
                </a:cubicBezTo>
                <a:cubicBezTo>
                  <a:pt x="11628190" y="6597878"/>
                  <a:pt x="11628190" y="6597878"/>
                  <a:pt x="11628190" y="6597878"/>
                </a:cubicBezTo>
                <a:cubicBezTo>
                  <a:pt x="11574790" y="6597878"/>
                  <a:pt x="11574790" y="6597878"/>
                  <a:pt x="11574790" y="6597878"/>
                </a:cubicBezTo>
                <a:cubicBezTo>
                  <a:pt x="11557675" y="6597878"/>
                  <a:pt x="11553567" y="6584951"/>
                  <a:pt x="11552883" y="6572024"/>
                </a:cubicBezTo>
                <a:cubicBezTo>
                  <a:pt x="11552883" y="6570664"/>
                  <a:pt x="11552198" y="6569983"/>
                  <a:pt x="11552198" y="6567942"/>
                </a:cubicBezTo>
                <a:cubicBezTo>
                  <a:pt x="11609705" y="6567942"/>
                  <a:pt x="11609705" y="6567942"/>
                  <a:pt x="11609705" y="6567942"/>
                </a:cubicBezTo>
                <a:cubicBezTo>
                  <a:pt x="11611075" y="6567942"/>
                  <a:pt x="11615867" y="6567942"/>
                  <a:pt x="11619290" y="6567262"/>
                </a:cubicBezTo>
                <a:cubicBezTo>
                  <a:pt x="11624767" y="6565901"/>
                  <a:pt x="11631613" y="6561139"/>
                  <a:pt x="11631613" y="6546851"/>
                </a:cubicBezTo>
                <a:cubicBezTo>
                  <a:pt x="11631613" y="6529842"/>
                  <a:pt x="11625451" y="6519637"/>
                  <a:pt x="11615867" y="6512833"/>
                </a:cubicBezTo>
                <a:cubicBezTo>
                  <a:pt x="11606625" y="6506030"/>
                  <a:pt x="11591563" y="6502628"/>
                  <a:pt x="11576758" y="6503138"/>
                </a:cubicBezTo>
                <a:close/>
                <a:moveTo>
                  <a:pt x="11215948" y="6503138"/>
                </a:moveTo>
                <a:cubicBezTo>
                  <a:pt x="11200929" y="6503649"/>
                  <a:pt x="11186170" y="6508071"/>
                  <a:pt x="11177488" y="6516916"/>
                </a:cubicBezTo>
                <a:cubicBezTo>
                  <a:pt x="11160125" y="6534605"/>
                  <a:pt x="11162209" y="6576107"/>
                  <a:pt x="11171238" y="6593796"/>
                </a:cubicBezTo>
                <a:cubicBezTo>
                  <a:pt x="11174016" y="6598558"/>
                  <a:pt x="11178877" y="6604682"/>
                  <a:pt x="11187212" y="6608764"/>
                </a:cubicBezTo>
                <a:cubicBezTo>
                  <a:pt x="11192768" y="6612166"/>
                  <a:pt x="11201102" y="6613526"/>
                  <a:pt x="11209437" y="6613526"/>
                </a:cubicBezTo>
                <a:cubicBezTo>
                  <a:pt x="11212909" y="6613526"/>
                  <a:pt x="11267777" y="6613526"/>
                  <a:pt x="11267777" y="6613526"/>
                </a:cubicBezTo>
                <a:cubicBezTo>
                  <a:pt x="11267777" y="6597878"/>
                  <a:pt x="11267777" y="6597878"/>
                  <a:pt x="11267777" y="6597878"/>
                </a:cubicBezTo>
                <a:cubicBezTo>
                  <a:pt x="11213604" y="6597878"/>
                  <a:pt x="11213604" y="6597878"/>
                  <a:pt x="11213604" y="6597878"/>
                </a:cubicBezTo>
                <a:cubicBezTo>
                  <a:pt x="11196241" y="6597878"/>
                  <a:pt x="11192073" y="6584951"/>
                  <a:pt x="11191379" y="6572024"/>
                </a:cubicBezTo>
                <a:cubicBezTo>
                  <a:pt x="11191379" y="6570664"/>
                  <a:pt x="11191379" y="6569983"/>
                  <a:pt x="11191379" y="6567942"/>
                </a:cubicBezTo>
                <a:cubicBezTo>
                  <a:pt x="11249720" y="6567942"/>
                  <a:pt x="11249720" y="6567942"/>
                  <a:pt x="11249720" y="6567942"/>
                </a:cubicBezTo>
                <a:cubicBezTo>
                  <a:pt x="11250414" y="6567942"/>
                  <a:pt x="11255970" y="6567942"/>
                  <a:pt x="11258748" y="6567262"/>
                </a:cubicBezTo>
                <a:cubicBezTo>
                  <a:pt x="11264999" y="6565901"/>
                  <a:pt x="11271250" y="6561139"/>
                  <a:pt x="11271250" y="6546851"/>
                </a:cubicBezTo>
                <a:cubicBezTo>
                  <a:pt x="11271250" y="6529842"/>
                  <a:pt x="11264999" y="6519637"/>
                  <a:pt x="11255970" y="6512833"/>
                </a:cubicBezTo>
                <a:cubicBezTo>
                  <a:pt x="11246246" y="6506030"/>
                  <a:pt x="11230967" y="6502628"/>
                  <a:pt x="11215948" y="6503138"/>
                </a:cubicBezTo>
                <a:close/>
                <a:moveTo>
                  <a:pt x="10943129" y="6471564"/>
                </a:moveTo>
                <a:cubicBezTo>
                  <a:pt x="10927046" y="6471329"/>
                  <a:pt x="10909969" y="6473379"/>
                  <a:pt x="10892678" y="6477993"/>
                </a:cubicBezTo>
                <a:cubicBezTo>
                  <a:pt x="10848850" y="6489613"/>
                  <a:pt x="10813925" y="6515586"/>
                  <a:pt x="10798175" y="6544293"/>
                </a:cubicBezTo>
                <a:cubicBezTo>
                  <a:pt x="10954995" y="6519687"/>
                  <a:pt x="10954995" y="6519687"/>
                  <a:pt x="10954995" y="6519687"/>
                </a:cubicBezTo>
                <a:cubicBezTo>
                  <a:pt x="10904320" y="6557963"/>
                  <a:pt x="10904320" y="6557963"/>
                  <a:pt x="10904320" y="6557963"/>
                </a:cubicBezTo>
                <a:cubicBezTo>
                  <a:pt x="11039911" y="6557963"/>
                  <a:pt x="11039911" y="6557963"/>
                  <a:pt x="11039911" y="6557963"/>
                </a:cubicBezTo>
                <a:cubicBezTo>
                  <a:pt x="11042650" y="6547711"/>
                  <a:pt x="11042650" y="6537458"/>
                  <a:pt x="11039911" y="6527889"/>
                </a:cubicBezTo>
                <a:cubicBezTo>
                  <a:pt x="11030666" y="6493543"/>
                  <a:pt x="10991375" y="6472268"/>
                  <a:pt x="10943129" y="6471564"/>
                </a:cubicBezTo>
                <a:close/>
                <a:moveTo>
                  <a:pt x="0" y="0"/>
                </a:moveTo>
                <a:lnTo>
                  <a:pt x="12191998" y="0"/>
                </a:lnTo>
                <a:lnTo>
                  <a:pt x="12191998" y="14361"/>
                </a:lnTo>
                <a:lnTo>
                  <a:pt x="12192002" y="14361"/>
                </a:lnTo>
                <a:lnTo>
                  <a:pt x="12192002" y="6890355"/>
                </a:lnTo>
                <a:lnTo>
                  <a:pt x="13" y="6890355"/>
                </a:lnTo>
                <a:lnTo>
                  <a:pt x="13" y="6890348"/>
                </a:lnTo>
                <a:lnTo>
                  <a:pt x="2" y="6890348"/>
                </a:lnTo>
                <a:lnTo>
                  <a:pt x="2" y="1216241"/>
                </a:lnTo>
                <a:lnTo>
                  <a:pt x="0" y="1216241"/>
                </a:lnTo>
                <a:close/>
              </a:path>
            </a:pathLst>
          </a:custGeom>
          <a:solidFill>
            <a:srgbClr val="EAEEF0"/>
          </a:solidFill>
        </p:spPr>
        <p:txBody>
          <a:bodyPr wrap="square" anchor="ctr">
            <a:noAutofit/>
          </a:bodyPr>
          <a:lstStyle>
            <a:lvl1pPr marL="0" marR="0" indent="0" algn="ctr" defTabSz="914400" rtl="0" eaLnBrk="1" fontAlgn="ctr" latinLnBrk="0" hangingPunct="1">
              <a:lnSpc>
                <a:spcPct val="90000"/>
              </a:lnSpc>
              <a:spcBef>
                <a:spcPts val="0"/>
              </a:spcBef>
              <a:spcAft>
                <a:spcPts val="0"/>
              </a:spcAft>
              <a:buClrTx/>
              <a:buSzPct val="80000"/>
              <a:buFont typeface="Systeemlettertype regulier"/>
              <a:buNone/>
              <a:tabLst/>
              <a:defRPr sz="1000" b="1">
                <a:solidFill>
                  <a:schemeClr val="tx2"/>
                </a:solidFill>
              </a:defRPr>
            </a:lvl1pPr>
          </a:lstStyle>
          <a:p>
            <a:pPr marL="0" marR="0" lvl="0" indent="-252000" algn="ctr" defTabSz="914400" rtl="0" eaLnBrk="1" fontAlgn="ctr" latinLnBrk="0" hangingPunct="1">
              <a:lnSpc>
                <a:spcPct val="90000"/>
              </a:lnSpc>
              <a:spcBef>
                <a:spcPts val="500"/>
              </a:spcBef>
              <a:spcAft>
                <a:spcPts val="0"/>
              </a:spcAft>
              <a:buClrTx/>
              <a:buSzPct val="80000"/>
              <a:buFont typeface="Systeemlettertype regulier"/>
              <a:buNone/>
              <a:tabLst/>
              <a:defRPr/>
            </a:pPr>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43F2BCAD-3B6F-4F64-8EFC-2DF37F57E8AC}"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solidFill>
                  <a:schemeClr val="bg1"/>
                </a:solidFill>
              </a:defRPr>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en-GB" noProof="0" smtClean="0"/>
              <a:pPr/>
              <a:t>‹Nr.›</a:t>
            </a:fld>
            <a:endParaRPr lang="en-GB" noProof="0" dirty="0"/>
          </a:p>
        </p:txBody>
      </p:sp>
      <p:grpSp>
        <p:nvGrpSpPr>
          <p:cNvPr id="14" name="Groep 13">
            <a:extLst>
              <a:ext uri="{FF2B5EF4-FFF2-40B4-BE49-F238E27FC236}">
                <a16:creationId xmlns:a16="http://schemas.microsoft.com/office/drawing/2014/main" id="{04F1AE74-16FD-C64E-946D-032BA42389CB}"/>
              </a:ext>
            </a:extLst>
          </p:cNvPr>
          <p:cNvGrpSpPr/>
          <p:nvPr userDrawn="1"/>
        </p:nvGrpSpPr>
        <p:grpSpPr>
          <a:xfrm>
            <a:off x="12443133" y="-1"/>
            <a:ext cx="2670175" cy="6875997"/>
            <a:chOff x="12443133" y="-1"/>
            <a:chExt cx="2670175" cy="6875997"/>
          </a:xfrm>
        </p:grpSpPr>
        <p:sp>
          <p:nvSpPr>
            <p:cNvPr id="15" name="Tekstvak 14">
              <a:extLst>
                <a:ext uri="{FF2B5EF4-FFF2-40B4-BE49-F238E27FC236}">
                  <a16:creationId xmlns:a16="http://schemas.microsoft.com/office/drawing/2014/main" id="{5997DE42-3B9A-8646-9DAC-2BE44B7791B2}"/>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GB" sz="1200" noProof="0" dirty="0">
                  <a:solidFill>
                    <a:schemeClr val="tx2"/>
                  </a:solidFill>
                  <a:latin typeface="+mn-lt"/>
                  <a:cs typeface="+mn-cs"/>
                </a:rPr>
                <a:t>Sometimes the image is placed above your text. Right-click on the image and choose Send to Back and Send to Back again.</a:t>
              </a:r>
            </a:p>
          </p:txBody>
        </p:sp>
        <p:pic>
          <p:nvPicPr>
            <p:cNvPr id="19" name="Afbeelding 18">
              <a:extLst>
                <a:ext uri="{FF2B5EF4-FFF2-40B4-BE49-F238E27FC236}">
                  <a16:creationId xmlns:a16="http://schemas.microsoft.com/office/drawing/2014/main" id="{A1B7278C-A854-1749-B2B4-5F9013CE6EC0}"/>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0" name="Afbeelding 19">
            <a:extLst>
              <a:ext uri="{FF2B5EF4-FFF2-40B4-BE49-F238E27FC236}">
                <a16:creationId xmlns:a16="http://schemas.microsoft.com/office/drawing/2014/main" id="{38A5FB90-E24B-4745-8780-1F66887237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kstvak 16">
            <a:extLst>
              <a:ext uri="{FF2B5EF4-FFF2-40B4-BE49-F238E27FC236}">
                <a16:creationId xmlns:a16="http://schemas.microsoft.com/office/drawing/2014/main" id="{37B02A1C-1107-994C-9BBD-AC3DA8091794}"/>
              </a:ext>
            </a:extLst>
          </p:cNvPr>
          <p:cNvSpPr txBox="1"/>
          <p:nvPr userDrawn="1"/>
        </p:nvSpPr>
        <p:spPr bwMode="auto">
          <a:xfrm>
            <a:off x="-2921306" y="0"/>
            <a:ext cx="2670175" cy="6875996"/>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 </a:t>
            </a:r>
          </a:p>
          <a:p>
            <a:pPr marL="228600" indent="-228600" algn="l">
              <a:spcAft>
                <a:spcPts val="600"/>
              </a:spcAft>
              <a:buFont typeface="+mj-lt"/>
              <a:buAutoNum type="arabicPeriod"/>
            </a:pPr>
            <a:r>
              <a:rPr lang="en-GB" sz="1200" noProof="0" dirty="0">
                <a:solidFill>
                  <a:schemeClr val="tx2"/>
                </a:solidFill>
              </a:rPr>
              <a:t>Click OK</a:t>
            </a:r>
          </a:p>
        </p:txBody>
      </p:sp>
      <p:pic>
        <p:nvPicPr>
          <p:cNvPr id="22" name="Picture 14">
            <a:extLst>
              <a:ext uri="{FF2B5EF4-FFF2-40B4-BE49-F238E27FC236}">
                <a16:creationId xmlns:a16="http://schemas.microsoft.com/office/drawing/2014/main" id="{9C18B095-DB40-7243-A78A-5961CA90BAA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7" y="1212054"/>
            <a:ext cx="1689394" cy="312049"/>
          </a:xfrm>
          <a:prstGeom prst="rect">
            <a:avLst/>
          </a:prstGeom>
        </p:spPr>
      </p:pic>
    </p:spTree>
    <p:extLst>
      <p:ext uri="{BB962C8B-B14F-4D97-AF65-F5344CB8AC3E}">
        <p14:creationId xmlns:p14="http://schemas.microsoft.com/office/powerpoint/2010/main" val="18191874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E794F19A-C707-41BA-AC2F-AF333DC7DD65}" type="datetime4">
              <a:rPr lang="en-GB" noProof="0" smtClean="0"/>
              <a:t>23 January 2025</a:t>
            </a:fld>
            <a:endParaRPr lang="nl-NL"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dirty="0"/>
              <a:t>Intraday Capacity Calculation</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nl-NL" noProof="0" smtClean="0"/>
              <a:t>‹Nr.›</a:t>
            </a:fld>
            <a:endParaRPr lang="nl-NL" noProof="0"/>
          </a:p>
        </p:txBody>
      </p:sp>
      <p:sp>
        <p:nvSpPr>
          <p:cNvPr id="2" name="Titel 1">
            <a:extLst>
              <a:ext uri="{FF2B5EF4-FFF2-40B4-BE49-F238E27FC236}">
                <a16:creationId xmlns:a16="http://schemas.microsoft.com/office/drawing/2014/main" id="{61F1B79E-2B92-7E4E-81D7-C8B718D42786}"/>
              </a:ext>
            </a:extLst>
          </p:cNvPr>
          <p:cNvSpPr>
            <a:spLocks noGrp="1"/>
          </p:cNvSpPr>
          <p:nvPr>
            <p:ph type="title" hasCustomPrompt="1"/>
          </p:nvPr>
        </p:nvSpPr>
        <p:spPr/>
        <p:txBody>
          <a:bodyPr/>
          <a:lstStyle>
            <a:lvl1pPr marL="0" indent="0">
              <a:tabLst/>
              <a:defRPr/>
            </a:lvl1pPr>
          </a:lstStyle>
          <a:p>
            <a:r>
              <a:rPr lang="nl-NL" noProof="0"/>
              <a:t>Agenda</a:t>
            </a:r>
          </a:p>
        </p:txBody>
      </p:sp>
      <p:sp>
        <p:nvSpPr>
          <p:cNvPr id="8" name="Tekstvak 7">
            <a:extLst>
              <a:ext uri="{FF2B5EF4-FFF2-40B4-BE49-F238E27FC236}">
                <a16:creationId xmlns:a16="http://schemas.microsoft.com/office/drawing/2014/main" id="{55630D72-A0B5-B140-A6E4-793E2491E1D7}"/>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200" b="1" noProof="0">
                <a:solidFill>
                  <a:schemeClr val="tx2"/>
                </a:solidFill>
              </a:rPr>
              <a:t>The body text has 3 list levels:</a:t>
            </a:r>
          </a:p>
          <a:p>
            <a:pPr>
              <a:defRPr/>
            </a:pPr>
            <a:endParaRPr lang="nl-NL" sz="1200" noProof="0">
              <a:solidFill>
                <a:schemeClr val="tx2"/>
              </a:solidFill>
            </a:endParaRPr>
          </a:p>
          <a:p>
            <a:pPr marL="228600" indent="-228600">
              <a:buFont typeface="+mj-lt"/>
              <a:buAutoNum type="arabicPeriod"/>
              <a:defRPr/>
            </a:pPr>
            <a:r>
              <a:rPr lang="nl-NL" sz="1200" noProof="0">
                <a:solidFill>
                  <a:schemeClr val="tx2"/>
                </a:solidFill>
              </a:rPr>
              <a:t>Regular text (level 1)</a:t>
            </a:r>
            <a:br>
              <a:rPr lang="nl-NL" sz="1200" noProof="0">
                <a:solidFill>
                  <a:schemeClr val="tx2"/>
                </a:solidFill>
              </a:rPr>
            </a:br>
            <a:r>
              <a:rPr lang="nl-NL" sz="1200" noProof="0">
                <a:solidFill>
                  <a:schemeClr val="tx2"/>
                </a:solidFill>
              </a:rPr>
              <a:t>Arial, 20pt, 80% dark grey</a:t>
            </a:r>
          </a:p>
          <a:p>
            <a:pPr marL="108000" indent="-108000">
              <a:buFont typeface="Wingdings" pitchFamily="2" charset="2"/>
              <a:buChar char="§"/>
              <a:defRPr/>
            </a:pPr>
            <a:endParaRPr lang="nl-NL" sz="900" noProof="0">
              <a:solidFill>
                <a:schemeClr val="tx2"/>
              </a:solidFill>
            </a:endParaRPr>
          </a:p>
          <a:p>
            <a:pPr marL="336600" indent="-228600">
              <a:buFont typeface="+mj-lt"/>
              <a:buAutoNum type="alphaLcParenR"/>
              <a:defRPr/>
            </a:pPr>
            <a:r>
              <a:rPr lang="nl-NL" sz="1200" noProof="0">
                <a:solidFill>
                  <a:schemeClr val="tx2"/>
                </a:solidFill>
              </a:rPr>
              <a:t>Regular text (level 2)</a:t>
            </a:r>
            <a:br>
              <a:rPr lang="nl-NL" sz="1200" noProof="0">
                <a:solidFill>
                  <a:schemeClr val="tx2"/>
                </a:solidFill>
              </a:rPr>
            </a:br>
            <a:r>
              <a:rPr lang="nl-NL" sz="1200" noProof="0">
                <a:solidFill>
                  <a:schemeClr val="tx2"/>
                </a:solidFill>
              </a:rPr>
              <a:t>Arial, 16pt, 80% dark grey</a:t>
            </a:r>
          </a:p>
          <a:p>
            <a:pPr marL="342900" indent="-228600">
              <a:buFont typeface="+mj-lt"/>
              <a:buAutoNum type="alphaLcParenR"/>
              <a:defRPr/>
            </a:pPr>
            <a:endParaRPr lang="nl-NL" sz="1200" noProof="0">
              <a:solidFill>
                <a:schemeClr val="tx2"/>
              </a:solidFill>
            </a:endParaRPr>
          </a:p>
          <a:p>
            <a:pPr marL="444600" indent="-228600">
              <a:buFont typeface="+mj-lt"/>
              <a:buAutoNum type="alphaLcParenR"/>
              <a:defRPr/>
            </a:pPr>
            <a:r>
              <a:rPr lang="nl-NL" sz="1200" noProof="0">
                <a:solidFill>
                  <a:schemeClr val="tx2"/>
                </a:solidFill>
              </a:rPr>
              <a:t>Regular text (level 3)</a:t>
            </a:r>
            <a:br>
              <a:rPr lang="nl-NL" sz="1200" noProof="0">
                <a:solidFill>
                  <a:schemeClr val="tx2"/>
                </a:solidFill>
              </a:rPr>
            </a:br>
            <a:r>
              <a:rPr lang="nl-NL" sz="1200" noProof="0">
                <a:solidFill>
                  <a:schemeClr val="tx2"/>
                </a:solidFill>
              </a:rPr>
              <a:t>Arial, 14pt, 80% dark grey</a:t>
            </a:r>
          </a:p>
          <a:p>
            <a:pPr marL="0" indent="0">
              <a:buFont typeface=".Lucida Grande UI Regular"/>
              <a:buNone/>
              <a:tabLst/>
              <a:defRPr/>
            </a:pPr>
            <a:endParaRPr lang="nl-NL" sz="1200" noProof="0">
              <a:solidFill>
                <a:schemeClr val="tx2"/>
              </a:solidFill>
            </a:endParaRPr>
          </a:p>
          <a:p>
            <a:pPr marL="0" indent="0">
              <a:buFont typeface=".Lucida Grande UI Regular"/>
              <a:buNone/>
              <a:tabLst/>
              <a:defRPr/>
            </a:pPr>
            <a:r>
              <a:rPr lang="nl-NL" sz="1200" noProof="0">
                <a:solidFill>
                  <a:schemeClr val="tx2"/>
                </a:solidFill>
              </a:rPr>
              <a:t>The text will automatically become smaller when you have a lot of text. Try not to go smaller than 14 pt.</a:t>
            </a:r>
          </a:p>
          <a:p>
            <a:pPr marL="0" indent="0">
              <a:buFont typeface=".Lucida Grande UI Regular"/>
              <a:buNone/>
              <a:tabLst/>
              <a:defRPr/>
            </a:pPr>
            <a:endParaRPr lang="nl-NL" sz="1200" noProof="0">
              <a:solidFill>
                <a:schemeClr val="tx2"/>
              </a:solidFill>
            </a:endParaRPr>
          </a:p>
          <a:p>
            <a:pPr marL="0" indent="0">
              <a:buFont typeface=".Lucida Grande UI Regular"/>
              <a:buNone/>
              <a:tabLst/>
              <a:defRPr/>
            </a:pPr>
            <a:r>
              <a:rPr lang="nl-NL" sz="1200" noProof="0">
                <a:solidFill>
                  <a:schemeClr val="tx2"/>
                </a:solidFill>
              </a:rPr>
              <a:t>Keep your titles short and to the point. They will not become smaller.</a:t>
            </a:r>
          </a:p>
        </p:txBody>
      </p:sp>
      <p:sp>
        <p:nvSpPr>
          <p:cNvPr id="10" name="Text Placeholder 8">
            <a:extLst>
              <a:ext uri="{FF2B5EF4-FFF2-40B4-BE49-F238E27FC236}">
                <a16:creationId xmlns:a16="http://schemas.microsoft.com/office/drawing/2014/main" id="{04B2374E-3D01-4E8A-BA4E-9A9B6C9B8D90}"/>
              </a:ext>
            </a:extLst>
          </p:cNvPr>
          <p:cNvSpPr>
            <a:spLocks noGrp="1"/>
          </p:cNvSpPr>
          <p:nvPr>
            <p:ph type="body" sz="quarter" idx="20"/>
          </p:nvPr>
        </p:nvSpPr>
        <p:spPr>
          <a:xfrm>
            <a:off x="1347788" y="1822450"/>
            <a:ext cx="10390187" cy="4252913"/>
          </a:xfrm>
        </p:spPr>
        <p:txBody>
          <a:bodyPr/>
          <a:lstStyle>
            <a:lvl1pPr marL="360000" indent="-360000">
              <a:buSzPct val="100000"/>
              <a:buFont typeface="+mj-lt"/>
              <a:buAutoNum type="arabicPeriod"/>
              <a:defRPr/>
            </a:lvl1pPr>
            <a:lvl2pPr marL="720000" indent="-360000">
              <a:buFont typeface="+mj-lt"/>
              <a:buAutoNum type="alphaLcPeriod"/>
              <a:defRPr/>
            </a:lvl2pPr>
            <a:lvl3pPr marL="1080000" indent="-360000">
              <a:buFont typeface="+mj-lt"/>
              <a:buAutoNum type="alphaLcPeriod"/>
              <a:defRPr/>
            </a:lvl3pPr>
            <a:lvl4pPr marL="1440000" indent="-360000">
              <a:buFont typeface="+mj-lt"/>
              <a:buAutoNum type="alphaLcPeriod"/>
              <a:defRPr/>
            </a:lvl4pPr>
            <a:lvl5pPr marL="1800000" indent="-360000">
              <a:buFont typeface="+mj-lt"/>
              <a:buAutoNum type="alphaLcPeriod"/>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nl-NL" noProof="0"/>
          </a:p>
        </p:txBody>
      </p:sp>
      <p:sp>
        <p:nvSpPr>
          <p:cNvPr id="11" name="Tijdelijke aanduiding voor tekst 7">
            <a:extLst>
              <a:ext uri="{FF2B5EF4-FFF2-40B4-BE49-F238E27FC236}">
                <a16:creationId xmlns:a16="http://schemas.microsoft.com/office/drawing/2014/main" id="{2110EF0C-48F6-4658-9064-0A29234EA08C}"/>
              </a:ext>
            </a:extLst>
          </p:cNvPr>
          <p:cNvSpPr>
            <a:spLocks noGrp="1"/>
          </p:cNvSpPr>
          <p:nvPr>
            <p:ph type="body" sz="quarter" idx="19" hasCustomPrompt="1"/>
          </p:nvPr>
        </p:nvSpPr>
        <p:spPr>
          <a:xfrm>
            <a:off x="1347788" y="953522"/>
            <a:ext cx="10390187" cy="432000"/>
          </a:xfrm>
          <a:prstGeom prst="rect">
            <a:avLst/>
          </a:prstGeom>
        </p:spPr>
        <p:txBody>
          <a:bodyPr>
            <a:noAutofit/>
          </a:bodyPr>
          <a:lstStyle>
            <a:lvl1pPr marL="0" indent="0">
              <a:spcBef>
                <a:spcPts val="0"/>
              </a:spcBef>
              <a:buNone/>
              <a:tabLst/>
              <a:defRPr sz="3000" b="0"/>
            </a:lvl1pPr>
          </a:lstStyle>
          <a:p>
            <a:pPr lvl="0"/>
            <a:r>
              <a:rPr lang="nl-NL" noProof="0"/>
              <a:t>Name event</a:t>
            </a:r>
          </a:p>
        </p:txBody>
      </p:sp>
    </p:spTree>
    <p:extLst>
      <p:ext uri="{BB962C8B-B14F-4D97-AF65-F5344CB8AC3E}">
        <p14:creationId xmlns:p14="http://schemas.microsoft.com/office/powerpoint/2010/main" val="28981517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Image 2">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tx2"/>
                </a:solidFill>
              </a:defRPr>
            </a:lvl1pPr>
          </a:lstStyle>
          <a:p>
            <a:fld id="{5FE77380-247A-4F3A-A7F0-88AC565E9DCD}"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solidFill>
                  <a:schemeClr val="tx2"/>
                </a:solidFill>
              </a:defRPr>
            </a:lvl1pPr>
          </a:lstStyle>
          <a:p>
            <a:r>
              <a:rPr lang="en-GB" noProof="0" dirty="0"/>
              <a:t>Confidentiality</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tx2"/>
                </a:solidFill>
              </a:defRPr>
            </a:lvl1pPr>
          </a:lstStyle>
          <a:p>
            <a:fld id="{3B0AF0F1-83F4-0746-A551-EEC1F1FEC0BD}" type="slidenum">
              <a:rPr lang="en-GB" noProof="0" smtClean="0"/>
              <a:pPr/>
              <a:t>‹Nr.›</a:t>
            </a:fld>
            <a:endParaRPr lang="en-GB" noProof="0" dirty="0"/>
          </a:p>
        </p:txBody>
      </p:sp>
      <p:sp>
        <p:nvSpPr>
          <p:cNvPr id="8" name="Tijdelijke aanduiding voor afbeelding 156">
            <a:extLst>
              <a:ext uri="{FF2B5EF4-FFF2-40B4-BE49-F238E27FC236}">
                <a16:creationId xmlns:a16="http://schemas.microsoft.com/office/drawing/2014/main" id="{B0C6A560-BC8B-B843-B890-B24C9CDCF848}"/>
              </a:ext>
            </a:extLst>
          </p:cNvPr>
          <p:cNvSpPr>
            <a:spLocks noGrp="1"/>
          </p:cNvSpPr>
          <p:nvPr>
            <p:ph type="pic" sz="quarter" idx="15"/>
          </p:nvPr>
        </p:nvSpPr>
        <p:spPr>
          <a:xfrm>
            <a:off x="0" y="0"/>
            <a:ext cx="12191989" cy="6070594"/>
          </a:xfrm>
          <a:custGeom>
            <a:avLst/>
            <a:gdLst>
              <a:gd name="connsiteX0" fmla="*/ 0 w 12191989"/>
              <a:gd name="connsiteY0" fmla="*/ 0 h 6070594"/>
              <a:gd name="connsiteX1" fmla="*/ 11783504 w 12191989"/>
              <a:gd name="connsiteY1" fmla="*/ 0 h 6070594"/>
              <a:gd name="connsiteX2" fmla="*/ 11963400 w 12191989"/>
              <a:gd name="connsiteY2" fmla="*/ 0 h 6070594"/>
              <a:gd name="connsiteX3" fmla="*/ 12191989 w 12191989"/>
              <a:gd name="connsiteY3" fmla="*/ 0 h 6070594"/>
              <a:gd name="connsiteX4" fmla="*/ 12191989 w 12191989"/>
              <a:gd name="connsiteY4" fmla="*/ 17 h 6070594"/>
              <a:gd name="connsiteX5" fmla="*/ 12191989 w 12191989"/>
              <a:gd name="connsiteY5" fmla="*/ 460860 h 6070594"/>
              <a:gd name="connsiteX6" fmla="*/ 12191989 w 12191989"/>
              <a:gd name="connsiteY6" fmla="*/ 468060 h 6070594"/>
              <a:gd name="connsiteX7" fmla="*/ 12191989 w 12191989"/>
              <a:gd name="connsiteY7" fmla="*/ 565375 h 6070594"/>
              <a:gd name="connsiteX8" fmla="*/ 12191989 w 12191989"/>
              <a:gd name="connsiteY8" fmla="*/ 572574 h 6070594"/>
              <a:gd name="connsiteX9" fmla="*/ 12191989 w 12191989"/>
              <a:gd name="connsiteY9" fmla="*/ 1178410 h 6070594"/>
              <a:gd name="connsiteX10" fmla="*/ 12191989 w 12191989"/>
              <a:gd name="connsiteY10" fmla="*/ 1185609 h 6070594"/>
              <a:gd name="connsiteX11" fmla="*/ 12191989 w 12191989"/>
              <a:gd name="connsiteY11" fmla="*/ 1286101 h 6070594"/>
              <a:gd name="connsiteX12" fmla="*/ 12191989 w 12191989"/>
              <a:gd name="connsiteY12" fmla="*/ 1293300 h 6070594"/>
              <a:gd name="connsiteX13" fmla="*/ 12191989 w 12191989"/>
              <a:gd name="connsiteY13" fmla="*/ 1902308 h 6070594"/>
              <a:gd name="connsiteX14" fmla="*/ 12191989 w 12191989"/>
              <a:gd name="connsiteY14" fmla="*/ 1909508 h 6070594"/>
              <a:gd name="connsiteX15" fmla="*/ 12191989 w 12191989"/>
              <a:gd name="connsiteY15" fmla="*/ 2006823 h 6070594"/>
              <a:gd name="connsiteX16" fmla="*/ 12191989 w 12191989"/>
              <a:gd name="connsiteY16" fmla="*/ 2014025 h 6070594"/>
              <a:gd name="connsiteX17" fmla="*/ 12191989 w 12191989"/>
              <a:gd name="connsiteY17" fmla="*/ 2282408 h 6070594"/>
              <a:gd name="connsiteX18" fmla="*/ 12191989 w 12191989"/>
              <a:gd name="connsiteY18" fmla="*/ 2616866 h 6070594"/>
              <a:gd name="connsiteX19" fmla="*/ 12191989 w 12191989"/>
              <a:gd name="connsiteY19" fmla="*/ 2624066 h 6070594"/>
              <a:gd name="connsiteX20" fmla="*/ 12191989 w 12191989"/>
              <a:gd name="connsiteY20" fmla="*/ 3334415 h 6070594"/>
              <a:gd name="connsiteX21" fmla="*/ 12191989 w 12191989"/>
              <a:gd name="connsiteY21" fmla="*/ 3341615 h 6070594"/>
              <a:gd name="connsiteX22" fmla="*/ 12191989 w 12191989"/>
              <a:gd name="connsiteY22" fmla="*/ 4058869 h 6070594"/>
              <a:gd name="connsiteX23" fmla="*/ 12191989 w 12191989"/>
              <a:gd name="connsiteY23" fmla="*/ 4066069 h 6070594"/>
              <a:gd name="connsiteX24" fmla="*/ 12191989 w 12191989"/>
              <a:gd name="connsiteY24" fmla="*/ 4782769 h 6070594"/>
              <a:gd name="connsiteX25" fmla="*/ 12191989 w 12191989"/>
              <a:gd name="connsiteY25" fmla="*/ 4789969 h 6070594"/>
              <a:gd name="connsiteX26" fmla="*/ 12191989 w 12191989"/>
              <a:gd name="connsiteY26" fmla="*/ 5500319 h 6070594"/>
              <a:gd name="connsiteX27" fmla="*/ 12191989 w 12191989"/>
              <a:gd name="connsiteY27" fmla="*/ 5507519 h 6070594"/>
              <a:gd name="connsiteX28" fmla="*/ 12191989 w 12191989"/>
              <a:gd name="connsiteY28" fmla="*/ 5949950 h 6070594"/>
              <a:gd name="connsiteX29" fmla="*/ 12191989 w 12191989"/>
              <a:gd name="connsiteY29" fmla="*/ 5953118 h 6070594"/>
              <a:gd name="connsiteX30" fmla="*/ 11966765 w 12191989"/>
              <a:gd name="connsiteY30" fmla="*/ 6070593 h 6070594"/>
              <a:gd name="connsiteX31" fmla="*/ 11963400 w 12191989"/>
              <a:gd name="connsiteY31" fmla="*/ 6070593 h 6070594"/>
              <a:gd name="connsiteX32" fmla="*/ 11963400 w 12191989"/>
              <a:gd name="connsiteY32" fmla="*/ 6070594 h 6070594"/>
              <a:gd name="connsiteX33" fmla="*/ 0 w 12191989"/>
              <a:gd name="connsiteY33" fmla="*/ 6070594 h 607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1989" h="6070594">
                <a:moveTo>
                  <a:pt x="0" y="0"/>
                </a:moveTo>
                <a:lnTo>
                  <a:pt x="11783504" y="0"/>
                </a:lnTo>
                <a:lnTo>
                  <a:pt x="11963400" y="0"/>
                </a:lnTo>
                <a:lnTo>
                  <a:pt x="12191989" y="0"/>
                </a:lnTo>
                <a:lnTo>
                  <a:pt x="12191989" y="17"/>
                </a:lnTo>
                <a:lnTo>
                  <a:pt x="12191989" y="460860"/>
                </a:lnTo>
                <a:lnTo>
                  <a:pt x="12191989" y="468060"/>
                </a:lnTo>
                <a:lnTo>
                  <a:pt x="12191989" y="565375"/>
                </a:lnTo>
                <a:lnTo>
                  <a:pt x="12191989" y="572574"/>
                </a:lnTo>
                <a:lnTo>
                  <a:pt x="12191989" y="1178410"/>
                </a:lnTo>
                <a:lnTo>
                  <a:pt x="12191989" y="1185609"/>
                </a:lnTo>
                <a:lnTo>
                  <a:pt x="12191989" y="1286101"/>
                </a:lnTo>
                <a:lnTo>
                  <a:pt x="12191989" y="1293300"/>
                </a:lnTo>
                <a:lnTo>
                  <a:pt x="12191989" y="1902308"/>
                </a:lnTo>
                <a:lnTo>
                  <a:pt x="12191989" y="1909508"/>
                </a:lnTo>
                <a:lnTo>
                  <a:pt x="12191989" y="2006823"/>
                </a:lnTo>
                <a:lnTo>
                  <a:pt x="12191989" y="2014025"/>
                </a:lnTo>
                <a:lnTo>
                  <a:pt x="12191989" y="2282408"/>
                </a:lnTo>
                <a:lnTo>
                  <a:pt x="12191989" y="2616866"/>
                </a:lnTo>
                <a:lnTo>
                  <a:pt x="12191989" y="2624066"/>
                </a:lnTo>
                <a:lnTo>
                  <a:pt x="12191989" y="3334415"/>
                </a:lnTo>
                <a:lnTo>
                  <a:pt x="12191989" y="3341615"/>
                </a:lnTo>
                <a:lnTo>
                  <a:pt x="12191989" y="4058869"/>
                </a:lnTo>
                <a:lnTo>
                  <a:pt x="12191989" y="4066069"/>
                </a:lnTo>
                <a:lnTo>
                  <a:pt x="12191989" y="4782769"/>
                </a:lnTo>
                <a:lnTo>
                  <a:pt x="12191989" y="4789969"/>
                </a:lnTo>
                <a:lnTo>
                  <a:pt x="12191989" y="5500319"/>
                </a:lnTo>
                <a:lnTo>
                  <a:pt x="12191989" y="5507519"/>
                </a:lnTo>
                <a:lnTo>
                  <a:pt x="12191989" y="5949950"/>
                </a:lnTo>
                <a:lnTo>
                  <a:pt x="12191989" y="5953118"/>
                </a:lnTo>
                <a:lnTo>
                  <a:pt x="11966765" y="6070593"/>
                </a:lnTo>
                <a:lnTo>
                  <a:pt x="11963400" y="6070593"/>
                </a:lnTo>
                <a:lnTo>
                  <a:pt x="11963400" y="6070594"/>
                </a:lnTo>
                <a:lnTo>
                  <a:pt x="0" y="6070594"/>
                </a:lnTo>
                <a:close/>
              </a:path>
            </a:pathLst>
          </a:custGeom>
          <a:solidFill>
            <a:srgbClr val="EAEEF0"/>
          </a:solidFill>
        </p:spPr>
        <p:txBody>
          <a:bodyPr wrap="square" anchor="ctr">
            <a:noAutofit/>
          </a:bodyPr>
          <a:lstStyle>
            <a:lvl1pPr marL="0" marR="0" indent="0" algn="ctr" defTabSz="914400" rtl="0" eaLnBrk="1" fontAlgn="ctr" latinLnBrk="0" hangingPunct="1">
              <a:lnSpc>
                <a:spcPct val="90000"/>
              </a:lnSpc>
              <a:spcBef>
                <a:spcPts val="0"/>
              </a:spcBef>
              <a:spcAft>
                <a:spcPts val="0"/>
              </a:spcAft>
              <a:buClrTx/>
              <a:buSzPct val="80000"/>
              <a:buFont typeface="Systeemlettertype regulier"/>
              <a:buNone/>
              <a:tabLst/>
              <a:defRPr sz="1000" b="1">
                <a:solidFill>
                  <a:schemeClr val="tx2"/>
                </a:solidFill>
              </a:defRPr>
            </a:lvl1pPr>
          </a:lstStyle>
          <a:p>
            <a:pPr marL="0" marR="0" lvl="0" indent="-252000" algn="ctr" defTabSz="914400" rtl="0" eaLnBrk="1" fontAlgn="ctr" latinLnBrk="0" hangingPunct="1">
              <a:lnSpc>
                <a:spcPct val="90000"/>
              </a:lnSpc>
              <a:spcBef>
                <a:spcPts val="500"/>
              </a:spcBef>
              <a:spcAft>
                <a:spcPts val="0"/>
              </a:spcAft>
              <a:buClrTx/>
              <a:buSzPct val="80000"/>
              <a:buFont typeface="Systeemlettertype regulier"/>
              <a:buNone/>
              <a:tabLst/>
              <a:defRPr/>
            </a:pPr>
            <a:r>
              <a:rPr lang="de-DE" noProof="0"/>
              <a:t>Bild durch Klicken auf Symbol hinzufügen</a:t>
            </a:r>
            <a:endParaRPr lang="en-GB" noProof="0" dirty="0"/>
          </a:p>
        </p:txBody>
      </p:sp>
      <p:grpSp>
        <p:nvGrpSpPr>
          <p:cNvPr id="14" name="Groep 13">
            <a:extLst>
              <a:ext uri="{FF2B5EF4-FFF2-40B4-BE49-F238E27FC236}">
                <a16:creationId xmlns:a16="http://schemas.microsoft.com/office/drawing/2014/main" id="{C3844908-E21D-F845-A98D-FB4BB68E1E4E}"/>
              </a:ext>
            </a:extLst>
          </p:cNvPr>
          <p:cNvGrpSpPr/>
          <p:nvPr userDrawn="1"/>
        </p:nvGrpSpPr>
        <p:grpSpPr>
          <a:xfrm>
            <a:off x="12443133" y="-1"/>
            <a:ext cx="2670175" cy="6875997"/>
            <a:chOff x="12443133" y="-1"/>
            <a:chExt cx="2670175" cy="6875997"/>
          </a:xfrm>
        </p:grpSpPr>
        <p:sp>
          <p:nvSpPr>
            <p:cNvPr id="15" name="Tekstvak 14">
              <a:extLst>
                <a:ext uri="{FF2B5EF4-FFF2-40B4-BE49-F238E27FC236}">
                  <a16:creationId xmlns:a16="http://schemas.microsoft.com/office/drawing/2014/main" id="{E3D66DF9-7EB3-0540-9CD4-4F55EF46ACA2}"/>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GB" sz="1200" noProof="0" dirty="0">
                  <a:solidFill>
                    <a:schemeClr val="tx2"/>
                  </a:solidFill>
                  <a:latin typeface="+mn-lt"/>
                  <a:cs typeface="+mn-cs"/>
                </a:rPr>
                <a:t>Sometimes the image is placed above your text. Right-click on the image and choose Send to Back and Send to Back again.</a:t>
              </a:r>
            </a:p>
          </p:txBody>
        </p:sp>
        <p:pic>
          <p:nvPicPr>
            <p:cNvPr id="19" name="Afbeelding 18">
              <a:extLst>
                <a:ext uri="{FF2B5EF4-FFF2-40B4-BE49-F238E27FC236}">
                  <a16:creationId xmlns:a16="http://schemas.microsoft.com/office/drawing/2014/main" id="{8D4A36FF-F951-6440-8B44-5B212EF93BC8}"/>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0" name="Afbeelding 19">
            <a:extLst>
              <a:ext uri="{FF2B5EF4-FFF2-40B4-BE49-F238E27FC236}">
                <a16:creationId xmlns:a16="http://schemas.microsoft.com/office/drawing/2014/main" id="{F3442D9E-D836-0E44-ABB7-A00D9166364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kstvak 16">
            <a:extLst>
              <a:ext uri="{FF2B5EF4-FFF2-40B4-BE49-F238E27FC236}">
                <a16:creationId xmlns:a16="http://schemas.microsoft.com/office/drawing/2014/main" id="{6FA309DD-AB0E-274E-98AE-5691742CAD8F}"/>
              </a:ext>
            </a:extLst>
          </p:cNvPr>
          <p:cNvSpPr txBox="1"/>
          <p:nvPr userDrawn="1"/>
        </p:nvSpPr>
        <p:spPr bwMode="auto">
          <a:xfrm>
            <a:off x="-2921306" y="0"/>
            <a:ext cx="2670175" cy="6875996"/>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pic>
        <p:nvPicPr>
          <p:cNvPr id="22" name="Picture 14">
            <a:extLst>
              <a:ext uri="{FF2B5EF4-FFF2-40B4-BE49-F238E27FC236}">
                <a16:creationId xmlns:a16="http://schemas.microsoft.com/office/drawing/2014/main" id="{A2FECD03-B83D-C147-AB26-8F2A4027506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7" y="1212054"/>
            <a:ext cx="1689394" cy="312049"/>
          </a:xfrm>
          <a:prstGeom prst="rect">
            <a:avLst/>
          </a:prstGeom>
        </p:spPr>
      </p:pic>
      <p:pic>
        <p:nvPicPr>
          <p:cNvPr id="13" name="Afbeelding 37">
            <a:extLst>
              <a:ext uri="{FF2B5EF4-FFF2-40B4-BE49-F238E27FC236}">
                <a16:creationId xmlns:a16="http://schemas.microsoft.com/office/drawing/2014/main" id="{71F8BE3D-AB07-49E3-8B53-C0D896ABFF1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88279" y="6471518"/>
            <a:ext cx="952619" cy="179756"/>
          </a:xfrm>
          <a:prstGeom prst="rect">
            <a:avLst/>
          </a:prstGeom>
        </p:spPr>
      </p:pic>
    </p:spTree>
    <p:extLst>
      <p:ext uri="{BB962C8B-B14F-4D97-AF65-F5344CB8AC3E}">
        <p14:creationId xmlns:p14="http://schemas.microsoft.com/office/powerpoint/2010/main" val="35394887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 Header - Image">
    <p:spTree>
      <p:nvGrpSpPr>
        <p:cNvPr id="1" name=""/>
        <p:cNvGrpSpPr/>
        <p:nvPr/>
      </p:nvGrpSpPr>
      <p:grpSpPr>
        <a:xfrm>
          <a:off x="0" y="0"/>
          <a:ext cx="0" cy="0"/>
          <a:chOff x="0" y="0"/>
          <a:chExt cx="0" cy="0"/>
        </a:xfrm>
      </p:grpSpPr>
      <p:sp>
        <p:nvSpPr>
          <p:cNvPr id="14" name="Tekstvak 16">
            <a:extLst>
              <a:ext uri="{FF2B5EF4-FFF2-40B4-BE49-F238E27FC236}">
                <a16:creationId xmlns:a16="http://schemas.microsoft.com/office/drawing/2014/main" id="{910D3402-0856-48D2-A588-E480E8DC754D}"/>
              </a:ext>
            </a:extLst>
          </p:cNvPr>
          <p:cNvSpPr txBox="1"/>
          <p:nvPr userDrawn="1"/>
        </p:nvSpPr>
        <p:spPr bwMode="auto">
          <a:xfrm>
            <a:off x="-2921306" y="0"/>
            <a:ext cx="2670175" cy="6875996"/>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27" name="Picture Placeholder 26">
            <a:extLst>
              <a:ext uri="{FF2B5EF4-FFF2-40B4-BE49-F238E27FC236}">
                <a16:creationId xmlns:a16="http://schemas.microsoft.com/office/drawing/2014/main" id="{D19EDF3D-5C28-402D-8454-98945BF99191}"/>
              </a:ext>
            </a:extLst>
          </p:cNvPr>
          <p:cNvSpPr>
            <a:spLocks noGrp="1"/>
          </p:cNvSpPr>
          <p:nvPr>
            <p:ph type="pic" sz="quarter" idx="13"/>
          </p:nvPr>
        </p:nvSpPr>
        <p:spPr>
          <a:xfrm>
            <a:off x="5" y="0"/>
            <a:ext cx="12191995" cy="6875997"/>
          </a:xfrm>
          <a:custGeom>
            <a:avLst/>
            <a:gdLst>
              <a:gd name="connsiteX0" fmla="*/ 11039468 w 12191995"/>
              <a:gd name="connsiteY0" fmla="*/ 6562722 h 6875997"/>
              <a:gd name="connsiteX1" fmla="*/ 11033982 w 12191995"/>
              <a:gd name="connsiteY1" fmla="*/ 6564080 h 6875997"/>
              <a:gd name="connsiteX2" fmla="*/ 10915338 w 12191995"/>
              <a:gd name="connsiteY2" fmla="*/ 6583760 h 6875997"/>
              <a:gd name="connsiteX3" fmla="*/ 10909852 w 12191995"/>
              <a:gd name="connsiteY3" fmla="*/ 6585796 h 6875997"/>
              <a:gd name="connsiteX4" fmla="*/ 10878991 w 12191995"/>
              <a:gd name="connsiteY4" fmla="*/ 6608869 h 6875997"/>
              <a:gd name="connsiteX5" fmla="*/ 10993519 w 12191995"/>
              <a:gd name="connsiteY5" fmla="*/ 6608869 h 6875997"/>
              <a:gd name="connsiteX6" fmla="*/ 10981861 w 12191995"/>
              <a:gd name="connsiteY6" fmla="*/ 6615655 h 6875997"/>
              <a:gd name="connsiteX7" fmla="*/ 10894764 w 12191995"/>
              <a:gd name="connsiteY7" fmla="*/ 6630585 h 6875997"/>
              <a:gd name="connsiteX8" fmla="*/ 10889278 w 12191995"/>
              <a:gd name="connsiteY8" fmla="*/ 6632621 h 6875997"/>
              <a:gd name="connsiteX9" fmla="*/ 10868018 w 12191995"/>
              <a:gd name="connsiteY9" fmla="*/ 6648908 h 6875997"/>
              <a:gd name="connsiteX10" fmla="*/ 10937284 w 12191995"/>
              <a:gd name="connsiteY10" fmla="*/ 6644157 h 6875997"/>
              <a:gd name="connsiteX11" fmla="*/ 11039468 w 12191995"/>
              <a:gd name="connsiteY11" fmla="*/ 6562722 h 6875997"/>
              <a:gd name="connsiteX12" fmla="*/ 10791888 w 12191995"/>
              <a:gd name="connsiteY12" fmla="*/ 6557959 h 6875997"/>
              <a:gd name="connsiteX13" fmla="*/ 10790507 w 12191995"/>
              <a:gd name="connsiteY13" fmla="*/ 6594018 h 6875997"/>
              <a:gd name="connsiteX14" fmla="*/ 10866431 w 12191995"/>
              <a:gd name="connsiteY14" fmla="*/ 6648447 h 6875997"/>
              <a:gd name="connsiteX15" fmla="*/ 10866431 w 12191995"/>
              <a:gd name="connsiteY15" fmla="*/ 6557959 h 6875997"/>
              <a:gd name="connsiteX16" fmla="*/ 10791888 w 12191995"/>
              <a:gd name="connsiteY16" fmla="*/ 6557959 h 6875997"/>
              <a:gd name="connsiteX17" fmla="*/ 11578425 w 12191995"/>
              <a:gd name="connsiteY17" fmla="*/ 6519858 h 6875997"/>
              <a:gd name="connsiteX18" fmla="*/ 11604619 w 12191995"/>
              <a:gd name="connsiteY18" fmla="*/ 6543009 h 6875997"/>
              <a:gd name="connsiteX19" fmla="*/ 11599918 w 12191995"/>
              <a:gd name="connsiteY19" fmla="*/ 6551608 h 6875997"/>
              <a:gd name="connsiteX20" fmla="*/ 11552231 w 12191995"/>
              <a:gd name="connsiteY20" fmla="*/ 6551608 h 6875997"/>
              <a:gd name="connsiteX21" fmla="*/ 11552903 w 12191995"/>
              <a:gd name="connsiteY21" fmla="*/ 6543671 h 6875997"/>
              <a:gd name="connsiteX22" fmla="*/ 11578425 w 12191995"/>
              <a:gd name="connsiteY22" fmla="*/ 6519858 h 6875997"/>
              <a:gd name="connsiteX23" fmla="*/ 11218855 w 12191995"/>
              <a:gd name="connsiteY23" fmla="*/ 6519858 h 6875997"/>
              <a:gd name="connsiteX24" fmla="*/ 11245843 w 12191995"/>
              <a:gd name="connsiteY24" fmla="*/ 6543009 h 6875997"/>
              <a:gd name="connsiteX25" fmla="*/ 11240307 w 12191995"/>
              <a:gd name="connsiteY25" fmla="*/ 6551608 h 6875997"/>
              <a:gd name="connsiteX26" fmla="*/ 11191868 w 12191995"/>
              <a:gd name="connsiteY26" fmla="*/ 6551608 h 6875997"/>
              <a:gd name="connsiteX27" fmla="*/ 11191868 w 12191995"/>
              <a:gd name="connsiteY27" fmla="*/ 6543671 h 6875997"/>
              <a:gd name="connsiteX28" fmla="*/ 11218855 w 12191995"/>
              <a:gd name="connsiteY28" fmla="*/ 6519858 h 6875997"/>
              <a:gd name="connsiteX29" fmla="*/ 11625256 w 12191995"/>
              <a:gd name="connsiteY29" fmla="*/ 6503984 h 6875997"/>
              <a:gd name="connsiteX30" fmla="*/ 11640376 w 12191995"/>
              <a:gd name="connsiteY30" fmla="*/ 6520415 h 6875997"/>
              <a:gd name="connsiteX31" fmla="*/ 11674052 w 12191995"/>
              <a:gd name="connsiteY31" fmla="*/ 6520415 h 6875997"/>
              <a:gd name="connsiteX32" fmla="*/ 11674052 w 12191995"/>
              <a:gd name="connsiteY32" fmla="*/ 6613522 h 6875997"/>
              <a:gd name="connsiteX33" fmla="*/ 11700169 w 12191995"/>
              <a:gd name="connsiteY33" fmla="*/ 6613522 h 6875997"/>
              <a:gd name="connsiteX34" fmla="*/ 11700169 w 12191995"/>
              <a:gd name="connsiteY34" fmla="*/ 6520415 h 6875997"/>
              <a:gd name="connsiteX35" fmla="*/ 11737969 w 12191995"/>
              <a:gd name="connsiteY35" fmla="*/ 6520415 h 6875997"/>
              <a:gd name="connsiteX36" fmla="*/ 11737969 w 12191995"/>
              <a:gd name="connsiteY36" fmla="*/ 6503984 h 6875997"/>
              <a:gd name="connsiteX37" fmla="*/ 11625256 w 12191995"/>
              <a:gd name="connsiteY37" fmla="*/ 6503984 h 6875997"/>
              <a:gd name="connsiteX38" fmla="*/ 11426949 w 12191995"/>
              <a:gd name="connsiteY38" fmla="*/ 6503984 h 6875997"/>
              <a:gd name="connsiteX39" fmla="*/ 11407768 w 12191995"/>
              <a:gd name="connsiteY39" fmla="*/ 6523153 h 6875997"/>
              <a:gd name="connsiteX40" fmla="*/ 11407768 w 12191995"/>
              <a:gd name="connsiteY40" fmla="*/ 6613522 h 6875997"/>
              <a:gd name="connsiteX41" fmla="*/ 11433799 w 12191995"/>
              <a:gd name="connsiteY41" fmla="*/ 6613522 h 6875997"/>
              <a:gd name="connsiteX42" fmla="*/ 11433799 w 12191995"/>
              <a:gd name="connsiteY42" fmla="*/ 6525207 h 6875997"/>
              <a:gd name="connsiteX43" fmla="*/ 11439279 w 12191995"/>
              <a:gd name="connsiteY43" fmla="*/ 6520415 h 6875997"/>
              <a:gd name="connsiteX44" fmla="*/ 11459830 w 12191995"/>
              <a:gd name="connsiteY44" fmla="*/ 6520415 h 6875997"/>
              <a:gd name="connsiteX45" fmla="*/ 11481750 w 12191995"/>
              <a:gd name="connsiteY45" fmla="*/ 6543692 h 6875997"/>
              <a:gd name="connsiteX46" fmla="*/ 11481750 w 12191995"/>
              <a:gd name="connsiteY46" fmla="*/ 6613522 h 6875997"/>
              <a:gd name="connsiteX47" fmla="*/ 11507781 w 12191995"/>
              <a:gd name="connsiteY47" fmla="*/ 6613522 h 6875997"/>
              <a:gd name="connsiteX48" fmla="*/ 11507781 w 12191995"/>
              <a:gd name="connsiteY48" fmla="*/ 6541638 h 6875997"/>
              <a:gd name="connsiteX49" fmla="*/ 11463940 w 12191995"/>
              <a:gd name="connsiteY49" fmla="*/ 6503984 h 6875997"/>
              <a:gd name="connsiteX50" fmla="*/ 11426949 w 12191995"/>
              <a:gd name="connsiteY50" fmla="*/ 6503984 h 6875997"/>
              <a:gd name="connsiteX51" fmla="*/ 11307887 w 12191995"/>
              <a:gd name="connsiteY51" fmla="*/ 6503984 h 6875997"/>
              <a:gd name="connsiteX52" fmla="*/ 11288706 w 12191995"/>
              <a:gd name="connsiteY52" fmla="*/ 6523153 h 6875997"/>
              <a:gd name="connsiteX53" fmla="*/ 11288706 w 12191995"/>
              <a:gd name="connsiteY53" fmla="*/ 6613522 h 6875997"/>
              <a:gd name="connsiteX54" fmla="*/ 11314737 w 12191995"/>
              <a:gd name="connsiteY54" fmla="*/ 6613522 h 6875997"/>
              <a:gd name="connsiteX55" fmla="*/ 11314737 w 12191995"/>
              <a:gd name="connsiteY55" fmla="*/ 6525207 h 6875997"/>
              <a:gd name="connsiteX56" fmla="*/ 11320217 w 12191995"/>
              <a:gd name="connsiteY56" fmla="*/ 6520415 h 6875997"/>
              <a:gd name="connsiteX57" fmla="*/ 11340768 w 12191995"/>
              <a:gd name="connsiteY57" fmla="*/ 6520415 h 6875997"/>
              <a:gd name="connsiteX58" fmla="*/ 11362688 w 12191995"/>
              <a:gd name="connsiteY58" fmla="*/ 6543692 h 6875997"/>
              <a:gd name="connsiteX59" fmla="*/ 11362688 w 12191995"/>
              <a:gd name="connsiteY59" fmla="*/ 6613522 h 6875997"/>
              <a:gd name="connsiteX60" fmla="*/ 11388719 w 12191995"/>
              <a:gd name="connsiteY60" fmla="*/ 6613522 h 6875997"/>
              <a:gd name="connsiteX61" fmla="*/ 11388719 w 12191995"/>
              <a:gd name="connsiteY61" fmla="*/ 6541638 h 6875997"/>
              <a:gd name="connsiteX62" fmla="*/ 11344878 w 12191995"/>
              <a:gd name="connsiteY62" fmla="*/ 6503984 h 6875997"/>
              <a:gd name="connsiteX63" fmla="*/ 11307887 w 12191995"/>
              <a:gd name="connsiteY63" fmla="*/ 6503984 h 6875997"/>
              <a:gd name="connsiteX64" fmla="*/ 11055343 w 12191995"/>
              <a:gd name="connsiteY64" fmla="*/ 6503984 h 6875997"/>
              <a:gd name="connsiteX65" fmla="*/ 11062856 w 12191995"/>
              <a:gd name="connsiteY65" fmla="*/ 6520415 h 6875997"/>
              <a:gd name="connsiteX66" fmla="*/ 11098372 w 12191995"/>
              <a:gd name="connsiteY66" fmla="*/ 6520415 h 6875997"/>
              <a:gd name="connsiteX67" fmla="*/ 11098372 w 12191995"/>
              <a:gd name="connsiteY67" fmla="*/ 6613522 h 6875997"/>
              <a:gd name="connsiteX68" fmla="*/ 11125008 w 12191995"/>
              <a:gd name="connsiteY68" fmla="*/ 6613522 h 6875997"/>
              <a:gd name="connsiteX69" fmla="*/ 11125008 w 12191995"/>
              <a:gd name="connsiteY69" fmla="*/ 6520415 h 6875997"/>
              <a:gd name="connsiteX70" fmla="*/ 11158475 w 12191995"/>
              <a:gd name="connsiteY70" fmla="*/ 6520415 h 6875997"/>
              <a:gd name="connsiteX71" fmla="*/ 11172818 w 12191995"/>
              <a:gd name="connsiteY71" fmla="*/ 6503984 h 6875997"/>
              <a:gd name="connsiteX72" fmla="*/ 11055343 w 12191995"/>
              <a:gd name="connsiteY72" fmla="*/ 6503984 h 6875997"/>
              <a:gd name="connsiteX73" fmla="*/ 11576751 w 12191995"/>
              <a:gd name="connsiteY73" fmla="*/ 6503134 h 6875997"/>
              <a:gd name="connsiteX74" fmla="*/ 11539183 w 12191995"/>
              <a:gd name="connsiteY74" fmla="*/ 6516912 h 6875997"/>
              <a:gd name="connsiteX75" fmla="*/ 11533022 w 12191995"/>
              <a:gd name="connsiteY75" fmla="*/ 6593792 h 6875997"/>
              <a:gd name="connsiteX76" fmla="*/ 11548083 w 12191995"/>
              <a:gd name="connsiteY76" fmla="*/ 6608760 h 6875997"/>
              <a:gd name="connsiteX77" fmla="*/ 11570675 w 12191995"/>
              <a:gd name="connsiteY77" fmla="*/ 6613522 h 6875997"/>
              <a:gd name="connsiteX78" fmla="*/ 11628183 w 12191995"/>
              <a:gd name="connsiteY78" fmla="*/ 6613522 h 6875997"/>
              <a:gd name="connsiteX79" fmla="*/ 11628183 w 12191995"/>
              <a:gd name="connsiteY79" fmla="*/ 6597874 h 6875997"/>
              <a:gd name="connsiteX80" fmla="*/ 11574783 w 12191995"/>
              <a:gd name="connsiteY80" fmla="*/ 6597874 h 6875997"/>
              <a:gd name="connsiteX81" fmla="*/ 11552876 w 12191995"/>
              <a:gd name="connsiteY81" fmla="*/ 6572020 h 6875997"/>
              <a:gd name="connsiteX82" fmla="*/ 11552191 w 12191995"/>
              <a:gd name="connsiteY82" fmla="*/ 6567938 h 6875997"/>
              <a:gd name="connsiteX83" fmla="*/ 11609698 w 12191995"/>
              <a:gd name="connsiteY83" fmla="*/ 6567938 h 6875997"/>
              <a:gd name="connsiteX84" fmla="*/ 11619283 w 12191995"/>
              <a:gd name="connsiteY84" fmla="*/ 6567258 h 6875997"/>
              <a:gd name="connsiteX85" fmla="*/ 11631606 w 12191995"/>
              <a:gd name="connsiteY85" fmla="*/ 6546847 h 6875997"/>
              <a:gd name="connsiteX86" fmla="*/ 11615860 w 12191995"/>
              <a:gd name="connsiteY86" fmla="*/ 6512829 h 6875997"/>
              <a:gd name="connsiteX87" fmla="*/ 11576751 w 12191995"/>
              <a:gd name="connsiteY87" fmla="*/ 6503134 h 6875997"/>
              <a:gd name="connsiteX88" fmla="*/ 11215941 w 12191995"/>
              <a:gd name="connsiteY88" fmla="*/ 6503134 h 6875997"/>
              <a:gd name="connsiteX89" fmla="*/ 11177481 w 12191995"/>
              <a:gd name="connsiteY89" fmla="*/ 6516912 h 6875997"/>
              <a:gd name="connsiteX90" fmla="*/ 11171231 w 12191995"/>
              <a:gd name="connsiteY90" fmla="*/ 6593792 h 6875997"/>
              <a:gd name="connsiteX91" fmla="*/ 11187205 w 12191995"/>
              <a:gd name="connsiteY91" fmla="*/ 6608760 h 6875997"/>
              <a:gd name="connsiteX92" fmla="*/ 11209430 w 12191995"/>
              <a:gd name="connsiteY92" fmla="*/ 6613522 h 6875997"/>
              <a:gd name="connsiteX93" fmla="*/ 11267770 w 12191995"/>
              <a:gd name="connsiteY93" fmla="*/ 6613522 h 6875997"/>
              <a:gd name="connsiteX94" fmla="*/ 11267770 w 12191995"/>
              <a:gd name="connsiteY94" fmla="*/ 6597874 h 6875997"/>
              <a:gd name="connsiteX95" fmla="*/ 11213597 w 12191995"/>
              <a:gd name="connsiteY95" fmla="*/ 6597874 h 6875997"/>
              <a:gd name="connsiteX96" fmla="*/ 11191372 w 12191995"/>
              <a:gd name="connsiteY96" fmla="*/ 6572020 h 6875997"/>
              <a:gd name="connsiteX97" fmla="*/ 11191372 w 12191995"/>
              <a:gd name="connsiteY97" fmla="*/ 6567938 h 6875997"/>
              <a:gd name="connsiteX98" fmla="*/ 11249713 w 12191995"/>
              <a:gd name="connsiteY98" fmla="*/ 6567938 h 6875997"/>
              <a:gd name="connsiteX99" fmla="*/ 11258741 w 12191995"/>
              <a:gd name="connsiteY99" fmla="*/ 6567258 h 6875997"/>
              <a:gd name="connsiteX100" fmla="*/ 11271243 w 12191995"/>
              <a:gd name="connsiteY100" fmla="*/ 6546847 h 6875997"/>
              <a:gd name="connsiteX101" fmla="*/ 11255963 w 12191995"/>
              <a:gd name="connsiteY101" fmla="*/ 6512829 h 6875997"/>
              <a:gd name="connsiteX102" fmla="*/ 11215941 w 12191995"/>
              <a:gd name="connsiteY102" fmla="*/ 6503134 h 6875997"/>
              <a:gd name="connsiteX103" fmla="*/ 10943122 w 12191995"/>
              <a:gd name="connsiteY103" fmla="*/ 6471560 h 6875997"/>
              <a:gd name="connsiteX104" fmla="*/ 10892671 w 12191995"/>
              <a:gd name="connsiteY104" fmla="*/ 6477989 h 6875997"/>
              <a:gd name="connsiteX105" fmla="*/ 10798168 w 12191995"/>
              <a:gd name="connsiteY105" fmla="*/ 6544289 h 6875997"/>
              <a:gd name="connsiteX106" fmla="*/ 10954988 w 12191995"/>
              <a:gd name="connsiteY106" fmla="*/ 6519683 h 6875997"/>
              <a:gd name="connsiteX107" fmla="*/ 10904313 w 12191995"/>
              <a:gd name="connsiteY107" fmla="*/ 6557959 h 6875997"/>
              <a:gd name="connsiteX108" fmla="*/ 11039904 w 12191995"/>
              <a:gd name="connsiteY108" fmla="*/ 6557959 h 6875997"/>
              <a:gd name="connsiteX109" fmla="*/ 11039904 w 12191995"/>
              <a:gd name="connsiteY109" fmla="*/ 6527885 h 6875997"/>
              <a:gd name="connsiteX110" fmla="*/ 10943122 w 12191995"/>
              <a:gd name="connsiteY110" fmla="*/ 6471560 h 6875997"/>
              <a:gd name="connsiteX111" fmla="*/ 387606 w 12191995"/>
              <a:gd name="connsiteY111" fmla="*/ 5558169 h 6875997"/>
              <a:gd name="connsiteX112" fmla="*/ 1034211 w 12191995"/>
              <a:gd name="connsiteY112" fmla="*/ 5558169 h 6875997"/>
              <a:gd name="connsiteX113" fmla="*/ 1034211 w 12191995"/>
              <a:gd name="connsiteY113" fmla="*/ 5592376 h 6875997"/>
              <a:gd name="connsiteX114" fmla="*/ 1068421 w 12191995"/>
              <a:gd name="connsiteY114" fmla="*/ 5592376 h 6875997"/>
              <a:gd name="connsiteX115" fmla="*/ 1068421 w 12191995"/>
              <a:gd name="connsiteY115" fmla="*/ 6239697 h 6875997"/>
              <a:gd name="connsiteX116" fmla="*/ 1034209 w 12191995"/>
              <a:gd name="connsiteY116" fmla="*/ 6239697 h 6875997"/>
              <a:gd name="connsiteX117" fmla="*/ 1034209 w 12191995"/>
              <a:gd name="connsiteY117" fmla="*/ 6273904 h 6875997"/>
              <a:gd name="connsiteX118" fmla="*/ 387605 w 12191995"/>
              <a:gd name="connsiteY118" fmla="*/ 6273904 h 6875997"/>
              <a:gd name="connsiteX119" fmla="*/ 387605 w 12191995"/>
              <a:gd name="connsiteY119" fmla="*/ 6239697 h 6875997"/>
              <a:gd name="connsiteX120" fmla="*/ 353402 w 12191995"/>
              <a:gd name="connsiteY120" fmla="*/ 6239697 h 6875997"/>
              <a:gd name="connsiteX121" fmla="*/ 353402 w 12191995"/>
              <a:gd name="connsiteY121" fmla="*/ 5592376 h 6875997"/>
              <a:gd name="connsiteX122" fmla="*/ 387606 w 12191995"/>
              <a:gd name="connsiteY122" fmla="*/ 5592376 h 6875997"/>
              <a:gd name="connsiteX123" fmla="*/ 0 w 12191995"/>
              <a:gd name="connsiteY123" fmla="*/ 5558169 h 6875997"/>
              <a:gd name="connsiteX124" fmla="*/ 315592 w 12191995"/>
              <a:gd name="connsiteY124" fmla="*/ 5558169 h 6875997"/>
              <a:gd name="connsiteX125" fmla="*/ 315592 w 12191995"/>
              <a:gd name="connsiteY125" fmla="*/ 5592376 h 6875997"/>
              <a:gd name="connsiteX126" fmla="*/ 349802 w 12191995"/>
              <a:gd name="connsiteY126" fmla="*/ 5592376 h 6875997"/>
              <a:gd name="connsiteX127" fmla="*/ 349802 w 12191995"/>
              <a:gd name="connsiteY127" fmla="*/ 6239697 h 6875997"/>
              <a:gd name="connsiteX128" fmla="*/ 315591 w 12191995"/>
              <a:gd name="connsiteY128" fmla="*/ 6239697 h 6875997"/>
              <a:gd name="connsiteX129" fmla="*/ 315591 w 12191995"/>
              <a:gd name="connsiteY129" fmla="*/ 6273904 h 6875997"/>
              <a:gd name="connsiteX130" fmla="*/ 0 w 12191995"/>
              <a:gd name="connsiteY130" fmla="*/ 6273904 h 6875997"/>
              <a:gd name="connsiteX131" fmla="*/ 387606 w 12191995"/>
              <a:gd name="connsiteY131" fmla="*/ 4838831 h 6875997"/>
              <a:gd name="connsiteX132" fmla="*/ 1034211 w 12191995"/>
              <a:gd name="connsiteY132" fmla="*/ 4838831 h 6875997"/>
              <a:gd name="connsiteX133" fmla="*/ 1034211 w 12191995"/>
              <a:gd name="connsiteY133" fmla="*/ 4873038 h 6875997"/>
              <a:gd name="connsiteX134" fmla="*/ 1068421 w 12191995"/>
              <a:gd name="connsiteY134" fmla="*/ 4873038 h 6875997"/>
              <a:gd name="connsiteX135" fmla="*/ 1068421 w 12191995"/>
              <a:gd name="connsiteY135" fmla="*/ 5520362 h 6875997"/>
              <a:gd name="connsiteX136" fmla="*/ 1034211 w 12191995"/>
              <a:gd name="connsiteY136" fmla="*/ 5520362 h 6875997"/>
              <a:gd name="connsiteX137" fmla="*/ 1034211 w 12191995"/>
              <a:gd name="connsiteY137" fmla="*/ 5554569 h 6875997"/>
              <a:gd name="connsiteX138" fmla="*/ 387606 w 12191995"/>
              <a:gd name="connsiteY138" fmla="*/ 5554569 h 6875997"/>
              <a:gd name="connsiteX139" fmla="*/ 387606 w 12191995"/>
              <a:gd name="connsiteY139" fmla="*/ 5520362 h 6875997"/>
              <a:gd name="connsiteX140" fmla="*/ 353402 w 12191995"/>
              <a:gd name="connsiteY140" fmla="*/ 5520362 h 6875997"/>
              <a:gd name="connsiteX141" fmla="*/ 353402 w 12191995"/>
              <a:gd name="connsiteY141" fmla="*/ 4873038 h 6875997"/>
              <a:gd name="connsiteX142" fmla="*/ 387606 w 12191995"/>
              <a:gd name="connsiteY142" fmla="*/ 4873038 h 6875997"/>
              <a:gd name="connsiteX143" fmla="*/ 0 w 12191995"/>
              <a:gd name="connsiteY143" fmla="*/ 4838831 h 6875997"/>
              <a:gd name="connsiteX144" fmla="*/ 315592 w 12191995"/>
              <a:gd name="connsiteY144" fmla="*/ 4838831 h 6875997"/>
              <a:gd name="connsiteX145" fmla="*/ 315592 w 12191995"/>
              <a:gd name="connsiteY145" fmla="*/ 4873038 h 6875997"/>
              <a:gd name="connsiteX146" fmla="*/ 349802 w 12191995"/>
              <a:gd name="connsiteY146" fmla="*/ 4873038 h 6875997"/>
              <a:gd name="connsiteX147" fmla="*/ 349802 w 12191995"/>
              <a:gd name="connsiteY147" fmla="*/ 5520362 h 6875997"/>
              <a:gd name="connsiteX148" fmla="*/ 315592 w 12191995"/>
              <a:gd name="connsiteY148" fmla="*/ 5520362 h 6875997"/>
              <a:gd name="connsiteX149" fmla="*/ 315592 w 12191995"/>
              <a:gd name="connsiteY149" fmla="*/ 5554569 h 6875997"/>
              <a:gd name="connsiteX150" fmla="*/ 0 w 12191995"/>
              <a:gd name="connsiteY150" fmla="*/ 5554569 h 6875997"/>
              <a:gd name="connsiteX151" fmla="*/ 387607 w 12191995"/>
              <a:gd name="connsiteY151" fmla="*/ 4119493 h 6875997"/>
              <a:gd name="connsiteX152" fmla="*/ 1034211 w 12191995"/>
              <a:gd name="connsiteY152" fmla="*/ 4119493 h 6875997"/>
              <a:gd name="connsiteX153" fmla="*/ 1034211 w 12191995"/>
              <a:gd name="connsiteY153" fmla="*/ 4153700 h 6875997"/>
              <a:gd name="connsiteX154" fmla="*/ 1068421 w 12191995"/>
              <a:gd name="connsiteY154" fmla="*/ 4153700 h 6875997"/>
              <a:gd name="connsiteX155" fmla="*/ 1068421 w 12191995"/>
              <a:gd name="connsiteY155" fmla="*/ 4801024 h 6875997"/>
              <a:gd name="connsiteX156" fmla="*/ 1034211 w 12191995"/>
              <a:gd name="connsiteY156" fmla="*/ 4801024 h 6875997"/>
              <a:gd name="connsiteX157" fmla="*/ 1034211 w 12191995"/>
              <a:gd name="connsiteY157" fmla="*/ 4835231 h 6875997"/>
              <a:gd name="connsiteX158" fmla="*/ 387606 w 12191995"/>
              <a:gd name="connsiteY158" fmla="*/ 4835231 h 6875997"/>
              <a:gd name="connsiteX159" fmla="*/ 387606 w 12191995"/>
              <a:gd name="connsiteY159" fmla="*/ 4801024 h 6875997"/>
              <a:gd name="connsiteX160" fmla="*/ 353402 w 12191995"/>
              <a:gd name="connsiteY160" fmla="*/ 4801024 h 6875997"/>
              <a:gd name="connsiteX161" fmla="*/ 353402 w 12191995"/>
              <a:gd name="connsiteY161" fmla="*/ 4153700 h 6875997"/>
              <a:gd name="connsiteX162" fmla="*/ 387607 w 12191995"/>
              <a:gd name="connsiteY162" fmla="*/ 4153700 h 6875997"/>
              <a:gd name="connsiteX163" fmla="*/ 387607 w 12191995"/>
              <a:gd name="connsiteY163" fmla="*/ 3400156 h 6875997"/>
              <a:gd name="connsiteX164" fmla="*/ 1034211 w 12191995"/>
              <a:gd name="connsiteY164" fmla="*/ 3400156 h 6875997"/>
              <a:gd name="connsiteX165" fmla="*/ 1034211 w 12191995"/>
              <a:gd name="connsiteY165" fmla="*/ 3434363 h 6875997"/>
              <a:gd name="connsiteX166" fmla="*/ 1068421 w 12191995"/>
              <a:gd name="connsiteY166" fmla="*/ 3434363 h 6875997"/>
              <a:gd name="connsiteX167" fmla="*/ 1068421 w 12191995"/>
              <a:gd name="connsiteY167" fmla="*/ 4081686 h 6875997"/>
              <a:gd name="connsiteX168" fmla="*/ 1034211 w 12191995"/>
              <a:gd name="connsiteY168" fmla="*/ 4081686 h 6875997"/>
              <a:gd name="connsiteX169" fmla="*/ 1034211 w 12191995"/>
              <a:gd name="connsiteY169" fmla="*/ 4115893 h 6875997"/>
              <a:gd name="connsiteX170" fmla="*/ 387607 w 12191995"/>
              <a:gd name="connsiteY170" fmla="*/ 4115893 h 6875997"/>
              <a:gd name="connsiteX171" fmla="*/ 387607 w 12191995"/>
              <a:gd name="connsiteY171" fmla="*/ 4081686 h 6875997"/>
              <a:gd name="connsiteX172" fmla="*/ 353402 w 12191995"/>
              <a:gd name="connsiteY172" fmla="*/ 4081686 h 6875997"/>
              <a:gd name="connsiteX173" fmla="*/ 353402 w 12191995"/>
              <a:gd name="connsiteY173" fmla="*/ 3434363 h 6875997"/>
              <a:gd name="connsiteX174" fmla="*/ 387607 w 12191995"/>
              <a:gd name="connsiteY174" fmla="*/ 3434363 h 6875997"/>
              <a:gd name="connsiteX175" fmla="*/ 387606 w 12191995"/>
              <a:gd name="connsiteY175" fmla="*/ 2680820 h 6875997"/>
              <a:gd name="connsiteX176" fmla="*/ 1034211 w 12191995"/>
              <a:gd name="connsiteY176" fmla="*/ 2680820 h 6875997"/>
              <a:gd name="connsiteX177" fmla="*/ 1034211 w 12191995"/>
              <a:gd name="connsiteY177" fmla="*/ 2715026 h 6875997"/>
              <a:gd name="connsiteX178" fmla="*/ 1068421 w 12191995"/>
              <a:gd name="connsiteY178" fmla="*/ 2715026 h 6875997"/>
              <a:gd name="connsiteX179" fmla="*/ 1068421 w 12191995"/>
              <a:gd name="connsiteY179" fmla="*/ 3362349 h 6875997"/>
              <a:gd name="connsiteX180" fmla="*/ 1034211 w 12191995"/>
              <a:gd name="connsiteY180" fmla="*/ 3362349 h 6875997"/>
              <a:gd name="connsiteX181" fmla="*/ 1034211 w 12191995"/>
              <a:gd name="connsiteY181" fmla="*/ 3396556 h 6875997"/>
              <a:gd name="connsiteX182" fmla="*/ 387607 w 12191995"/>
              <a:gd name="connsiteY182" fmla="*/ 3396556 h 6875997"/>
              <a:gd name="connsiteX183" fmla="*/ 387607 w 12191995"/>
              <a:gd name="connsiteY183" fmla="*/ 3362349 h 6875997"/>
              <a:gd name="connsiteX184" fmla="*/ 353402 w 12191995"/>
              <a:gd name="connsiteY184" fmla="*/ 3362349 h 6875997"/>
              <a:gd name="connsiteX185" fmla="*/ 353402 w 12191995"/>
              <a:gd name="connsiteY185" fmla="*/ 2715026 h 6875997"/>
              <a:gd name="connsiteX186" fmla="*/ 387606 w 12191995"/>
              <a:gd name="connsiteY186" fmla="*/ 2715026 h 6875997"/>
              <a:gd name="connsiteX187" fmla="*/ 387608 w 12191995"/>
              <a:gd name="connsiteY187" fmla="*/ 1961483 h 6875997"/>
              <a:gd name="connsiteX188" fmla="*/ 1034213 w 12191995"/>
              <a:gd name="connsiteY188" fmla="*/ 1961483 h 6875997"/>
              <a:gd name="connsiteX189" fmla="*/ 1034213 w 12191995"/>
              <a:gd name="connsiteY189" fmla="*/ 1995689 h 6875997"/>
              <a:gd name="connsiteX190" fmla="*/ 1068421 w 12191995"/>
              <a:gd name="connsiteY190" fmla="*/ 1995689 h 6875997"/>
              <a:gd name="connsiteX191" fmla="*/ 1068421 w 12191995"/>
              <a:gd name="connsiteY191" fmla="*/ 2643013 h 6875997"/>
              <a:gd name="connsiteX192" fmla="*/ 1034211 w 12191995"/>
              <a:gd name="connsiteY192" fmla="*/ 2643013 h 6875997"/>
              <a:gd name="connsiteX193" fmla="*/ 1034211 w 12191995"/>
              <a:gd name="connsiteY193" fmla="*/ 2677220 h 6875997"/>
              <a:gd name="connsiteX194" fmla="*/ 387606 w 12191995"/>
              <a:gd name="connsiteY194" fmla="*/ 2677220 h 6875997"/>
              <a:gd name="connsiteX195" fmla="*/ 387606 w 12191995"/>
              <a:gd name="connsiteY195" fmla="*/ 2643013 h 6875997"/>
              <a:gd name="connsiteX196" fmla="*/ 353402 w 12191995"/>
              <a:gd name="connsiteY196" fmla="*/ 2643013 h 6875997"/>
              <a:gd name="connsiteX197" fmla="*/ 353402 w 12191995"/>
              <a:gd name="connsiteY197" fmla="*/ 1995689 h 6875997"/>
              <a:gd name="connsiteX198" fmla="*/ 387608 w 12191995"/>
              <a:gd name="connsiteY198" fmla="*/ 1995689 h 6875997"/>
              <a:gd name="connsiteX199" fmla="*/ 387608 w 12191995"/>
              <a:gd name="connsiteY199" fmla="*/ 1242144 h 6875997"/>
              <a:gd name="connsiteX200" fmla="*/ 1034213 w 12191995"/>
              <a:gd name="connsiteY200" fmla="*/ 1242144 h 6875997"/>
              <a:gd name="connsiteX201" fmla="*/ 1034213 w 12191995"/>
              <a:gd name="connsiteY201" fmla="*/ 1276351 h 6875997"/>
              <a:gd name="connsiteX202" fmla="*/ 1068421 w 12191995"/>
              <a:gd name="connsiteY202" fmla="*/ 1276351 h 6875997"/>
              <a:gd name="connsiteX203" fmla="*/ 1068421 w 12191995"/>
              <a:gd name="connsiteY203" fmla="*/ 1923675 h 6875997"/>
              <a:gd name="connsiteX204" fmla="*/ 1034213 w 12191995"/>
              <a:gd name="connsiteY204" fmla="*/ 1923675 h 6875997"/>
              <a:gd name="connsiteX205" fmla="*/ 1034213 w 12191995"/>
              <a:gd name="connsiteY205" fmla="*/ 1957883 h 6875997"/>
              <a:gd name="connsiteX206" fmla="*/ 387608 w 12191995"/>
              <a:gd name="connsiteY206" fmla="*/ 1957883 h 6875997"/>
              <a:gd name="connsiteX207" fmla="*/ 387608 w 12191995"/>
              <a:gd name="connsiteY207" fmla="*/ 1923675 h 6875997"/>
              <a:gd name="connsiteX208" fmla="*/ 353402 w 12191995"/>
              <a:gd name="connsiteY208" fmla="*/ 1923675 h 6875997"/>
              <a:gd name="connsiteX209" fmla="*/ 353402 w 12191995"/>
              <a:gd name="connsiteY209" fmla="*/ 1276351 h 6875997"/>
              <a:gd name="connsiteX210" fmla="*/ 387608 w 12191995"/>
              <a:gd name="connsiteY210" fmla="*/ 1276351 h 6875997"/>
              <a:gd name="connsiteX211" fmla="*/ 387607 w 12191995"/>
              <a:gd name="connsiteY211" fmla="*/ 522805 h 6875997"/>
              <a:gd name="connsiteX212" fmla="*/ 1034211 w 12191995"/>
              <a:gd name="connsiteY212" fmla="*/ 522805 h 6875997"/>
              <a:gd name="connsiteX213" fmla="*/ 1034211 w 12191995"/>
              <a:gd name="connsiteY213" fmla="*/ 557012 h 6875997"/>
              <a:gd name="connsiteX214" fmla="*/ 1068421 w 12191995"/>
              <a:gd name="connsiteY214" fmla="*/ 557012 h 6875997"/>
              <a:gd name="connsiteX215" fmla="*/ 1068421 w 12191995"/>
              <a:gd name="connsiteY215" fmla="*/ 1204337 h 6875997"/>
              <a:gd name="connsiteX216" fmla="*/ 1034213 w 12191995"/>
              <a:gd name="connsiteY216" fmla="*/ 1204337 h 6875997"/>
              <a:gd name="connsiteX217" fmla="*/ 1034213 w 12191995"/>
              <a:gd name="connsiteY217" fmla="*/ 1238545 h 6875997"/>
              <a:gd name="connsiteX218" fmla="*/ 387608 w 12191995"/>
              <a:gd name="connsiteY218" fmla="*/ 1238545 h 6875997"/>
              <a:gd name="connsiteX219" fmla="*/ 387608 w 12191995"/>
              <a:gd name="connsiteY219" fmla="*/ 1204337 h 6875997"/>
              <a:gd name="connsiteX220" fmla="*/ 353402 w 12191995"/>
              <a:gd name="connsiteY220" fmla="*/ 1204337 h 6875997"/>
              <a:gd name="connsiteX221" fmla="*/ 353402 w 12191995"/>
              <a:gd name="connsiteY221" fmla="*/ 557012 h 6875997"/>
              <a:gd name="connsiteX222" fmla="*/ 387607 w 12191995"/>
              <a:gd name="connsiteY222" fmla="*/ 557012 h 6875997"/>
              <a:gd name="connsiteX223" fmla="*/ 1072021 w 12191995"/>
              <a:gd name="connsiteY223" fmla="*/ 0 h 6875997"/>
              <a:gd name="connsiteX224" fmla="*/ 1152939 w 12191995"/>
              <a:gd name="connsiteY224" fmla="*/ 0 h 6875997"/>
              <a:gd name="connsiteX225" fmla="*/ 1152939 w 12191995"/>
              <a:gd name="connsiteY225" fmla="*/ 6 h 6875997"/>
              <a:gd name="connsiteX226" fmla="*/ 12191995 w 12191995"/>
              <a:gd name="connsiteY226" fmla="*/ 6 h 6875997"/>
              <a:gd name="connsiteX227" fmla="*/ 12191995 w 12191995"/>
              <a:gd name="connsiteY227" fmla="*/ 6875997 h 6875997"/>
              <a:gd name="connsiteX228" fmla="*/ 11 w 12191995"/>
              <a:gd name="connsiteY228" fmla="*/ 6875997 h 6875997"/>
              <a:gd name="connsiteX229" fmla="*/ 11 w 12191995"/>
              <a:gd name="connsiteY229" fmla="*/ 6875990 h 6875997"/>
              <a:gd name="connsiteX230" fmla="*/ 0 w 12191995"/>
              <a:gd name="connsiteY230" fmla="*/ 6875990 h 6875997"/>
              <a:gd name="connsiteX231" fmla="*/ 0 w 12191995"/>
              <a:gd name="connsiteY231" fmla="*/ 6277504 h 6875997"/>
              <a:gd name="connsiteX232" fmla="*/ 315591 w 12191995"/>
              <a:gd name="connsiteY232" fmla="*/ 6277504 h 6875997"/>
              <a:gd name="connsiteX233" fmla="*/ 315591 w 12191995"/>
              <a:gd name="connsiteY233" fmla="*/ 6311711 h 6875997"/>
              <a:gd name="connsiteX234" fmla="*/ 349802 w 12191995"/>
              <a:gd name="connsiteY234" fmla="*/ 6311711 h 6875997"/>
              <a:gd name="connsiteX235" fmla="*/ 349802 w 12191995"/>
              <a:gd name="connsiteY235" fmla="*/ 6857996 h 6875997"/>
              <a:gd name="connsiteX236" fmla="*/ 353402 w 12191995"/>
              <a:gd name="connsiteY236" fmla="*/ 6857996 h 6875997"/>
              <a:gd name="connsiteX237" fmla="*/ 353402 w 12191995"/>
              <a:gd name="connsiteY237" fmla="*/ 6311711 h 6875997"/>
              <a:gd name="connsiteX238" fmla="*/ 387605 w 12191995"/>
              <a:gd name="connsiteY238" fmla="*/ 6311711 h 6875997"/>
              <a:gd name="connsiteX239" fmla="*/ 387605 w 12191995"/>
              <a:gd name="connsiteY239" fmla="*/ 6277504 h 6875997"/>
              <a:gd name="connsiteX240" fmla="*/ 1034209 w 12191995"/>
              <a:gd name="connsiteY240" fmla="*/ 6277504 h 6875997"/>
              <a:gd name="connsiteX241" fmla="*/ 1034209 w 12191995"/>
              <a:gd name="connsiteY241" fmla="*/ 6311711 h 6875997"/>
              <a:gd name="connsiteX242" fmla="*/ 1068421 w 12191995"/>
              <a:gd name="connsiteY242" fmla="*/ 6311711 h 6875997"/>
              <a:gd name="connsiteX243" fmla="*/ 1068421 w 12191995"/>
              <a:gd name="connsiteY243" fmla="*/ 6857996 h 6875997"/>
              <a:gd name="connsiteX244" fmla="*/ 1072021 w 12191995"/>
              <a:gd name="connsiteY244" fmla="*/ 6857996 h 6875997"/>
              <a:gd name="connsiteX245" fmla="*/ 1072021 w 12191995"/>
              <a:gd name="connsiteY245" fmla="*/ 6311711 h 6875997"/>
              <a:gd name="connsiteX246" fmla="*/ 1106224 w 12191995"/>
              <a:gd name="connsiteY246" fmla="*/ 6311711 h 6875997"/>
              <a:gd name="connsiteX247" fmla="*/ 1106224 w 12191995"/>
              <a:gd name="connsiteY247" fmla="*/ 6239697 h 6875997"/>
              <a:gd name="connsiteX248" fmla="*/ 1072021 w 12191995"/>
              <a:gd name="connsiteY248" fmla="*/ 6239697 h 6875997"/>
              <a:gd name="connsiteX249" fmla="*/ 1072021 w 12191995"/>
              <a:gd name="connsiteY249" fmla="*/ 5592376 h 6875997"/>
              <a:gd name="connsiteX250" fmla="*/ 1106225 w 12191995"/>
              <a:gd name="connsiteY250" fmla="*/ 5592376 h 6875997"/>
              <a:gd name="connsiteX251" fmla="*/ 1106225 w 12191995"/>
              <a:gd name="connsiteY251" fmla="*/ 5520362 h 6875997"/>
              <a:gd name="connsiteX252" fmla="*/ 1072021 w 12191995"/>
              <a:gd name="connsiteY252" fmla="*/ 5520362 h 6875997"/>
              <a:gd name="connsiteX253" fmla="*/ 1072021 w 12191995"/>
              <a:gd name="connsiteY253" fmla="*/ 4873038 h 6875997"/>
              <a:gd name="connsiteX254" fmla="*/ 1106225 w 12191995"/>
              <a:gd name="connsiteY254" fmla="*/ 4873038 h 6875997"/>
              <a:gd name="connsiteX255" fmla="*/ 1106225 w 12191995"/>
              <a:gd name="connsiteY255" fmla="*/ 4801024 h 6875997"/>
              <a:gd name="connsiteX256" fmla="*/ 1072021 w 12191995"/>
              <a:gd name="connsiteY256" fmla="*/ 4801024 h 6875997"/>
              <a:gd name="connsiteX257" fmla="*/ 1072021 w 12191995"/>
              <a:gd name="connsiteY257" fmla="*/ 4153700 h 6875997"/>
              <a:gd name="connsiteX258" fmla="*/ 1106226 w 12191995"/>
              <a:gd name="connsiteY258" fmla="*/ 4153700 h 6875997"/>
              <a:gd name="connsiteX259" fmla="*/ 1106226 w 12191995"/>
              <a:gd name="connsiteY259" fmla="*/ 4081686 h 6875997"/>
              <a:gd name="connsiteX260" fmla="*/ 1072021 w 12191995"/>
              <a:gd name="connsiteY260" fmla="*/ 4081686 h 6875997"/>
              <a:gd name="connsiteX261" fmla="*/ 1072021 w 12191995"/>
              <a:gd name="connsiteY261" fmla="*/ 3434363 h 6875997"/>
              <a:gd name="connsiteX262" fmla="*/ 1106226 w 12191995"/>
              <a:gd name="connsiteY262" fmla="*/ 3434363 h 6875997"/>
              <a:gd name="connsiteX263" fmla="*/ 1106226 w 12191995"/>
              <a:gd name="connsiteY263" fmla="*/ 3362349 h 6875997"/>
              <a:gd name="connsiteX264" fmla="*/ 1072021 w 12191995"/>
              <a:gd name="connsiteY264" fmla="*/ 3362349 h 6875997"/>
              <a:gd name="connsiteX265" fmla="*/ 1072021 w 12191995"/>
              <a:gd name="connsiteY265" fmla="*/ 2715026 h 6875997"/>
              <a:gd name="connsiteX266" fmla="*/ 1106225 w 12191995"/>
              <a:gd name="connsiteY266" fmla="*/ 2715026 h 6875997"/>
              <a:gd name="connsiteX267" fmla="*/ 1106225 w 12191995"/>
              <a:gd name="connsiteY267" fmla="*/ 2643013 h 6875997"/>
              <a:gd name="connsiteX268" fmla="*/ 1072021 w 12191995"/>
              <a:gd name="connsiteY268" fmla="*/ 2643013 h 6875997"/>
              <a:gd name="connsiteX269" fmla="*/ 1072021 w 12191995"/>
              <a:gd name="connsiteY269" fmla="*/ 1995689 h 6875997"/>
              <a:gd name="connsiteX270" fmla="*/ 1106227 w 12191995"/>
              <a:gd name="connsiteY270" fmla="*/ 1995689 h 6875997"/>
              <a:gd name="connsiteX271" fmla="*/ 1106227 w 12191995"/>
              <a:gd name="connsiteY271" fmla="*/ 1923675 h 6875997"/>
              <a:gd name="connsiteX272" fmla="*/ 1072021 w 12191995"/>
              <a:gd name="connsiteY272" fmla="*/ 1923675 h 6875997"/>
              <a:gd name="connsiteX273" fmla="*/ 1072021 w 12191995"/>
              <a:gd name="connsiteY273" fmla="*/ 1276351 h 6875997"/>
              <a:gd name="connsiteX274" fmla="*/ 1106227 w 12191995"/>
              <a:gd name="connsiteY274" fmla="*/ 1276351 h 6875997"/>
              <a:gd name="connsiteX275" fmla="*/ 1106227 w 12191995"/>
              <a:gd name="connsiteY275" fmla="*/ 1204337 h 6875997"/>
              <a:gd name="connsiteX276" fmla="*/ 1072021 w 12191995"/>
              <a:gd name="connsiteY276" fmla="*/ 1204337 h 6875997"/>
              <a:gd name="connsiteX277" fmla="*/ 1072021 w 12191995"/>
              <a:gd name="connsiteY277" fmla="*/ 557012 h 6875997"/>
              <a:gd name="connsiteX278" fmla="*/ 1106226 w 12191995"/>
              <a:gd name="connsiteY278" fmla="*/ 557012 h 6875997"/>
              <a:gd name="connsiteX279" fmla="*/ 1106226 w 12191995"/>
              <a:gd name="connsiteY279" fmla="*/ 484998 h 6875997"/>
              <a:gd name="connsiteX280" fmla="*/ 1072021 w 12191995"/>
              <a:gd name="connsiteY280" fmla="*/ 484998 h 6875997"/>
              <a:gd name="connsiteX281" fmla="*/ 353402 w 12191995"/>
              <a:gd name="connsiteY281" fmla="*/ 0 h 6875997"/>
              <a:gd name="connsiteX282" fmla="*/ 1068421 w 12191995"/>
              <a:gd name="connsiteY282" fmla="*/ 0 h 6875997"/>
              <a:gd name="connsiteX283" fmla="*/ 1068421 w 12191995"/>
              <a:gd name="connsiteY283" fmla="*/ 484998 h 6875997"/>
              <a:gd name="connsiteX284" fmla="*/ 1034211 w 12191995"/>
              <a:gd name="connsiteY284" fmla="*/ 484998 h 6875997"/>
              <a:gd name="connsiteX285" fmla="*/ 1034211 w 12191995"/>
              <a:gd name="connsiteY285" fmla="*/ 519205 h 6875997"/>
              <a:gd name="connsiteX286" fmla="*/ 387607 w 12191995"/>
              <a:gd name="connsiteY286" fmla="*/ 519205 h 6875997"/>
              <a:gd name="connsiteX287" fmla="*/ 387607 w 12191995"/>
              <a:gd name="connsiteY287" fmla="*/ 484998 h 6875997"/>
              <a:gd name="connsiteX288" fmla="*/ 353402 w 12191995"/>
              <a:gd name="connsiteY288" fmla="*/ 484998 h 6875997"/>
              <a:gd name="connsiteX289" fmla="*/ 0 w 12191995"/>
              <a:gd name="connsiteY289" fmla="*/ 0 h 6875997"/>
              <a:gd name="connsiteX290" fmla="*/ 349802 w 12191995"/>
              <a:gd name="connsiteY290" fmla="*/ 0 h 6875997"/>
              <a:gd name="connsiteX291" fmla="*/ 349802 w 12191995"/>
              <a:gd name="connsiteY291" fmla="*/ 484998 h 6875997"/>
              <a:gd name="connsiteX292" fmla="*/ 315593 w 12191995"/>
              <a:gd name="connsiteY292" fmla="*/ 484998 h 6875997"/>
              <a:gd name="connsiteX293" fmla="*/ 315593 w 12191995"/>
              <a:gd name="connsiteY293" fmla="*/ 519205 h 6875997"/>
              <a:gd name="connsiteX294" fmla="*/ 1 w 12191995"/>
              <a:gd name="connsiteY294" fmla="*/ 519205 h 6875997"/>
              <a:gd name="connsiteX295" fmla="*/ 1 w 12191995"/>
              <a:gd name="connsiteY295" fmla="*/ 522805 h 6875997"/>
              <a:gd name="connsiteX296" fmla="*/ 315593 w 12191995"/>
              <a:gd name="connsiteY296" fmla="*/ 522805 h 6875997"/>
              <a:gd name="connsiteX297" fmla="*/ 315593 w 12191995"/>
              <a:gd name="connsiteY297" fmla="*/ 557012 h 6875997"/>
              <a:gd name="connsiteX298" fmla="*/ 349802 w 12191995"/>
              <a:gd name="connsiteY298" fmla="*/ 557012 h 6875997"/>
              <a:gd name="connsiteX299" fmla="*/ 349802 w 12191995"/>
              <a:gd name="connsiteY299" fmla="*/ 1204337 h 6875997"/>
              <a:gd name="connsiteX300" fmla="*/ 315594 w 12191995"/>
              <a:gd name="connsiteY300" fmla="*/ 1204337 h 6875997"/>
              <a:gd name="connsiteX301" fmla="*/ 315594 w 12191995"/>
              <a:gd name="connsiteY301" fmla="*/ 1238545 h 6875997"/>
              <a:gd name="connsiteX302" fmla="*/ 1 w 12191995"/>
              <a:gd name="connsiteY302" fmla="*/ 1238545 h 6875997"/>
              <a:gd name="connsiteX303" fmla="*/ 1 w 12191995"/>
              <a:gd name="connsiteY303" fmla="*/ 1242144 h 6875997"/>
              <a:gd name="connsiteX304" fmla="*/ 315594 w 12191995"/>
              <a:gd name="connsiteY304" fmla="*/ 1242144 h 6875997"/>
              <a:gd name="connsiteX305" fmla="*/ 315594 w 12191995"/>
              <a:gd name="connsiteY305" fmla="*/ 1276351 h 6875997"/>
              <a:gd name="connsiteX306" fmla="*/ 349802 w 12191995"/>
              <a:gd name="connsiteY306" fmla="*/ 1276351 h 6875997"/>
              <a:gd name="connsiteX307" fmla="*/ 349802 w 12191995"/>
              <a:gd name="connsiteY307" fmla="*/ 1923675 h 6875997"/>
              <a:gd name="connsiteX308" fmla="*/ 315594 w 12191995"/>
              <a:gd name="connsiteY308" fmla="*/ 1923675 h 6875997"/>
              <a:gd name="connsiteX309" fmla="*/ 315594 w 12191995"/>
              <a:gd name="connsiteY309" fmla="*/ 1957883 h 6875997"/>
              <a:gd name="connsiteX310" fmla="*/ 1 w 12191995"/>
              <a:gd name="connsiteY310" fmla="*/ 1957883 h 6875997"/>
              <a:gd name="connsiteX311" fmla="*/ 1 w 12191995"/>
              <a:gd name="connsiteY311" fmla="*/ 1961483 h 6875997"/>
              <a:gd name="connsiteX312" fmla="*/ 315594 w 12191995"/>
              <a:gd name="connsiteY312" fmla="*/ 1961483 h 6875997"/>
              <a:gd name="connsiteX313" fmla="*/ 315594 w 12191995"/>
              <a:gd name="connsiteY313" fmla="*/ 1995689 h 6875997"/>
              <a:gd name="connsiteX314" fmla="*/ 349802 w 12191995"/>
              <a:gd name="connsiteY314" fmla="*/ 1995689 h 6875997"/>
              <a:gd name="connsiteX315" fmla="*/ 349802 w 12191995"/>
              <a:gd name="connsiteY315" fmla="*/ 2643013 h 6875997"/>
              <a:gd name="connsiteX316" fmla="*/ 315592 w 12191995"/>
              <a:gd name="connsiteY316" fmla="*/ 2643013 h 6875997"/>
              <a:gd name="connsiteX317" fmla="*/ 315592 w 12191995"/>
              <a:gd name="connsiteY317" fmla="*/ 2677220 h 6875997"/>
              <a:gd name="connsiteX318" fmla="*/ 1 w 12191995"/>
              <a:gd name="connsiteY318" fmla="*/ 2677220 h 6875997"/>
              <a:gd name="connsiteX319" fmla="*/ 1 w 12191995"/>
              <a:gd name="connsiteY319" fmla="*/ 2680820 h 6875997"/>
              <a:gd name="connsiteX320" fmla="*/ 315592 w 12191995"/>
              <a:gd name="connsiteY320" fmla="*/ 2680820 h 6875997"/>
              <a:gd name="connsiteX321" fmla="*/ 315592 w 12191995"/>
              <a:gd name="connsiteY321" fmla="*/ 2715026 h 6875997"/>
              <a:gd name="connsiteX322" fmla="*/ 349802 w 12191995"/>
              <a:gd name="connsiteY322" fmla="*/ 2715026 h 6875997"/>
              <a:gd name="connsiteX323" fmla="*/ 349802 w 12191995"/>
              <a:gd name="connsiteY323" fmla="*/ 3362349 h 6875997"/>
              <a:gd name="connsiteX324" fmla="*/ 315593 w 12191995"/>
              <a:gd name="connsiteY324" fmla="*/ 3362349 h 6875997"/>
              <a:gd name="connsiteX325" fmla="*/ 315593 w 12191995"/>
              <a:gd name="connsiteY325" fmla="*/ 3396556 h 6875997"/>
              <a:gd name="connsiteX326" fmla="*/ 1 w 12191995"/>
              <a:gd name="connsiteY326" fmla="*/ 3396556 h 6875997"/>
              <a:gd name="connsiteX327" fmla="*/ 1 w 12191995"/>
              <a:gd name="connsiteY327" fmla="*/ 3400156 h 6875997"/>
              <a:gd name="connsiteX328" fmla="*/ 315593 w 12191995"/>
              <a:gd name="connsiteY328" fmla="*/ 3400156 h 6875997"/>
              <a:gd name="connsiteX329" fmla="*/ 315593 w 12191995"/>
              <a:gd name="connsiteY329" fmla="*/ 3434363 h 6875997"/>
              <a:gd name="connsiteX330" fmla="*/ 349802 w 12191995"/>
              <a:gd name="connsiteY330" fmla="*/ 3434363 h 6875997"/>
              <a:gd name="connsiteX331" fmla="*/ 349802 w 12191995"/>
              <a:gd name="connsiteY331" fmla="*/ 4081686 h 6875997"/>
              <a:gd name="connsiteX332" fmla="*/ 315593 w 12191995"/>
              <a:gd name="connsiteY332" fmla="*/ 4081686 h 6875997"/>
              <a:gd name="connsiteX333" fmla="*/ 315593 w 12191995"/>
              <a:gd name="connsiteY333" fmla="*/ 4115893 h 6875997"/>
              <a:gd name="connsiteX334" fmla="*/ 1 w 12191995"/>
              <a:gd name="connsiteY334" fmla="*/ 4115893 h 6875997"/>
              <a:gd name="connsiteX335" fmla="*/ 1 w 12191995"/>
              <a:gd name="connsiteY335" fmla="*/ 4119493 h 6875997"/>
              <a:gd name="connsiteX336" fmla="*/ 315593 w 12191995"/>
              <a:gd name="connsiteY336" fmla="*/ 4119493 h 6875997"/>
              <a:gd name="connsiteX337" fmla="*/ 315593 w 12191995"/>
              <a:gd name="connsiteY337" fmla="*/ 4153700 h 6875997"/>
              <a:gd name="connsiteX338" fmla="*/ 349802 w 12191995"/>
              <a:gd name="connsiteY338" fmla="*/ 4153700 h 6875997"/>
              <a:gd name="connsiteX339" fmla="*/ 349802 w 12191995"/>
              <a:gd name="connsiteY339" fmla="*/ 4801024 h 6875997"/>
              <a:gd name="connsiteX340" fmla="*/ 315592 w 12191995"/>
              <a:gd name="connsiteY340" fmla="*/ 4801024 h 6875997"/>
              <a:gd name="connsiteX341" fmla="*/ 315592 w 12191995"/>
              <a:gd name="connsiteY341" fmla="*/ 4835231 h 6875997"/>
              <a:gd name="connsiteX342" fmla="*/ 0 w 12191995"/>
              <a:gd name="connsiteY342" fmla="*/ 4835231 h 687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12191995" h="6875997">
                <a:moveTo>
                  <a:pt x="11039468" y="6562722"/>
                </a:moveTo>
                <a:cubicBezTo>
                  <a:pt x="11037411" y="6563401"/>
                  <a:pt x="11035353" y="6564080"/>
                  <a:pt x="11033982" y="6564080"/>
                </a:cubicBezTo>
                <a:lnTo>
                  <a:pt x="10915338" y="6583760"/>
                </a:lnTo>
                <a:cubicBezTo>
                  <a:pt x="10913967" y="6583760"/>
                  <a:pt x="10911223" y="6584438"/>
                  <a:pt x="10909852" y="6585796"/>
                </a:cubicBezTo>
                <a:cubicBezTo>
                  <a:pt x="10878991" y="6608869"/>
                  <a:pt x="10878991" y="6608869"/>
                  <a:pt x="10878991" y="6608869"/>
                </a:cubicBezTo>
                <a:cubicBezTo>
                  <a:pt x="10993519" y="6608869"/>
                  <a:pt x="10993519" y="6608869"/>
                  <a:pt x="10993519" y="6608869"/>
                </a:cubicBezTo>
                <a:cubicBezTo>
                  <a:pt x="10993519" y="6608869"/>
                  <a:pt x="10988719" y="6614298"/>
                  <a:pt x="10981861" y="6615655"/>
                </a:cubicBezTo>
                <a:cubicBezTo>
                  <a:pt x="10975003" y="6617012"/>
                  <a:pt x="10894764" y="6630585"/>
                  <a:pt x="10894764" y="6630585"/>
                </a:cubicBezTo>
                <a:cubicBezTo>
                  <a:pt x="10893393" y="6630585"/>
                  <a:pt x="10890649" y="6631942"/>
                  <a:pt x="10889278" y="6632621"/>
                </a:cubicBezTo>
                <a:cubicBezTo>
                  <a:pt x="10868018" y="6648908"/>
                  <a:pt x="10868018" y="6648908"/>
                  <a:pt x="10868018" y="6648908"/>
                </a:cubicBezTo>
                <a:cubicBezTo>
                  <a:pt x="10889278" y="6651622"/>
                  <a:pt x="10913281" y="6650265"/>
                  <a:pt x="10937284" y="6644157"/>
                </a:cubicBezTo>
                <a:cubicBezTo>
                  <a:pt x="10989405" y="6629906"/>
                  <a:pt x="11028495" y="6597332"/>
                  <a:pt x="11039468" y="6562722"/>
                </a:cubicBezTo>
                <a:close/>
                <a:moveTo>
                  <a:pt x="10791888" y="6557959"/>
                </a:moveTo>
                <a:cubicBezTo>
                  <a:pt x="10787746" y="6570206"/>
                  <a:pt x="10787056" y="6582452"/>
                  <a:pt x="10790507" y="6594018"/>
                </a:cubicBezTo>
                <a:cubicBezTo>
                  <a:pt x="10798099" y="6623274"/>
                  <a:pt x="10827779" y="6643004"/>
                  <a:pt x="10866431" y="6648447"/>
                </a:cubicBezTo>
                <a:cubicBezTo>
                  <a:pt x="10866431" y="6557959"/>
                  <a:pt x="10866431" y="6557959"/>
                  <a:pt x="10866431" y="6557959"/>
                </a:cubicBezTo>
                <a:cubicBezTo>
                  <a:pt x="10791888" y="6557959"/>
                  <a:pt x="10791888" y="6557959"/>
                  <a:pt x="10791888" y="6557959"/>
                </a:cubicBezTo>
                <a:close/>
                <a:moveTo>
                  <a:pt x="11578425" y="6519858"/>
                </a:moveTo>
                <a:cubicBezTo>
                  <a:pt x="11597903" y="6519858"/>
                  <a:pt x="11604619" y="6529119"/>
                  <a:pt x="11604619" y="6543009"/>
                </a:cubicBezTo>
                <a:cubicBezTo>
                  <a:pt x="11604619" y="6549624"/>
                  <a:pt x="11603947" y="6551608"/>
                  <a:pt x="11599918" y="6551608"/>
                </a:cubicBezTo>
                <a:cubicBezTo>
                  <a:pt x="11552231" y="6551608"/>
                  <a:pt x="11552231" y="6551608"/>
                  <a:pt x="11552231" y="6551608"/>
                </a:cubicBezTo>
                <a:cubicBezTo>
                  <a:pt x="11552231" y="6546978"/>
                  <a:pt x="11552903" y="6543671"/>
                  <a:pt x="11552903" y="6543671"/>
                </a:cubicBezTo>
                <a:cubicBezTo>
                  <a:pt x="11554246" y="6531103"/>
                  <a:pt x="11560291" y="6519858"/>
                  <a:pt x="11578425" y="6519858"/>
                </a:cubicBezTo>
                <a:close/>
                <a:moveTo>
                  <a:pt x="11218855" y="6519858"/>
                </a:moveTo>
                <a:cubicBezTo>
                  <a:pt x="11238231" y="6519858"/>
                  <a:pt x="11245843" y="6529119"/>
                  <a:pt x="11245843" y="6543009"/>
                </a:cubicBezTo>
                <a:cubicBezTo>
                  <a:pt x="11245151" y="6549624"/>
                  <a:pt x="11244459" y="6551608"/>
                  <a:pt x="11240307" y="6551608"/>
                </a:cubicBezTo>
                <a:cubicBezTo>
                  <a:pt x="11191868" y="6551608"/>
                  <a:pt x="11191868" y="6551608"/>
                  <a:pt x="11191868" y="6551608"/>
                </a:cubicBezTo>
                <a:cubicBezTo>
                  <a:pt x="11191868" y="6546978"/>
                  <a:pt x="11191868" y="6543671"/>
                  <a:pt x="11191868" y="6543671"/>
                </a:cubicBezTo>
                <a:cubicBezTo>
                  <a:pt x="11193252" y="6531103"/>
                  <a:pt x="11199480" y="6519858"/>
                  <a:pt x="11218855" y="6519858"/>
                </a:cubicBezTo>
                <a:close/>
                <a:moveTo>
                  <a:pt x="11625256" y="6503984"/>
                </a:moveTo>
                <a:cubicBezTo>
                  <a:pt x="11632129" y="6508092"/>
                  <a:pt x="11636940" y="6513569"/>
                  <a:pt x="11640376" y="6520415"/>
                </a:cubicBezTo>
                <a:cubicBezTo>
                  <a:pt x="11674052" y="6520415"/>
                  <a:pt x="11674052" y="6520415"/>
                  <a:pt x="11674052" y="6520415"/>
                </a:cubicBezTo>
                <a:cubicBezTo>
                  <a:pt x="11674052" y="6613522"/>
                  <a:pt x="11674052" y="6613522"/>
                  <a:pt x="11674052" y="6613522"/>
                </a:cubicBezTo>
                <a:cubicBezTo>
                  <a:pt x="11700169" y="6613522"/>
                  <a:pt x="11700169" y="6613522"/>
                  <a:pt x="11700169" y="6613522"/>
                </a:cubicBezTo>
                <a:cubicBezTo>
                  <a:pt x="11700169" y="6520415"/>
                  <a:pt x="11700169" y="6520415"/>
                  <a:pt x="11700169" y="6520415"/>
                </a:cubicBezTo>
                <a:lnTo>
                  <a:pt x="11737969" y="6520415"/>
                </a:lnTo>
                <a:cubicBezTo>
                  <a:pt x="11737969" y="6503984"/>
                  <a:pt x="11737969" y="6503984"/>
                  <a:pt x="11737969" y="6503984"/>
                </a:cubicBezTo>
                <a:cubicBezTo>
                  <a:pt x="11625256" y="6503984"/>
                  <a:pt x="11625256" y="6503984"/>
                  <a:pt x="11625256" y="6503984"/>
                </a:cubicBezTo>
                <a:close/>
                <a:moveTo>
                  <a:pt x="11426949" y="6503984"/>
                </a:moveTo>
                <a:cubicBezTo>
                  <a:pt x="11413933" y="6504669"/>
                  <a:pt x="11407768" y="6510830"/>
                  <a:pt x="11407768" y="6523153"/>
                </a:cubicBezTo>
                <a:cubicBezTo>
                  <a:pt x="11407768" y="6613522"/>
                  <a:pt x="11407768" y="6613522"/>
                  <a:pt x="11407768" y="6613522"/>
                </a:cubicBezTo>
                <a:cubicBezTo>
                  <a:pt x="11433799" y="6613522"/>
                  <a:pt x="11433799" y="6613522"/>
                  <a:pt x="11433799" y="6613522"/>
                </a:cubicBezTo>
                <a:cubicBezTo>
                  <a:pt x="11433799" y="6525207"/>
                  <a:pt x="11433799" y="6525207"/>
                  <a:pt x="11433799" y="6525207"/>
                </a:cubicBezTo>
                <a:cubicBezTo>
                  <a:pt x="11433799" y="6521784"/>
                  <a:pt x="11435169" y="6520415"/>
                  <a:pt x="11439279" y="6520415"/>
                </a:cubicBezTo>
                <a:cubicBezTo>
                  <a:pt x="11459830" y="6520415"/>
                  <a:pt x="11459830" y="6520415"/>
                  <a:pt x="11459830" y="6520415"/>
                </a:cubicBezTo>
                <a:cubicBezTo>
                  <a:pt x="11475585" y="6520415"/>
                  <a:pt x="11481750" y="6527946"/>
                  <a:pt x="11481750" y="6543692"/>
                </a:cubicBezTo>
                <a:cubicBezTo>
                  <a:pt x="11481750" y="6613522"/>
                  <a:pt x="11481750" y="6613522"/>
                  <a:pt x="11481750" y="6613522"/>
                </a:cubicBezTo>
                <a:cubicBezTo>
                  <a:pt x="11507781" y="6613522"/>
                  <a:pt x="11507781" y="6613522"/>
                  <a:pt x="11507781" y="6613522"/>
                </a:cubicBezTo>
                <a:cubicBezTo>
                  <a:pt x="11507781" y="6541638"/>
                  <a:pt x="11507781" y="6541638"/>
                  <a:pt x="11507781" y="6541638"/>
                </a:cubicBezTo>
                <a:cubicBezTo>
                  <a:pt x="11507781" y="6510146"/>
                  <a:pt x="11485860" y="6504669"/>
                  <a:pt x="11463940" y="6503984"/>
                </a:cubicBezTo>
                <a:cubicBezTo>
                  <a:pt x="11426949" y="6503984"/>
                  <a:pt x="11426949" y="6503984"/>
                  <a:pt x="11426949" y="6503984"/>
                </a:cubicBezTo>
                <a:close/>
                <a:moveTo>
                  <a:pt x="11307887" y="6503984"/>
                </a:moveTo>
                <a:cubicBezTo>
                  <a:pt x="11294871" y="6504669"/>
                  <a:pt x="11288706" y="6510830"/>
                  <a:pt x="11288706" y="6523153"/>
                </a:cubicBezTo>
                <a:cubicBezTo>
                  <a:pt x="11288706" y="6613522"/>
                  <a:pt x="11288706" y="6613522"/>
                  <a:pt x="11288706" y="6613522"/>
                </a:cubicBezTo>
                <a:cubicBezTo>
                  <a:pt x="11314737" y="6613522"/>
                  <a:pt x="11314737" y="6613522"/>
                  <a:pt x="11314737" y="6613522"/>
                </a:cubicBezTo>
                <a:cubicBezTo>
                  <a:pt x="11314737" y="6525207"/>
                  <a:pt x="11314737" y="6525207"/>
                  <a:pt x="11314737" y="6525207"/>
                </a:cubicBezTo>
                <a:cubicBezTo>
                  <a:pt x="11314737" y="6521784"/>
                  <a:pt x="11316107" y="6520415"/>
                  <a:pt x="11320217" y="6520415"/>
                </a:cubicBezTo>
                <a:cubicBezTo>
                  <a:pt x="11340768" y="6520415"/>
                  <a:pt x="11340768" y="6520415"/>
                  <a:pt x="11340768" y="6520415"/>
                </a:cubicBezTo>
                <a:cubicBezTo>
                  <a:pt x="11356523" y="6520415"/>
                  <a:pt x="11362688" y="6527946"/>
                  <a:pt x="11362688" y="6543692"/>
                </a:cubicBezTo>
                <a:cubicBezTo>
                  <a:pt x="11362688" y="6613522"/>
                  <a:pt x="11362688" y="6613522"/>
                  <a:pt x="11362688" y="6613522"/>
                </a:cubicBezTo>
                <a:cubicBezTo>
                  <a:pt x="11388719" y="6613522"/>
                  <a:pt x="11388719" y="6613522"/>
                  <a:pt x="11388719" y="6613522"/>
                </a:cubicBezTo>
                <a:cubicBezTo>
                  <a:pt x="11388719" y="6541638"/>
                  <a:pt x="11388719" y="6541638"/>
                  <a:pt x="11388719" y="6541638"/>
                </a:cubicBezTo>
                <a:cubicBezTo>
                  <a:pt x="11388719" y="6510146"/>
                  <a:pt x="11366798" y="6504669"/>
                  <a:pt x="11344878" y="6503984"/>
                </a:cubicBezTo>
                <a:cubicBezTo>
                  <a:pt x="11307887" y="6503984"/>
                  <a:pt x="11307887" y="6503984"/>
                  <a:pt x="11307887" y="6503984"/>
                </a:cubicBezTo>
                <a:close/>
                <a:moveTo>
                  <a:pt x="11055343" y="6503984"/>
                </a:moveTo>
                <a:cubicBezTo>
                  <a:pt x="11058758" y="6509461"/>
                  <a:pt x="11060124" y="6512884"/>
                  <a:pt x="11062856" y="6520415"/>
                </a:cubicBezTo>
                <a:lnTo>
                  <a:pt x="11098372" y="6520415"/>
                </a:lnTo>
                <a:cubicBezTo>
                  <a:pt x="11098372" y="6520415"/>
                  <a:pt x="11098372" y="6520415"/>
                  <a:pt x="11098372" y="6613522"/>
                </a:cubicBezTo>
                <a:cubicBezTo>
                  <a:pt x="11098372" y="6613522"/>
                  <a:pt x="11098372" y="6613522"/>
                  <a:pt x="11125008" y="6613522"/>
                </a:cubicBezTo>
                <a:cubicBezTo>
                  <a:pt x="11125008" y="6613522"/>
                  <a:pt x="11125008" y="6613522"/>
                  <a:pt x="11125008" y="6520415"/>
                </a:cubicBezTo>
                <a:cubicBezTo>
                  <a:pt x="11125008" y="6520415"/>
                  <a:pt x="11125008" y="6520415"/>
                  <a:pt x="11158475" y="6520415"/>
                </a:cubicBezTo>
                <a:cubicBezTo>
                  <a:pt x="11161207" y="6513569"/>
                  <a:pt x="11166671" y="6508092"/>
                  <a:pt x="11172818" y="6503984"/>
                </a:cubicBezTo>
                <a:cubicBezTo>
                  <a:pt x="11172818" y="6503984"/>
                  <a:pt x="11172818" y="6503984"/>
                  <a:pt x="11055343" y="6503984"/>
                </a:cubicBezTo>
                <a:close/>
                <a:moveTo>
                  <a:pt x="11576751" y="6503134"/>
                </a:moveTo>
                <a:cubicBezTo>
                  <a:pt x="11561947" y="6503645"/>
                  <a:pt x="11547398" y="6508067"/>
                  <a:pt x="11539183" y="6516912"/>
                </a:cubicBezTo>
                <a:cubicBezTo>
                  <a:pt x="11522068" y="6534601"/>
                  <a:pt x="11523437" y="6576103"/>
                  <a:pt x="11533022" y="6593792"/>
                </a:cubicBezTo>
                <a:cubicBezTo>
                  <a:pt x="11535076" y="6598554"/>
                  <a:pt x="11540553" y="6604678"/>
                  <a:pt x="11548083" y="6608760"/>
                </a:cubicBezTo>
                <a:cubicBezTo>
                  <a:pt x="11554245" y="6612162"/>
                  <a:pt x="11562460" y="6613522"/>
                  <a:pt x="11570675" y="6613522"/>
                </a:cubicBezTo>
                <a:cubicBezTo>
                  <a:pt x="11574099" y="6613522"/>
                  <a:pt x="11628183" y="6613522"/>
                  <a:pt x="11628183" y="6613522"/>
                </a:cubicBezTo>
                <a:cubicBezTo>
                  <a:pt x="11628183" y="6597874"/>
                  <a:pt x="11628183" y="6597874"/>
                  <a:pt x="11628183" y="6597874"/>
                </a:cubicBezTo>
                <a:cubicBezTo>
                  <a:pt x="11574783" y="6597874"/>
                  <a:pt x="11574783" y="6597874"/>
                  <a:pt x="11574783" y="6597874"/>
                </a:cubicBezTo>
                <a:cubicBezTo>
                  <a:pt x="11557668" y="6597874"/>
                  <a:pt x="11553560" y="6584947"/>
                  <a:pt x="11552876" y="6572020"/>
                </a:cubicBezTo>
                <a:cubicBezTo>
                  <a:pt x="11552876" y="6570660"/>
                  <a:pt x="11552191" y="6569979"/>
                  <a:pt x="11552191" y="6567938"/>
                </a:cubicBezTo>
                <a:cubicBezTo>
                  <a:pt x="11609698" y="6567938"/>
                  <a:pt x="11609698" y="6567938"/>
                  <a:pt x="11609698" y="6567938"/>
                </a:cubicBezTo>
                <a:cubicBezTo>
                  <a:pt x="11611068" y="6567938"/>
                  <a:pt x="11615860" y="6567938"/>
                  <a:pt x="11619283" y="6567258"/>
                </a:cubicBezTo>
                <a:cubicBezTo>
                  <a:pt x="11624760" y="6565897"/>
                  <a:pt x="11631606" y="6561135"/>
                  <a:pt x="11631606" y="6546847"/>
                </a:cubicBezTo>
                <a:cubicBezTo>
                  <a:pt x="11631606" y="6529838"/>
                  <a:pt x="11625444" y="6519633"/>
                  <a:pt x="11615860" y="6512829"/>
                </a:cubicBezTo>
                <a:cubicBezTo>
                  <a:pt x="11606618" y="6506026"/>
                  <a:pt x="11591556" y="6502624"/>
                  <a:pt x="11576751" y="6503134"/>
                </a:cubicBezTo>
                <a:close/>
                <a:moveTo>
                  <a:pt x="11215941" y="6503134"/>
                </a:moveTo>
                <a:cubicBezTo>
                  <a:pt x="11200922" y="6503645"/>
                  <a:pt x="11186163" y="6508067"/>
                  <a:pt x="11177481" y="6516912"/>
                </a:cubicBezTo>
                <a:cubicBezTo>
                  <a:pt x="11160118" y="6534601"/>
                  <a:pt x="11162202" y="6576103"/>
                  <a:pt x="11171231" y="6593792"/>
                </a:cubicBezTo>
                <a:cubicBezTo>
                  <a:pt x="11174009" y="6598554"/>
                  <a:pt x="11178870" y="6604678"/>
                  <a:pt x="11187205" y="6608760"/>
                </a:cubicBezTo>
                <a:cubicBezTo>
                  <a:pt x="11192761" y="6612162"/>
                  <a:pt x="11201095" y="6613522"/>
                  <a:pt x="11209430" y="6613522"/>
                </a:cubicBezTo>
                <a:cubicBezTo>
                  <a:pt x="11212902" y="6613522"/>
                  <a:pt x="11267770" y="6613522"/>
                  <a:pt x="11267770" y="6613522"/>
                </a:cubicBezTo>
                <a:cubicBezTo>
                  <a:pt x="11267770" y="6597874"/>
                  <a:pt x="11267770" y="6597874"/>
                  <a:pt x="11267770" y="6597874"/>
                </a:cubicBezTo>
                <a:cubicBezTo>
                  <a:pt x="11213597" y="6597874"/>
                  <a:pt x="11213597" y="6597874"/>
                  <a:pt x="11213597" y="6597874"/>
                </a:cubicBezTo>
                <a:cubicBezTo>
                  <a:pt x="11196234" y="6597874"/>
                  <a:pt x="11192066" y="6584947"/>
                  <a:pt x="11191372" y="6572020"/>
                </a:cubicBezTo>
                <a:cubicBezTo>
                  <a:pt x="11191372" y="6570660"/>
                  <a:pt x="11191372" y="6569979"/>
                  <a:pt x="11191372" y="6567938"/>
                </a:cubicBezTo>
                <a:cubicBezTo>
                  <a:pt x="11249713" y="6567938"/>
                  <a:pt x="11249713" y="6567938"/>
                  <a:pt x="11249713" y="6567938"/>
                </a:cubicBezTo>
                <a:cubicBezTo>
                  <a:pt x="11250407" y="6567938"/>
                  <a:pt x="11255963" y="6567938"/>
                  <a:pt x="11258741" y="6567258"/>
                </a:cubicBezTo>
                <a:cubicBezTo>
                  <a:pt x="11264992" y="6565897"/>
                  <a:pt x="11271243" y="6561135"/>
                  <a:pt x="11271243" y="6546847"/>
                </a:cubicBezTo>
                <a:cubicBezTo>
                  <a:pt x="11271243" y="6529838"/>
                  <a:pt x="11264992" y="6519633"/>
                  <a:pt x="11255963" y="6512829"/>
                </a:cubicBezTo>
                <a:cubicBezTo>
                  <a:pt x="11246240" y="6506026"/>
                  <a:pt x="11230960" y="6502624"/>
                  <a:pt x="11215941" y="6503134"/>
                </a:cubicBezTo>
                <a:close/>
                <a:moveTo>
                  <a:pt x="10943122" y="6471560"/>
                </a:moveTo>
                <a:cubicBezTo>
                  <a:pt x="10927039" y="6471325"/>
                  <a:pt x="10909962" y="6473375"/>
                  <a:pt x="10892671" y="6477989"/>
                </a:cubicBezTo>
                <a:cubicBezTo>
                  <a:pt x="10848843" y="6489609"/>
                  <a:pt x="10813918" y="6515582"/>
                  <a:pt x="10798168" y="6544289"/>
                </a:cubicBezTo>
                <a:cubicBezTo>
                  <a:pt x="10954988" y="6519683"/>
                  <a:pt x="10954988" y="6519683"/>
                  <a:pt x="10954988" y="6519683"/>
                </a:cubicBezTo>
                <a:cubicBezTo>
                  <a:pt x="10904313" y="6557959"/>
                  <a:pt x="10904313" y="6557959"/>
                  <a:pt x="10904313" y="6557959"/>
                </a:cubicBezTo>
                <a:cubicBezTo>
                  <a:pt x="11039904" y="6557959"/>
                  <a:pt x="11039904" y="6557959"/>
                  <a:pt x="11039904" y="6557959"/>
                </a:cubicBezTo>
                <a:cubicBezTo>
                  <a:pt x="11042643" y="6547707"/>
                  <a:pt x="11042643" y="6537454"/>
                  <a:pt x="11039904" y="6527885"/>
                </a:cubicBezTo>
                <a:cubicBezTo>
                  <a:pt x="11030659" y="6493538"/>
                  <a:pt x="10991368" y="6472264"/>
                  <a:pt x="10943122" y="6471560"/>
                </a:cubicBezTo>
                <a:close/>
                <a:moveTo>
                  <a:pt x="387606" y="5558169"/>
                </a:moveTo>
                <a:lnTo>
                  <a:pt x="1034211" y="5558169"/>
                </a:lnTo>
                <a:lnTo>
                  <a:pt x="1034211" y="5592376"/>
                </a:lnTo>
                <a:lnTo>
                  <a:pt x="1068421" y="5592376"/>
                </a:lnTo>
                <a:lnTo>
                  <a:pt x="1068421" y="6239697"/>
                </a:lnTo>
                <a:lnTo>
                  <a:pt x="1034209" y="6239697"/>
                </a:lnTo>
                <a:lnTo>
                  <a:pt x="1034209" y="6273904"/>
                </a:lnTo>
                <a:lnTo>
                  <a:pt x="387605" y="6273904"/>
                </a:lnTo>
                <a:lnTo>
                  <a:pt x="387605" y="6239697"/>
                </a:lnTo>
                <a:lnTo>
                  <a:pt x="353402" y="6239697"/>
                </a:lnTo>
                <a:lnTo>
                  <a:pt x="353402" y="5592376"/>
                </a:lnTo>
                <a:lnTo>
                  <a:pt x="387606" y="5592376"/>
                </a:lnTo>
                <a:close/>
                <a:moveTo>
                  <a:pt x="0" y="5558169"/>
                </a:moveTo>
                <a:lnTo>
                  <a:pt x="315592" y="5558169"/>
                </a:lnTo>
                <a:lnTo>
                  <a:pt x="315592" y="5592376"/>
                </a:lnTo>
                <a:lnTo>
                  <a:pt x="349802" y="5592376"/>
                </a:lnTo>
                <a:lnTo>
                  <a:pt x="349802" y="6239697"/>
                </a:lnTo>
                <a:lnTo>
                  <a:pt x="315591" y="6239697"/>
                </a:lnTo>
                <a:lnTo>
                  <a:pt x="315591" y="6273904"/>
                </a:lnTo>
                <a:lnTo>
                  <a:pt x="0" y="6273904"/>
                </a:lnTo>
                <a:close/>
                <a:moveTo>
                  <a:pt x="387606" y="4838831"/>
                </a:moveTo>
                <a:lnTo>
                  <a:pt x="1034211" y="4838831"/>
                </a:lnTo>
                <a:lnTo>
                  <a:pt x="1034211" y="4873038"/>
                </a:lnTo>
                <a:lnTo>
                  <a:pt x="1068421" y="4873038"/>
                </a:lnTo>
                <a:lnTo>
                  <a:pt x="1068421" y="5520362"/>
                </a:lnTo>
                <a:lnTo>
                  <a:pt x="1034211" y="5520362"/>
                </a:lnTo>
                <a:lnTo>
                  <a:pt x="1034211" y="5554569"/>
                </a:lnTo>
                <a:lnTo>
                  <a:pt x="387606" y="5554569"/>
                </a:lnTo>
                <a:lnTo>
                  <a:pt x="387606" y="5520362"/>
                </a:lnTo>
                <a:lnTo>
                  <a:pt x="353402" y="5520362"/>
                </a:lnTo>
                <a:lnTo>
                  <a:pt x="353402" y="4873038"/>
                </a:lnTo>
                <a:lnTo>
                  <a:pt x="387606" y="4873038"/>
                </a:lnTo>
                <a:close/>
                <a:moveTo>
                  <a:pt x="0" y="4838831"/>
                </a:moveTo>
                <a:lnTo>
                  <a:pt x="315592" y="4838831"/>
                </a:lnTo>
                <a:lnTo>
                  <a:pt x="315592" y="4873038"/>
                </a:lnTo>
                <a:lnTo>
                  <a:pt x="349802" y="4873038"/>
                </a:lnTo>
                <a:lnTo>
                  <a:pt x="349802" y="5520362"/>
                </a:lnTo>
                <a:lnTo>
                  <a:pt x="315592" y="5520362"/>
                </a:lnTo>
                <a:lnTo>
                  <a:pt x="315592" y="5554569"/>
                </a:lnTo>
                <a:lnTo>
                  <a:pt x="0" y="5554569"/>
                </a:lnTo>
                <a:close/>
                <a:moveTo>
                  <a:pt x="387607" y="4119493"/>
                </a:moveTo>
                <a:lnTo>
                  <a:pt x="1034211" y="4119493"/>
                </a:lnTo>
                <a:lnTo>
                  <a:pt x="1034211" y="4153700"/>
                </a:lnTo>
                <a:lnTo>
                  <a:pt x="1068421" y="4153700"/>
                </a:lnTo>
                <a:lnTo>
                  <a:pt x="1068421" y="4801024"/>
                </a:lnTo>
                <a:lnTo>
                  <a:pt x="1034211" y="4801024"/>
                </a:lnTo>
                <a:lnTo>
                  <a:pt x="1034211" y="4835231"/>
                </a:lnTo>
                <a:lnTo>
                  <a:pt x="387606" y="4835231"/>
                </a:lnTo>
                <a:lnTo>
                  <a:pt x="387606" y="4801024"/>
                </a:lnTo>
                <a:lnTo>
                  <a:pt x="353402" y="4801024"/>
                </a:lnTo>
                <a:lnTo>
                  <a:pt x="353402" y="4153700"/>
                </a:lnTo>
                <a:lnTo>
                  <a:pt x="387607" y="4153700"/>
                </a:lnTo>
                <a:close/>
                <a:moveTo>
                  <a:pt x="387607" y="3400156"/>
                </a:moveTo>
                <a:lnTo>
                  <a:pt x="1034211" y="3400156"/>
                </a:lnTo>
                <a:lnTo>
                  <a:pt x="1034211" y="3434363"/>
                </a:lnTo>
                <a:lnTo>
                  <a:pt x="1068421" y="3434363"/>
                </a:lnTo>
                <a:lnTo>
                  <a:pt x="1068421" y="4081686"/>
                </a:lnTo>
                <a:lnTo>
                  <a:pt x="1034211" y="4081686"/>
                </a:lnTo>
                <a:lnTo>
                  <a:pt x="1034211" y="4115893"/>
                </a:lnTo>
                <a:lnTo>
                  <a:pt x="387607" y="4115893"/>
                </a:lnTo>
                <a:lnTo>
                  <a:pt x="387607" y="4081686"/>
                </a:lnTo>
                <a:lnTo>
                  <a:pt x="353402" y="4081686"/>
                </a:lnTo>
                <a:lnTo>
                  <a:pt x="353402" y="3434363"/>
                </a:lnTo>
                <a:lnTo>
                  <a:pt x="387607" y="3434363"/>
                </a:lnTo>
                <a:close/>
                <a:moveTo>
                  <a:pt x="387606" y="2680820"/>
                </a:moveTo>
                <a:lnTo>
                  <a:pt x="1034211" y="2680820"/>
                </a:lnTo>
                <a:lnTo>
                  <a:pt x="1034211" y="2715026"/>
                </a:lnTo>
                <a:lnTo>
                  <a:pt x="1068421" y="2715026"/>
                </a:lnTo>
                <a:lnTo>
                  <a:pt x="1068421" y="3362349"/>
                </a:lnTo>
                <a:lnTo>
                  <a:pt x="1034211" y="3362349"/>
                </a:lnTo>
                <a:lnTo>
                  <a:pt x="1034211" y="3396556"/>
                </a:lnTo>
                <a:lnTo>
                  <a:pt x="387607" y="3396556"/>
                </a:lnTo>
                <a:lnTo>
                  <a:pt x="387607" y="3362349"/>
                </a:lnTo>
                <a:lnTo>
                  <a:pt x="353402" y="3362349"/>
                </a:lnTo>
                <a:lnTo>
                  <a:pt x="353402" y="2715026"/>
                </a:lnTo>
                <a:lnTo>
                  <a:pt x="387606" y="2715026"/>
                </a:lnTo>
                <a:close/>
                <a:moveTo>
                  <a:pt x="387608" y="1961483"/>
                </a:moveTo>
                <a:lnTo>
                  <a:pt x="1034213" y="1961483"/>
                </a:lnTo>
                <a:lnTo>
                  <a:pt x="1034213" y="1995689"/>
                </a:lnTo>
                <a:lnTo>
                  <a:pt x="1068421" y="1995689"/>
                </a:lnTo>
                <a:lnTo>
                  <a:pt x="1068421" y="2643013"/>
                </a:lnTo>
                <a:lnTo>
                  <a:pt x="1034211" y="2643013"/>
                </a:lnTo>
                <a:lnTo>
                  <a:pt x="1034211" y="2677220"/>
                </a:lnTo>
                <a:lnTo>
                  <a:pt x="387606" y="2677220"/>
                </a:lnTo>
                <a:lnTo>
                  <a:pt x="387606" y="2643013"/>
                </a:lnTo>
                <a:lnTo>
                  <a:pt x="353402" y="2643013"/>
                </a:lnTo>
                <a:lnTo>
                  <a:pt x="353402" y="1995689"/>
                </a:lnTo>
                <a:lnTo>
                  <a:pt x="387608" y="1995689"/>
                </a:lnTo>
                <a:close/>
                <a:moveTo>
                  <a:pt x="387608" y="1242144"/>
                </a:moveTo>
                <a:lnTo>
                  <a:pt x="1034213" y="1242144"/>
                </a:lnTo>
                <a:lnTo>
                  <a:pt x="1034213" y="1276351"/>
                </a:lnTo>
                <a:lnTo>
                  <a:pt x="1068421" y="1276351"/>
                </a:lnTo>
                <a:lnTo>
                  <a:pt x="1068421" y="1923675"/>
                </a:lnTo>
                <a:lnTo>
                  <a:pt x="1034213" y="1923675"/>
                </a:lnTo>
                <a:lnTo>
                  <a:pt x="1034213" y="1957883"/>
                </a:lnTo>
                <a:lnTo>
                  <a:pt x="387608" y="1957883"/>
                </a:lnTo>
                <a:lnTo>
                  <a:pt x="387608" y="1923675"/>
                </a:lnTo>
                <a:lnTo>
                  <a:pt x="353402" y="1923675"/>
                </a:lnTo>
                <a:lnTo>
                  <a:pt x="353402" y="1276351"/>
                </a:lnTo>
                <a:lnTo>
                  <a:pt x="387608" y="1276351"/>
                </a:lnTo>
                <a:close/>
                <a:moveTo>
                  <a:pt x="387607" y="522805"/>
                </a:moveTo>
                <a:lnTo>
                  <a:pt x="1034211" y="522805"/>
                </a:lnTo>
                <a:lnTo>
                  <a:pt x="1034211" y="557012"/>
                </a:lnTo>
                <a:lnTo>
                  <a:pt x="1068421" y="557012"/>
                </a:lnTo>
                <a:lnTo>
                  <a:pt x="1068421" y="1204337"/>
                </a:lnTo>
                <a:lnTo>
                  <a:pt x="1034213" y="1204337"/>
                </a:lnTo>
                <a:lnTo>
                  <a:pt x="1034213" y="1238545"/>
                </a:lnTo>
                <a:lnTo>
                  <a:pt x="387608" y="1238545"/>
                </a:lnTo>
                <a:lnTo>
                  <a:pt x="387608" y="1204337"/>
                </a:lnTo>
                <a:lnTo>
                  <a:pt x="353402" y="1204337"/>
                </a:lnTo>
                <a:lnTo>
                  <a:pt x="353402" y="557012"/>
                </a:lnTo>
                <a:lnTo>
                  <a:pt x="387607" y="557012"/>
                </a:lnTo>
                <a:close/>
                <a:moveTo>
                  <a:pt x="1072021" y="0"/>
                </a:moveTo>
                <a:lnTo>
                  <a:pt x="1152939" y="0"/>
                </a:lnTo>
                <a:lnTo>
                  <a:pt x="1152939" y="6"/>
                </a:lnTo>
                <a:lnTo>
                  <a:pt x="12191995" y="6"/>
                </a:lnTo>
                <a:lnTo>
                  <a:pt x="12191995" y="6875997"/>
                </a:lnTo>
                <a:lnTo>
                  <a:pt x="11" y="6875997"/>
                </a:lnTo>
                <a:lnTo>
                  <a:pt x="11" y="6875990"/>
                </a:lnTo>
                <a:lnTo>
                  <a:pt x="0" y="6875990"/>
                </a:lnTo>
                <a:lnTo>
                  <a:pt x="0" y="6277504"/>
                </a:lnTo>
                <a:lnTo>
                  <a:pt x="315591" y="6277504"/>
                </a:lnTo>
                <a:lnTo>
                  <a:pt x="315591" y="6311711"/>
                </a:lnTo>
                <a:lnTo>
                  <a:pt x="349802" y="6311711"/>
                </a:lnTo>
                <a:lnTo>
                  <a:pt x="349802" y="6857996"/>
                </a:lnTo>
                <a:lnTo>
                  <a:pt x="353402" y="6857996"/>
                </a:lnTo>
                <a:lnTo>
                  <a:pt x="353402" y="6311711"/>
                </a:lnTo>
                <a:lnTo>
                  <a:pt x="387605" y="6311711"/>
                </a:lnTo>
                <a:lnTo>
                  <a:pt x="387605" y="6277504"/>
                </a:lnTo>
                <a:lnTo>
                  <a:pt x="1034209" y="6277504"/>
                </a:lnTo>
                <a:lnTo>
                  <a:pt x="1034209" y="6311711"/>
                </a:lnTo>
                <a:lnTo>
                  <a:pt x="1068421" y="6311711"/>
                </a:lnTo>
                <a:lnTo>
                  <a:pt x="1068421" y="6857996"/>
                </a:lnTo>
                <a:lnTo>
                  <a:pt x="1072021" y="6857996"/>
                </a:lnTo>
                <a:lnTo>
                  <a:pt x="1072021" y="6311711"/>
                </a:lnTo>
                <a:lnTo>
                  <a:pt x="1106224" y="6311711"/>
                </a:lnTo>
                <a:lnTo>
                  <a:pt x="1106224" y="6239697"/>
                </a:lnTo>
                <a:lnTo>
                  <a:pt x="1072021" y="6239697"/>
                </a:lnTo>
                <a:lnTo>
                  <a:pt x="1072021" y="5592376"/>
                </a:lnTo>
                <a:lnTo>
                  <a:pt x="1106225" y="5592376"/>
                </a:lnTo>
                <a:lnTo>
                  <a:pt x="1106225" y="5520362"/>
                </a:lnTo>
                <a:lnTo>
                  <a:pt x="1072021" y="5520362"/>
                </a:lnTo>
                <a:lnTo>
                  <a:pt x="1072021" y="4873038"/>
                </a:lnTo>
                <a:lnTo>
                  <a:pt x="1106225" y="4873038"/>
                </a:lnTo>
                <a:lnTo>
                  <a:pt x="1106225" y="4801024"/>
                </a:lnTo>
                <a:lnTo>
                  <a:pt x="1072021" y="4801024"/>
                </a:lnTo>
                <a:lnTo>
                  <a:pt x="1072021" y="4153700"/>
                </a:lnTo>
                <a:lnTo>
                  <a:pt x="1106226" y="4153700"/>
                </a:lnTo>
                <a:lnTo>
                  <a:pt x="1106226" y="4081686"/>
                </a:lnTo>
                <a:lnTo>
                  <a:pt x="1072021" y="4081686"/>
                </a:lnTo>
                <a:lnTo>
                  <a:pt x="1072021" y="3434363"/>
                </a:lnTo>
                <a:lnTo>
                  <a:pt x="1106226" y="3434363"/>
                </a:lnTo>
                <a:lnTo>
                  <a:pt x="1106226" y="3362349"/>
                </a:lnTo>
                <a:lnTo>
                  <a:pt x="1072021" y="3362349"/>
                </a:lnTo>
                <a:lnTo>
                  <a:pt x="1072021" y="2715026"/>
                </a:lnTo>
                <a:lnTo>
                  <a:pt x="1106225" y="2715026"/>
                </a:lnTo>
                <a:lnTo>
                  <a:pt x="1106225" y="2643013"/>
                </a:lnTo>
                <a:lnTo>
                  <a:pt x="1072021" y="2643013"/>
                </a:lnTo>
                <a:lnTo>
                  <a:pt x="1072021" y="1995689"/>
                </a:lnTo>
                <a:lnTo>
                  <a:pt x="1106227" y="1995689"/>
                </a:lnTo>
                <a:lnTo>
                  <a:pt x="1106227" y="1923675"/>
                </a:lnTo>
                <a:lnTo>
                  <a:pt x="1072021" y="1923675"/>
                </a:lnTo>
                <a:lnTo>
                  <a:pt x="1072021" y="1276351"/>
                </a:lnTo>
                <a:lnTo>
                  <a:pt x="1106227" y="1276351"/>
                </a:lnTo>
                <a:lnTo>
                  <a:pt x="1106227" y="1204337"/>
                </a:lnTo>
                <a:lnTo>
                  <a:pt x="1072021" y="1204337"/>
                </a:lnTo>
                <a:lnTo>
                  <a:pt x="1072021" y="557012"/>
                </a:lnTo>
                <a:lnTo>
                  <a:pt x="1106226" y="557012"/>
                </a:lnTo>
                <a:lnTo>
                  <a:pt x="1106226" y="484998"/>
                </a:lnTo>
                <a:lnTo>
                  <a:pt x="1072021" y="484998"/>
                </a:lnTo>
                <a:close/>
                <a:moveTo>
                  <a:pt x="353402" y="0"/>
                </a:moveTo>
                <a:lnTo>
                  <a:pt x="1068421" y="0"/>
                </a:lnTo>
                <a:lnTo>
                  <a:pt x="1068421" y="484998"/>
                </a:lnTo>
                <a:lnTo>
                  <a:pt x="1034211" y="484998"/>
                </a:lnTo>
                <a:lnTo>
                  <a:pt x="1034211" y="519205"/>
                </a:lnTo>
                <a:lnTo>
                  <a:pt x="387607" y="519205"/>
                </a:lnTo>
                <a:lnTo>
                  <a:pt x="387607" y="484998"/>
                </a:lnTo>
                <a:lnTo>
                  <a:pt x="353402" y="484998"/>
                </a:lnTo>
                <a:close/>
                <a:moveTo>
                  <a:pt x="0" y="0"/>
                </a:moveTo>
                <a:lnTo>
                  <a:pt x="349802" y="0"/>
                </a:lnTo>
                <a:lnTo>
                  <a:pt x="349802" y="484998"/>
                </a:lnTo>
                <a:lnTo>
                  <a:pt x="315593" y="484998"/>
                </a:lnTo>
                <a:lnTo>
                  <a:pt x="315593" y="519205"/>
                </a:lnTo>
                <a:lnTo>
                  <a:pt x="1" y="519205"/>
                </a:lnTo>
                <a:lnTo>
                  <a:pt x="1" y="522805"/>
                </a:lnTo>
                <a:lnTo>
                  <a:pt x="315593" y="522805"/>
                </a:lnTo>
                <a:lnTo>
                  <a:pt x="315593" y="557012"/>
                </a:lnTo>
                <a:lnTo>
                  <a:pt x="349802" y="557012"/>
                </a:lnTo>
                <a:lnTo>
                  <a:pt x="349802" y="1204337"/>
                </a:lnTo>
                <a:lnTo>
                  <a:pt x="315594" y="1204337"/>
                </a:lnTo>
                <a:lnTo>
                  <a:pt x="315594" y="1238545"/>
                </a:lnTo>
                <a:lnTo>
                  <a:pt x="1" y="1238545"/>
                </a:lnTo>
                <a:lnTo>
                  <a:pt x="1" y="1242144"/>
                </a:lnTo>
                <a:lnTo>
                  <a:pt x="315594" y="1242144"/>
                </a:lnTo>
                <a:lnTo>
                  <a:pt x="315594" y="1276351"/>
                </a:lnTo>
                <a:lnTo>
                  <a:pt x="349802" y="1276351"/>
                </a:lnTo>
                <a:lnTo>
                  <a:pt x="349802" y="1923675"/>
                </a:lnTo>
                <a:lnTo>
                  <a:pt x="315594" y="1923675"/>
                </a:lnTo>
                <a:lnTo>
                  <a:pt x="315594" y="1957883"/>
                </a:lnTo>
                <a:lnTo>
                  <a:pt x="1" y="1957883"/>
                </a:lnTo>
                <a:lnTo>
                  <a:pt x="1" y="1961483"/>
                </a:lnTo>
                <a:lnTo>
                  <a:pt x="315594" y="1961483"/>
                </a:lnTo>
                <a:lnTo>
                  <a:pt x="315594" y="1995689"/>
                </a:lnTo>
                <a:lnTo>
                  <a:pt x="349802" y="1995689"/>
                </a:lnTo>
                <a:lnTo>
                  <a:pt x="349802" y="2643013"/>
                </a:lnTo>
                <a:lnTo>
                  <a:pt x="315592" y="2643013"/>
                </a:lnTo>
                <a:lnTo>
                  <a:pt x="315592" y="2677220"/>
                </a:lnTo>
                <a:lnTo>
                  <a:pt x="1" y="2677220"/>
                </a:lnTo>
                <a:lnTo>
                  <a:pt x="1" y="2680820"/>
                </a:lnTo>
                <a:lnTo>
                  <a:pt x="315592" y="2680820"/>
                </a:lnTo>
                <a:lnTo>
                  <a:pt x="315592" y="2715026"/>
                </a:lnTo>
                <a:lnTo>
                  <a:pt x="349802" y="2715026"/>
                </a:lnTo>
                <a:lnTo>
                  <a:pt x="349802" y="3362349"/>
                </a:lnTo>
                <a:lnTo>
                  <a:pt x="315593" y="3362349"/>
                </a:lnTo>
                <a:lnTo>
                  <a:pt x="315593" y="3396556"/>
                </a:lnTo>
                <a:lnTo>
                  <a:pt x="1" y="3396556"/>
                </a:lnTo>
                <a:lnTo>
                  <a:pt x="1" y="3400156"/>
                </a:lnTo>
                <a:lnTo>
                  <a:pt x="315593" y="3400156"/>
                </a:lnTo>
                <a:lnTo>
                  <a:pt x="315593" y="3434363"/>
                </a:lnTo>
                <a:lnTo>
                  <a:pt x="349802" y="3434363"/>
                </a:lnTo>
                <a:lnTo>
                  <a:pt x="349802" y="4081686"/>
                </a:lnTo>
                <a:lnTo>
                  <a:pt x="315593" y="4081686"/>
                </a:lnTo>
                <a:lnTo>
                  <a:pt x="315593" y="4115893"/>
                </a:lnTo>
                <a:lnTo>
                  <a:pt x="1" y="4115893"/>
                </a:lnTo>
                <a:lnTo>
                  <a:pt x="1" y="4119493"/>
                </a:lnTo>
                <a:lnTo>
                  <a:pt x="315593" y="4119493"/>
                </a:lnTo>
                <a:lnTo>
                  <a:pt x="315593" y="4153700"/>
                </a:lnTo>
                <a:lnTo>
                  <a:pt x="349802" y="4153700"/>
                </a:lnTo>
                <a:lnTo>
                  <a:pt x="349802" y="4801024"/>
                </a:lnTo>
                <a:lnTo>
                  <a:pt x="315592" y="4801024"/>
                </a:lnTo>
                <a:lnTo>
                  <a:pt x="315592" y="4835231"/>
                </a:lnTo>
                <a:lnTo>
                  <a:pt x="0" y="4835231"/>
                </a:lnTo>
                <a:close/>
              </a:path>
            </a:pathLst>
          </a:custGeom>
          <a:solidFill>
            <a:srgbClr val="EAEEF0"/>
          </a:solidFill>
        </p:spPr>
        <p:txBody>
          <a:bodyPr wrap="square" anchor="ctr">
            <a:noAutofit/>
          </a:bodyPr>
          <a:lstStyle>
            <a:lvl1pPr marL="0" marR="0" indent="0" algn="ctr" defTabSz="914400" rtl="0" eaLnBrk="1" fontAlgn="ctr" latinLnBrk="0" hangingPunct="1">
              <a:lnSpc>
                <a:spcPct val="90000"/>
              </a:lnSpc>
              <a:spcBef>
                <a:spcPts val="0"/>
              </a:spcBef>
              <a:spcAft>
                <a:spcPts val="0"/>
              </a:spcAft>
              <a:buClrTx/>
              <a:buSzPct val="80000"/>
              <a:buFont typeface="Systeemlettertype regulier"/>
              <a:buNone/>
              <a:tabLst/>
              <a:defRPr sz="1000" b="1">
                <a:solidFill>
                  <a:schemeClr val="tx2"/>
                </a:solidFill>
              </a:defRPr>
            </a:lvl1pPr>
          </a:lstStyle>
          <a:p>
            <a:pPr marL="0" marR="0" lvl="0" indent="-252000" algn="ctr" defTabSz="914400" rtl="0" eaLnBrk="1" fontAlgn="ctr" latinLnBrk="0" hangingPunct="1">
              <a:lnSpc>
                <a:spcPct val="90000"/>
              </a:lnSpc>
              <a:spcBef>
                <a:spcPts val="500"/>
              </a:spcBef>
              <a:spcAft>
                <a:spcPts val="0"/>
              </a:spcAft>
              <a:buClrTx/>
              <a:buSzPct val="80000"/>
              <a:buFont typeface="Systeemlettertype regulier"/>
              <a:buNone/>
              <a:tabLst/>
              <a:defRPr/>
            </a:pPr>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99E76206-2DB0-4235-87CB-C244763C8189}"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solidFill>
                  <a:schemeClr val="bg1"/>
                </a:solidFill>
              </a:defRPr>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en-GB" noProof="0" smtClean="0"/>
              <a:pPr/>
              <a:t>‹Nr.›</a:t>
            </a:fld>
            <a:endParaRPr lang="en-GB" noProof="0" dirty="0"/>
          </a:p>
        </p:txBody>
      </p:sp>
      <p:sp>
        <p:nvSpPr>
          <p:cNvPr id="2" name="Titel 1">
            <a:extLst>
              <a:ext uri="{FF2B5EF4-FFF2-40B4-BE49-F238E27FC236}">
                <a16:creationId xmlns:a16="http://schemas.microsoft.com/office/drawing/2014/main" id="{BA6D52F5-096C-A444-9DE0-B9963C23AB1F}"/>
              </a:ext>
            </a:extLst>
          </p:cNvPr>
          <p:cNvSpPr>
            <a:spLocks noGrp="1"/>
          </p:cNvSpPr>
          <p:nvPr>
            <p:ph type="title"/>
          </p:nvPr>
        </p:nvSpPr>
        <p:spPr/>
        <p:txBody>
          <a:bodyPr/>
          <a:lstStyle>
            <a:lvl1pPr>
              <a:defRPr>
                <a:solidFill>
                  <a:schemeClr val="bg1"/>
                </a:solidFill>
              </a:defRPr>
            </a:lvl1pPr>
          </a:lstStyle>
          <a:p>
            <a:r>
              <a:rPr lang="de-DE" noProof="0"/>
              <a:t>Mastertitelformat bearbeiten</a:t>
            </a:r>
            <a:endParaRPr lang="en-GB" noProof="0" dirty="0"/>
          </a:p>
        </p:txBody>
      </p:sp>
      <p:grpSp>
        <p:nvGrpSpPr>
          <p:cNvPr id="15" name="Groep 14">
            <a:extLst>
              <a:ext uri="{FF2B5EF4-FFF2-40B4-BE49-F238E27FC236}">
                <a16:creationId xmlns:a16="http://schemas.microsoft.com/office/drawing/2014/main" id="{A9368287-E700-4E4F-B7E9-09E8921D65EA}"/>
              </a:ext>
            </a:extLst>
          </p:cNvPr>
          <p:cNvGrpSpPr/>
          <p:nvPr userDrawn="1"/>
        </p:nvGrpSpPr>
        <p:grpSpPr>
          <a:xfrm>
            <a:off x="12443133" y="-1"/>
            <a:ext cx="2670175" cy="6875997"/>
            <a:chOff x="12443133" y="-1"/>
            <a:chExt cx="2670175" cy="6875997"/>
          </a:xfrm>
        </p:grpSpPr>
        <p:sp>
          <p:nvSpPr>
            <p:cNvPr id="20" name="Tekstvak 19">
              <a:extLst>
                <a:ext uri="{FF2B5EF4-FFF2-40B4-BE49-F238E27FC236}">
                  <a16:creationId xmlns:a16="http://schemas.microsoft.com/office/drawing/2014/main" id="{1F19E284-1590-D241-903D-F675423968C2}"/>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GB" sz="1200" noProof="0" dirty="0">
                  <a:solidFill>
                    <a:schemeClr val="tx2"/>
                  </a:solidFill>
                  <a:latin typeface="+mn-lt"/>
                  <a:cs typeface="+mn-cs"/>
                </a:rPr>
                <a:t>Sometimes the image is placed above your text. Right-click on the image and choose Send to Back and Send to Back again.</a:t>
              </a:r>
            </a:p>
          </p:txBody>
        </p:sp>
        <p:pic>
          <p:nvPicPr>
            <p:cNvPr id="21" name="Afbeelding 20">
              <a:extLst>
                <a:ext uri="{FF2B5EF4-FFF2-40B4-BE49-F238E27FC236}">
                  <a16:creationId xmlns:a16="http://schemas.microsoft.com/office/drawing/2014/main" id="{7A3AC9E5-21A4-174F-9E17-1BB7E698DACA}"/>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 name="Afbeelding 21">
            <a:extLst>
              <a:ext uri="{FF2B5EF4-FFF2-40B4-BE49-F238E27FC236}">
                <a16:creationId xmlns:a16="http://schemas.microsoft.com/office/drawing/2014/main" id="{0E5A8906-A16F-4F43-9B4D-51D33F723A5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4">
            <a:extLst>
              <a:ext uri="{FF2B5EF4-FFF2-40B4-BE49-F238E27FC236}">
                <a16:creationId xmlns:a16="http://schemas.microsoft.com/office/drawing/2014/main" id="{4972E632-2F2C-8B40-8FD2-615CCBE0E1B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37417" y="1212054"/>
            <a:ext cx="1689394" cy="312049"/>
          </a:xfrm>
          <a:prstGeom prst="rect">
            <a:avLst/>
          </a:prstGeom>
        </p:spPr>
      </p:pic>
    </p:spTree>
    <p:extLst>
      <p:ext uri="{BB962C8B-B14F-4D97-AF65-F5344CB8AC3E}">
        <p14:creationId xmlns:p14="http://schemas.microsoft.com/office/powerpoint/2010/main" val="27232495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 Header - Image">
    <p:spTree>
      <p:nvGrpSpPr>
        <p:cNvPr id="1" name=""/>
        <p:cNvGrpSpPr/>
        <p:nvPr/>
      </p:nvGrpSpPr>
      <p:grpSpPr>
        <a:xfrm>
          <a:off x="0" y="0"/>
          <a:ext cx="0" cy="0"/>
          <a:chOff x="0" y="0"/>
          <a:chExt cx="0" cy="0"/>
        </a:xfrm>
      </p:grpSpPr>
      <p:sp>
        <p:nvSpPr>
          <p:cNvPr id="18" name="Tekstvak 16">
            <a:extLst>
              <a:ext uri="{FF2B5EF4-FFF2-40B4-BE49-F238E27FC236}">
                <a16:creationId xmlns:a16="http://schemas.microsoft.com/office/drawing/2014/main" id="{920AF8D0-024E-45F8-B91F-921F315A8827}"/>
              </a:ext>
            </a:extLst>
          </p:cNvPr>
          <p:cNvSpPr txBox="1"/>
          <p:nvPr userDrawn="1"/>
        </p:nvSpPr>
        <p:spPr bwMode="auto">
          <a:xfrm>
            <a:off x="-2921306" y="0"/>
            <a:ext cx="2670175" cy="6875996"/>
          </a:xfrm>
          <a:prstGeom prst="rect">
            <a:avLst/>
          </a:prstGeom>
          <a:solidFill>
            <a:schemeClr val="bg1">
              <a:lumMod val="95000"/>
            </a:schemeClr>
          </a:solidFill>
        </p:spPr>
        <p:txBody>
          <a:bodyPr lIns="90000"/>
          <a:lstStyle/>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p:txBody>
      </p:sp>
      <p:sp>
        <p:nvSpPr>
          <p:cNvPr id="27" name="Picture Placeholder 26">
            <a:extLst>
              <a:ext uri="{FF2B5EF4-FFF2-40B4-BE49-F238E27FC236}">
                <a16:creationId xmlns:a16="http://schemas.microsoft.com/office/drawing/2014/main" id="{D19EDF3D-5C28-402D-8454-98945BF99191}"/>
              </a:ext>
            </a:extLst>
          </p:cNvPr>
          <p:cNvSpPr>
            <a:spLocks noGrp="1"/>
          </p:cNvSpPr>
          <p:nvPr>
            <p:ph type="pic" sz="quarter" idx="13"/>
          </p:nvPr>
        </p:nvSpPr>
        <p:spPr>
          <a:xfrm>
            <a:off x="5" y="0"/>
            <a:ext cx="12191995" cy="6875997"/>
          </a:xfrm>
          <a:custGeom>
            <a:avLst/>
            <a:gdLst>
              <a:gd name="connsiteX0" fmla="*/ 11039468 w 12191995"/>
              <a:gd name="connsiteY0" fmla="*/ 6562722 h 6875997"/>
              <a:gd name="connsiteX1" fmla="*/ 11033982 w 12191995"/>
              <a:gd name="connsiteY1" fmla="*/ 6564080 h 6875997"/>
              <a:gd name="connsiteX2" fmla="*/ 10915338 w 12191995"/>
              <a:gd name="connsiteY2" fmla="*/ 6583760 h 6875997"/>
              <a:gd name="connsiteX3" fmla="*/ 10909852 w 12191995"/>
              <a:gd name="connsiteY3" fmla="*/ 6585796 h 6875997"/>
              <a:gd name="connsiteX4" fmla="*/ 10878991 w 12191995"/>
              <a:gd name="connsiteY4" fmla="*/ 6608869 h 6875997"/>
              <a:gd name="connsiteX5" fmla="*/ 10993519 w 12191995"/>
              <a:gd name="connsiteY5" fmla="*/ 6608869 h 6875997"/>
              <a:gd name="connsiteX6" fmla="*/ 10981861 w 12191995"/>
              <a:gd name="connsiteY6" fmla="*/ 6615655 h 6875997"/>
              <a:gd name="connsiteX7" fmla="*/ 10894764 w 12191995"/>
              <a:gd name="connsiteY7" fmla="*/ 6630585 h 6875997"/>
              <a:gd name="connsiteX8" fmla="*/ 10889278 w 12191995"/>
              <a:gd name="connsiteY8" fmla="*/ 6632621 h 6875997"/>
              <a:gd name="connsiteX9" fmla="*/ 10868018 w 12191995"/>
              <a:gd name="connsiteY9" fmla="*/ 6648908 h 6875997"/>
              <a:gd name="connsiteX10" fmla="*/ 10937284 w 12191995"/>
              <a:gd name="connsiteY10" fmla="*/ 6644157 h 6875997"/>
              <a:gd name="connsiteX11" fmla="*/ 11039468 w 12191995"/>
              <a:gd name="connsiteY11" fmla="*/ 6562722 h 6875997"/>
              <a:gd name="connsiteX12" fmla="*/ 10791888 w 12191995"/>
              <a:gd name="connsiteY12" fmla="*/ 6557959 h 6875997"/>
              <a:gd name="connsiteX13" fmla="*/ 10790507 w 12191995"/>
              <a:gd name="connsiteY13" fmla="*/ 6594018 h 6875997"/>
              <a:gd name="connsiteX14" fmla="*/ 10866431 w 12191995"/>
              <a:gd name="connsiteY14" fmla="*/ 6648447 h 6875997"/>
              <a:gd name="connsiteX15" fmla="*/ 10866431 w 12191995"/>
              <a:gd name="connsiteY15" fmla="*/ 6557959 h 6875997"/>
              <a:gd name="connsiteX16" fmla="*/ 10791888 w 12191995"/>
              <a:gd name="connsiteY16" fmla="*/ 6557959 h 6875997"/>
              <a:gd name="connsiteX17" fmla="*/ 11578425 w 12191995"/>
              <a:gd name="connsiteY17" fmla="*/ 6519858 h 6875997"/>
              <a:gd name="connsiteX18" fmla="*/ 11604619 w 12191995"/>
              <a:gd name="connsiteY18" fmla="*/ 6543009 h 6875997"/>
              <a:gd name="connsiteX19" fmla="*/ 11599918 w 12191995"/>
              <a:gd name="connsiteY19" fmla="*/ 6551608 h 6875997"/>
              <a:gd name="connsiteX20" fmla="*/ 11552231 w 12191995"/>
              <a:gd name="connsiteY20" fmla="*/ 6551608 h 6875997"/>
              <a:gd name="connsiteX21" fmla="*/ 11552903 w 12191995"/>
              <a:gd name="connsiteY21" fmla="*/ 6543671 h 6875997"/>
              <a:gd name="connsiteX22" fmla="*/ 11578425 w 12191995"/>
              <a:gd name="connsiteY22" fmla="*/ 6519858 h 6875997"/>
              <a:gd name="connsiteX23" fmla="*/ 11218855 w 12191995"/>
              <a:gd name="connsiteY23" fmla="*/ 6519858 h 6875997"/>
              <a:gd name="connsiteX24" fmla="*/ 11245843 w 12191995"/>
              <a:gd name="connsiteY24" fmla="*/ 6543009 h 6875997"/>
              <a:gd name="connsiteX25" fmla="*/ 11240307 w 12191995"/>
              <a:gd name="connsiteY25" fmla="*/ 6551608 h 6875997"/>
              <a:gd name="connsiteX26" fmla="*/ 11191868 w 12191995"/>
              <a:gd name="connsiteY26" fmla="*/ 6551608 h 6875997"/>
              <a:gd name="connsiteX27" fmla="*/ 11191868 w 12191995"/>
              <a:gd name="connsiteY27" fmla="*/ 6543671 h 6875997"/>
              <a:gd name="connsiteX28" fmla="*/ 11218855 w 12191995"/>
              <a:gd name="connsiteY28" fmla="*/ 6519858 h 6875997"/>
              <a:gd name="connsiteX29" fmla="*/ 11625256 w 12191995"/>
              <a:gd name="connsiteY29" fmla="*/ 6503984 h 6875997"/>
              <a:gd name="connsiteX30" fmla="*/ 11640376 w 12191995"/>
              <a:gd name="connsiteY30" fmla="*/ 6520415 h 6875997"/>
              <a:gd name="connsiteX31" fmla="*/ 11674052 w 12191995"/>
              <a:gd name="connsiteY31" fmla="*/ 6520415 h 6875997"/>
              <a:gd name="connsiteX32" fmla="*/ 11674052 w 12191995"/>
              <a:gd name="connsiteY32" fmla="*/ 6613522 h 6875997"/>
              <a:gd name="connsiteX33" fmla="*/ 11700169 w 12191995"/>
              <a:gd name="connsiteY33" fmla="*/ 6613522 h 6875997"/>
              <a:gd name="connsiteX34" fmla="*/ 11700169 w 12191995"/>
              <a:gd name="connsiteY34" fmla="*/ 6520415 h 6875997"/>
              <a:gd name="connsiteX35" fmla="*/ 11737969 w 12191995"/>
              <a:gd name="connsiteY35" fmla="*/ 6520415 h 6875997"/>
              <a:gd name="connsiteX36" fmla="*/ 11737969 w 12191995"/>
              <a:gd name="connsiteY36" fmla="*/ 6503984 h 6875997"/>
              <a:gd name="connsiteX37" fmla="*/ 11625256 w 12191995"/>
              <a:gd name="connsiteY37" fmla="*/ 6503984 h 6875997"/>
              <a:gd name="connsiteX38" fmla="*/ 11426949 w 12191995"/>
              <a:gd name="connsiteY38" fmla="*/ 6503984 h 6875997"/>
              <a:gd name="connsiteX39" fmla="*/ 11407768 w 12191995"/>
              <a:gd name="connsiteY39" fmla="*/ 6523153 h 6875997"/>
              <a:gd name="connsiteX40" fmla="*/ 11407768 w 12191995"/>
              <a:gd name="connsiteY40" fmla="*/ 6613522 h 6875997"/>
              <a:gd name="connsiteX41" fmla="*/ 11433799 w 12191995"/>
              <a:gd name="connsiteY41" fmla="*/ 6613522 h 6875997"/>
              <a:gd name="connsiteX42" fmla="*/ 11433799 w 12191995"/>
              <a:gd name="connsiteY42" fmla="*/ 6525207 h 6875997"/>
              <a:gd name="connsiteX43" fmla="*/ 11439279 w 12191995"/>
              <a:gd name="connsiteY43" fmla="*/ 6520415 h 6875997"/>
              <a:gd name="connsiteX44" fmla="*/ 11459830 w 12191995"/>
              <a:gd name="connsiteY44" fmla="*/ 6520415 h 6875997"/>
              <a:gd name="connsiteX45" fmla="*/ 11481750 w 12191995"/>
              <a:gd name="connsiteY45" fmla="*/ 6543692 h 6875997"/>
              <a:gd name="connsiteX46" fmla="*/ 11481750 w 12191995"/>
              <a:gd name="connsiteY46" fmla="*/ 6613522 h 6875997"/>
              <a:gd name="connsiteX47" fmla="*/ 11507781 w 12191995"/>
              <a:gd name="connsiteY47" fmla="*/ 6613522 h 6875997"/>
              <a:gd name="connsiteX48" fmla="*/ 11507781 w 12191995"/>
              <a:gd name="connsiteY48" fmla="*/ 6541638 h 6875997"/>
              <a:gd name="connsiteX49" fmla="*/ 11463940 w 12191995"/>
              <a:gd name="connsiteY49" fmla="*/ 6503984 h 6875997"/>
              <a:gd name="connsiteX50" fmla="*/ 11426949 w 12191995"/>
              <a:gd name="connsiteY50" fmla="*/ 6503984 h 6875997"/>
              <a:gd name="connsiteX51" fmla="*/ 11307887 w 12191995"/>
              <a:gd name="connsiteY51" fmla="*/ 6503984 h 6875997"/>
              <a:gd name="connsiteX52" fmla="*/ 11288706 w 12191995"/>
              <a:gd name="connsiteY52" fmla="*/ 6523153 h 6875997"/>
              <a:gd name="connsiteX53" fmla="*/ 11288706 w 12191995"/>
              <a:gd name="connsiteY53" fmla="*/ 6613522 h 6875997"/>
              <a:gd name="connsiteX54" fmla="*/ 11314737 w 12191995"/>
              <a:gd name="connsiteY54" fmla="*/ 6613522 h 6875997"/>
              <a:gd name="connsiteX55" fmla="*/ 11314737 w 12191995"/>
              <a:gd name="connsiteY55" fmla="*/ 6525207 h 6875997"/>
              <a:gd name="connsiteX56" fmla="*/ 11320217 w 12191995"/>
              <a:gd name="connsiteY56" fmla="*/ 6520415 h 6875997"/>
              <a:gd name="connsiteX57" fmla="*/ 11340768 w 12191995"/>
              <a:gd name="connsiteY57" fmla="*/ 6520415 h 6875997"/>
              <a:gd name="connsiteX58" fmla="*/ 11362688 w 12191995"/>
              <a:gd name="connsiteY58" fmla="*/ 6543692 h 6875997"/>
              <a:gd name="connsiteX59" fmla="*/ 11362688 w 12191995"/>
              <a:gd name="connsiteY59" fmla="*/ 6613522 h 6875997"/>
              <a:gd name="connsiteX60" fmla="*/ 11388719 w 12191995"/>
              <a:gd name="connsiteY60" fmla="*/ 6613522 h 6875997"/>
              <a:gd name="connsiteX61" fmla="*/ 11388719 w 12191995"/>
              <a:gd name="connsiteY61" fmla="*/ 6541638 h 6875997"/>
              <a:gd name="connsiteX62" fmla="*/ 11344878 w 12191995"/>
              <a:gd name="connsiteY62" fmla="*/ 6503984 h 6875997"/>
              <a:gd name="connsiteX63" fmla="*/ 11307887 w 12191995"/>
              <a:gd name="connsiteY63" fmla="*/ 6503984 h 6875997"/>
              <a:gd name="connsiteX64" fmla="*/ 11055343 w 12191995"/>
              <a:gd name="connsiteY64" fmla="*/ 6503984 h 6875997"/>
              <a:gd name="connsiteX65" fmla="*/ 11062856 w 12191995"/>
              <a:gd name="connsiteY65" fmla="*/ 6520415 h 6875997"/>
              <a:gd name="connsiteX66" fmla="*/ 11098372 w 12191995"/>
              <a:gd name="connsiteY66" fmla="*/ 6520415 h 6875997"/>
              <a:gd name="connsiteX67" fmla="*/ 11098372 w 12191995"/>
              <a:gd name="connsiteY67" fmla="*/ 6613522 h 6875997"/>
              <a:gd name="connsiteX68" fmla="*/ 11125008 w 12191995"/>
              <a:gd name="connsiteY68" fmla="*/ 6613522 h 6875997"/>
              <a:gd name="connsiteX69" fmla="*/ 11125008 w 12191995"/>
              <a:gd name="connsiteY69" fmla="*/ 6520415 h 6875997"/>
              <a:gd name="connsiteX70" fmla="*/ 11158475 w 12191995"/>
              <a:gd name="connsiteY70" fmla="*/ 6520415 h 6875997"/>
              <a:gd name="connsiteX71" fmla="*/ 11172818 w 12191995"/>
              <a:gd name="connsiteY71" fmla="*/ 6503984 h 6875997"/>
              <a:gd name="connsiteX72" fmla="*/ 11055343 w 12191995"/>
              <a:gd name="connsiteY72" fmla="*/ 6503984 h 6875997"/>
              <a:gd name="connsiteX73" fmla="*/ 11576751 w 12191995"/>
              <a:gd name="connsiteY73" fmla="*/ 6503134 h 6875997"/>
              <a:gd name="connsiteX74" fmla="*/ 11539183 w 12191995"/>
              <a:gd name="connsiteY74" fmla="*/ 6516912 h 6875997"/>
              <a:gd name="connsiteX75" fmla="*/ 11533022 w 12191995"/>
              <a:gd name="connsiteY75" fmla="*/ 6593792 h 6875997"/>
              <a:gd name="connsiteX76" fmla="*/ 11548083 w 12191995"/>
              <a:gd name="connsiteY76" fmla="*/ 6608760 h 6875997"/>
              <a:gd name="connsiteX77" fmla="*/ 11570675 w 12191995"/>
              <a:gd name="connsiteY77" fmla="*/ 6613522 h 6875997"/>
              <a:gd name="connsiteX78" fmla="*/ 11628183 w 12191995"/>
              <a:gd name="connsiteY78" fmla="*/ 6613522 h 6875997"/>
              <a:gd name="connsiteX79" fmla="*/ 11628183 w 12191995"/>
              <a:gd name="connsiteY79" fmla="*/ 6597874 h 6875997"/>
              <a:gd name="connsiteX80" fmla="*/ 11574783 w 12191995"/>
              <a:gd name="connsiteY80" fmla="*/ 6597874 h 6875997"/>
              <a:gd name="connsiteX81" fmla="*/ 11552876 w 12191995"/>
              <a:gd name="connsiteY81" fmla="*/ 6572020 h 6875997"/>
              <a:gd name="connsiteX82" fmla="*/ 11552191 w 12191995"/>
              <a:gd name="connsiteY82" fmla="*/ 6567938 h 6875997"/>
              <a:gd name="connsiteX83" fmla="*/ 11609698 w 12191995"/>
              <a:gd name="connsiteY83" fmla="*/ 6567938 h 6875997"/>
              <a:gd name="connsiteX84" fmla="*/ 11619283 w 12191995"/>
              <a:gd name="connsiteY84" fmla="*/ 6567258 h 6875997"/>
              <a:gd name="connsiteX85" fmla="*/ 11631606 w 12191995"/>
              <a:gd name="connsiteY85" fmla="*/ 6546847 h 6875997"/>
              <a:gd name="connsiteX86" fmla="*/ 11615860 w 12191995"/>
              <a:gd name="connsiteY86" fmla="*/ 6512829 h 6875997"/>
              <a:gd name="connsiteX87" fmla="*/ 11576751 w 12191995"/>
              <a:gd name="connsiteY87" fmla="*/ 6503134 h 6875997"/>
              <a:gd name="connsiteX88" fmla="*/ 11215941 w 12191995"/>
              <a:gd name="connsiteY88" fmla="*/ 6503134 h 6875997"/>
              <a:gd name="connsiteX89" fmla="*/ 11177481 w 12191995"/>
              <a:gd name="connsiteY89" fmla="*/ 6516912 h 6875997"/>
              <a:gd name="connsiteX90" fmla="*/ 11171231 w 12191995"/>
              <a:gd name="connsiteY90" fmla="*/ 6593792 h 6875997"/>
              <a:gd name="connsiteX91" fmla="*/ 11187205 w 12191995"/>
              <a:gd name="connsiteY91" fmla="*/ 6608760 h 6875997"/>
              <a:gd name="connsiteX92" fmla="*/ 11209430 w 12191995"/>
              <a:gd name="connsiteY92" fmla="*/ 6613522 h 6875997"/>
              <a:gd name="connsiteX93" fmla="*/ 11267770 w 12191995"/>
              <a:gd name="connsiteY93" fmla="*/ 6613522 h 6875997"/>
              <a:gd name="connsiteX94" fmla="*/ 11267770 w 12191995"/>
              <a:gd name="connsiteY94" fmla="*/ 6597874 h 6875997"/>
              <a:gd name="connsiteX95" fmla="*/ 11213597 w 12191995"/>
              <a:gd name="connsiteY95" fmla="*/ 6597874 h 6875997"/>
              <a:gd name="connsiteX96" fmla="*/ 11191372 w 12191995"/>
              <a:gd name="connsiteY96" fmla="*/ 6572020 h 6875997"/>
              <a:gd name="connsiteX97" fmla="*/ 11191372 w 12191995"/>
              <a:gd name="connsiteY97" fmla="*/ 6567938 h 6875997"/>
              <a:gd name="connsiteX98" fmla="*/ 11249713 w 12191995"/>
              <a:gd name="connsiteY98" fmla="*/ 6567938 h 6875997"/>
              <a:gd name="connsiteX99" fmla="*/ 11258741 w 12191995"/>
              <a:gd name="connsiteY99" fmla="*/ 6567258 h 6875997"/>
              <a:gd name="connsiteX100" fmla="*/ 11271243 w 12191995"/>
              <a:gd name="connsiteY100" fmla="*/ 6546847 h 6875997"/>
              <a:gd name="connsiteX101" fmla="*/ 11255963 w 12191995"/>
              <a:gd name="connsiteY101" fmla="*/ 6512829 h 6875997"/>
              <a:gd name="connsiteX102" fmla="*/ 11215941 w 12191995"/>
              <a:gd name="connsiteY102" fmla="*/ 6503134 h 6875997"/>
              <a:gd name="connsiteX103" fmla="*/ 10943122 w 12191995"/>
              <a:gd name="connsiteY103" fmla="*/ 6471560 h 6875997"/>
              <a:gd name="connsiteX104" fmla="*/ 10892671 w 12191995"/>
              <a:gd name="connsiteY104" fmla="*/ 6477989 h 6875997"/>
              <a:gd name="connsiteX105" fmla="*/ 10798168 w 12191995"/>
              <a:gd name="connsiteY105" fmla="*/ 6544289 h 6875997"/>
              <a:gd name="connsiteX106" fmla="*/ 10954988 w 12191995"/>
              <a:gd name="connsiteY106" fmla="*/ 6519683 h 6875997"/>
              <a:gd name="connsiteX107" fmla="*/ 10904313 w 12191995"/>
              <a:gd name="connsiteY107" fmla="*/ 6557959 h 6875997"/>
              <a:gd name="connsiteX108" fmla="*/ 11039904 w 12191995"/>
              <a:gd name="connsiteY108" fmla="*/ 6557959 h 6875997"/>
              <a:gd name="connsiteX109" fmla="*/ 11039904 w 12191995"/>
              <a:gd name="connsiteY109" fmla="*/ 6527885 h 6875997"/>
              <a:gd name="connsiteX110" fmla="*/ 10943122 w 12191995"/>
              <a:gd name="connsiteY110" fmla="*/ 6471560 h 6875997"/>
              <a:gd name="connsiteX111" fmla="*/ 387606 w 12191995"/>
              <a:gd name="connsiteY111" fmla="*/ 5558169 h 6875997"/>
              <a:gd name="connsiteX112" fmla="*/ 1034211 w 12191995"/>
              <a:gd name="connsiteY112" fmla="*/ 5558169 h 6875997"/>
              <a:gd name="connsiteX113" fmla="*/ 1034211 w 12191995"/>
              <a:gd name="connsiteY113" fmla="*/ 5592376 h 6875997"/>
              <a:gd name="connsiteX114" fmla="*/ 1068421 w 12191995"/>
              <a:gd name="connsiteY114" fmla="*/ 5592376 h 6875997"/>
              <a:gd name="connsiteX115" fmla="*/ 1068421 w 12191995"/>
              <a:gd name="connsiteY115" fmla="*/ 6239697 h 6875997"/>
              <a:gd name="connsiteX116" fmla="*/ 1034209 w 12191995"/>
              <a:gd name="connsiteY116" fmla="*/ 6239697 h 6875997"/>
              <a:gd name="connsiteX117" fmla="*/ 1034209 w 12191995"/>
              <a:gd name="connsiteY117" fmla="*/ 6273904 h 6875997"/>
              <a:gd name="connsiteX118" fmla="*/ 387605 w 12191995"/>
              <a:gd name="connsiteY118" fmla="*/ 6273904 h 6875997"/>
              <a:gd name="connsiteX119" fmla="*/ 387605 w 12191995"/>
              <a:gd name="connsiteY119" fmla="*/ 6239697 h 6875997"/>
              <a:gd name="connsiteX120" fmla="*/ 353402 w 12191995"/>
              <a:gd name="connsiteY120" fmla="*/ 6239697 h 6875997"/>
              <a:gd name="connsiteX121" fmla="*/ 353402 w 12191995"/>
              <a:gd name="connsiteY121" fmla="*/ 5592376 h 6875997"/>
              <a:gd name="connsiteX122" fmla="*/ 387606 w 12191995"/>
              <a:gd name="connsiteY122" fmla="*/ 5592376 h 6875997"/>
              <a:gd name="connsiteX123" fmla="*/ 0 w 12191995"/>
              <a:gd name="connsiteY123" fmla="*/ 5558169 h 6875997"/>
              <a:gd name="connsiteX124" fmla="*/ 315592 w 12191995"/>
              <a:gd name="connsiteY124" fmla="*/ 5558169 h 6875997"/>
              <a:gd name="connsiteX125" fmla="*/ 315592 w 12191995"/>
              <a:gd name="connsiteY125" fmla="*/ 5592376 h 6875997"/>
              <a:gd name="connsiteX126" fmla="*/ 349802 w 12191995"/>
              <a:gd name="connsiteY126" fmla="*/ 5592376 h 6875997"/>
              <a:gd name="connsiteX127" fmla="*/ 349802 w 12191995"/>
              <a:gd name="connsiteY127" fmla="*/ 6239697 h 6875997"/>
              <a:gd name="connsiteX128" fmla="*/ 315591 w 12191995"/>
              <a:gd name="connsiteY128" fmla="*/ 6239697 h 6875997"/>
              <a:gd name="connsiteX129" fmla="*/ 315591 w 12191995"/>
              <a:gd name="connsiteY129" fmla="*/ 6273904 h 6875997"/>
              <a:gd name="connsiteX130" fmla="*/ 0 w 12191995"/>
              <a:gd name="connsiteY130" fmla="*/ 6273904 h 6875997"/>
              <a:gd name="connsiteX131" fmla="*/ 387606 w 12191995"/>
              <a:gd name="connsiteY131" fmla="*/ 4838831 h 6875997"/>
              <a:gd name="connsiteX132" fmla="*/ 1034211 w 12191995"/>
              <a:gd name="connsiteY132" fmla="*/ 4838831 h 6875997"/>
              <a:gd name="connsiteX133" fmla="*/ 1034211 w 12191995"/>
              <a:gd name="connsiteY133" fmla="*/ 4873038 h 6875997"/>
              <a:gd name="connsiteX134" fmla="*/ 1068421 w 12191995"/>
              <a:gd name="connsiteY134" fmla="*/ 4873038 h 6875997"/>
              <a:gd name="connsiteX135" fmla="*/ 1068421 w 12191995"/>
              <a:gd name="connsiteY135" fmla="*/ 5520362 h 6875997"/>
              <a:gd name="connsiteX136" fmla="*/ 1034211 w 12191995"/>
              <a:gd name="connsiteY136" fmla="*/ 5520362 h 6875997"/>
              <a:gd name="connsiteX137" fmla="*/ 1034211 w 12191995"/>
              <a:gd name="connsiteY137" fmla="*/ 5554569 h 6875997"/>
              <a:gd name="connsiteX138" fmla="*/ 387606 w 12191995"/>
              <a:gd name="connsiteY138" fmla="*/ 5554569 h 6875997"/>
              <a:gd name="connsiteX139" fmla="*/ 387606 w 12191995"/>
              <a:gd name="connsiteY139" fmla="*/ 5520362 h 6875997"/>
              <a:gd name="connsiteX140" fmla="*/ 353402 w 12191995"/>
              <a:gd name="connsiteY140" fmla="*/ 5520362 h 6875997"/>
              <a:gd name="connsiteX141" fmla="*/ 353402 w 12191995"/>
              <a:gd name="connsiteY141" fmla="*/ 4873038 h 6875997"/>
              <a:gd name="connsiteX142" fmla="*/ 387606 w 12191995"/>
              <a:gd name="connsiteY142" fmla="*/ 4873038 h 6875997"/>
              <a:gd name="connsiteX143" fmla="*/ 0 w 12191995"/>
              <a:gd name="connsiteY143" fmla="*/ 4838831 h 6875997"/>
              <a:gd name="connsiteX144" fmla="*/ 315592 w 12191995"/>
              <a:gd name="connsiteY144" fmla="*/ 4838831 h 6875997"/>
              <a:gd name="connsiteX145" fmla="*/ 315592 w 12191995"/>
              <a:gd name="connsiteY145" fmla="*/ 4873038 h 6875997"/>
              <a:gd name="connsiteX146" fmla="*/ 349802 w 12191995"/>
              <a:gd name="connsiteY146" fmla="*/ 4873038 h 6875997"/>
              <a:gd name="connsiteX147" fmla="*/ 349802 w 12191995"/>
              <a:gd name="connsiteY147" fmla="*/ 5520362 h 6875997"/>
              <a:gd name="connsiteX148" fmla="*/ 315592 w 12191995"/>
              <a:gd name="connsiteY148" fmla="*/ 5520362 h 6875997"/>
              <a:gd name="connsiteX149" fmla="*/ 315592 w 12191995"/>
              <a:gd name="connsiteY149" fmla="*/ 5554569 h 6875997"/>
              <a:gd name="connsiteX150" fmla="*/ 0 w 12191995"/>
              <a:gd name="connsiteY150" fmla="*/ 5554569 h 6875997"/>
              <a:gd name="connsiteX151" fmla="*/ 387607 w 12191995"/>
              <a:gd name="connsiteY151" fmla="*/ 4119493 h 6875997"/>
              <a:gd name="connsiteX152" fmla="*/ 1034211 w 12191995"/>
              <a:gd name="connsiteY152" fmla="*/ 4119493 h 6875997"/>
              <a:gd name="connsiteX153" fmla="*/ 1034211 w 12191995"/>
              <a:gd name="connsiteY153" fmla="*/ 4153700 h 6875997"/>
              <a:gd name="connsiteX154" fmla="*/ 1068421 w 12191995"/>
              <a:gd name="connsiteY154" fmla="*/ 4153700 h 6875997"/>
              <a:gd name="connsiteX155" fmla="*/ 1068421 w 12191995"/>
              <a:gd name="connsiteY155" fmla="*/ 4801024 h 6875997"/>
              <a:gd name="connsiteX156" fmla="*/ 1034211 w 12191995"/>
              <a:gd name="connsiteY156" fmla="*/ 4801024 h 6875997"/>
              <a:gd name="connsiteX157" fmla="*/ 1034211 w 12191995"/>
              <a:gd name="connsiteY157" fmla="*/ 4835231 h 6875997"/>
              <a:gd name="connsiteX158" fmla="*/ 387606 w 12191995"/>
              <a:gd name="connsiteY158" fmla="*/ 4835231 h 6875997"/>
              <a:gd name="connsiteX159" fmla="*/ 387606 w 12191995"/>
              <a:gd name="connsiteY159" fmla="*/ 4801024 h 6875997"/>
              <a:gd name="connsiteX160" fmla="*/ 353402 w 12191995"/>
              <a:gd name="connsiteY160" fmla="*/ 4801024 h 6875997"/>
              <a:gd name="connsiteX161" fmla="*/ 353402 w 12191995"/>
              <a:gd name="connsiteY161" fmla="*/ 4153700 h 6875997"/>
              <a:gd name="connsiteX162" fmla="*/ 387607 w 12191995"/>
              <a:gd name="connsiteY162" fmla="*/ 4153700 h 6875997"/>
              <a:gd name="connsiteX163" fmla="*/ 387607 w 12191995"/>
              <a:gd name="connsiteY163" fmla="*/ 3400156 h 6875997"/>
              <a:gd name="connsiteX164" fmla="*/ 1034211 w 12191995"/>
              <a:gd name="connsiteY164" fmla="*/ 3400156 h 6875997"/>
              <a:gd name="connsiteX165" fmla="*/ 1034211 w 12191995"/>
              <a:gd name="connsiteY165" fmla="*/ 3434363 h 6875997"/>
              <a:gd name="connsiteX166" fmla="*/ 1068421 w 12191995"/>
              <a:gd name="connsiteY166" fmla="*/ 3434363 h 6875997"/>
              <a:gd name="connsiteX167" fmla="*/ 1068421 w 12191995"/>
              <a:gd name="connsiteY167" fmla="*/ 4081686 h 6875997"/>
              <a:gd name="connsiteX168" fmla="*/ 1034211 w 12191995"/>
              <a:gd name="connsiteY168" fmla="*/ 4081686 h 6875997"/>
              <a:gd name="connsiteX169" fmla="*/ 1034211 w 12191995"/>
              <a:gd name="connsiteY169" fmla="*/ 4115893 h 6875997"/>
              <a:gd name="connsiteX170" fmla="*/ 387607 w 12191995"/>
              <a:gd name="connsiteY170" fmla="*/ 4115893 h 6875997"/>
              <a:gd name="connsiteX171" fmla="*/ 387607 w 12191995"/>
              <a:gd name="connsiteY171" fmla="*/ 4081686 h 6875997"/>
              <a:gd name="connsiteX172" fmla="*/ 353402 w 12191995"/>
              <a:gd name="connsiteY172" fmla="*/ 4081686 h 6875997"/>
              <a:gd name="connsiteX173" fmla="*/ 353402 w 12191995"/>
              <a:gd name="connsiteY173" fmla="*/ 3434363 h 6875997"/>
              <a:gd name="connsiteX174" fmla="*/ 387607 w 12191995"/>
              <a:gd name="connsiteY174" fmla="*/ 3434363 h 6875997"/>
              <a:gd name="connsiteX175" fmla="*/ 387606 w 12191995"/>
              <a:gd name="connsiteY175" fmla="*/ 2680820 h 6875997"/>
              <a:gd name="connsiteX176" fmla="*/ 1034211 w 12191995"/>
              <a:gd name="connsiteY176" fmla="*/ 2680820 h 6875997"/>
              <a:gd name="connsiteX177" fmla="*/ 1034211 w 12191995"/>
              <a:gd name="connsiteY177" fmla="*/ 2715026 h 6875997"/>
              <a:gd name="connsiteX178" fmla="*/ 1068421 w 12191995"/>
              <a:gd name="connsiteY178" fmla="*/ 2715026 h 6875997"/>
              <a:gd name="connsiteX179" fmla="*/ 1068421 w 12191995"/>
              <a:gd name="connsiteY179" fmla="*/ 3362349 h 6875997"/>
              <a:gd name="connsiteX180" fmla="*/ 1034211 w 12191995"/>
              <a:gd name="connsiteY180" fmla="*/ 3362349 h 6875997"/>
              <a:gd name="connsiteX181" fmla="*/ 1034211 w 12191995"/>
              <a:gd name="connsiteY181" fmla="*/ 3396556 h 6875997"/>
              <a:gd name="connsiteX182" fmla="*/ 387607 w 12191995"/>
              <a:gd name="connsiteY182" fmla="*/ 3396556 h 6875997"/>
              <a:gd name="connsiteX183" fmla="*/ 387607 w 12191995"/>
              <a:gd name="connsiteY183" fmla="*/ 3362349 h 6875997"/>
              <a:gd name="connsiteX184" fmla="*/ 353402 w 12191995"/>
              <a:gd name="connsiteY184" fmla="*/ 3362349 h 6875997"/>
              <a:gd name="connsiteX185" fmla="*/ 353402 w 12191995"/>
              <a:gd name="connsiteY185" fmla="*/ 2715026 h 6875997"/>
              <a:gd name="connsiteX186" fmla="*/ 387606 w 12191995"/>
              <a:gd name="connsiteY186" fmla="*/ 2715026 h 6875997"/>
              <a:gd name="connsiteX187" fmla="*/ 387608 w 12191995"/>
              <a:gd name="connsiteY187" fmla="*/ 1961483 h 6875997"/>
              <a:gd name="connsiteX188" fmla="*/ 1034213 w 12191995"/>
              <a:gd name="connsiteY188" fmla="*/ 1961483 h 6875997"/>
              <a:gd name="connsiteX189" fmla="*/ 1034213 w 12191995"/>
              <a:gd name="connsiteY189" fmla="*/ 1995689 h 6875997"/>
              <a:gd name="connsiteX190" fmla="*/ 1068421 w 12191995"/>
              <a:gd name="connsiteY190" fmla="*/ 1995689 h 6875997"/>
              <a:gd name="connsiteX191" fmla="*/ 1068421 w 12191995"/>
              <a:gd name="connsiteY191" fmla="*/ 2643013 h 6875997"/>
              <a:gd name="connsiteX192" fmla="*/ 1034211 w 12191995"/>
              <a:gd name="connsiteY192" fmla="*/ 2643013 h 6875997"/>
              <a:gd name="connsiteX193" fmla="*/ 1034211 w 12191995"/>
              <a:gd name="connsiteY193" fmla="*/ 2677220 h 6875997"/>
              <a:gd name="connsiteX194" fmla="*/ 387606 w 12191995"/>
              <a:gd name="connsiteY194" fmla="*/ 2677220 h 6875997"/>
              <a:gd name="connsiteX195" fmla="*/ 387606 w 12191995"/>
              <a:gd name="connsiteY195" fmla="*/ 2643013 h 6875997"/>
              <a:gd name="connsiteX196" fmla="*/ 353402 w 12191995"/>
              <a:gd name="connsiteY196" fmla="*/ 2643013 h 6875997"/>
              <a:gd name="connsiteX197" fmla="*/ 353402 w 12191995"/>
              <a:gd name="connsiteY197" fmla="*/ 1995689 h 6875997"/>
              <a:gd name="connsiteX198" fmla="*/ 387608 w 12191995"/>
              <a:gd name="connsiteY198" fmla="*/ 1995689 h 6875997"/>
              <a:gd name="connsiteX199" fmla="*/ 387608 w 12191995"/>
              <a:gd name="connsiteY199" fmla="*/ 1242144 h 6875997"/>
              <a:gd name="connsiteX200" fmla="*/ 1034213 w 12191995"/>
              <a:gd name="connsiteY200" fmla="*/ 1242144 h 6875997"/>
              <a:gd name="connsiteX201" fmla="*/ 1034213 w 12191995"/>
              <a:gd name="connsiteY201" fmla="*/ 1276351 h 6875997"/>
              <a:gd name="connsiteX202" fmla="*/ 1068421 w 12191995"/>
              <a:gd name="connsiteY202" fmla="*/ 1276351 h 6875997"/>
              <a:gd name="connsiteX203" fmla="*/ 1068421 w 12191995"/>
              <a:gd name="connsiteY203" fmla="*/ 1923675 h 6875997"/>
              <a:gd name="connsiteX204" fmla="*/ 1034213 w 12191995"/>
              <a:gd name="connsiteY204" fmla="*/ 1923675 h 6875997"/>
              <a:gd name="connsiteX205" fmla="*/ 1034213 w 12191995"/>
              <a:gd name="connsiteY205" fmla="*/ 1957883 h 6875997"/>
              <a:gd name="connsiteX206" fmla="*/ 387608 w 12191995"/>
              <a:gd name="connsiteY206" fmla="*/ 1957883 h 6875997"/>
              <a:gd name="connsiteX207" fmla="*/ 387608 w 12191995"/>
              <a:gd name="connsiteY207" fmla="*/ 1923675 h 6875997"/>
              <a:gd name="connsiteX208" fmla="*/ 353402 w 12191995"/>
              <a:gd name="connsiteY208" fmla="*/ 1923675 h 6875997"/>
              <a:gd name="connsiteX209" fmla="*/ 353402 w 12191995"/>
              <a:gd name="connsiteY209" fmla="*/ 1276351 h 6875997"/>
              <a:gd name="connsiteX210" fmla="*/ 387608 w 12191995"/>
              <a:gd name="connsiteY210" fmla="*/ 1276351 h 6875997"/>
              <a:gd name="connsiteX211" fmla="*/ 387607 w 12191995"/>
              <a:gd name="connsiteY211" fmla="*/ 522805 h 6875997"/>
              <a:gd name="connsiteX212" fmla="*/ 1034211 w 12191995"/>
              <a:gd name="connsiteY212" fmla="*/ 522805 h 6875997"/>
              <a:gd name="connsiteX213" fmla="*/ 1034211 w 12191995"/>
              <a:gd name="connsiteY213" fmla="*/ 557012 h 6875997"/>
              <a:gd name="connsiteX214" fmla="*/ 1068421 w 12191995"/>
              <a:gd name="connsiteY214" fmla="*/ 557012 h 6875997"/>
              <a:gd name="connsiteX215" fmla="*/ 1068421 w 12191995"/>
              <a:gd name="connsiteY215" fmla="*/ 1204337 h 6875997"/>
              <a:gd name="connsiteX216" fmla="*/ 1034213 w 12191995"/>
              <a:gd name="connsiteY216" fmla="*/ 1204337 h 6875997"/>
              <a:gd name="connsiteX217" fmla="*/ 1034213 w 12191995"/>
              <a:gd name="connsiteY217" fmla="*/ 1238545 h 6875997"/>
              <a:gd name="connsiteX218" fmla="*/ 387608 w 12191995"/>
              <a:gd name="connsiteY218" fmla="*/ 1238545 h 6875997"/>
              <a:gd name="connsiteX219" fmla="*/ 387608 w 12191995"/>
              <a:gd name="connsiteY219" fmla="*/ 1204337 h 6875997"/>
              <a:gd name="connsiteX220" fmla="*/ 353402 w 12191995"/>
              <a:gd name="connsiteY220" fmla="*/ 1204337 h 6875997"/>
              <a:gd name="connsiteX221" fmla="*/ 353402 w 12191995"/>
              <a:gd name="connsiteY221" fmla="*/ 557012 h 6875997"/>
              <a:gd name="connsiteX222" fmla="*/ 387607 w 12191995"/>
              <a:gd name="connsiteY222" fmla="*/ 557012 h 6875997"/>
              <a:gd name="connsiteX223" fmla="*/ 1072021 w 12191995"/>
              <a:gd name="connsiteY223" fmla="*/ 0 h 6875997"/>
              <a:gd name="connsiteX224" fmla="*/ 1152939 w 12191995"/>
              <a:gd name="connsiteY224" fmla="*/ 0 h 6875997"/>
              <a:gd name="connsiteX225" fmla="*/ 1152939 w 12191995"/>
              <a:gd name="connsiteY225" fmla="*/ 6 h 6875997"/>
              <a:gd name="connsiteX226" fmla="*/ 12191995 w 12191995"/>
              <a:gd name="connsiteY226" fmla="*/ 6 h 6875997"/>
              <a:gd name="connsiteX227" fmla="*/ 12191995 w 12191995"/>
              <a:gd name="connsiteY227" fmla="*/ 6875997 h 6875997"/>
              <a:gd name="connsiteX228" fmla="*/ 11 w 12191995"/>
              <a:gd name="connsiteY228" fmla="*/ 6875997 h 6875997"/>
              <a:gd name="connsiteX229" fmla="*/ 11 w 12191995"/>
              <a:gd name="connsiteY229" fmla="*/ 6875990 h 6875997"/>
              <a:gd name="connsiteX230" fmla="*/ 0 w 12191995"/>
              <a:gd name="connsiteY230" fmla="*/ 6875990 h 6875997"/>
              <a:gd name="connsiteX231" fmla="*/ 0 w 12191995"/>
              <a:gd name="connsiteY231" fmla="*/ 6277504 h 6875997"/>
              <a:gd name="connsiteX232" fmla="*/ 315591 w 12191995"/>
              <a:gd name="connsiteY232" fmla="*/ 6277504 h 6875997"/>
              <a:gd name="connsiteX233" fmla="*/ 315591 w 12191995"/>
              <a:gd name="connsiteY233" fmla="*/ 6311711 h 6875997"/>
              <a:gd name="connsiteX234" fmla="*/ 349802 w 12191995"/>
              <a:gd name="connsiteY234" fmla="*/ 6311711 h 6875997"/>
              <a:gd name="connsiteX235" fmla="*/ 349802 w 12191995"/>
              <a:gd name="connsiteY235" fmla="*/ 6857996 h 6875997"/>
              <a:gd name="connsiteX236" fmla="*/ 353402 w 12191995"/>
              <a:gd name="connsiteY236" fmla="*/ 6857996 h 6875997"/>
              <a:gd name="connsiteX237" fmla="*/ 353402 w 12191995"/>
              <a:gd name="connsiteY237" fmla="*/ 6311711 h 6875997"/>
              <a:gd name="connsiteX238" fmla="*/ 387605 w 12191995"/>
              <a:gd name="connsiteY238" fmla="*/ 6311711 h 6875997"/>
              <a:gd name="connsiteX239" fmla="*/ 387605 w 12191995"/>
              <a:gd name="connsiteY239" fmla="*/ 6277504 h 6875997"/>
              <a:gd name="connsiteX240" fmla="*/ 1034209 w 12191995"/>
              <a:gd name="connsiteY240" fmla="*/ 6277504 h 6875997"/>
              <a:gd name="connsiteX241" fmla="*/ 1034209 w 12191995"/>
              <a:gd name="connsiteY241" fmla="*/ 6311711 h 6875997"/>
              <a:gd name="connsiteX242" fmla="*/ 1068421 w 12191995"/>
              <a:gd name="connsiteY242" fmla="*/ 6311711 h 6875997"/>
              <a:gd name="connsiteX243" fmla="*/ 1068421 w 12191995"/>
              <a:gd name="connsiteY243" fmla="*/ 6857996 h 6875997"/>
              <a:gd name="connsiteX244" fmla="*/ 1072021 w 12191995"/>
              <a:gd name="connsiteY244" fmla="*/ 6857996 h 6875997"/>
              <a:gd name="connsiteX245" fmla="*/ 1072021 w 12191995"/>
              <a:gd name="connsiteY245" fmla="*/ 6311711 h 6875997"/>
              <a:gd name="connsiteX246" fmla="*/ 1106224 w 12191995"/>
              <a:gd name="connsiteY246" fmla="*/ 6311711 h 6875997"/>
              <a:gd name="connsiteX247" fmla="*/ 1106224 w 12191995"/>
              <a:gd name="connsiteY247" fmla="*/ 6239697 h 6875997"/>
              <a:gd name="connsiteX248" fmla="*/ 1072021 w 12191995"/>
              <a:gd name="connsiteY248" fmla="*/ 6239697 h 6875997"/>
              <a:gd name="connsiteX249" fmla="*/ 1072021 w 12191995"/>
              <a:gd name="connsiteY249" fmla="*/ 5592376 h 6875997"/>
              <a:gd name="connsiteX250" fmla="*/ 1106225 w 12191995"/>
              <a:gd name="connsiteY250" fmla="*/ 5592376 h 6875997"/>
              <a:gd name="connsiteX251" fmla="*/ 1106225 w 12191995"/>
              <a:gd name="connsiteY251" fmla="*/ 5520362 h 6875997"/>
              <a:gd name="connsiteX252" fmla="*/ 1072021 w 12191995"/>
              <a:gd name="connsiteY252" fmla="*/ 5520362 h 6875997"/>
              <a:gd name="connsiteX253" fmla="*/ 1072021 w 12191995"/>
              <a:gd name="connsiteY253" fmla="*/ 4873038 h 6875997"/>
              <a:gd name="connsiteX254" fmla="*/ 1106225 w 12191995"/>
              <a:gd name="connsiteY254" fmla="*/ 4873038 h 6875997"/>
              <a:gd name="connsiteX255" fmla="*/ 1106225 w 12191995"/>
              <a:gd name="connsiteY255" fmla="*/ 4801024 h 6875997"/>
              <a:gd name="connsiteX256" fmla="*/ 1072021 w 12191995"/>
              <a:gd name="connsiteY256" fmla="*/ 4801024 h 6875997"/>
              <a:gd name="connsiteX257" fmla="*/ 1072021 w 12191995"/>
              <a:gd name="connsiteY257" fmla="*/ 4153700 h 6875997"/>
              <a:gd name="connsiteX258" fmla="*/ 1106226 w 12191995"/>
              <a:gd name="connsiteY258" fmla="*/ 4153700 h 6875997"/>
              <a:gd name="connsiteX259" fmla="*/ 1106226 w 12191995"/>
              <a:gd name="connsiteY259" fmla="*/ 4081686 h 6875997"/>
              <a:gd name="connsiteX260" fmla="*/ 1072021 w 12191995"/>
              <a:gd name="connsiteY260" fmla="*/ 4081686 h 6875997"/>
              <a:gd name="connsiteX261" fmla="*/ 1072021 w 12191995"/>
              <a:gd name="connsiteY261" fmla="*/ 3434363 h 6875997"/>
              <a:gd name="connsiteX262" fmla="*/ 1106226 w 12191995"/>
              <a:gd name="connsiteY262" fmla="*/ 3434363 h 6875997"/>
              <a:gd name="connsiteX263" fmla="*/ 1106226 w 12191995"/>
              <a:gd name="connsiteY263" fmla="*/ 3362349 h 6875997"/>
              <a:gd name="connsiteX264" fmla="*/ 1072021 w 12191995"/>
              <a:gd name="connsiteY264" fmla="*/ 3362349 h 6875997"/>
              <a:gd name="connsiteX265" fmla="*/ 1072021 w 12191995"/>
              <a:gd name="connsiteY265" fmla="*/ 2715026 h 6875997"/>
              <a:gd name="connsiteX266" fmla="*/ 1106225 w 12191995"/>
              <a:gd name="connsiteY266" fmla="*/ 2715026 h 6875997"/>
              <a:gd name="connsiteX267" fmla="*/ 1106225 w 12191995"/>
              <a:gd name="connsiteY267" fmla="*/ 2643013 h 6875997"/>
              <a:gd name="connsiteX268" fmla="*/ 1072021 w 12191995"/>
              <a:gd name="connsiteY268" fmla="*/ 2643013 h 6875997"/>
              <a:gd name="connsiteX269" fmla="*/ 1072021 w 12191995"/>
              <a:gd name="connsiteY269" fmla="*/ 1995689 h 6875997"/>
              <a:gd name="connsiteX270" fmla="*/ 1106227 w 12191995"/>
              <a:gd name="connsiteY270" fmla="*/ 1995689 h 6875997"/>
              <a:gd name="connsiteX271" fmla="*/ 1106227 w 12191995"/>
              <a:gd name="connsiteY271" fmla="*/ 1923675 h 6875997"/>
              <a:gd name="connsiteX272" fmla="*/ 1072021 w 12191995"/>
              <a:gd name="connsiteY272" fmla="*/ 1923675 h 6875997"/>
              <a:gd name="connsiteX273" fmla="*/ 1072021 w 12191995"/>
              <a:gd name="connsiteY273" fmla="*/ 1276351 h 6875997"/>
              <a:gd name="connsiteX274" fmla="*/ 1106227 w 12191995"/>
              <a:gd name="connsiteY274" fmla="*/ 1276351 h 6875997"/>
              <a:gd name="connsiteX275" fmla="*/ 1106227 w 12191995"/>
              <a:gd name="connsiteY275" fmla="*/ 1204337 h 6875997"/>
              <a:gd name="connsiteX276" fmla="*/ 1072021 w 12191995"/>
              <a:gd name="connsiteY276" fmla="*/ 1204337 h 6875997"/>
              <a:gd name="connsiteX277" fmla="*/ 1072021 w 12191995"/>
              <a:gd name="connsiteY277" fmla="*/ 557012 h 6875997"/>
              <a:gd name="connsiteX278" fmla="*/ 1106226 w 12191995"/>
              <a:gd name="connsiteY278" fmla="*/ 557012 h 6875997"/>
              <a:gd name="connsiteX279" fmla="*/ 1106226 w 12191995"/>
              <a:gd name="connsiteY279" fmla="*/ 484998 h 6875997"/>
              <a:gd name="connsiteX280" fmla="*/ 1072021 w 12191995"/>
              <a:gd name="connsiteY280" fmla="*/ 484998 h 6875997"/>
              <a:gd name="connsiteX281" fmla="*/ 353402 w 12191995"/>
              <a:gd name="connsiteY281" fmla="*/ 0 h 6875997"/>
              <a:gd name="connsiteX282" fmla="*/ 1068421 w 12191995"/>
              <a:gd name="connsiteY282" fmla="*/ 0 h 6875997"/>
              <a:gd name="connsiteX283" fmla="*/ 1068421 w 12191995"/>
              <a:gd name="connsiteY283" fmla="*/ 484998 h 6875997"/>
              <a:gd name="connsiteX284" fmla="*/ 1034211 w 12191995"/>
              <a:gd name="connsiteY284" fmla="*/ 484998 h 6875997"/>
              <a:gd name="connsiteX285" fmla="*/ 1034211 w 12191995"/>
              <a:gd name="connsiteY285" fmla="*/ 519205 h 6875997"/>
              <a:gd name="connsiteX286" fmla="*/ 387607 w 12191995"/>
              <a:gd name="connsiteY286" fmla="*/ 519205 h 6875997"/>
              <a:gd name="connsiteX287" fmla="*/ 387607 w 12191995"/>
              <a:gd name="connsiteY287" fmla="*/ 484998 h 6875997"/>
              <a:gd name="connsiteX288" fmla="*/ 353402 w 12191995"/>
              <a:gd name="connsiteY288" fmla="*/ 484998 h 6875997"/>
              <a:gd name="connsiteX289" fmla="*/ 0 w 12191995"/>
              <a:gd name="connsiteY289" fmla="*/ 0 h 6875997"/>
              <a:gd name="connsiteX290" fmla="*/ 349802 w 12191995"/>
              <a:gd name="connsiteY290" fmla="*/ 0 h 6875997"/>
              <a:gd name="connsiteX291" fmla="*/ 349802 w 12191995"/>
              <a:gd name="connsiteY291" fmla="*/ 484998 h 6875997"/>
              <a:gd name="connsiteX292" fmla="*/ 315593 w 12191995"/>
              <a:gd name="connsiteY292" fmla="*/ 484998 h 6875997"/>
              <a:gd name="connsiteX293" fmla="*/ 315593 w 12191995"/>
              <a:gd name="connsiteY293" fmla="*/ 519205 h 6875997"/>
              <a:gd name="connsiteX294" fmla="*/ 1 w 12191995"/>
              <a:gd name="connsiteY294" fmla="*/ 519205 h 6875997"/>
              <a:gd name="connsiteX295" fmla="*/ 1 w 12191995"/>
              <a:gd name="connsiteY295" fmla="*/ 522805 h 6875997"/>
              <a:gd name="connsiteX296" fmla="*/ 315593 w 12191995"/>
              <a:gd name="connsiteY296" fmla="*/ 522805 h 6875997"/>
              <a:gd name="connsiteX297" fmla="*/ 315593 w 12191995"/>
              <a:gd name="connsiteY297" fmla="*/ 557012 h 6875997"/>
              <a:gd name="connsiteX298" fmla="*/ 349802 w 12191995"/>
              <a:gd name="connsiteY298" fmla="*/ 557012 h 6875997"/>
              <a:gd name="connsiteX299" fmla="*/ 349802 w 12191995"/>
              <a:gd name="connsiteY299" fmla="*/ 1204337 h 6875997"/>
              <a:gd name="connsiteX300" fmla="*/ 315594 w 12191995"/>
              <a:gd name="connsiteY300" fmla="*/ 1204337 h 6875997"/>
              <a:gd name="connsiteX301" fmla="*/ 315594 w 12191995"/>
              <a:gd name="connsiteY301" fmla="*/ 1238545 h 6875997"/>
              <a:gd name="connsiteX302" fmla="*/ 1 w 12191995"/>
              <a:gd name="connsiteY302" fmla="*/ 1238545 h 6875997"/>
              <a:gd name="connsiteX303" fmla="*/ 1 w 12191995"/>
              <a:gd name="connsiteY303" fmla="*/ 1242144 h 6875997"/>
              <a:gd name="connsiteX304" fmla="*/ 315594 w 12191995"/>
              <a:gd name="connsiteY304" fmla="*/ 1242144 h 6875997"/>
              <a:gd name="connsiteX305" fmla="*/ 315594 w 12191995"/>
              <a:gd name="connsiteY305" fmla="*/ 1276351 h 6875997"/>
              <a:gd name="connsiteX306" fmla="*/ 349802 w 12191995"/>
              <a:gd name="connsiteY306" fmla="*/ 1276351 h 6875997"/>
              <a:gd name="connsiteX307" fmla="*/ 349802 w 12191995"/>
              <a:gd name="connsiteY307" fmla="*/ 1923675 h 6875997"/>
              <a:gd name="connsiteX308" fmla="*/ 315594 w 12191995"/>
              <a:gd name="connsiteY308" fmla="*/ 1923675 h 6875997"/>
              <a:gd name="connsiteX309" fmla="*/ 315594 w 12191995"/>
              <a:gd name="connsiteY309" fmla="*/ 1957883 h 6875997"/>
              <a:gd name="connsiteX310" fmla="*/ 1 w 12191995"/>
              <a:gd name="connsiteY310" fmla="*/ 1957883 h 6875997"/>
              <a:gd name="connsiteX311" fmla="*/ 1 w 12191995"/>
              <a:gd name="connsiteY311" fmla="*/ 1961483 h 6875997"/>
              <a:gd name="connsiteX312" fmla="*/ 315594 w 12191995"/>
              <a:gd name="connsiteY312" fmla="*/ 1961483 h 6875997"/>
              <a:gd name="connsiteX313" fmla="*/ 315594 w 12191995"/>
              <a:gd name="connsiteY313" fmla="*/ 1995689 h 6875997"/>
              <a:gd name="connsiteX314" fmla="*/ 349802 w 12191995"/>
              <a:gd name="connsiteY314" fmla="*/ 1995689 h 6875997"/>
              <a:gd name="connsiteX315" fmla="*/ 349802 w 12191995"/>
              <a:gd name="connsiteY315" fmla="*/ 2643013 h 6875997"/>
              <a:gd name="connsiteX316" fmla="*/ 315592 w 12191995"/>
              <a:gd name="connsiteY316" fmla="*/ 2643013 h 6875997"/>
              <a:gd name="connsiteX317" fmla="*/ 315592 w 12191995"/>
              <a:gd name="connsiteY317" fmla="*/ 2677220 h 6875997"/>
              <a:gd name="connsiteX318" fmla="*/ 1 w 12191995"/>
              <a:gd name="connsiteY318" fmla="*/ 2677220 h 6875997"/>
              <a:gd name="connsiteX319" fmla="*/ 1 w 12191995"/>
              <a:gd name="connsiteY319" fmla="*/ 2680820 h 6875997"/>
              <a:gd name="connsiteX320" fmla="*/ 315592 w 12191995"/>
              <a:gd name="connsiteY320" fmla="*/ 2680820 h 6875997"/>
              <a:gd name="connsiteX321" fmla="*/ 315592 w 12191995"/>
              <a:gd name="connsiteY321" fmla="*/ 2715026 h 6875997"/>
              <a:gd name="connsiteX322" fmla="*/ 349802 w 12191995"/>
              <a:gd name="connsiteY322" fmla="*/ 2715026 h 6875997"/>
              <a:gd name="connsiteX323" fmla="*/ 349802 w 12191995"/>
              <a:gd name="connsiteY323" fmla="*/ 3362349 h 6875997"/>
              <a:gd name="connsiteX324" fmla="*/ 315593 w 12191995"/>
              <a:gd name="connsiteY324" fmla="*/ 3362349 h 6875997"/>
              <a:gd name="connsiteX325" fmla="*/ 315593 w 12191995"/>
              <a:gd name="connsiteY325" fmla="*/ 3396556 h 6875997"/>
              <a:gd name="connsiteX326" fmla="*/ 1 w 12191995"/>
              <a:gd name="connsiteY326" fmla="*/ 3396556 h 6875997"/>
              <a:gd name="connsiteX327" fmla="*/ 1 w 12191995"/>
              <a:gd name="connsiteY327" fmla="*/ 3400156 h 6875997"/>
              <a:gd name="connsiteX328" fmla="*/ 315593 w 12191995"/>
              <a:gd name="connsiteY328" fmla="*/ 3400156 h 6875997"/>
              <a:gd name="connsiteX329" fmla="*/ 315593 w 12191995"/>
              <a:gd name="connsiteY329" fmla="*/ 3434363 h 6875997"/>
              <a:gd name="connsiteX330" fmla="*/ 349802 w 12191995"/>
              <a:gd name="connsiteY330" fmla="*/ 3434363 h 6875997"/>
              <a:gd name="connsiteX331" fmla="*/ 349802 w 12191995"/>
              <a:gd name="connsiteY331" fmla="*/ 4081686 h 6875997"/>
              <a:gd name="connsiteX332" fmla="*/ 315593 w 12191995"/>
              <a:gd name="connsiteY332" fmla="*/ 4081686 h 6875997"/>
              <a:gd name="connsiteX333" fmla="*/ 315593 w 12191995"/>
              <a:gd name="connsiteY333" fmla="*/ 4115893 h 6875997"/>
              <a:gd name="connsiteX334" fmla="*/ 1 w 12191995"/>
              <a:gd name="connsiteY334" fmla="*/ 4115893 h 6875997"/>
              <a:gd name="connsiteX335" fmla="*/ 1 w 12191995"/>
              <a:gd name="connsiteY335" fmla="*/ 4119493 h 6875997"/>
              <a:gd name="connsiteX336" fmla="*/ 315593 w 12191995"/>
              <a:gd name="connsiteY336" fmla="*/ 4119493 h 6875997"/>
              <a:gd name="connsiteX337" fmla="*/ 315593 w 12191995"/>
              <a:gd name="connsiteY337" fmla="*/ 4153700 h 6875997"/>
              <a:gd name="connsiteX338" fmla="*/ 349802 w 12191995"/>
              <a:gd name="connsiteY338" fmla="*/ 4153700 h 6875997"/>
              <a:gd name="connsiteX339" fmla="*/ 349802 w 12191995"/>
              <a:gd name="connsiteY339" fmla="*/ 4801024 h 6875997"/>
              <a:gd name="connsiteX340" fmla="*/ 315592 w 12191995"/>
              <a:gd name="connsiteY340" fmla="*/ 4801024 h 6875997"/>
              <a:gd name="connsiteX341" fmla="*/ 315592 w 12191995"/>
              <a:gd name="connsiteY341" fmla="*/ 4835231 h 6875997"/>
              <a:gd name="connsiteX342" fmla="*/ 0 w 12191995"/>
              <a:gd name="connsiteY342" fmla="*/ 4835231 h 687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12191995" h="6875997">
                <a:moveTo>
                  <a:pt x="11039468" y="6562722"/>
                </a:moveTo>
                <a:cubicBezTo>
                  <a:pt x="11037411" y="6563401"/>
                  <a:pt x="11035353" y="6564080"/>
                  <a:pt x="11033982" y="6564080"/>
                </a:cubicBezTo>
                <a:lnTo>
                  <a:pt x="10915338" y="6583760"/>
                </a:lnTo>
                <a:cubicBezTo>
                  <a:pt x="10913967" y="6583760"/>
                  <a:pt x="10911223" y="6584438"/>
                  <a:pt x="10909852" y="6585796"/>
                </a:cubicBezTo>
                <a:cubicBezTo>
                  <a:pt x="10878991" y="6608869"/>
                  <a:pt x="10878991" y="6608869"/>
                  <a:pt x="10878991" y="6608869"/>
                </a:cubicBezTo>
                <a:cubicBezTo>
                  <a:pt x="10993519" y="6608869"/>
                  <a:pt x="10993519" y="6608869"/>
                  <a:pt x="10993519" y="6608869"/>
                </a:cubicBezTo>
                <a:cubicBezTo>
                  <a:pt x="10993519" y="6608869"/>
                  <a:pt x="10988719" y="6614298"/>
                  <a:pt x="10981861" y="6615655"/>
                </a:cubicBezTo>
                <a:cubicBezTo>
                  <a:pt x="10975003" y="6617012"/>
                  <a:pt x="10894764" y="6630585"/>
                  <a:pt x="10894764" y="6630585"/>
                </a:cubicBezTo>
                <a:cubicBezTo>
                  <a:pt x="10893393" y="6630585"/>
                  <a:pt x="10890649" y="6631942"/>
                  <a:pt x="10889278" y="6632621"/>
                </a:cubicBezTo>
                <a:cubicBezTo>
                  <a:pt x="10868018" y="6648908"/>
                  <a:pt x="10868018" y="6648908"/>
                  <a:pt x="10868018" y="6648908"/>
                </a:cubicBezTo>
                <a:cubicBezTo>
                  <a:pt x="10889278" y="6651622"/>
                  <a:pt x="10913281" y="6650265"/>
                  <a:pt x="10937284" y="6644157"/>
                </a:cubicBezTo>
                <a:cubicBezTo>
                  <a:pt x="10989405" y="6629906"/>
                  <a:pt x="11028495" y="6597332"/>
                  <a:pt x="11039468" y="6562722"/>
                </a:cubicBezTo>
                <a:close/>
                <a:moveTo>
                  <a:pt x="10791888" y="6557959"/>
                </a:moveTo>
                <a:cubicBezTo>
                  <a:pt x="10787746" y="6570206"/>
                  <a:pt x="10787056" y="6582452"/>
                  <a:pt x="10790507" y="6594018"/>
                </a:cubicBezTo>
                <a:cubicBezTo>
                  <a:pt x="10798099" y="6623274"/>
                  <a:pt x="10827779" y="6643004"/>
                  <a:pt x="10866431" y="6648447"/>
                </a:cubicBezTo>
                <a:cubicBezTo>
                  <a:pt x="10866431" y="6557959"/>
                  <a:pt x="10866431" y="6557959"/>
                  <a:pt x="10866431" y="6557959"/>
                </a:cubicBezTo>
                <a:cubicBezTo>
                  <a:pt x="10791888" y="6557959"/>
                  <a:pt x="10791888" y="6557959"/>
                  <a:pt x="10791888" y="6557959"/>
                </a:cubicBezTo>
                <a:close/>
                <a:moveTo>
                  <a:pt x="11578425" y="6519858"/>
                </a:moveTo>
                <a:cubicBezTo>
                  <a:pt x="11597903" y="6519858"/>
                  <a:pt x="11604619" y="6529119"/>
                  <a:pt x="11604619" y="6543009"/>
                </a:cubicBezTo>
                <a:cubicBezTo>
                  <a:pt x="11604619" y="6549624"/>
                  <a:pt x="11603947" y="6551608"/>
                  <a:pt x="11599918" y="6551608"/>
                </a:cubicBezTo>
                <a:cubicBezTo>
                  <a:pt x="11552231" y="6551608"/>
                  <a:pt x="11552231" y="6551608"/>
                  <a:pt x="11552231" y="6551608"/>
                </a:cubicBezTo>
                <a:cubicBezTo>
                  <a:pt x="11552231" y="6546978"/>
                  <a:pt x="11552903" y="6543671"/>
                  <a:pt x="11552903" y="6543671"/>
                </a:cubicBezTo>
                <a:cubicBezTo>
                  <a:pt x="11554246" y="6531103"/>
                  <a:pt x="11560291" y="6519858"/>
                  <a:pt x="11578425" y="6519858"/>
                </a:cubicBezTo>
                <a:close/>
                <a:moveTo>
                  <a:pt x="11218855" y="6519858"/>
                </a:moveTo>
                <a:cubicBezTo>
                  <a:pt x="11238231" y="6519858"/>
                  <a:pt x="11245843" y="6529119"/>
                  <a:pt x="11245843" y="6543009"/>
                </a:cubicBezTo>
                <a:cubicBezTo>
                  <a:pt x="11245151" y="6549624"/>
                  <a:pt x="11244459" y="6551608"/>
                  <a:pt x="11240307" y="6551608"/>
                </a:cubicBezTo>
                <a:cubicBezTo>
                  <a:pt x="11191868" y="6551608"/>
                  <a:pt x="11191868" y="6551608"/>
                  <a:pt x="11191868" y="6551608"/>
                </a:cubicBezTo>
                <a:cubicBezTo>
                  <a:pt x="11191868" y="6546978"/>
                  <a:pt x="11191868" y="6543671"/>
                  <a:pt x="11191868" y="6543671"/>
                </a:cubicBezTo>
                <a:cubicBezTo>
                  <a:pt x="11193252" y="6531103"/>
                  <a:pt x="11199480" y="6519858"/>
                  <a:pt x="11218855" y="6519858"/>
                </a:cubicBezTo>
                <a:close/>
                <a:moveTo>
                  <a:pt x="11625256" y="6503984"/>
                </a:moveTo>
                <a:cubicBezTo>
                  <a:pt x="11632129" y="6508092"/>
                  <a:pt x="11636940" y="6513569"/>
                  <a:pt x="11640376" y="6520415"/>
                </a:cubicBezTo>
                <a:cubicBezTo>
                  <a:pt x="11674052" y="6520415"/>
                  <a:pt x="11674052" y="6520415"/>
                  <a:pt x="11674052" y="6520415"/>
                </a:cubicBezTo>
                <a:cubicBezTo>
                  <a:pt x="11674052" y="6613522"/>
                  <a:pt x="11674052" y="6613522"/>
                  <a:pt x="11674052" y="6613522"/>
                </a:cubicBezTo>
                <a:cubicBezTo>
                  <a:pt x="11700169" y="6613522"/>
                  <a:pt x="11700169" y="6613522"/>
                  <a:pt x="11700169" y="6613522"/>
                </a:cubicBezTo>
                <a:cubicBezTo>
                  <a:pt x="11700169" y="6520415"/>
                  <a:pt x="11700169" y="6520415"/>
                  <a:pt x="11700169" y="6520415"/>
                </a:cubicBezTo>
                <a:lnTo>
                  <a:pt x="11737969" y="6520415"/>
                </a:lnTo>
                <a:cubicBezTo>
                  <a:pt x="11737969" y="6503984"/>
                  <a:pt x="11737969" y="6503984"/>
                  <a:pt x="11737969" y="6503984"/>
                </a:cubicBezTo>
                <a:cubicBezTo>
                  <a:pt x="11625256" y="6503984"/>
                  <a:pt x="11625256" y="6503984"/>
                  <a:pt x="11625256" y="6503984"/>
                </a:cubicBezTo>
                <a:close/>
                <a:moveTo>
                  <a:pt x="11426949" y="6503984"/>
                </a:moveTo>
                <a:cubicBezTo>
                  <a:pt x="11413933" y="6504669"/>
                  <a:pt x="11407768" y="6510830"/>
                  <a:pt x="11407768" y="6523153"/>
                </a:cubicBezTo>
                <a:cubicBezTo>
                  <a:pt x="11407768" y="6613522"/>
                  <a:pt x="11407768" y="6613522"/>
                  <a:pt x="11407768" y="6613522"/>
                </a:cubicBezTo>
                <a:cubicBezTo>
                  <a:pt x="11433799" y="6613522"/>
                  <a:pt x="11433799" y="6613522"/>
                  <a:pt x="11433799" y="6613522"/>
                </a:cubicBezTo>
                <a:cubicBezTo>
                  <a:pt x="11433799" y="6525207"/>
                  <a:pt x="11433799" y="6525207"/>
                  <a:pt x="11433799" y="6525207"/>
                </a:cubicBezTo>
                <a:cubicBezTo>
                  <a:pt x="11433799" y="6521784"/>
                  <a:pt x="11435169" y="6520415"/>
                  <a:pt x="11439279" y="6520415"/>
                </a:cubicBezTo>
                <a:cubicBezTo>
                  <a:pt x="11459830" y="6520415"/>
                  <a:pt x="11459830" y="6520415"/>
                  <a:pt x="11459830" y="6520415"/>
                </a:cubicBezTo>
                <a:cubicBezTo>
                  <a:pt x="11475585" y="6520415"/>
                  <a:pt x="11481750" y="6527946"/>
                  <a:pt x="11481750" y="6543692"/>
                </a:cubicBezTo>
                <a:cubicBezTo>
                  <a:pt x="11481750" y="6613522"/>
                  <a:pt x="11481750" y="6613522"/>
                  <a:pt x="11481750" y="6613522"/>
                </a:cubicBezTo>
                <a:cubicBezTo>
                  <a:pt x="11507781" y="6613522"/>
                  <a:pt x="11507781" y="6613522"/>
                  <a:pt x="11507781" y="6613522"/>
                </a:cubicBezTo>
                <a:cubicBezTo>
                  <a:pt x="11507781" y="6541638"/>
                  <a:pt x="11507781" y="6541638"/>
                  <a:pt x="11507781" y="6541638"/>
                </a:cubicBezTo>
                <a:cubicBezTo>
                  <a:pt x="11507781" y="6510146"/>
                  <a:pt x="11485860" y="6504669"/>
                  <a:pt x="11463940" y="6503984"/>
                </a:cubicBezTo>
                <a:cubicBezTo>
                  <a:pt x="11426949" y="6503984"/>
                  <a:pt x="11426949" y="6503984"/>
                  <a:pt x="11426949" y="6503984"/>
                </a:cubicBezTo>
                <a:close/>
                <a:moveTo>
                  <a:pt x="11307887" y="6503984"/>
                </a:moveTo>
                <a:cubicBezTo>
                  <a:pt x="11294871" y="6504669"/>
                  <a:pt x="11288706" y="6510830"/>
                  <a:pt x="11288706" y="6523153"/>
                </a:cubicBezTo>
                <a:cubicBezTo>
                  <a:pt x="11288706" y="6613522"/>
                  <a:pt x="11288706" y="6613522"/>
                  <a:pt x="11288706" y="6613522"/>
                </a:cubicBezTo>
                <a:cubicBezTo>
                  <a:pt x="11314737" y="6613522"/>
                  <a:pt x="11314737" y="6613522"/>
                  <a:pt x="11314737" y="6613522"/>
                </a:cubicBezTo>
                <a:cubicBezTo>
                  <a:pt x="11314737" y="6525207"/>
                  <a:pt x="11314737" y="6525207"/>
                  <a:pt x="11314737" y="6525207"/>
                </a:cubicBezTo>
                <a:cubicBezTo>
                  <a:pt x="11314737" y="6521784"/>
                  <a:pt x="11316107" y="6520415"/>
                  <a:pt x="11320217" y="6520415"/>
                </a:cubicBezTo>
                <a:cubicBezTo>
                  <a:pt x="11340768" y="6520415"/>
                  <a:pt x="11340768" y="6520415"/>
                  <a:pt x="11340768" y="6520415"/>
                </a:cubicBezTo>
                <a:cubicBezTo>
                  <a:pt x="11356523" y="6520415"/>
                  <a:pt x="11362688" y="6527946"/>
                  <a:pt x="11362688" y="6543692"/>
                </a:cubicBezTo>
                <a:cubicBezTo>
                  <a:pt x="11362688" y="6613522"/>
                  <a:pt x="11362688" y="6613522"/>
                  <a:pt x="11362688" y="6613522"/>
                </a:cubicBezTo>
                <a:cubicBezTo>
                  <a:pt x="11388719" y="6613522"/>
                  <a:pt x="11388719" y="6613522"/>
                  <a:pt x="11388719" y="6613522"/>
                </a:cubicBezTo>
                <a:cubicBezTo>
                  <a:pt x="11388719" y="6541638"/>
                  <a:pt x="11388719" y="6541638"/>
                  <a:pt x="11388719" y="6541638"/>
                </a:cubicBezTo>
                <a:cubicBezTo>
                  <a:pt x="11388719" y="6510146"/>
                  <a:pt x="11366798" y="6504669"/>
                  <a:pt x="11344878" y="6503984"/>
                </a:cubicBezTo>
                <a:cubicBezTo>
                  <a:pt x="11307887" y="6503984"/>
                  <a:pt x="11307887" y="6503984"/>
                  <a:pt x="11307887" y="6503984"/>
                </a:cubicBezTo>
                <a:close/>
                <a:moveTo>
                  <a:pt x="11055343" y="6503984"/>
                </a:moveTo>
                <a:cubicBezTo>
                  <a:pt x="11058758" y="6509461"/>
                  <a:pt x="11060124" y="6512884"/>
                  <a:pt x="11062856" y="6520415"/>
                </a:cubicBezTo>
                <a:lnTo>
                  <a:pt x="11098372" y="6520415"/>
                </a:lnTo>
                <a:cubicBezTo>
                  <a:pt x="11098372" y="6520415"/>
                  <a:pt x="11098372" y="6520415"/>
                  <a:pt x="11098372" y="6613522"/>
                </a:cubicBezTo>
                <a:cubicBezTo>
                  <a:pt x="11098372" y="6613522"/>
                  <a:pt x="11098372" y="6613522"/>
                  <a:pt x="11125008" y="6613522"/>
                </a:cubicBezTo>
                <a:cubicBezTo>
                  <a:pt x="11125008" y="6613522"/>
                  <a:pt x="11125008" y="6613522"/>
                  <a:pt x="11125008" y="6520415"/>
                </a:cubicBezTo>
                <a:cubicBezTo>
                  <a:pt x="11125008" y="6520415"/>
                  <a:pt x="11125008" y="6520415"/>
                  <a:pt x="11158475" y="6520415"/>
                </a:cubicBezTo>
                <a:cubicBezTo>
                  <a:pt x="11161207" y="6513569"/>
                  <a:pt x="11166671" y="6508092"/>
                  <a:pt x="11172818" y="6503984"/>
                </a:cubicBezTo>
                <a:cubicBezTo>
                  <a:pt x="11172818" y="6503984"/>
                  <a:pt x="11172818" y="6503984"/>
                  <a:pt x="11055343" y="6503984"/>
                </a:cubicBezTo>
                <a:close/>
                <a:moveTo>
                  <a:pt x="11576751" y="6503134"/>
                </a:moveTo>
                <a:cubicBezTo>
                  <a:pt x="11561947" y="6503645"/>
                  <a:pt x="11547398" y="6508067"/>
                  <a:pt x="11539183" y="6516912"/>
                </a:cubicBezTo>
                <a:cubicBezTo>
                  <a:pt x="11522068" y="6534601"/>
                  <a:pt x="11523437" y="6576103"/>
                  <a:pt x="11533022" y="6593792"/>
                </a:cubicBezTo>
                <a:cubicBezTo>
                  <a:pt x="11535076" y="6598554"/>
                  <a:pt x="11540553" y="6604678"/>
                  <a:pt x="11548083" y="6608760"/>
                </a:cubicBezTo>
                <a:cubicBezTo>
                  <a:pt x="11554245" y="6612162"/>
                  <a:pt x="11562460" y="6613522"/>
                  <a:pt x="11570675" y="6613522"/>
                </a:cubicBezTo>
                <a:cubicBezTo>
                  <a:pt x="11574099" y="6613522"/>
                  <a:pt x="11628183" y="6613522"/>
                  <a:pt x="11628183" y="6613522"/>
                </a:cubicBezTo>
                <a:cubicBezTo>
                  <a:pt x="11628183" y="6597874"/>
                  <a:pt x="11628183" y="6597874"/>
                  <a:pt x="11628183" y="6597874"/>
                </a:cubicBezTo>
                <a:cubicBezTo>
                  <a:pt x="11574783" y="6597874"/>
                  <a:pt x="11574783" y="6597874"/>
                  <a:pt x="11574783" y="6597874"/>
                </a:cubicBezTo>
                <a:cubicBezTo>
                  <a:pt x="11557668" y="6597874"/>
                  <a:pt x="11553560" y="6584947"/>
                  <a:pt x="11552876" y="6572020"/>
                </a:cubicBezTo>
                <a:cubicBezTo>
                  <a:pt x="11552876" y="6570660"/>
                  <a:pt x="11552191" y="6569979"/>
                  <a:pt x="11552191" y="6567938"/>
                </a:cubicBezTo>
                <a:cubicBezTo>
                  <a:pt x="11609698" y="6567938"/>
                  <a:pt x="11609698" y="6567938"/>
                  <a:pt x="11609698" y="6567938"/>
                </a:cubicBezTo>
                <a:cubicBezTo>
                  <a:pt x="11611068" y="6567938"/>
                  <a:pt x="11615860" y="6567938"/>
                  <a:pt x="11619283" y="6567258"/>
                </a:cubicBezTo>
                <a:cubicBezTo>
                  <a:pt x="11624760" y="6565897"/>
                  <a:pt x="11631606" y="6561135"/>
                  <a:pt x="11631606" y="6546847"/>
                </a:cubicBezTo>
                <a:cubicBezTo>
                  <a:pt x="11631606" y="6529838"/>
                  <a:pt x="11625444" y="6519633"/>
                  <a:pt x="11615860" y="6512829"/>
                </a:cubicBezTo>
                <a:cubicBezTo>
                  <a:pt x="11606618" y="6506026"/>
                  <a:pt x="11591556" y="6502624"/>
                  <a:pt x="11576751" y="6503134"/>
                </a:cubicBezTo>
                <a:close/>
                <a:moveTo>
                  <a:pt x="11215941" y="6503134"/>
                </a:moveTo>
                <a:cubicBezTo>
                  <a:pt x="11200922" y="6503645"/>
                  <a:pt x="11186163" y="6508067"/>
                  <a:pt x="11177481" y="6516912"/>
                </a:cubicBezTo>
                <a:cubicBezTo>
                  <a:pt x="11160118" y="6534601"/>
                  <a:pt x="11162202" y="6576103"/>
                  <a:pt x="11171231" y="6593792"/>
                </a:cubicBezTo>
                <a:cubicBezTo>
                  <a:pt x="11174009" y="6598554"/>
                  <a:pt x="11178870" y="6604678"/>
                  <a:pt x="11187205" y="6608760"/>
                </a:cubicBezTo>
                <a:cubicBezTo>
                  <a:pt x="11192761" y="6612162"/>
                  <a:pt x="11201095" y="6613522"/>
                  <a:pt x="11209430" y="6613522"/>
                </a:cubicBezTo>
                <a:cubicBezTo>
                  <a:pt x="11212902" y="6613522"/>
                  <a:pt x="11267770" y="6613522"/>
                  <a:pt x="11267770" y="6613522"/>
                </a:cubicBezTo>
                <a:cubicBezTo>
                  <a:pt x="11267770" y="6597874"/>
                  <a:pt x="11267770" y="6597874"/>
                  <a:pt x="11267770" y="6597874"/>
                </a:cubicBezTo>
                <a:cubicBezTo>
                  <a:pt x="11213597" y="6597874"/>
                  <a:pt x="11213597" y="6597874"/>
                  <a:pt x="11213597" y="6597874"/>
                </a:cubicBezTo>
                <a:cubicBezTo>
                  <a:pt x="11196234" y="6597874"/>
                  <a:pt x="11192066" y="6584947"/>
                  <a:pt x="11191372" y="6572020"/>
                </a:cubicBezTo>
                <a:cubicBezTo>
                  <a:pt x="11191372" y="6570660"/>
                  <a:pt x="11191372" y="6569979"/>
                  <a:pt x="11191372" y="6567938"/>
                </a:cubicBezTo>
                <a:cubicBezTo>
                  <a:pt x="11249713" y="6567938"/>
                  <a:pt x="11249713" y="6567938"/>
                  <a:pt x="11249713" y="6567938"/>
                </a:cubicBezTo>
                <a:cubicBezTo>
                  <a:pt x="11250407" y="6567938"/>
                  <a:pt x="11255963" y="6567938"/>
                  <a:pt x="11258741" y="6567258"/>
                </a:cubicBezTo>
                <a:cubicBezTo>
                  <a:pt x="11264992" y="6565897"/>
                  <a:pt x="11271243" y="6561135"/>
                  <a:pt x="11271243" y="6546847"/>
                </a:cubicBezTo>
                <a:cubicBezTo>
                  <a:pt x="11271243" y="6529838"/>
                  <a:pt x="11264992" y="6519633"/>
                  <a:pt x="11255963" y="6512829"/>
                </a:cubicBezTo>
                <a:cubicBezTo>
                  <a:pt x="11246240" y="6506026"/>
                  <a:pt x="11230960" y="6502624"/>
                  <a:pt x="11215941" y="6503134"/>
                </a:cubicBezTo>
                <a:close/>
                <a:moveTo>
                  <a:pt x="10943122" y="6471560"/>
                </a:moveTo>
                <a:cubicBezTo>
                  <a:pt x="10927039" y="6471325"/>
                  <a:pt x="10909962" y="6473375"/>
                  <a:pt x="10892671" y="6477989"/>
                </a:cubicBezTo>
                <a:cubicBezTo>
                  <a:pt x="10848843" y="6489609"/>
                  <a:pt x="10813918" y="6515582"/>
                  <a:pt x="10798168" y="6544289"/>
                </a:cubicBezTo>
                <a:cubicBezTo>
                  <a:pt x="10954988" y="6519683"/>
                  <a:pt x="10954988" y="6519683"/>
                  <a:pt x="10954988" y="6519683"/>
                </a:cubicBezTo>
                <a:cubicBezTo>
                  <a:pt x="10904313" y="6557959"/>
                  <a:pt x="10904313" y="6557959"/>
                  <a:pt x="10904313" y="6557959"/>
                </a:cubicBezTo>
                <a:cubicBezTo>
                  <a:pt x="11039904" y="6557959"/>
                  <a:pt x="11039904" y="6557959"/>
                  <a:pt x="11039904" y="6557959"/>
                </a:cubicBezTo>
                <a:cubicBezTo>
                  <a:pt x="11042643" y="6547707"/>
                  <a:pt x="11042643" y="6537454"/>
                  <a:pt x="11039904" y="6527885"/>
                </a:cubicBezTo>
                <a:cubicBezTo>
                  <a:pt x="11030659" y="6493538"/>
                  <a:pt x="10991368" y="6472264"/>
                  <a:pt x="10943122" y="6471560"/>
                </a:cubicBezTo>
                <a:close/>
                <a:moveTo>
                  <a:pt x="387606" y="5558169"/>
                </a:moveTo>
                <a:lnTo>
                  <a:pt x="1034211" y="5558169"/>
                </a:lnTo>
                <a:lnTo>
                  <a:pt x="1034211" y="5592376"/>
                </a:lnTo>
                <a:lnTo>
                  <a:pt x="1068421" y="5592376"/>
                </a:lnTo>
                <a:lnTo>
                  <a:pt x="1068421" y="6239697"/>
                </a:lnTo>
                <a:lnTo>
                  <a:pt x="1034209" y="6239697"/>
                </a:lnTo>
                <a:lnTo>
                  <a:pt x="1034209" y="6273904"/>
                </a:lnTo>
                <a:lnTo>
                  <a:pt x="387605" y="6273904"/>
                </a:lnTo>
                <a:lnTo>
                  <a:pt x="387605" y="6239697"/>
                </a:lnTo>
                <a:lnTo>
                  <a:pt x="353402" y="6239697"/>
                </a:lnTo>
                <a:lnTo>
                  <a:pt x="353402" y="5592376"/>
                </a:lnTo>
                <a:lnTo>
                  <a:pt x="387606" y="5592376"/>
                </a:lnTo>
                <a:close/>
                <a:moveTo>
                  <a:pt x="0" y="5558169"/>
                </a:moveTo>
                <a:lnTo>
                  <a:pt x="315592" y="5558169"/>
                </a:lnTo>
                <a:lnTo>
                  <a:pt x="315592" y="5592376"/>
                </a:lnTo>
                <a:lnTo>
                  <a:pt x="349802" y="5592376"/>
                </a:lnTo>
                <a:lnTo>
                  <a:pt x="349802" y="6239697"/>
                </a:lnTo>
                <a:lnTo>
                  <a:pt x="315591" y="6239697"/>
                </a:lnTo>
                <a:lnTo>
                  <a:pt x="315591" y="6273904"/>
                </a:lnTo>
                <a:lnTo>
                  <a:pt x="0" y="6273904"/>
                </a:lnTo>
                <a:close/>
                <a:moveTo>
                  <a:pt x="387606" y="4838831"/>
                </a:moveTo>
                <a:lnTo>
                  <a:pt x="1034211" y="4838831"/>
                </a:lnTo>
                <a:lnTo>
                  <a:pt x="1034211" y="4873038"/>
                </a:lnTo>
                <a:lnTo>
                  <a:pt x="1068421" y="4873038"/>
                </a:lnTo>
                <a:lnTo>
                  <a:pt x="1068421" y="5520362"/>
                </a:lnTo>
                <a:lnTo>
                  <a:pt x="1034211" y="5520362"/>
                </a:lnTo>
                <a:lnTo>
                  <a:pt x="1034211" y="5554569"/>
                </a:lnTo>
                <a:lnTo>
                  <a:pt x="387606" y="5554569"/>
                </a:lnTo>
                <a:lnTo>
                  <a:pt x="387606" y="5520362"/>
                </a:lnTo>
                <a:lnTo>
                  <a:pt x="353402" y="5520362"/>
                </a:lnTo>
                <a:lnTo>
                  <a:pt x="353402" y="4873038"/>
                </a:lnTo>
                <a:lnTo>
                  <a:pt x="387606" y="4873038"/>
                </a:lnTo>
                <a:close/>
                <a:moveTo>
                  <a:pt x="0" y="4838831"/>
                </a:moveTo>
                <a:lnTo>
                  <a:pt x="315592" y="4838831"/>
                </a:lnTo>
                <a:lnTo>
                  <a:pt x="315592" y="4873038"/>
                </a:lnTo>
                <a:lnTo>
                  <a:pt x="349802" y="4873038"/>
                </a:lnTo>
                <a:lnTo>
                  <a:pt x="349802" y="5520362"/>
                </a:lnTo>
                <a:lnTo>
                  <a:pt x="315592" y="5520362"/>
                </a:lnTo>
                <a:lnTo>
                  <a:pt x="315592" y="5554569"/>
                </a:lnTo>
                <a:lnTo>
                  <a:pt x="0" y="5554569"/>
                </a:lnTo>
                <a:close/>
                <a:moveTo>
                  <a:pt x="387607" y="4119493"/>
                </a:moveTo>
                <a:lnTo>
                  <a:pt x="1034211" y="4119493"/>
                </a:lnTo>
                <a:lnTo>
                  <a:pt x="1034211" y="4153700"/>
                </a:lnTo>
                <a:lnTo>
                  <a:pt x="1068421" y="4153700"/>
                </a:lnTo>
                <a:lnTo>
                  <a:pt x="1068421" y="4801024"/>
                </a:lnTo>
                <a:lnTo>
                  <a:pt x="1034211" y="4801024"/>
                </a:lnTo>
                <a:lnTo>
                  <a:pt x="1034211" y="4835231"/>
                </a:lnTo>
                <a:lnTo>
                  <a:pt x="387606" y="4835231"/>
                </a:lnTo>
                <a:lnTo>
                  <a:pt x="387606" y="4801024"/>
                </a:lnTo>
                <a:lnTo>
                  <a:pt x="353402" y="4801024"/>
                </a:lnTo>
                <a:lnTo>
                  <a:pt x="353402" y="4153700"/>
                </a:lnTo>
                <a:lnTo>
                  <a:pt x="387607" y="4153700"/>
                </a:lnTo>
                <a:close/>
                <a:moveTo>
                  <a:pt x="387607" y="3400156"/>
                </a:moveTo>
                <a:lnTo>
                  <a:pt x="1034211" y="3400156"/>
                </a:lnTo>
                <a:lnTo>
                  <a:pt x="1034211" y="3434363"/>
                </a:lnTo>
                <a:lnTo>
                  <a:pt x="1068421" y="3434363"/>
                </a:lnTo>
                <a:lnTo>
                  <a:pt x="1068421" y="4081686"/>
                </a:lnTo>
                <a:lnTo>
                  <a:pt x="1034211" y="4081686"/>
                </a:lnTo>
                <a:lnTo>
                  <a:pt x="1034211" y="4115893"/>
                </a:lnTo>
                <a:lnTo>
                  <a:pt x="387607" y="4115893"/>
                </a:lnTo>
                <a:lnTo>
                  <a:pt x="387607" y="4081686"/>
                </a:lnTo>
                <a:lnTo>
                  <a:pt x="353402" y="4081686"/>
                </a:lnTo>
                <a:lnTo>
                  <a:pt x="353402" y="3434363"/>
                </a:lnTo>
                <a:lnTo>
                  <a:pt x="387607" y="3434363"/>
                </a:lnTo>
                <a:close/>
                <a:moveTo>
                  <a:pt x="387606" y="2680820"/>
                </a:moveTo>
                <a:lnTo>
                  <a:pt x="1034211" y="2680820"/>
                </a:lnTo>
                <a:lnTo>
                  <a:pt x="1034211" y="2715026"/>
                </a:lnTo>
                <a:lnTo>
                  <a:pt x="1068421" y="2715026"/>
                </a:lnTo>
                <a:lnTo>
                  <a:pt x="1068421" y="3362349"/>
                </a:lnTo>
                <a:lnTo>
                  <a:pt x="1034211" y="3362349"/>
                </a:lnTo>
                <a:lnTo>
                  <a:pt x="1034211" y="3396556"/>
                </a:lnTo>
                <a:lnTo>
                  <a:pt x="387607" y="3396556"/>
                </a:lnTo>
                <a:lnTo>
                  <a:pt x="387607" y="3362349"/>
                </a:lnTo>
                <a:lnTo>
                  <a:pt x="353402" y="3362349"/>
                </a:lnTo>
                <a:lnTo>
                  <a:pt x="353402" y="2715026"/>
                </a:lnTo>
                <a:lnTo>
                  <a:pt x="387606" y="2715026"/>
                </a:lnTo>
                <a:close/>
                <a:moveTo>
                  <a:pt x="387608" y="1961483"/>
                </a:moveTo>
                <a:lnTo>
                  <a:pt x="1034213" y="1961483"/>
                </a:lnTo>
                <a:lnTo>
                  <a:pt x="1034213" y="1995689"/>
                </a:lnTo>
                <a:lnTo>
                  <a:pt x="1068421" y="1995689"/>
                </a:lnTo>
                <a:lnTo>
                  <a:pt x="1068421" y="2643013"/>
                </a:lnTo>
                <a:lnTo>
                  <a:pt x="1034211" y="2643013"/>
                </a:lnTo>
                <a:lnTo>
                  <a:pt x="1034211" y="2677220"/>
                </a:lnTo>
                <a:lnTo>
                  <a:pt x="387606" y="2677220"/>
                </a:lnTo>
                <a:lnTo>
                  <a:pt x="387606" y="2643013"/>
                </a:lnTo>
                <a:lnTo>
                  <a:pt x="353402" y="2643013"/>
                </a:lnTo>
                <a:lnTo>
                  <a:pt x="353402" y="1995689"/>
                </a:lnTo>
                <a:lnTo>
                  <a:pt x="387608" y="1995689"/>
                </a:lnTo>
                <a:close/>
                <a:moveTo>
                  <a:pt x="387608" y="1242144"/>
                </a:moveTo>
                <a:lnTo>
                  <a:pt x="1034213" y="1242144"/>
                </a:lnTo>
                <a:lnTo>
                  <a:pt x="1034213" y="1276351"/>
                </a:lnTo>
                <a:lnTo>
                  <a:pt x="1068421" y="1276351"/>
                </a:lnTo>
                <a:lnTo>
                  <a:pt x="1068421" y="1923675"/>
                </a:lnTo>
                <a:lnTo>
                  <a:pt x="1034213" y="1923675"/>
                </a:lnTo>
                <a:lnTo>
                  <a:pt x="1034213" y="1957883"/>
                </a:lnTo>
                <a:lnTo>
                  <a:pt x="387608" y="1957883"/>
                </a:lnTo>
                <a:lnTo>
                  <a:pt x="387608" y="1923675"/>
                </a:lnTo>
                <a:lnTo>
                  <a:pt x="353402" y="1923675"/>
                </a:lnTo>
                <a:lnTo>
                  <a:pt x="353402" y="1276351"/>
                </a:lnTo>
                <a:lnTo>
                  <a:pt x="387608" y="1276351"/>
                </a:lnTo>
                <a:close/>
                <a:moveTo>
                  <a:pt x="387607" y="522805"/>
                </a:moveTo>
                <a:lnTo>
                  <a:pt x="1034211" y="522805"/>
                </a:lnTo>
                <a:lnTo>
                  <a:pt x="1034211" y="557012"/>
                </a:lnTo>
                <a:lnTo>
                  <a:pt x="1068421" y="557012"/>
                </a:lnTo>
                <a:lnTo>
                  <a:pt x="1068421" y="1204337"/>
                </a:lnTo>
                <a:lnTo>
                  <a:pt x="1034213" y="1204337"/>
                </a:lnTo>
                <a:lnTo>
                  <a:pt x="1034213" y="1238545"/>
                </a:lnTo>
                <a:lnTo>
                  <a:pt x="387608" y="1238545"/>
                </a:lnTo>
                <a:lnTo>
                  <a:pt x="387608" y="1204337"/>
                </a:lnTo>
                <a:lnTo>
                  <a:pt x="353402" y="1204337"/>
                </a:lnTo>
                <a:lnTo>
                  <a:pt x="353402" y="557012"/>
                </a:lnTo>
                <a:lnTo>
                  <a:pt x="387607" y="557012"/>
                </a:lnTo>
                <a:close/>
                <a:moveTo>
                  <a:pt x="1072021" y="0"/>
                </a:moveTo>
                <a:lnTo>
                  <a:pt x="1152939" y="0"/>
                </a:lnTo>
                <a:lnTo>
                  <a:pt x="1152939" y="6"/>
                </a:lnTo>
                <a:lnTo>
                  <a:pt x="12191995" y="6"/>
                </a:lnTo>
                <a:lnTo>
                  <a:pt x="12191995" y="6875997"/>
                </a:lnTo>
                <a:lnTo>
                  <a:pt x="11" y="6875997"/>
                </a:lnTo>
                <a:lnTo>
                  <a:pt x="11" y="6875990"/>
                </a:lnTo>
                <a:lnTo>
                  <a:pt x="0" y="6875990"/>
                </a:lnTo>
                <a:lnTo>
                  <a:pt x="0" y="6277504"/>
                </a:lnTo>
                <a:lnTo>
                  <a:pt x="315591" y="6277504"/>
                </a:lnTo>
                <a:lnTo>
                  <a:pt x="315591" y="6311711"/>
                </a:lnTo>
                <a:lnTo>
                  <a:pt x="349802" y="6311711"/>
                </a:lnTo>
                <a:lnTo>
                  <a:pt x="349802" y="6857996"/>
                </a:lnTo>
                <a:lnTo>
                  <a:pt x="353402" y="6857996"/>
                </a:lnTo>
                <a:lnTo>
                  <a:pt x="353402" y="6311711"/>
                </a:lnTo>
                <a:lnTo>
                  <a:pt x="387605" y="6311711"/>
                </a:lnTo>
                <a:lnTo>
                  <a:pt x="387605" y="6277504"/>
                </a:lnTo>
                <a:lnTo>
                  <a:pt x="1034209" y="6277504"/>
                </a:lnTo>
                <a:lnTo>
                  <a:pt x="1034209" y="6311711"/>
                </a:lnTo>
                <a:lnTo>
                  <a:pt x="1068421" y="6311711"/>
                </a:lnTo>
                <a:lnTo>
                  <a:pt x="1068421" y="6857996"/>
                </a:lnTo>
                <a:lnTo>
                  <a:pt x="1072021" y="6857996"/>
                </a:lnTo>
                <a:lnTo>
                  <a:pt x="1072021" y="6311711"/>
                </a:lnTo>
                <a:lnTo>
                  <a:pt x="1106224" y="6311711"/>
                </a:lnTo>
                <a:lnTo>
                  <a:pt x="1106224" y="6239697"/>
                </a:lnTo>
                <a:lnTo>
                  <a:pt x="1072021" y="6239697"/>
                </a:lnTo>
                <a:lnTo>
                  <a:pt x="1072021" y="5592376"/>
                </a:lnTo>
                <a:lnTo>
                  <a:pt x="1106225" y="5592376"/>
                </a:lnTo>
                <a:lnTo>
                  <a:pt x="1106225" y="5520362"/>
                </a:lnTo>
                <a:lnTo>
                  <a:pt x="1072021" y="5520362"/>
                </a:lnTo>
                <a:lnTo>
                  <a:pt x="1072021" y="4873038"/>
                </a:lnTo>
                <a:lnTo>
                  <a:pt x="1106225" y="4873038"/>
                </a:lnTo>
                <a:lnTo>
                  <a:pt x="1106225" y="4801024"/>
                </a:lnTo>
                <a:lnTo>
                  <a:pt x="1072021" y="4801024"/>
                </a:lnTo>
                <a:lnTo>
                  <a:pt x="1072021" y="4153700"/>
                </a:lnTo>
                <a:lnTo>
                  <a:pt x="1106226" y="4153700"/>
                </a:lnTo>
                <a:lnTo>
                  <a:pt x="1106226" y="4081686"/>
                </a:lnTo>
                <a:lnTo>
                  <a:pt x="1072021" y="4081686"/>
                </a:lnTo>
                <a:lnTo>
                  <a:pt x="1072021" y="3434363"/>
                </a:lnTo>
                <a:lnTo>
                  <a:pt x="1106226" y="3434363"/>
                </a:lnTo>
                <a:lnTo>
                  <a:pt x="1106226" y="3362349"/>
                </a:lnTo>
                <a:lnTo>
                  <a:pt x="1072021" y="3362349"/>
                </a:lnTo>
                <a:lnTo>
                  <a:pt x="1072021" y="2715026"/>
                </a:lnTo>
                <a:lnTo>
                  <a:pt x="1106225" y="2715026"/>
                </a:lnTo>
                <a:lnTo>
                  <a:pt x="1106225" y="2643013"/>
                </a:lnTo>
                <a:lnTo>
                  <a:pt x="1072021" y="2643013"/>
                </a:lnTo>
                <a:lnTo>
                  <a:pt x="1072021" y="1995689"/>
                </a:lnTo>
                <a:lnTo>
                  <a:pt x="1106227" y="1995689"/>
                </a:lnTo>
                <a:lnTo>
                  <a:pt x="1106227" y="1923675"/>
                </a:lnTo>
                <a:lnTo>
                  <a:pt x="1072021" y="1923675"/>
                </a:lnTo>
                <a:lnTo>
                  <a:pt x="1072021" y="1276351"/>
                </a:lnTo>
                <a:lnTo>
                  <a:pt x="1106227" y="1276351"/>
                </a:lnTo>
                <a:lnTo>
                  <a:pt x="1106227" y="1204337"/>
                </a:lnTo>
                <a:lnTo>
                  <a:pt x="1072021" y="1204337"/>
                </a:lnTo>
                <a:lnTo>
                  <a:pt x="1072021" y="557012"/>
                </a:lnTo>
                <a:lnTo>
                  <a:pt x="1106226" y="557012"/>
                </a:lnTo>
                <a:lnTo>
                  <a:pt x="1106226" y="484998"/>
                </a:lnTo>
                <a:lnTo>
                  <a:pt x="1072021" y="484998"/>
                </a:lnTo>
                <a:close/>
                <a:moveTo>
                  <a:pt x="353402" y="0"/>
                </a:moveTo>
                <a:lnTo>
                  <a:pt x="1068421" y="0"/>
                </a:lnTo>
                <a:lnTo>
                  <a:pt x="1068421" y="484998"/>
                </a:lnTo>
                <a:lnTo>
                  <a:pt x="1034211" y="484998"/>
                </a:lnTo>
                <a:lnTo>
                  <a:pt x="1034211" y="519205"/>
                </a:lnTo>
                <a:lnTo>
                  <a:pt x="387607" y="519205"/>
                </a:lnTo>
                <a:lnTo>
                  <a:pt x="387607" y="484998"/>
                </a:lnTo>
                <a:lnTo>
                  <a:pt x="353402" y="484998"/>
                </a:lnTo>
                <a:close/>
                <a:moveTo>
                  <a:pt x="0" y="0"/>
                </a:moveTo>
                <a:lnTo>
                  <a:pt x="349802" y="0"/>
                </a:lnTo>
                <a:lnTo>
                  <a:pt x="349802" y="484998"/>
                </a:lnTo>
                <a:lnTo>
                  <a:pt x="315593" y="484998"/>
                </a:lnTo>
                <a:lnTo>
                  <a:pt x="315593" y="519205"/>
                </a:lnTo>
                <a:lnTo>
                  <a:pt x="1" y="519205"/>
                </a:lnTo>
                <a:lnTo>
                  <a:pt x="1" y="522805"/>
                </a:lnTo>
                <a:lnTo>
                  <a:pt x="315593" y="522805"/>
                </a:lnTo>
                <a:lnTo>
                  <a:pt x="315593" y="557012"/>
                </a:lnTo>
                <a:lnTo>
                  <a:pt x="349802" y="557012"/>
                </a:lnTo>
                <a:lnTo>
                  <a:pt x="349802" y="1204337"/>
                </a:lnTo>
                <a:lnTo>
                  <a:pt x="315594" y="1204337"/>
                </a:lnTo>
                <a:lnTo>
                  <a:pt x="315594" y="1238545"/>
                </a:lnTo>
                <a:lnTo>
                  <a:pt x="1" y="1238545"/>
                </a:lnTo>
                <a:lnTo>
                  <a:pt x="1" y="1242144"/>
                </a:lnTo>
                <a:lnTo>
                  <a:pt x="315594" y="1242144"/>
                </a:lnTo>
                <a:lnTo>
                  <a:pt x="315594" y="1276351"/>
                </a:lnTo>
                <a:lnTo>
                  <a:pt x="349802" y="1276351"/>
                </a:lnTo>
                <a:lnTo>
                  <a:pt x="349802" y="1923675"/>
                </a:lnTo>
                <a:lnTo>
                  <a:pt x="315594" y="1923675"/>
                </a:lnTo>
                <a:lnTo>
                  <a:pt x="315594" y="1957883"/>
                </a:lnTo>
                <a:lnTo>
                  <a:pt x="1" y="1957883"/>
                </a:lnTo>
                <a:lnTo>
                  <a:pt x="1" y="1961483"/>
                </a:lnTo>
                <a:lnTo>
                  <a:pt x="315594" y="1961483"/>
                </a:lnTo>
                <a:lnTo>
                  <a:pt x="315594" y="1995689"/>
                </a:lnTo>
                <a:lnTo>
                  <a:pt x="349802" y="1995689"/>
                </a:lnTo>
                <a:lnTo>
                  <a:pt x="349802" y="2643013"/>
                </a:lnTo>
                <a:lnTo>
                  <a:pt x="315592" y="2643013"/>
                </a:lnTo>
                <a:lnTo>
                  <a:pt x="315592" y="2677220"/>
                </a:lnTo>
                <a:lnTo>
                  <a:pt x="1" y="2677220"/>
                </a:lnTo>
                <a:lnTo>
                  <a:pt x="1" y="2680820"/>
                </a:lnTo>
                <a:lnTo>
                  <a:pt x="315592" y="2680820"/>
                </a:lnTo>
                <a:lnTo>
                  <a:pt x="315592" y="2715026"/>
                </a:lnTo>
                <a:lnTo>
                  <a:pt x="349802" y="2715026"/>
                </a:lnTo>
                <a:lnTo>
                  <a:pt x="349802" y="3362349"/>
                </a:lnTo>
                <a:lnTo>
                  <a:pt x="315593" y="3362349"/>
                </a:lnTo>
                <a:lnTo>
                  <a:pt x="315593" y="3396556"/>
                </a:lnTo>
                <a:lnTo>
                  <a:pt x="1" y="3396556"/>
                </a:lnTo>
                <a:lnTo>
                  <a:pt x="1" y="3400156"/>
                </a:lnTo>
                <a:lnTo>
                  <a:pt x="315593" y="3400156"/>
                </a:lnTo>
                <a:lnTo>
                  <a:pt x="315593" y="3434363"/>
                </a:lnTo>
                <a:lnTo>
                  <a:pt x="349802" y="3434363"/>
                </a:lnTo>
                <a:lnTo>
                  <a:pt x="349802" y="4081686"/>
                </a:lnTo>
                <a:lnTo>
                  <a:pt x="315593" y="4081686"/>
                </a:lnTo>
                <a:lnTo>
                  <a:pt x="315593" y="4115893"/>
                </a:lnTo>
                <a:lnTo>
                  <a:pt x="1" y="4115893"/>
                </a:lnTo>
                <a:lnTo>
                  <a:pt x="1" y="4119493"/>
                </a:lnTo>
                <a:lnTo>
                  <a:pt x="315593" y="4119493"/>
                </a:lnTo>
                <a:lnTo>
                  <a:pt x="315593" y="4153700"/>
                </a:lnTo>
                <a:lnTo>
                  <a:pt x="349802" y="4153700"/>
                </a:lnTo>
                <a:lnTo>
                  <a:pt x="349802" y="4801024"/>
                </a:lnTo>
                <a:lnTo>
                  <a:pt x="315592" y="4801024"/>
                </a:lnTo>
                <a:lnTo>
                  <a:pt x="315592" y="4835231"/>
                </a:lnTo>
                <a:lnTo>
                  <a:pt x="0" y="4835231"/>
                </a:lnTo>
                <a:close/>
              </a:path>
            </a:pathLst>
          </a:custGeom>
          <a:solidFill>
            <a:srgbClr val="EAEEF0"/>
          </a:solidFill>
        </p:spPr>
        <p:txBody>
          <a:bodyPr wrap="square" anchor="ctr">
            <a:noAutofit/>
          </a:bodyPr>
          <a:lstStyle>
            <a:lvl1pPr marL="0" marR="0" indent="0" algn="ctr" defTabSz="914400" rtl="0" eaLnBrk="1" fontAlgn="ctr" latinLnBrk="0" hangingPunct="1">
              <a:lnSpc>
                <a:spcPct val="90000"/>
              </a:lnSpc>
              <a:spcBef>
                <a:spcPts val="0"/>
              </a:spcBef>
              <a:spcAft>
                <a:spcPts val="0"/>
              </a:spcAft>
              <a:buClrTx/>
              <a:buSzPct val="80000"/>
              <a:buFont typeface="Systeemlettertype regulier"/>
              <a:buNone/>
              <a:tabLst/>
              <a:defRPr sz="1000" b="1">
                <a:solidFill>
                  <a:schemeClr val="tx2"/>
                </a:solidFill>
              </a:defRPr>
            </a:lvl1pPr>
          </a:lstStyle>
          <a:p>
            <a:pPr marL="0" marR="0" lvl="0" indent="-252000" algn="ctr" defTabSz="914400" rtl="0" eaLnBrk="1" fontAlgn="ctr" latinLnBrk="0" hangingPunct="1">
              <a:lnSpc>
                <a:spcPct val="90000"/>
              </a:lnSpc>
              <a:spcBef>
                <a:spcPts val="500"/>
              </a:spcBef>
              <a:spcAft>
                <a:spcPts val="0"/>
              </a:spcAft>
              <a:buClrTx/>
              <a:buSzPct val="80000"/>
              <a:buFont typeface="Systeemlettertype regulier"/>
              <a:buNone/>
              <a:tabLst/>
              <a:defRPr/>
            </a:pPr>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001E96A8-2A7A-4724-9DB5-8B2A4C8802F1}"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solidFill>
                  <a:schemeClr val="bg1"/>
                </a:solidFill>
              </a:defRPr>
            </a:lvl1pPr>
          </a:lstStyle>
          <a:p>
            <a:r>
              <a:rPr lang="en-GB" noProof="0" dirty="0"/>
              <a:t>Confidentiality</a:t>
            </a:r>
            <a:endParaRPr lang="en-GB" b="1"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en-GB" noProof="0" smtClean="0"/>
              <a:pPr/>
              <a:t>‹Nr.›</a:t>
            </a:fld>
            <a:endParaRPr lang="en-GB" noProof="0" dirty="0"/>
          </a:p>
        </p:txBody>
      </p:sp>
      <p:sp>
        <p:nvSpPr>
          <p:cNvPr id="9" name="Tijdelijke aanduiding voor tekst 7">
            <a:extLst>
              <a:ext uri="{FF2B5EF4-FFF2-40B4-BE49-F238E27FC236}">
                <a16:creationId xmlns:a16="http://schemas.microsoft.com/office/drawing/2014/main" id="{FD53BEBB-A94C-7749-8ADC-B2AB58FB1968}"/>
              </a:ext>
            </a:extLst>
          </p:cNvPr>
          <p:cNvSpPr>
            <a:spLocks noGrp="1"/>
          </p:cNvSpPr>
          <p:nvPr>
            <p:ph type="body" sz="quarter" idx="14"/>
          </p:nvPr>
        </p:nvSpPr>
        <p:spPr>
          <a:xfrm>
            <a:off x="1347788" y="953522"/>
            <a:ext cx="10390187" cy="432000"/>
          </a:xfrm>
          <a:prstGeom prst="rect">
            <a:avLst/>
          </a:prstGeom>
        </p:spPr>
        <p:txBody>
          <a:bodyPr>
            <a:noAutofit/>
          </a:bodyPr>
          <a:lstStyle>
            <a:lvl1pPr marL="0" indent="0">
              <a:spcBef>
                <a:spcPts val="0"/>
              </a:spcBef>
              <a:buNone/>
              <a:defRPr sz="3000" b="0">
                <a:solidFill>
                  <a:schemeClr val="bg1"/>
                </a:solidFill>
              </a:defRPr>
            </a:lvl1pPr>
          </a:lstStyle>
          <a:p>
            <a:pPr lvl="0"/>
            <a:r>
              <a:rPr lang="de-DE" noProof="0"/>
              <a:t>Mastertextformat bearbeiten</a:t>
            </a:r>
          </a:p>
        </p:txBody>
      </p:sp>
      <p:sp>
        <p:nvSpPr>
          <p:cNvPr id="2" name="Titel 1">
            <a:extLst>
              <a:ext uri="{FF2B5EF4-FFF2-40B4-BE49-F238E27FC236}">
                <a16:creationId xmlns:a16="http://schemas.microsoft.com/office/drawing/2014/main" id="{BA6D52F5-096C-A444-9DE0-B9963C23AB1F}"/>
              </a:ext>
            </a:extLst>
          </p:cNvPr>
          <p:cNvSpPr>
            <a:spLocks noGrp="1"/>
          </p:cNvSpPr>
          <p:nvPr>
            <p:ph type="title"/>
          </p:nvPr>
        </p:nvSpPr>
        <p:spPr/>
        <p:txBody>
          <a:bodyPr/>
          <a:lstStyle>
            <a:lvl1pPr>
              <a:defRPr>
                <a:solidFill>
                  <a:schemeClr val="bg1"/>
                </a:solidFill>
              </a:defRPr>
            </a:lvl1pPr>
          </a:lstStyle>
          <a:p>
            <a:r>
              <a:rPr lang="de-DE" noProof="0"/>
              <a:t>Mastertitelformat bearbeiten</a:t>
            </a:r>
            <a:endParaRPr lang="en-GB" noProof="0" dirty="0"/>
          </a:p>
        </p:txBody>
      </p:sp>
      <p:pic>
        <p:nvPicPr>
          <p:cNvPr id="15" name="Picture 14">
            <a:extLst>
              <a:ext uri="{FF2B5EF4-FFF2-40B4-BE49-F238E27FC236}">
                <a16:creationId xmlns:a16="http://schemas.microsoft.com/office/drawing/2014/main" id="{E0935191-73F7-40EA-90CF-FE7A0B8C98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37417" y="1212054"/>
            <a:ext cx="1689394" cy="312049"/>
          </a:xfrm>
          <a:prstGeom prst="rect">
            <a:avLst/>
          </a:prstGeom>
        </p:spPr>
      </p:pic>
      <p:grpSp>
        <p:nvGrpSpPr>
          <p:cNvPr id="16" name="Groep 15">
            <a:extLst>
              <a:ext uri="{FF2B5EF4-FFF2-40B4-BE49-F238E27FC236}">
                <a16:creationId xmlns:a16="http://schemas.microsoft.com/office/drawing/2014/main" id="{662782BA-2ACC-9549-9A62-A433F28979D2}"/>
              </a:ext>
            </a:extLst>
          </p:cNvPr>
          <p:cNvGrpSpPr/>
          <p:nvPr userDrawn="1"/>
        </p:nvGrpSpPr>
        <p:grpSpPr>
          <a:xfrm>
            <a:off x="12443133" y="-1"/>
            <a:ext cx="2670175" cy="6875997"/>
            <a:chOff x="12443133" y="-1"/>
            <a:chExt cx="2670175" cy="6875997"/>
          </a:xfrm>
        </p:grpSpPr>
        <p:sp>
          <p:nvSpPr>
            <p:cNvPr id="17" name="Tekstvak 16">
              <a:extLst>
                <a:ext uri="{FF2B5EF4-FFF2-40B4-BE49-F238E27FC236}">
                  <a16:creationId xmlns:a16="http://schemas.microsoft.com/office/drawing/2014/main" id="{FE318B4A-DEDB-5746-84B0-92B17B895A38}"/>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GB" sz="1200" noProof="0" dirty="0">
                  <a:solidFill>
                    <a:schemeClr val="tx2"/>
                  </a:solidFill>
                  <a:latin typeface="+mn-lt"/>
                  <a:cs typeface="+mn-cs"/>
                </a:rPr>
                <a:t>Sometimes the image is placed above your text. Right-click on the image and choose Send to Back and Send to Back again.</a:t>
              </a:r>
            </a:p>
          </p:txBody>
        </p:sp>
        <p:pic>
          <p:nvPicPr>
            <p:cNvPr id="22" name="Afbeelding 21">
              <a:extLst>
                <a:ext uri="{FF2B5EF4-FFF2-40B4-BE49-F238E27FC236}">
                  <a16:creationId xmlns:a16="http://schemas.microsoft.com/office/drawing/2014/main" id="{9A674B9C-7A94-C044-8706-EA3A2EC11665}"/>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3" name="Afbeelding 22">
            <a:extLst>
              <a:ext uri="{FF2B5EF4-FFF2-40B4-BE49-F238E27FC236}">
                <a16:creationId xmlns:a16="http://schemas.microsoft.com/office/drawing/2014/main" id="{D9AA1F7D-EB17-7E4E-9EB9-AD50AAF4BEC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13291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pic>
        <p:nvPicPr>
          <p:cNvPr id="104" name="Afbeelding 103" descr="Afbeelding met buiten, water, bewolkt, wolken&#10;&#10;Automatisch gegenereerde beschrijving">
            <a:extLst>
              <a:ext uri="{FF2B5EF4-FFF2-40B4-BE49-F238E27FC236}">
                <a16:creationId xmlns:a16="http://schemas.microsoft.com/office/drawing/2014/main" id="{68B33CC7-7C64-B342-B4A3-E9EB717A98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4326"/>
            <a:ext cx="12192000" cy="3436196"/>
          </a:xfrm>
          <a:custGeom>
            <a:avLst/>
            <a:gdLst>
              <a:gd name="connsiteX0" fmla="*/ 0 w 12192000"/>
              <a:gd name="connsiteY0" fmla="*/ 0 h 3436196"/>
              <a:gd name="connsiteX1" fmla="*/ 12192000 w 12192000"/>
              <a:gd name="connsiteY1" fmla="*/ 0 h 3436196"/>
              <a:gd name="connsiteX2" fmla="*/ 12192000 w 12192000"/>
              <a:gd name="connsiteY2" fmla="*/ 3350868 h 3436196"/>
              <a:gd name="connsiteX3" fmla="*/ 12003805 w 12192000"/>
              <a:gd name="connsiteY3" fmla="*/ 3436196 h 3436196"/>
              <a:gd name="connsiteX4" fmla="*/ 0 w 12192000"/>
              <a:gd name="connsiteY4" fmla="*/ 3436196 h 3436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436196">
                <a:moveTo>
                  <a:pt x="0" y="0"/>
                </a:moveTo>
                <a:lnTo>
                  <a:pt x="12192000" y="0"/>
                </a:lnTo>
                <a:lnTo>
                  <a:pt x="12192000" y="3350868"/>
                </a:lnTo>
                <a:lnTo>
                  <a:pt x="12003805" y="3436196"/>
                </a:lnTo>
                <a:lnTo>
                  <a:pt x="0" y="3436196"/>
                </a:lnTo>
                <a:close/>
              </a:path>
            </a:pathLst>
          </a:custGeom>
        </p:spPr>
      </p:pic>
      <p:cxnSp>
        <p:nvCxnSpPr>
          <p:cNvPr id="11" name="Rechte verbindingslijn 10">
            <a:extLst>
              <a:ext uri="{FF2B5EF4-FFF2-40B4-BE49-F238E27FC236}">
                <a16:creationId xmlns:a16="http://schemas.microsoft.com/office/drawing/2014/main" id="{C00D9E49-4547-9C40-9496-7A3856204DCA}"/>
              </a:ext>
            </a:extLst>
          </p:cNvPr>
          <p:cNvCxnSpPr>
            <a:cxnSpLocks/>
          </p:cNvCxnSpPr>
          <p:nvPr userDrawn="1"/>
        </p:nvCxnSpPr>
        <p:spPr>
          <a:xfrm>
            <a:off x="1" y="560199"/>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Rechte verbindingslijn 11">
            <a:extLst>
              <a:ext uri="{FF2B5EF4-FFF2-40B4-BE49-F238E27FC236}">
                <a16:creationId xmlns:a16="http://schemas.microsoft.com/office/drawing/2014/main" id="{9B4AE921-63F7-5641-A87D-708F09CDC66B}"/>
              </a:ext>
            </a:extLst>
          </p:cNvPr>
          <p:cNvCxnSpPr>
            <a:cxnSpLocks/>
          </p:cNvCxnSpPr>
          <p:nvPr userDrawn="1"/>
        </p:nvCxnSpPr>
        <p:spPr>
          <a:xfrm>
            <a:off x="1" y="1279537"/>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D8E9CF2A-C6BB-E546-A61E-6A2DAB8E7EA6}"/>
              </a:ext>
            </a:extLst>
          </p:cNvPr>
          <p:cNvCxnSpPr>
            <a:cxnSpLocks/>
          </p:cNvCxnSpPr>
          <p:nvPr userDrawn="1"/>
        </p:nvCxnSpPr>
        <p:spPr>
          <a:xfrm>
            <a:off x="1" y="199887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Rechte verbindingslijn 13">
            <a:extLst>
              <a:ext uri="{FF2B5EF4-FFF2-40B4-BE49-F238E27FC236}">
                <a16:creationId xmlns:a16="http://schemas.microsoft.com/office/drawing/2014/main" id="{E7DBE4AE-7537-E642-B223-142690CCEC08}"/>
              </a:ext>
            </a:extLst>
          </p:cNvPr>
          <p:cNvCxnSpPr>
            <a:cxnSpLocks/>
          </p:cNvCxnSpPr>
          <p:nvPr userDrawn="1"/>
        </p:nvCxnSpPr>
        <p:spPr>
          <a:xfrm>
            <a:off x="1" y="2718210"/>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hoek 14">
            <a:extLst>
              <a:ext uri="{FF2B5EF4-FFF2-40B4-BE49-F238E27FC236}">
                <a16:creationId xmlns:a16="http://schemas.microsoft.com/office/drawing/2014/main" id="{16AD972C-D8B1-6F4D-9618-25ADC53367D8}"/>
              </a:ext>
            </a:extLst>
          </p:cNvPr>
          <p:cNvSpPr/>
          <p:nvPr userDrawn="1"/>
        </p:nvSpPr>
        <p:spPr>
          <a:xfrm>
            <a:off x="10375285"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Rechthoek 15">
            <a:extLst>
              <a:ext uri="{FF2B5EF4-FFF2-40B4-BE49-F238E27FC236}">
                <a16:creationId xmlns:a16="http://schemas.microsoft.com/office/drawing/2014/main" id="{777DF057-F0F8-E140-95FA-0F4E18097492}"/>
              </a:ext>
            </a:extLst>
          </p:cNvPr>
          <p:cNvSpPr/>
          <p:nvPr userDrawn="1"/>
        </p:nvSpPr>
        <p:spPr>
          <a:xfrm>
            <a:off x="11093904"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Rechthoek 16">
            <a:extLst>
              <a:ext uri="{FF2B5EF4-FFF2-40B4-BE49-F238E27FC236}">
                <a16:creationId xmlns:a16="http://schemas.microsoft.com/office/drawing/2014/main" id="{ADAD60BB-71BF-544E-A9D6-69681F1F74D2}"/>
              </a:ext>
            </a:extLst>
          </p:cNvPr>
          <p:cNvSpPr/>
          <p:nvPr userDrawn="1"/>
        </p:nvSpPr>
        <p:spPr>
          <a:xfrm>
            <a:off x="11812530"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8" name="Rechte verbindingslijn 17">
            <a:extLst>
              <a:ext uri="{FF2B5EF4-FFF2-40B4-BE49-F238E27FC236}">
                <a16:creationId xmlns:a16="http://schemas.microsoft.com/office/drawing/2014/main" id="{192C0564-9449-1446-90B5-CF8725653545}"/>
              </a:ext>
            </a:extLst>
          </p:cNvPr>
          <p:cNvCxnSpPr>
            <a:cxnSpLocks/>
          </p:cNvCxnSpPr>
          <p:nvPr userDrawn="1"/>
        </p:nvCxnSpPr>
        <p:spPr>
          <a:xfrm>
            <a:off x="7534975" y="-543"/>
            <a:ext cx="0" cy="342953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DE4D537D-76B9-0145-9A99-A3BD4AA4A983}"/>
              </a:ext>
            </a:extLst>
          </p:cNvPr>
          <p:cNvCxnSpPr>
            <a:cxnSpLocks/>
          </p:cNvCxnSpPr>
          <p:nvPr userDrawn="1"/>
        </p:nvCxnSpPr>
        <p:spPr>
          <a:xfrm>
            <a:off x="8256730" y="-543"/>
            <a:ext cx="0" cy="342953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514A562-6D79-A842-B60E-FFD4A8238024}"/>
              </a:ext>
            </a:extLst>
          </p:cNvPr>
          <p:cNvCxnSpPr>
            <a:cxnSpLocks/>
          </p:cNvCxnSpPr>
          <p:nvPr userDrawn="1"/>
        </p:nvCxnSpPr>
        <p:spPr>
          <a:xfrm>
            <a:off x="8975349" y="3"/>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CA63F8B5-36F5-6E48-BB45-6CA3E7DECBBE}"/>
              </a:ext>
            </a:extLst>
          </p:cNvPr>
          <p:cNvCxnSpPr>
            <a:cxnSpLocks/>
          </p:cNvCxnSpPr>
          <p:nvPr userDrawn="1"/>
        </p:nvCxnSpPr>
        <p:spPr>
          <a:xfrm>
            <a:off x="9693975" y="3"/>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AEA0EFEB-0DA4-8E47-AD23-60E339DBED51}"/>
              </a:ext>
            </a:extLst>
          </p:cNvPr>
          <p:cNvCxnSpPr>
            <a:cxnSpLocks/>
          </p:cNvCxnSpPr>
          <p:nvPr userDrawn="1"/>
        </p:nvCxnSpPr>
        <p:spPr>
          <a:xfrm>
            <a:off x="10411285" y="-543"/>
            <a:ext cx="0" cy="342953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a:extLst>
              <a:ext uri="{FF2B5EF4-FFF2-40B4-BE49-F238E27FC236}">
                <a16:creationId xmlns:a16="http://schemas.microsoft.com/office/drawing/2014/main" id="{CC92F9DA-B1AE-4F46-BA3E-72C4D429EE8B}"/>
              </a:ext>
            </a:extLst>
          </p:cNvPr>
          <p:cNvCxnSpPr>
            <a:cxnSpLocks/>
          </p:cNvCxnSpPr>
          <p:nvPr userDrawn="1"/>
        </p:nvCxnSpPr>
        <p:spPr>
          <a:xfrm>
            <a:off x="11129904" y="3"/>
            <a:ext cx="0" cy="342899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E5B9F89F-8B16-7547-92B2-427723865135}"/>
              </a:ext>
            </a:extLst>
          </p:cNvPr>
          <p:cNvCxnSpPr>
            <a:cxnSpLocks/>
          </p:cNvCxnSpPr>
          <p:nvPr userDrawn="1"/>
        </p:nvCxnSpPr>
        <p:spPr>
          <a:xfrm>
            <a:off x="11848530" y="-543"/>
            <a:ext cx="0" cy="342953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72249331-D96D-D84E-8EC3-9F8900062BFD}"/>
              </a:ext>
            </a:extLst>
          </p:cNvPr>
          <p:cNvCxnSpPr>
            <a:cxnSpLocks/>
          </p:cNvCxnSpPr>
          <p:nvPr userDrawn="1"/>
        </p:nvCxnSpPr>
        <p:spPr>
          <a:xfrm>
            <a:off x="6097730" y="2"/>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BB39206D-9F58-2C47-A3EF-32B92791C3DB}"/>
              </a:ext>
            </a:extLst>
          </p:cNvPr>
          <p:cNvCxnSpPr>
            <a:cxnSpLocks/>
          </p:cNvCxnSpPr>
          <p:nvPr userDrawn="1"/>
        </p:nvCxnSpPr>
        <p:spPr>
          <a:xfrm>
            <a:off x="6816349" y="3"/>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a:extLst>
              <a:ext uri="{FF2B5EF4-FFF2-40B4-BE49-F238E27FC236}">
                <a16:creationId xmlns:a16="http://schemas.microsoft.com/office/drawing/2014/main" id="{4EF1B1EF-346C-DC46-83CF-4C72FEB79D23}"/>
              </a:ext>
            </a:extLst>
          </p:cNvPr>
          <p:cNvCxnSpPr>
            <a:cxnSpLocks/>
          </p:cNvCxnSpPr>
          <p:nvPr userDrawn="1"/>
        </p:nvCxnSpPr>
        <p:spPr>
          <a:xfrm>
            <a:off x="5382325" y="3"/>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a:extLst>
              <a:ext uri="{FF2B5EF4-FFF2-40B4-BE49-F238E27FC236}">
                <a16:creationId xmlns:a16="http://schemas.microsoft.com/office/drawing/2014/main" id="{12A4A5A6-72D7-7C41-809B-D3C71D3DB6E0}"/>
              </a:ext>
            </a:extLst>
          </p:cNvPr>
          <p:cNvCxnSpPr>
            <a:cxnSpLocks/>
          </p:cNvCxnSpPr>
          <p:nvPr userDrawn="1"/>
        </p:nvCxnSpPr>
        <p:spPr>
          <a:xfrm>
            <a:off x="4663699" y="3"/>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a:extLst>
              <a:ext uri="{FF2B5EF4-FFF2-40B4-BE49-F238E27FC236}">
                <a16:creationId xmlns:a16="http://schemas.microsoft.com/office/drawing/2014/main" id="{D87B98BC-C923-DB4A-9710-C89B392AD8B0}"/>
              </a:ext>
            </a:extLst>
          </p:cNvPr>
          <p:cNvCxnSpPr>
            <a:cxnSpLocks/>
          </p:cNvCxnSpPr>
          <p:nvPr userDrawn="1"/>
        </p:nvCxnSpPr>
        <p:spPr>
          <a:xfrm>
            <a:off x="3945080" y="3"/>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2DA59B96-ED92-1B45-82CF-4934C7883348}"/>
              </a:ext>
            </a:extLst>
          </p:cNvPr>
          <p:cNvCxnSpPr>
            <a:cxnSpLocks/>
          </p:cNvCxnSpPr>
          <p:nvPr userDrawn="1"/>
        </p:nvCxnSpPr>
        <p:spPr>
          <a:xfrm>
            <a:off x="3226500" y="3"/>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E2186278-CF24-6B46-BE6B-E7F793D0F32F}"/>
              </a:ext>
            </a:extLst>
          </p:cNvPr>
          <p:cNvCxnSpPr>
            <a:cxnSpLocks/>
          </p:cNvCxnSpPr>
          <p:nvPr userDrawn="1"/>
        </p:nvCxnSpPr>
        <p:spPr>
          <a:xfrm>
            <a:off x="2507874" y="2"/>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B4CA8701-4C0E-C147-9AD3-ECDDBAD5F86D}"/>
              </a:ext>
            </a:extLst>
          </p:cNvPr>
          <p:cNvCxnSpPr>
            <a:cxnSpLocks/>
          </p:cNvCxnSpPr>
          <p:nvPr userDrawn="1"/>
        </p:nvCxnSpPr>
        <p:spPr>
          <a:xfrm>
            <a:off x="1789255" y="3"/>
            <a:ext cx="0" cy="342899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echte verbindingslijn 32">
            <a:extLst>
              <a:ext uri="{FF2B5EF4-FFF2-40B4-BE49-F238E27FC236}">
                <a16:creationId xmlns:a16="http://schemas.microsoft.com/office/drawing/2014/main" id="{41F0024B-11C0-2F4F-9780-C44BA6EFAB5F}"/>
              </a:ext>
            </a:extLst>
          </p:cNvPr>
          <p:cNvCxnSpPr>
            <a:cxnSpLocks/>
          </p:cNvCxnSpPr>
          <p:nvPr userDrawn="1"/>
        </p:nvCxnSpPr>
        <p:spPr>
          <a:xfrm>
            <a:off x="1070675" y="-1"/>
            <a:ext cx="0" cy="342899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2FC2F2B4-F062-1D42-85A2-ED3C7E583FF5}"/>
              </a:ext>
            </a:extLst>
          </p:cNvPr>
          <p:cNvCxnSpPr>
            <a:cxnSpLocks/>
          </p:cNvCxnSpPr>
          <p:nvPr userDrawn="1"/>
        </p:nvCxnSpPr>
        <p:spPr>
          <a:xfrm>
            <a:off x="352049" y="-1"/>
            <a:ext cx="1" cy="3428995"/>
          </a:xfrm>
          <a:prstGeom prst="line">
            <a:avLst/>
          </a:prstGeom>
          <a:ln w="508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Rechthoek 34">
            <a:extLst>
              <a:ext uri="{FF2B5EF4-FFF2-40B4-BE49-F238E27FC236}">
                <a16:creationId xmlns:a16="http://schemas.microsoft.com/office/drawing/2014/main" id="{75B17691-576B-3C4C-9213-FAC8F367C02B}"/>
              </a:ext>
            </a:extLst>
          </p:cNvPr>
          <p:cNvSpPr/>
          <p:nvPr userDrawn="1"/>
        </p:nvSpPr>
        <p:spPr>
          <a:xfrm>
            <a:off x="10375285"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6" name="Rechthoek 35">
            <a:extLst>
              <a:ext uri="{FF2B5EF4-FFF2-40B4-BE49-F238E27FC236}">
                <a16:creationId xmlns:a16="http://schemas.microsoft.com/office/drawing/2014/main" id="{553693E8-9795-9B4C-92EC-1265672F0CE1}"/>
              </a:ext>
            </a:extLst>
          </p:cNvPr>
          <p:cNvSpPr/>
          <p:nvPr userDrawn="1"/>
        </p:nvSpPr>
        <p:spPr>
          <a:xfrm>
            <a:off x="11093904"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7" name="Rechthoek 36">
            <a:extLst>
              <a:ext uri="{FF2B5EF4-FFF2-40B4-BE49-F238E27FC236}">
                <a16:creationId xmlns:a16="http://schemas.microsoft.com/office/drawing/2014/main" id="{7D53FB9F-D813-924D-B60A-B2ECFE436339}"/>
              </a:ext>
            </a:extLst>
          </p:cNvPr>
          <p:cNvSpPr/>
          <p:nvPr userDrawn="1"/>
        </p:nvSpPr>
        <p:spPr>
          <a:xfrm>
            <a:off x="11812530"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Rechthoek 37">
            <a:extLst>
              <a:ext uri="{FF2B5EF4-FFF2-40B4-BE49-F238E27FC236}">
                <a16:creationId xmlns:a16="http://schemas.microsoft.com/office/drawing/2014/main" id="{4DF70F67-3945-9048-83B6-C1F9CDB181FC}"/>
              </a:ext>
            </a:extLst>
          </p:cNvPr>
          <p:cNvSpPr/>
          <p:nvPr userDrawn="1"/>
        </p:nvSpPr>
        <p:spPr>
          <a:xfrm>
            <a:off x="10375285"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9" name="Rechthoek 38">
            <a:extLst>
              <a:ext uri="{FF2B5EF4-FFF2-40B4-BE49-F238E27FC236}">
                <a16:creationId xmlns:a16="http://schemas.microsoft.com/office/drawing/2014/main" id="{A899E78E-096E-7146-9BE6-03F262CC1AFC}"/>
              </a:ext>
            </a:extLst>
          </p:cNvPr>
          <p:cNvSpPr/>
          <p:nvPr userDrawn="1"/>
        </p:nvSpPr>
        <p:spPr>
          <a:xfrm>
            <a:off x="11093904"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Rechthoek 39">
            <a:extLst>
              <a:ext uri="{FF2B5EF4-FFF2-40B4-BE49-F238E27FC236}">
                <a16:creationId xmlns:a16="http://schemas.microsoft.com/office/drawing/2014/main" id="{DC005C41-5D19-7048-B815-374F3361C1E0}"/>
              </a:ext>
            </a:extLst>
          </p:cNvPr>
          <p:cNvSpPr/>
          <p:nvPr userDrawn="1"/>
        </p:nvSpPr>
        <p:spPr>
          <a:xfrm>
            <a:off x="11812530"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Rechthoek 40">
            <a:extLst>
              <a:ext uri="{FF2B5EF4-FFF2-40B4-BE49-F238E27FC236}">
                <a16:creationId xmlns:a16="http://schemas.microsoft.com/office/drawing/2014/main" id="{7D03C3E9-3DA4-2847-BDE3-23A00F4A0A76}"/>
              </a:ext>
            </a:extLst>
          </p:cNvPr>
          <p:cNvSpPr/>
          <p:nvPr userDrawn="1"/>
        </p:nvSpPr>
        <p:spPr>
          <a:xfrm>
            <a:off x="10375285"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2" name="Rechthoek 41">
            <a:extLst>
              <a:ext uri="{FF2B5EF4-FFF2-40B4-BE49-F238E27FC236}">
                <a16:creationId xmlns:a16="http://schemas.microsoft.com/office/drawing/2014/main" id="{661D4690-3E13-784C-8FA0-3C7FDC16F7FC}"/>
              </a:ext>
            </a:extLst>
          </p:cNvPr>
          <p:cNvSpPr/>
          <p:nvPr userDrawn="1"/>
        </p:nvSpPr>
        <p:spPr>
          <a:xfrm>
            <a:off x="11093904"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3" name="Rechthoek 42">
            <a:extLst>
              <a:ext uri="{FF2B5EF4-FFF2-40B4-BE49-F238E27FC236}">
                <a16:creationId xmlns:a16="http://schemas.microsoft.com/office/drawing/2014/main" id="{814EE150-CC88-5748-AAA1-0ED421E0EEE1}"/>
              </a:ext>
            </a:extLst>
          </p:cNvPr>
          <p:cNvSpPr/>
          <p:nvPr userDrawn="1"/>
        </p:nvSpPr>
        <p:spPr>
          <a:xfrm>
            <a:off x="11812530"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4" name="Rechthoek 43">
            <a:extLst>
              <a:ext uri="{FF2B5EF4-FFF2-40B4-BE49-F238E27FC236}">
                <a16:creationId xmlns:a16="http://schemas.microsoft.com/office/drawing/2014/main" id="{0C68584A-95E1-954C-8DFE-2FA8191759C0}"/>
              </a:ext>
            </a:extLst>
          </p:cNvPr>
          <p:cNvSpPr/>
          <p:nvPr userDrawn="1"/>
        </p:nvSpPr>
        <p:spPr>
          <a:xfrm>
            <a:off x="8220730"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5" name="Rechthoek 44">
            <a:extLst>
              <a:ext uri="{FF2B5EF4-FFF2-40B4-BE49-F238E27FC236}">
                <a16:creationId xmlns:a16="http://schemas.microsoft.com/office/drawing/2014/main" id="{D5E25D8E-6AF1-3448-A171-684427A6C91E}"/>
              </a:ext>
            </a:extLst>
          </p:cNvPr>
          <p:cNvSpPr/>
          <p:nvPr userDrawn="1"/>
        </p:nvSpPr>
        <p:spPr>
          <a:xfrm>
            <a:off x="8939349"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6" name="Rechthoek 45">
            <a:extLst>
              <a:ext uri="{FF2B5EF4-FFF2-40B4-BE49-F238E27FC236}">
                <a16:creationId xmlns:a16="http://schemas.microsoft.com/office/drawing/2014/main" id="{9B00E6EC-5C47-6A49-B008-DEE5DEA76577}"/>
              </a:ext>
            </a:extLst>
          </p:cNvPr>
          <p:cNvSpPr/>
          <p:nvPr userDrawn="1"/>
        </p:nvSpPr>
        <p:spPr>
          <a:xfrm>
            <a:off x="9657975"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7" name="Rechthoek 46">
            <a:extLst>
              <a:ext uri="{FF2B5EF4-FFF2-40B4-BE49-F238E27FC236}">
                <a16:creationId xmlns:a16="http://schemas.microsoft.com/office/drawing/2014/main" id="{CB516F46-6AED-8C41-8179-95FB55E523E7}"/>
              </a:ext>
            </a:extLst>
          </p:cNvPr>
          <p:cNvSpPr/>
          <p:nvPr userDrawn="1"/>
        </p:nvSpPr>
        <p:spPr>
          <a:xfrm>
            <a:off x="8220730"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Rechthoek 47">
            <a:extLst>
              <a:ext uri="{FF2B5EF4-FFF2-40B4-BE49-F238E27FC236}">
                <a16:creationId xmlns:a16="http://schemas.microsoft.com/office/drawing/2014/main" id="{14D038F7-6C99-E141-B2FD-68682E30538D}"/>
              </a:ext>
            </a:extLst>
          </p:cNvPr>
          <p:cNvSpPr/>
          <p:nvPr userDrawn="1"/>
        </p:nvSpPr>
        <p:spPr>
          <a:xfrm>
            <a:off x="8939349"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Rechthoek 48">
            <a:extLst>
              <a:ext uri="{FF2B5EF4-FFF2-40B4-BE49-F238E27FC236}">
                <a16:creationId xmlns:a16="http://schemas.microsoft.com/office/drawing/2014/main" id="{2DE76DFA-DB37-E340-B7D2-48DC7064F8D7}"/>
              </a:ext>
            </a:extLst>
          </p:cNvPr>
          <p:cNvSpPr/>
          <p:nvPr userDrawn="1"/>
        </p:nvSpPr>
        <p:spPr>
          <a:xfrm>
            <a:off x="9657975"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Rechthoek 49">
            <a:extLst>
              <a:ext uri="{FF2B5EF4-FFF2-40B4-BE49-F238E27FC236}">
                <a16:creationId xmlns:a16="http://schemas.microsoft.com/office/drawing/2014/main" id="{2230A33C-CD35-A64C-BD64-C58356B43E02}"/>
              </a:ext>
            </a:extLst>
          </p:cNvPr>
          <p:cNvSpPr/>
          <p:nvPr userDrawn="1"/>
        </p:nvSpPr>
        <p:spPr>
          <a:xfrm>
            <a:off x="8220730"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1" name="Rechthoek 50">
            <a:extLst>
              <a:ext uri="{FF2B5EF4-FFF2-40B4-BE49-F238E27FC236}">
                <a16:creationId xmlns:a16="http://schemas.microsoft.com/office/drawing/2014/main" id="{BA214C34-F7F9-3C49-9729-380E0CEC72A9}"/>
              </a:ext>
            </a:extLst>
          </p:cNvPr>
          <p:cNvSpPr/>
          <p:nvPr userDrawn="1"/>
        </p:nvSpPr>
        <p:spPr>
          <a:xfrm>
            <a:off x="8939349"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2" name="Rechthoek 51">
            <a:extLst>
              <a:ext uri="{FF2B5EF4-FFF2-40B4-BE49-F238E27FC236}">
                <a16:creationId xmlns:a16="http://schemas.microsoft.com/office/drawing/2014/main" id="{A6E1B0B1-38C9-5942-B8C0-091C28F33E25}"/>
              </a:ext>
            </a:extLst>
          </p:cNvPr>
          <p:cNvSpPr/>
          <p:nvPr userDrawn="1"/>
        </p:nvSpPr>
        <p:spPr>
          <a:xfrm>
            <a:off x="9657975"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3" name="Rechthoek 52">
            <a:extLst>
              <a:ext uri="{FF2B5EF4-FFF2-40B4-BE49-F238E27FC236}">
                <a16:creationId xmlns:a16="http://schemas.microsoft.com/office/drawing/2014/main" id="{908943AE-504A-2B42-A440-E8E873A57966}"/>
              </a:ext>
            </a:extLst>
          </p:cNvPr>
          <p:cNvSpPr/>
          <p:nvPr userDrawn="1"/>
        </p:nvSpPr>
        <p:spPr>
          <a:xfrm>
            <a:off x="8220730"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4" name="Rechthoek 53">
            <a:extLst>
              <a:ext uri="{FF2B5EF4-FFF2-40B4-BE49-F238E27FC236}">
                <a16:creationId xmlns:a16="http://schemas.microsoft.com/office/drawing/2014/main" id="{FD9B20E8-BDFD-6D4A-A8C1-815A4A96B1C8}"/>
              </a:ext>
            </a:extLst>
          </p:cNvPr>
          <p:cNvSpPr/>
          <p:nvPr userDrawn="1"/>
        </p:nvSpPr>
        <p:spPr>
          <a:xfrm>
            <a:off x="8939349"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5" name="Rechthoek 54">
            <a:extLst>
              <a:ext uri="{FF2B5EF4-FFF2-40B4-BE49-F238E27FC236}">
                <a16:creationId xmlns:a16="http://schemas.microsoft.com/office/drawing/2014/main" id="{6772652D-73BC-4240-8BD0-A3E3F43947DE}"/>
              </a:ext>
            </a:extLst>
          </p:cNvPr>
          <p:cNvSpPr/>
          <p:nvPr userDrawn="1"/>
        </p:nvSpPr>
        <p:spPr>
          <a:xfrm>
            <a:off x="9657975"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Rechthoek 55">
            <a:extLst>
              <a:ext uri="{FF2B5EF4-FFF2-40B4-BE49-F238E27FC236}">
                <a16:creationId xmlns:a16="http://schemas.microsoft.com/office/drawing/2014/main" id="{814CF726-B6C6-204A-B802-FA5B11DE3ED6}"/>
              </a:ext>
            </a:extLst>
          </p:cNvPr>
          <p:cNvSpPr/>
          <p:nvPr userDrawn="1"/>
        </p:nvSpPr>
        <p:spPr>
          <a:xfrm>
            <a:off x="6061730"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7" name="Rechthoek 56">
            <a:extLst>
              <a:ext uri="{FF2B5EF4-FFF2-40B4-BE49-F238E27FC236}">
                <a16:creationId xmlns:a16="http://schemas.microsoft.com/office/drawing/2014/main" id="{CF37719D-375A-6140-8606-C4A7671DA882}"/>
              </a:ext>
            </a:extLst>
          </p:cNvPr>
          <p:cNvSpPr/>
          <p:nvPr userDrawn="1"/>
        </p:nvSpPr>
        <p:spPr>
          <a:xfrm>
            <a:off x="6780349"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8" name="Rechthoek 57">
            <a:extLst>
              <a:ext uri="{FF2B5EF4-FFF2-40B4-BE49-F238E27FC236}">
                <a16:creationId xmlns:a16="http://schemas.microsoft.com/office/drawing/2014/main" id="{9E4A2908-B84C-AB4F-8B51-C6DA1AC64D71}"/>
              </a:ext>
            </a:extLst>
          </p:cNvPr>
          <p:cNvSpPr/>
          <p:nvPr userDrawn="1"/>
        </p:nvSpPr>
        <p:spPr>
          <a:xfrm>
            <a:off x="7498975"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9" name="Rechthoek 58">
            <a:extLst>
              <a:ext uri="{FF2B5EF4-FFF2-40B4-BE49-F238E27FC236}">
                <a16:creationId xmlns:a16="http://schemas.microsoft.com/office/drawing/2014/main" id="{CF231B21-785B-F143-90EE-FB260B07134D}"/>
              </a:ext>
            </a:extLst>
          </p:cNvPr>
          <p:cNvSpPr/>
          <p:nvPr userDrawn="1"/>
        </p:nvSpPr>
        <p:spPr>
          <a:xfrm>
            <a:off x="6061730"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0" name="Rechthoek 59">
            <a:extLst>
              <a:ext uri="{FF2B5EF4-FFF2-40B4-BE49-F238E27FC236}">
                <a16:creationId xmlns:a16="http://schemas.microsoft.com/office/drawing/2014/main" id="{A1D141A8-01AD-9943-A9EF-7E9703741416}"/>
              </a:ext>
            </a:extLst>
          </p:cNvPr>
          <p:cNvSpPr/>
          <p:nvPr userDrawn="1"/>
        </p:nvSpPr>
        <p:spPr>
          <a:xfrm>
            <a:off x="6780349"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1" name="Rechthoek 60">
            <a:extLst>
              <a:ext uri="{FF2B5EF4-FFF2-40B4-BE49-F238E27FC236}">
                <a16:creationId xmlns:a16="http://schemas.microsoft.com/office/drawing/2014/main" id="{37BD3C1D-7F0E-C442-8691-002B0CF13F8A}"/>
              </a:ext>
            </a:extLst>
          </p:cNvPr>
          <p:cNvSpPr/>
          <p:nvPr userDrawn="1"/>
        </p:nvSpPr>
        <p:spPr>
          <a:xfrm>
            <a:off x="7498975"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2" name="Rechthoek 61">
            <a:extLst>
              <a:ext uri="{FF2B5EF4-FFF2-40B4-BE49-F238E27FC236}">
                <a16:creationId xmlns:a16="http://schemas.microsoft.com/office/drawing/2014/main" id="{3BF14605-705D-D34C-96DA-EEB2D6822301}"/>
              </a:ext>
            </a:extLst>
          </p:cNvPr>
          <p:cNvSpPr/>
          <p:nvPr userDrawn="1"/>
        </p:nvSpPr>
        <p:spPr>
          <a:xfrm>
            <a:off x="6061730"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3" name="Rechthoek 62">
            <a:extLst>
              <a:ext uri="{FF2B5EF4-FFF2-40B4-BE49-F238E27FC236}">
                <a16:creationId xmlns:a16="http://schemas.microsoft.com/office/drawing/2014/main" id="{9AFB909F-9684-7E47-9971-3451598B7464}"/>
              </a:ext>
            </a:extLst>
          </p:cNvPr>
          <p:cNvSpPr/>
          <p:nvPr userDrawn="1"/>
        </p:nvSpPr>
        <p:spPr>
          <a:xfrm>
            <a:off x="6780349"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4" name="Rechthoek 63">
            <a:extLst>
              <a:ext uri="{FF2B5EF4-FFF2-40B4-BE49-F238E27FC236}">
                <a16:creationId xmlns:a16="http://schemas.microsoft.com/office/drawing/2014/main" id="{10BD13AE-5A5E-124B-A6A4-2D129743282F}"/>
              </a:ext>
            </a:extLst>
          </p:cNvPr>
          <p:cNvSpPr/>
          <p:nvPr userDrawn="1"/>
        </p:nvSpPr>
        <p:spPr>
          <a:xfrm>
            <a:off x="7498975"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5" name="Rechthoek 64">
            <a:extLst>
              <a:ext uri="{FF2B5EF4-FFF2-40B4-BE49-F238E27FC236}">
                <a16:creationId xmlns:a16="http://schemas.microsoft.com/office/drawing/2014/main" id="{3A866DAD-A025-2B44-996B-2D106E49E46A}"/>
              </a:ext>
            </a:extLst>
          </p:cNvPr>
          <p:cNvSpPr/>
          <p:nvPr userDrawn="1"/>
        </p:nvSpPr>
        <p:spPr>
          <a:xfrm>
            <a:off x="6061730"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6" name="Rechthoek 65">
            <a:extLst>
              <a:ext uri="{FF2B5EF4-FFF2-40B4-BE49-F238E27FC236}">
                <a16:creationId xmlns:a16="http://schemas.microsoft.com/office/drawing/2014/main" id="{607CA637-F4F0-A74B-B5DB-42DB69095669}"/>
              </a:ext>
            </a:extLst>
          </p:cNvPr>
          <p:cNvSpPr/>
          <p:nvPr userDrawn="1"/>
        </p:nvSpPr>
        <p:spPr>
          <a:xfrm>
            <a:off x="6780349"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7" name="Rechthoek 66">
            <a:extLst>
              <a:ext uri="{FF2B5EF4-FFF2-40B4-BE49-F238E27FC236}">
                <a16:creationId xmlns:a16="http://schemas.microsoft.com/office/drawing/2014/main" id="{800BAA94-3C16-FD45-A9BE-43EB5CFEE058}"/>
              </a:ext>
            </a:extLst>
          </p:cNvPr>
          <p:cNvSpPr/>
          <p:nvPr userDrawn="1"/>
        </p:nvSpPr>
        <p:spPr>
          <a:xfrm>
            <a:off x="7498975"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8" name="Rechthoek 67">
            <a:extLst>
              <a:ext uri="{FF2B5EF4-FFF2-40B4-BE49-F238E27FC236}">
                <a16:creationId xmlns:a16="http://schemas.microsoft.com/office/drawing/2014/main" id="{FDDEEA16-5E31-E941-8C2F-C55463FD56DF}"/>
              </a:ext>
            </a:extLst>
          </p:cNvPr>
          <p:cNvSpPr/>
          <p:nvPr userDrawn="1"/>
        </p:nvSpPr>
        <p:spPr>
          <a:xfrm>
            <a:off x="3909080"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9" name="Rechthoek 68">
            <a:extLst>
              <a:ext uri="{FF2B5EF4-FFF2-40B4-BE49-F238E27FC236}">
                <a16:creationId xmlns:a16="http://schemas.microsoft.com/office/drawing/2014/main" id="{3BCE94FD-E4F6-6945-9025-56DC5D9B2F5A}"/>
              </a:ext>
            </a:extLst>
          </p:cNvPr>
          <p:cNvSpPr/>
          <p:nvPr userDrawn="1"/>
        </p:nvSpPr>
        <p:spPr>
          <a:xfrm>
            <a:off x="4627699"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0" name="Rechthoek 69">
            <a:extLst>
              <a:ext uri="{FF2B5EF4-FFF2-40B4-BE49-F238E27FC236}">
                <a16:creationId xmlns:a16="http://schemas.microsoft.com/office/drawing/2014/main" id="{24FBEA7F-7CC0-F645-AE92-7683F0EB2A80}"/>
              </a:ext>
            </a:extLst>
          </p:cNvPr>
          <p:cNvSpPr/>
          <p:nvPr userDrawn="1"/>
        </p:nvSpPr>
        <p:spPr>
          <a:xfrm>
            <a:off x="5346325"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1" name="Rechthoek 70">
            <a:extLst>
              <a:ext uri="{FF2B5EF4-FFF2-40B4-BE49-F238E27FC236}">
                <a16:creationId xmlns:a16="http://schemas.microsoft.com/office/drawing/2014/main" id="{207E0024-440F-8D4C-8DFA-AE6B9BADD141}"/>
              </a:ext>
            </a:extLst>
          </p:cNvPr>
          <p:cNvSpPr/>
          <p:nvPr userDrawn="1"/>
        </p:nvSpPr>
        <p:spPr>
          <a:xfrm>
            <a:off x="3909080"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2" name="Rechthoek 71">
            <a:extLst>
              <a:ext uri="{FF2B5EF4-FFF2-40B4-BE49-F238E27FC236}">
                <a16:creationId xmlns:a16="http://schemas.microsoft.com/office/drawing/2014/main" id="{24E512E7-1853-414E-9BD4-94D45502DCDB}"/>
              </a:ext>
            </a:extLst>
          </p:cNvPr>
          <p:cNvSpPr/>
          <p:nvPr userDrawn="1"/>
        </p:nvSpPr>
        <p:spPr>
          <a:xfrm>
            <a:off x="4627699"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3" name="Rechthoek 72">
            <a:extLst>
              <a:ext uri="{FF2B5EF4-FFF2-40B4-BE49-F238E27FC236}">
                <a16:creationId xmlns:a16="http://schemas.microsoft.com/office/drawing/2014/main" id="{4462E1F3-3FC3-204A-9D3E-907CDAFEA024}"/>
              </a:ext>
            </a:extLst>
          </p:cNvPr>
          <p:cNvSpPr/>
          <p:nvPr userDrawn="1"/>
        </p:nvSpPr>
        <p:spPr>
          <a:xfrm>
            <a:off x="5346325"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4" name="Rechthoek 73">
            <a:extLst>
              <a:ext uri="{FF2B5EF4-FFF2-40B4-BE49-F238E27FC236}">
                <a16:creationId xmlns:a16="http://schemas.microsoft.com/office/drawing/2014/main" id="{EAD4E5C9-13E4-3E40-8E87-F077D28185ED}"/>
              </a:ext>
            </a:extLst>
          </p:cNvPr>
          <p:cNvSpPr/>
          <p:nvPr userDrawn="1"/>
        </p:nvSpPr>
        <p:spPr>
          <a:xfrm>
            <a:off x="3909080"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5" name="Rechthoek 74">
            <a:extLst>
              <a:ext uri="{FF2B5EF4-FFF2-40B4-BE49-F238E27FC236}">
                <a16:creationId xmlns:a16="http://schemas.microsoft.com/office/drawing/2014/main" id="{63CA50AF-98A3-CB46-A4F7-C5D9158A38AB}"/>
              </a:ext>
            </a:extLst>
          </p:cNvPr>
          <p:cNvSpPr/>
          <p:nvPr userDrawn="1"/>
        </p:nvSpPr>
        <p:spPr>
          <a:xfrm>
            <a:off x="4627699"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6" name="Rechthoek 75">
            <a:extLst>
              <a:ext uri="{FF2B5EF4-FFF2-40B4-BE49-F238E27FC236}">
                <a16:creationId xmlns:a16="http://schemas.microsoft.com/office/drawing/2014/main" id="{53193AC6-C0BE-7B49-B76E-99D9AC7AE3A2}"/>
              </a:ext>
            </a:extLst>
          </p:cNvPr>
          <p:cNvSpPr/>
          <p:nvPr userDrawn="1"/>
        </p:nvSpPr>
        <p:spPr>
          <a:xfrm>
            <a:off x="5346325"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7" name="Rechthoek 76">
            <a:extLst>
              <a:ext uri="{FF2B5EF4-FFF2-40B4-BE49-F238E27FC236}">
                <a16:creationId xmlns:a16="http://schemas.microsoft.com/office/drawing/2014/main" id="{E1FCCD90-725A-5745-890F-D3A54D30E6F5}"/>
              </a:ext>
            </a:extLst>
          </p:cNvPr>
          <p:cNvSpPr/>
          <p:nvPr userDrawn="1"/>
        </p:nvSpPr>
        <p:spPr>
          <a:xfrm>
            <a:off x="3909080"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8" name="Rechthoek 77">
            <a:extLst>
              <a:ext uri="{FF2B5EF4-FFF2-40B4-BE49-F238E27FC236}">
                <a16:creationId xmlns:a16="http://schemas.microsoft.com/office/drawing/2014/main" id="{E2A6B0E1-371E-6544-9856-1979346F1B3E}"/>
              </a:ext>
            </a:extLst>
          </p:cNvPr>
          <p:cNvSpPr/>
          <p:nvPr userDrawn="1"/>
        </p:nvSpPr>
        <p:spPr>
          <a:xfrm>
            <a:off x="4627699"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9" name="Rechthoek 78">
            <a:extLst>
              <a:ext uri="{FF2B5EF4-FFF2-40B4-BE49-F238E27FC236}">
                <a16:creationId xmlns:a16="http://schemas.microsoft.com/office/drawing/2014/main" id="{F4728374-09E6-784E-94B4-43A1143B0B50}"/>
              </a:ext>
            </a:extLst>
          </p:cNvPr>
          <p:cNvSpPr/>
          <p:nvPr userDrawn="1"/>
        </p:nvSpPr>
        <p:spPr>
          <a:xfrm>
            <a:off x="5346325"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0" name="Rechthoek 79">
            <a:extLst>
              <a:ext uri="{FF2B5EF4-FFF2-40B4-BE49-F238E27FC236}">
                <a16:creationId xmlns:a16="http://schemas.microsoft.com/office/drawing/2014/main" id="{631EAC08-6552-0D47-BEE7-C68A513C377C}"/>
              </a:ext>
            </a:extLst>
          </p:cNvPr>
          <p:cNvSpPr/>
          <p:nvPr userDrawn="1"/>
        </p:nvSpPr>
        <p:spPr>
          <a:xfrm>
            <a:off x="1753255"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1" name="Rechthoek 80">
            <a:extLst>
              <a:ext uri="{FF2B5EF4-FFF2-40B4-BE49-F238E27FC236}">
                <a16:creationId xmlns:a16="http://schemas.microsoft.com/office/drawing/2014/main" id="{CF3C6F79-97F8-D049-A5CF-6F7C50B246F6}"/>
              </a:ext>
            </a:extLst>
          </p:cNvPr>
          <p:cNvSpPr/>
          <p:nvPr userDrawn="1"/>
        </p:nvSpPr>
        <p:spPr>
          <a:xfrm>
            <a:off x="2471874"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2" name="Rechthoek 81">
            <a:extLst>
              <a:ext uri="{FF2B5EF4-FFF2-40B4-BE49-F238E27FC236}">
                <a16:creationId xmlns:a16="http://schemas.microsoft.com/office/drawing/2014/main" id="{432DE2F3-3FE4-6A45-B76E-1E537548A6B8}"/>
              </a:ext>
            </a:extLst>
          </p:cNvPr>
          <p:cNvSpPr/>
          <p:nvPr userDrawn="1"/>
        </p:nvSpPr>
        <p:spPr>
          <a:xfrm>
            <a:off x="3190500"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3" name="Rechthoek 82">
            <a:extLst>
              <a:ext uri="{FF2B5EF4-FFF2-40B4-BE49-F238E27FC236}">
                <a16:creationId xmlns:a16="http://schemas.microsoft.com/office/drawing/2014/main" id="{B9A9FB61-28F1-6642-B69E-05DB235FF200}"/>
              </a:ext>
            </a:extLst>
          </p:cNvPr>
          <p:cNvSpPr/>
          <p:nvPr userDrawn="1"/>
        </p:nvSpPr>
        <p:spPr>
          <a:xfrm>
            <a:off x="1753255"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4" name="Rechthoek 83">
            <a:extLst>
              <a:ext uri="{FF2B5EF4-FFF2-40B4-BE49-F238E27FC236}">
                <a16:creationId xmlns:a16="http://schemas.microsoft.com/office/drawing/2014/main" id="{AAF5F163-AEF6-0C46-98BB-FA4C76A88F4D}"/>
              </a:ext>
            </a:extLst>
          </p:cNvPr>
          <p:cNvSpPr/>
          <p:nvPr userDrawn="1"/>
        </p:nvSpPr>
        <p:spPr>
          <a:xfrm>
            <a:off x="2471874"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5" name="Rechthoek 84">
            <a:extLst>
              <a:ext uri="{FF2B5EF4-FFF2-40B4-BE49-F238E27FC236}">
                <a16:creationId xmlns:a16="http://schemas.microsoft.com/office/drawing/2014/main" id="{D5D76ACD-A48E-664E-8116-31D2C44C2831}"/>
              </a:ext>
            </a:extLst>
          </p:cNvPr>
          <p:cNvSpPr/>
          <p:nvPr userDrawn="1"/>
        </p:nvSpPr>
        <p:spPr>
          <a:xfrm>
            <a:off x="3190500"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6" name="Rechthoek 85">
            <a:extLst>
              <a:ext uri="{FF2B5EF4-FFF2-40B4-BE49-F238E27FC236}">
                <a16:creationId xmlns:a16="http://schemas.microsoft.com/office/drawing/2014/main" id="{B07C1F27-CE75-4241-ABD3-08854DE228E7}"/>
              </a:ext>
            </a:extLst>
          </p:cNvPr>
          <p:cNvSpPr/>
          <p:nvPr userDrawn="1"/>
        </p:nvSpPr>
        <p:spPr>
          <a:xfrm>
            <a:off x="1753255"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7" name="Rechthoek 86">
            <a:extLst>
              <a:ext uri="{FF2B5EF4-FFF2-40B4-BE49-F238E27FC236}">
                <a16:creationId xmlns:a16="http://schemas.microsoft.com/office/drawing/2014/main" id="{84B4329B-F707-454B-B198-A87B455A5D7B}"/>
              </a:ext>
            </a:extLst>
          </p:cNvPr>
          <p:cNvSpPr/>
          <p:nvPr userDrawn="1"/>
        </p:nvSpPr>
        <p:spPr>
          <a:xfrm>
            <a:off x="2471874"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8" name="Rechthoek 87">
            <a:extLst>
              <a:ext uri="{FF2B5EF4-FFF2-40B4-BE49-F238E27FC236}">
                <a16:creationId xmlns:a16="http://schemas.microsoft.com/office/drawing/2014/main" id="{922E3F83-77D3-0C41-BEEF-D641F9E6C176}"/>
              </a:ext>
            </a:extLst>
          </p:cNvPr>
          <p:cNvSpPr/>
          <p:nvPr userDrawn="1"/>
        </p:nvSpPr>
        <p:spPr>
          <a:xfrm>
            <a:off x="3190500"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9" name="Rechthoek 88">
            <a:extLst>
              <a:ext uri="{FF2B5EF4-FFF2-40B4-BE49-F238E27FC236}">
                <a16:creationId xmlns:a16="http://schemas.microsoft.com/office/drawing/2014/main" id="{B7995A6E-4FFE-4344-9DC8-3A88803EBFAD}"/>
              </a:ext>
            </a:extLst>
          </p:cNvPr>
          <p:cNvSpPr/>
          <p:nvPr userDrawn="1"/>
        </p:nvSpPr>
        <p:spPr>
          <a:xfrm>
            <a:off x="1753255"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0" name="Rechthoek 89">
            <a:extLst>
              <a:ext uri="{FF2B5EF4-FFF2-40B4-BE49-F238E27FC236}">
                <a16:creationId xmlns:a16="http://schemas.microsoft.com/office/drawing/2014/main" id="{5EC92759-05E9-0D4A-BE97-35ED3F2C6B98}"/>
              </a:ext>
            </a:extLst>
          </p:cNvPr>
          <p:cNvSpPr/>
          <p:nvPr userDrawn="1"/>
        </p:nvSpPr>
        <p:spPr>
          <a:xfrm>
            <a:off x="2471874"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1" name="Rechthoek 90">
            <a:extLst>
              <a:ext uri="{FF2B5EF4-FFF2-40B4-BE49-F238E27FC236}">
                <a16:creationId xmlns:a16="http://schemas.microsoft.com/office/drawing/2014/main" id="{B0E464C7-C3E4-5C4B-B6D7-757AFEA2B967}"/>
              </a:ext>
            </a:extLst>
          </p:cNvPr>
          <p:cNvSpPr/>
          <p:nvPr userDrawn="1"/>
        </p:nvSpPr>
        <p:spPr>
          <a:xfrm>
            <a:off x="3190500"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2" name="Rechthoek 91">
            <a:extLst>
              <a:ext uri="{FF2B5EF4-FFF2-40B4-BE49-F238E27FC236}">
                <a16:creationId xmlns:a16="http://schemas.microsoft.com/office/drawing/2014/main" id="{BC3ED88E-EBDC-9E4F-8D12-7CA33A72E0C1}"/>
              </a:ext>
            </a:extLst>
          </p:cNvPr>
          <p:cNvSpPr/>
          <p:nvPr userDrawn="1"/>
        </p:nvSpPr>
        <p:spPr>
          <a:xfrm>
            <a:off x="316049"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3" name="Rechthoek 92">
            <a:extLst>
              <a:ext uri="{FF2B5EF4-FFF2-40B4-BE49-F238E27FC236}">
                <a16:creationId xmlns:a16="http://schemas.microsoft.com/office/drawing/2014/main" id="{061150B1-73E0-1645-8B3E-482CE5F446DA}"/>
              </a:ext>
            </a:extLst>
          </p:cNvPr>
          <p:cNvSpPr/>
          <p:nvPr userDrawn="1"/>
        </p:nvSpPr>
        <p:spPr>
          <a:xfrm>
            <a:off x="1034675" y="524199"/>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4" name="Rechthoek 93">
            <a:extLst>
              <a:ext uri="{FF2B5EF4-FFF2-40B4-BE49-F238E27FC236}">
                <a16:creationId xmlns:a16="http://schemas.microsoft.com/office/drawing/2014/main" id="{AE895FC7-4497-0545-BBF3-C13F6C6F70A9}"/>
              </a:ext>
            </a:extLst>
          </p:cNvPr>
          <p:cNvSpPr/>
          <p:nvPr userDrawn="1"/>
        </p:nvSpPr>
        <p:spPr>
          <a:xfrm>
            <a:off x="316049"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5" name="Rechthoek 94">
            <a:extLst>
              <a:ext uri="{FF2B5EF4-FFF2-40B4-BE49-F238E27FC236}">
                <a16:creationId xmlns:a16="http://schemas.microsoft.com/office/drawing/2014/main" id="{B4523B5A-7980-3147-8534-E154774E5996}"/>
              </a:ext>
            </a:extLst>
          </p:cNvPr>
          <p:cNvSpPr/>
          <p:nvPr userDrawn="1"/>
        </p:nvSpPr>
        <p:spPr>
          <a:xfrm>
            <a:off x="1034675" y="1243537"/>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6" name="Rechthoek 95">
            <a:extLst>
              <a:ext uri="{FF2B5EF4-FFF2-40B4-BE49-F238E27FC236}">
                <a16:creationId xmlns:a16="http://schemas.microsoft.com/office/drawing/2014/main" id="{367AE5B4-4356-A744-A8C9-A5C89EBD216E}"/>
              </a:ext>
            </a:extLst>
          </p:cNvPr>
          <p:cNvSpPr/>
          <p:nvPr userDrawn="1"/>
        </p:nvSpPr>
        <p:spPr>
          <a:xfrm>
            <a:off x="316049"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7" name="Rechthoek 96">
            <a:extLst>
              <a:ext uri="{FF2B5EF4-FFF2-40B4-BE49-F238E27FC236}">
                <a16:creationId xmlns:a16="http://schemas.microsoft.com/office/drawing/2014/main" id="{1CD2E0A4-E39F-5146-98A2-2BE901E4A76D}"/>
              </a:ext>
            </a:extLst>
          </p:cNvPr>
          <p:cNvSpPr/>
          <p:nvPr userDrawn="1"/>
        </p:nvSpPr>
        <p:spPr>
          <a:xfrm>
            <a:off x="1034675" y="196287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8" name="Rechthoek 97">
            <a:extLst>
              <a:ext uri="{FF2B5EF4-FFF2-40B4-BE49-F238E27FC236}">
                <a16:creationId xmlns:a16="http://schemas.microsoft.com/office/drawing/2014/main" id="{49F6F45C-E145-9747-B725-978E8BF24115}"/>
              </a:ext>
            </a:extLst>
          </p:cNvPr>
          <p:cNvSpPr/>
          <p:nvPr userDrawn="1"/>
        </p:nvSpPr>
        <p:spPr>
          <a:xfrm>
            <a:off x="316049"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9" name="Rechthoek 98">
            <a:extLst>
              <a:ext uri="{FF2B5EF4-FFF2-40B4-BE49-F238E27FC236}">
                <a16:creationId xmlns:a16="http://schemas.microsoft.com/office/drawing/2014/main" id="{13A73F05-1DC9-924C-A337-6907495C2010}"/>
              </a:ext>
            </a:extLst>
          </p:cNvPr>
          <p:cNvSpPr/>
          <p:nvPr userDrawn="1"/>
        </p:nvSpPr>
        <p:spPr>
          <a:xfrm>
            <a:off x="1034675" y="268221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0" name="Tijdelijke aanduiding voor tekst 6">
            <a:extLst>
              <a:ext uri="{FF2B5EF4-FFF2-40B4-BE49-F238E27FC236}">
                <a16:creationId xmlns:a16="http://schemas.microsoft.com/office/drawing/2014/main" id="{74268B46-E997-B24A-A69B-7382325AF4A4}"/>
              </a:ext>
            </a:extLst>
          </p:cNvPr>
          <p:cNvSpPr>
            <a:spLocks noGrp="1"/>
          </p:cNvSpPr>
          <p:nvPr>
            <p:ph type="body" sz="quarter" idx="15" hasCustomPrompt="1"/>
          </p:nvPr>
        </p:nvSpPr>
        <p:spPr>
          <a:xfrm>
            <a:off x="454699" y="3773714"/>
            <a:ext cx="7313287" cy="2296736"/>
          </a:xfrm>
          <a:prstGeom prst="rect">
            <a:avLst/>
          </a:prstGeom>
        </p:spPr>
        <p:txBody>
          <a:bodyPr/>
          <a:lstStyle>
            <a:lvl1pPr>
              <a:buNone/>
              <a:defRPr/>
            </a:lvl1pPr>
            <a:lvl2pPr marL="258763" indent="-258763">
              <a:buFont typeface="Systeemlettertype regulier"/>
              <a:buNone/>
              <a:tabLst/>
              <a:defRPr b="1"/>
            </a:lvl2pPr>
            <a:lvl3pPr marL="504000">
              <a:defRPr/>
            </a:lvl3pPr>
            <a:lvl4pPr marL="756000">
              <a:defRPr/>
            </a:lvl4pPr>
            <a:lvl5pPr marL="1008000">
              <a:buNone/>
              <a:defRPr/>
            </a:lvl5pPr>
          </a:lstStyle>
          <a:p>
            <a:pPr lvl="0"/>
            <a:r>
              <a:rPr lang="en-GB" noProof="0" dirty="0"/>
              <a:t>Click to edit document</a:t>
            </a:r>
          </a:p>
          <a:p>
            <a:pPr lvl="1"/>
            <a:r>
              <a:rPr lang="en-GB" noProof="0" dirty="0"/>
              <a:t>contact@tennet.eu</a:t>
            </a:r>
          </a:p>
        </p:txBody>
      </p:sp>
      <p:sp>
        <p:nvSpPr>
          <p:cNvPr id="2" name="Tijdelijke aanduiding voor datum 1">
            <a:extLst>
              <a:ext uri="{FF2B5EF4-FFF2-40B4-BE49-F238E27FC236}">
                <a16:creationId xmlns:a16="http://schemas.microsoft.com/office/drawing/2014/main" id="{9CA4A096-53EC-CC4B-A196-01C2B86CA3F4}"/>
              </a:ext>
            </a:extLst>
          </p:cNvPr>
          <p:cNvSpPr>
            <a:spLocks noGrp="1"/>
          </p:cNvSpPr>
          <p:nvPr>
            <p:ph type="dt" sz="half" idx="16"/>
          </p:nvPr>
        </p:nvSpPr>
        <p:spPr/>
        <p:txBody>
          <a:bodyPr/>
          <a:lstStyle/>
          <a:p>
            <a:fld id="{DF0223E2-3FC9-4048-AAAA-A64CF17861E6}" type="datetime4">
              <a:rPr lang="en-GB" noProof="0" smtClean="0"/>
              <a:t>23 January 2025</a:t>
            </a:fld>
            <a:endParaRPr lang="en-GB" noProof="0"/>
          </a:p>
        </p:txBody>
      </p:sp>
      <p:sp>
        <p:nvSpPr>
          <p:cNvPr id="3" name="Tijdelijke aanduiding voor voettekst 2">
            <a:extLst>
              <a:ext uri="{FF2B5EF4-FFF2-40B4-BE49-F238E27FC236}">
                <a16:creationId xmlns:a16="http://schemas.microsoft.com/office/drawing/2014/main" id="{A013E453-E84C-2C44-BD99-A0BC6DCA9DA9}"/>
              </a:ext>
            </a:extLst>
          </p:cNvPr>
          <p:cNvSpPr>
            <a:spLocks noGrp="1"/>
          </p:cNvSpPr>
          <p:nvPr>
            <p:ph type="ftr" sz="quarter" idx="17"/>
          </p:nvPr>
        </p:nvSpPr>
        <p:spPr/>
        <p:txBody>
          <a:bodyPr/>
          <a:lstStyle/>
          <a:p>
            <a:r>
              <a:rPr lang="en-GB" noProof="0"/>
              <a:t>Confidentiality</a:t>
            </a:r>
            <a:endParaRPr lang="en-GB" b="1" noProof="0"/>
          </a:p>
        </p:txBody>
      </p:sp>
      <p:sp>
        <p:nvSpPr>
          <p:cNvPr id="7" name="Tijdelijke aanduiding voor dianummer 6">
            <a:extLst>
              <a:ext uri="{FF2B5EF4-FFF2-40B4-BE49-F238E27FC236}">
                <a16:creationId xmlns:a16="http://schemas.microsoft.com/office/drawing/2014/main" id="{2B29BEC6-17ED-6A43-A9B2-92A55A1DBAA5}"/>
              </a:ext>
            </a:extLst>
          </p:cNvPr>
          <p:cNvSpPr>
            <a:spLocks noGrp="1"/>
          </p:cNvSpPr>
          <p:nvPr>
            <p:ph type="sldNum" sz="quarter" idx="18"/>
          </p:nvPr>
        </p:nvSpPr>
        <p:spPr/>
        <p:txBody>
          <a:bodyPr/>
          <a:lstStyle/>
          <a:p>
            <a:fld id="{3B0AF0F1-83F4-0746-A551-EEC1F1FEC0BD}" type="slidenum">
              <a:rPr lang="en-GB" noProof="0" smtClean="0"/>
              <a:pPr/>
              <a:t>‹Nr.›</a:t>
            </a:fld>
            <a:endParaRPr lang="en-GB" noProof="0"/>
          </a:p>
        </p:txBody>
      </p:sp>
      <p:pic>
        <p:nvPicPr>
          <p:cNvPr id="101" name="Afbeelding 100">
            <a:extLst>
              <a:ext uri="{FF2B5EF4-FFF2-40B4-BE49-F238E27FC236}">
                <a16:creationId xmlns:a16="http://schemas.microsoft.com/office/drawing/2014/main" id="{4EE36EE1-D70D-7C41-AC37-64DAA2A4DBD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88279" y="6471518"/>
            <a:ext cx="952619" cy="179756"/>
          </a:xfrm>
          <a:prstGeom prst="rect">
            <a:avLst/>
          </a:prstGeom>
        </p:spPr>
      </p:pic>
      <p:sp>
        <p:nvSpPr>
          <p:cNvPr id="102" name="Tekstvak 101">
            <a:extLst>
              <a:ext uri="{FF2B5EF4-FFF2-40B4-BE49-F238E27FC236}">
                <a16:creationId xmlns:a16="http://schemas.microsoft.com/office/drawing/2014/main" id="{B941C9BA-0EA0-5C49-A485-87303C00F958}"/>
              </a:ext>
            </a:extLst>
          </p:cNvPr>
          <p:cNvSpPr txBox="1"/>
          <p:nvPr userDrawn="1"/>
        </p:nvSpPr>
        <p:spPr bwMode="auto">
          <a:xfrm>
            <a:off x="-2921308" y="0"/>
            <a:ext cx="2670175" cy="6858000"/>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noProof="0">
                <a:solidFill>
                  <a:schemeClr val="tx2"/>
                </a:solidFill>
              </a:rPr>
              <a:t>The contact text</a:t>
            </a:r>
            <a:br>
              <a:rPr lang="en-GB" sz="1400" b="1" noProof="0">
                <a:solidFill>
                  <a:schemeClr val="tx2"/>
                </a:solidFill>
              </a:rPr>
            </a:br>
            <a:r>
              <a:rPr lang="en-GB" sz="1400" b="1" noProof="0">
                <a:solidFill>
                  <a:schemeClr val="tx2"/>
                </a:solidFill>
              </a:rPr>
              <a:t>has 2 list levels:</a:t>
            </a:r>
          </a:p>
          <a:p>
            <a:pPr>
              <a:defRPr/>
            </a:pPr>
            <a:endParaRPr lang="en-GB" sz="1200" noProof="0">
              <a:solidFill>
                <a:schemeClr val="tx2"/>
              </a:solidFill>
            </a:endParaRPr>
          </a:p>
          <a:p>
            <a:pPr marL="0" indent="0">
              <a:buFont typeface="Wingdings" pitchFamily="2" charset="2"/>
              <a:buNone/>
              <a:defRPr/>
            </a:pPr>
            <a:r>
              <a:rPr lang="en-GB" sz="1200" noProof="0">
                <a:solidFill>
                  <a:schemeClr val="tx2"/>
                </a:solidFill>
              </a:rPr>
              <a:t>Regular text (level 1)</a:t>
            </a:r>
            <a:br>
              <a:rPr lang="en-GB" sz="1200" noProof="0">
                <a:solidFill>
                  <a:schemeClr val="tx2"/>
                </a:solidFill>
              </a:rPr>
            </a:br>
            <a:r>
              <a:rPr lang="en-GB" sz="1200" noProof="0">
                <a:solidFill>
                  <a:schemeClr val="tx2"/>
                </a:solidFill>
              </a:rPr>
              <a:t>Arial, 20pt, 80% dark grey</a:t>
            </a:r>
          </a:p>
          <a:p>
            <a:pPr marL="0" indent="0">
              <a:buFont typeface="Wingdings" pitchFamily="2" charset="2"/>
              <a:buNone/>
              <a:defRPr/>
            </a:pPr>
            <a:endParaRPr lang="en-GB" sz="900" noProof="0">
              <a:solidFill>
                <a:schemeClr val="tx2"/>
              </a:solidFill>
            </a:endParaRPr>
          </a:p>
          <a:p>
            <a:pPr marL="9525" indent="0">
              <a:buFont typeface=".Lucida Grande UI Regular"/>
              <a:buNone/>
              <a:tabLst/>
              <a:defRPr/>
            </a:pPr>
            <a:r>
              <a:rPr lang="en-GB" sz="1200" b="1" noProof="0">
                <a:solidFill>
                  <a:schemeClr val="tx2"/>
                </a:solidFill>
              </a:rPr>
              <a:t>Bold text (level 2)</a:t>
            </a:r>
            <a:br>
              <a:rPr lang="en-GB" sz="1200" noProof="0">
                <a:solidFill>
                  <a:schemeClr val="tx2"/>
                </a:solidFill>
              </a:rPr>
            </a:br>
            <a:r>
              <a:rPr lang="en-GB" sz="1200" noProof="0">
                <a:solidFill>
                  <a:schemeClr val="tx2"/>
                </a:solidFill>
              </a:rPr>
              <a:t>Arial, 20pt, 80% dark grey</a:t>
            </a:r>
          </a:p>
        </p:txBody>
      </p:sp>
    </p:spTree>
    <p:extLst>
      <p:ext uri="{BB962C8B-B14F-4D97-AF65-F5344CB8AC3E}">
        <p14:creationId xmlns:p14="http://schemas.microsoft.com/office/powerpoint/2010/main" val="6331303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bout TenneT – EN">
    <p:spTree>
      <p:nvGrpSpPr>
        <p:cNvPr id="1" name=""/>
        <p:cNvGrpSpPr/>
        <p:nvPr/>
      </p:nvGrpSpPr>
      <p:grpSpPr>
        <a:xfrm>
          <a:off x="0" y="0"/>
          <a:ext cx="0" cy="0"/>
          <a:chOff x="0" y="0"/>
          <a:chExt cx="0" cy="0"/>
        </a:xfrm>
      </p:grpSpPr>
      <p:pic>
        <p:nvPicPr>
          <p:cNvPr id="64" name="Afbeelding 63" descr="Afbeelding met gras, buiten, veld, vliegtuig&#10;&#10;Automatisch gegenereerde beschrijving">
            <a:extLst>
              <a:ext uri="{FF2B5EF4-FFF2-40B4-BE49-F238E27FC236}">
                <a16:creationId xmlns:a16="http://schemas.microsoft.com/office/drawing/2014/main" id="{867F678C-25E9-FC47-96EB-040268BEE5A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57999"/>
          </a:xfrm>
          <a:prstGeom prst="rect">
            <a:avLst/>
          </a:prstGeom>
        </p:spPr>
      </p:pic>
      <p:cxnSp>
        <p:nvCxnSpPr>
          <p:cNvPr id="10" name="Rechte verbindingslijn 9">
            <a:extLst>
              <a:ext uri="{FF2B5EF4-FFF2-40B4-BE49-F238E27FC236}">
                <a16:creationId xmlns:a16="http://schemas.microsoft.com/office/drawing/2014/main" id="{C332C484-63EA-954D-95D2-C030667EF3D1}"/>
              </a:ext>
            </a:extLst>
          </p:cNvPr>
          <p:cNvCxnSpPr/>
          <p:nvPr userDrawn="1"/>
        </p:nvCxnSpPr>
        <p:spPr>
          <a:xfrm>
            <a:off x="1" y="51920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Rechte verbindingslijn 10">
            <a:extLst>
              <a:ext uri="{FF2B5EF4-FFF2-40B4-BE49-F238E27FC236}">
                <a16:creationId xmlns:a16="http://schemas.microsoft.com/office/drawing/2014/main" id="{B4E21DE3-7FB4-CA4E-B3A7-69F9877C66B3}"/>
              </a:ext>
            </a:extLst>
          </p:cNvPr>
          <p:cNvCxnSpPr/>
          <p:nvPr userDrawn="1"/>
        </p:nvCxnSpPr>
        <p:spPr>
          <a:xfrm>
            <a:off x="1" y="123782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Rechte verbindingslijn 11">
            <a:extLst>
              <a:ext uri="{FF2B5EF4-FFF2-40B4-BE49-F238E27FC236}">
                <a16:creationId xmlns:a16="http://schemas.microsoft.com/office/drawing/2014/main" id="{BC0D80A7-47DD-7847-8F76-70C883397333}"/>
              </a:ext>
            </a:extLst>
          </p:cNvPr>
          <p:cNvCxnSpPr/>
          <p:nvPr userDrawn="1"/>
        </p:nvCxnSpPr>
        <p:spPr>
          <a:xfrm>
            <a:off x="1" y="195855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3025A578-4784-2F44-A938-EF6E021F9F64}"/>
              </a:ext>
            </a:extLst>
          </p:cNvPr>
          <p:cNvCxnSpPr/>
          <p:nvPr userDrawn="1"/>
        </p:nvCxnSpPr>
        <p:spPr>
          <a:xfrm>
            <a:off x="1" y="26792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Rechte verbindingslijn 13">
            <a:extLst>
              <a:ext uri="{FF2B5EF4-FFF2-40B4-BE49-F238E27FC236}">
                <a16:creationId xmlns:a16="http://schemas.microsoft.com/office/drawing/2014/main" id="{3DEEFB7B-D827-C444-8EEE-34398EB55CC0}"/>
              </a:ext>
            </a:extLst>
          </p:cNvPr>
          <p:cNvCxnSpPr/>
          <p:nvPr userDrawn="1"/>
        </p:nvCxnSpPr>
        <p:spPr>
          <a:xfrm>
            <a:off x="1" y="34000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E88315E0-B775-A344-A1E9-6F2E33A23418}"/>
              </a:ext>
            </a:extLst>
          </p:cNvPr>
          <p:cNvCxnSpPr/>
          <p:nvPr userDrawn="1"/>
        </p:nvCxnSpPr>
        <p:spPr>
          <a:xfrm>
            <a:off x="1" y="41143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883F5199-4065-044B-AEAE-D79C4CC5401C}"/>
              </a:ext>
            </a:extLst>
          </p:cNvPr>
          <p:cNvCxnSpPr/>
          <p:nvPr userDrawn="1"/>
        </p:nvCxnSpPr>
        <p:spPr>
          <a:xfrm>
            <a:off x="1" y="48351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D5159968-843B-A64D-85BD-A1E135C0AEFC}"/>
              </a:ext>
            </a:extLst>
          </p:cNvPr>
          <p:cNvCxnSpPr/>
          <p:nvPr userDrawn="1"/>
        </p:nvCxnSpPr>
        <p:spPr>
          <a:xfrm>
            <a:off x="1" y="555582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C4DDC9B-2166-834F-9982-718075802EA6}"/>
              </a:ext>
            </a:extLst>
          </p:cNvPr>
          <p:cNvCxnSpPr/>
          <p:nvPr userDrawn="1"/>
        </p:nvCxnSpPr>
        <p:spPr>
          <a:xfrm>
            <a:off x="1" y="62733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0A192E1D-D8ED-E14B-903C-DEED7FDC5F42}"/>
              </a:ext>
            </a:extLst>
          </p:cNvPr>
          <p:cNvCxnSpPr>
            <a:cxnSpLocks/>
          </p:cNvCxnSpPr>
          <p:nvPr userDrawn="1"/>
        </p:nvCxnSpPr>
        <p:spPr>
          <a:xfrm>
            <a:off x="7536396" y="-2911"/>
            <a:ext cx="0" cy="627628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708570B-ACCE-8246-964A-1D63117F1DA3}"/>
              </a:ext>
            </a:extLst>
          </p:cNvPr>
          <p:cNvCxnSpPr>
            <a:cxnSpLocks/>
          </p:cNvCxnSpPr>
          <p:nvPr userDrawn="1"/>
        </p:nvCxnSpPr>
        <p:spPr>
          <a:xfrm rot="5400000">
            <a:off x="4825608"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1496480E-D9EE-4A4C-B703-AEC39FEDAD84}"/>
              </a:ext>
            </a:extLst>
          </p:cNvPr>
          <p:cNvCxnSpPr>
            <a:cxnSpLocks/>
          </p:cNvCxnSpPr>
          <p:nvPr userDrawn="1"/>
        </p:nvCxnSpPr>
        <p:spPr>
          <a:xfrm rot="5400000">
            <a:off x="5542100"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5E2794F3-FB2E-B541-BE31-02760B56D77B}"/>
              </a:ext>
            </a:extLst>
          </p:cNvPr>
          <p:cNvCxnSpPr>
            <a:cxnSpLocks/>
          </p:cNvCxnSpPr>
          <p:nvPr userDrawn="1"/>
        </p:nvCxnSpPr>
        <p:spPr>
          <a:xfrm rot="5400000">
            <a:off x="6260708"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a:extLst>
              <a:ext uri="{FF2B5EF4-FFF2-40B4-BE49-F238E27FC236}">
                <a16:creationId xmlns:a16="http://schemas.microsoft.com/office/drawing/2014/main" id="{733A6E7D-2C41-5941-8178-D2E146F89A38}"/>
              </a:ext>
            </a:extLst>
          </p:cNvPr>
          <p:cNvCxnSpPr>
            <a:cxnSpLocks/>
          </p:cNvCxnSpPr>
          <p:nvPr userDrawn="1"/>
        </p:nvCxnSpPr>
        <p:spPr>
          <a:xfrm rot="5400000">
            <a:off x="6980830"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36D5AFB9-42DF-634D-AD69-3E4750A28313}"/>
              </a:ext>
            </a:extLst>
          </p:cNvPr>
          <p:cNvCxnSpPr>
            <a:cxnSpLocks/>
          </p:cNvCxnSpPr>
          <p:nvPr userDrawn="1"/>
        </p:nvCxnSpPr>
        <p:spPr>
          <a:xfrm rot="5400000">
            <a:off x="8710390" y="3135230"/>
            <a:ext cx="627628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3D69571E-A74D-4F47-A7C2-4B5CB986B029}"/>
              </a:ext>
            </a:extLst>
          </p:cNvPr>
          <p:cNvCxnSpPr>
            <a:cxnSpLocks/>
          </p:cNvCxnSpPr>
          <p:nvPr userDrawn="1"/>
        </p:nvCxnSpPr>
        <p:spPr>
          <a:xfrm rot="5400000">
            <a:off x="2964211"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a:extLst>
              <a:ext uri="{FF2B5EF4-FFF2-40B4-BE49-F238E27FC236}">
                <a16:creationId xmlns:a16="http://schemas.microsoft.com/office/drawing/2014/main" id="{85D0CA90-3B99-7847-A502-79CEAD04F9CD}"/>
              </a:ext>
            </a:extLst>
          </p:cNvPr>
          <p:cNvCxnSpPr>
            <a:cxnSpLocks/>
          </p:cNvCxnSpPr>
          <p:nvPr userDrawn="1"/>
        </p:nvCxnSpPr>
        <p:spPr>
          <a:xfrm rot="5400000">
            <a:off x="3678586"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a:extLst>
              <a:ext uri="{FF2B5EF4-FFF2-40B4-BE49-F238E27FC236}">
                <a16:creationId xmlns:a16="http://schemas.microsoft.com/office/drawing/2014/main" id="{09E35250-1ECC-E746-83AE-94869F61E029}"/>
              </a:ext>
            </a:extLst>
          </p:cNvPr>
          <p:cNvCxnSpPr>
            <a:cxnSpLocks/>
          </p:cNvCxnSpPr>
          <p:nvPr userDrawn="1"/>
        </p:nvCxnSpPr>
        <p:spPr>
          <a:xfrm rot="5400000">
            <a:off x="2243486"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a:extLst>
              <a:ext uri="{FF2B5EF4-FFF2-40B4-BE49-F238E27FC236}">
                <a16:creationId xmlns:a16="http://schemas.microsoft.com/office/drawing/2014/main" id="{F82A37FE-DD97-7942-BECE-F50EEA230FB2}"/>
              </a:ext>
            </a:extLst>
          </p:cNvPr>
          <p:cNvCxnSpPr>
            <a:cxnSpLocks/>
          </p:cNvCxnSpPr>
          <p:nvPr userDrawn="1"/>
        </p:nvCxnSpPr>
        <p:spPr>
          <a:xfrm rot="5400000">
            <a:off x="1522761"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FB87BA3-2BDB-DA4F-B9AE-F0DB0E1E376B}"/>
              </a:ext>
            </a:extLst>
          </p:cNvPr>
          <p:cNvCxnSpPr>
            <a:cxnSpLocks/>
          </p:cNvCxnSpPr>
          <p:nvPr userDrawn="1"/>
        </p:nvCxnSpPr>
        <p:spPr>
          <a:xfrm rot="5400000">
            <a:off x="805212"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B21FC6AE-1A01-4C48-9287-B62F1DC4BAFC}"/>
              </a:ext>
            </a:extLst>
          </p:cNvPr>
          <p:cNvCxnSpPr>
            <a:cxnSpLocks/>
          </p:cNvCxnSpPr>
          <p:nvPr userDrawn="1"/>
        </p:nvCxnSpPr>
        <p:spPr>
          <a:xfrm rot="5400000">
            <a:off x="87662"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163A02BA-125F-234E-A85B-278F278207E0}"/>
              </a:ext>
            </a:extLst>
          </p:cNvPr>
          <p:cNvCxnSpPr>
            <a:cxnSpLocks/>
          </p:cNvCxnSpPr>
          <p:nvPr userDrawn="1"/>
        </p:nvCxnSpPr>
        <p:spPr>
          <a:xfrm rot="5400000">
            <a:off x="-629888"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echte verbindingslijn 32">
            <a:extLst>
              <a:ext uri="{FF2B5EF4-FFF2-40B4-BE49-F238E27FC236}">
                <a16:creationId xmlns:a16="http://schemas.microsoft.com/office/drawing/2014/main" id="{932C77E3-5991-8144-ADB2-A3FEA8432B74}"/>
              </a:ext>
            </a:extLst>
          </p:cNvPr>
          <p:cNvCxnSpPr>
            <a:cxnSpLocks/>
          </p:cNvCxnSpPr>
          <p:nvPr userDrawn="1"/>
        </p:nvCxnSpPr>
        <p:spPr>
          <a:xfrm rot="5400000">
            <a:off x="-1350613" y="3135230"/>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67CBC2B-229F-E74C-8ACF-64922A97B0C1}"/>
              </a:ext>
            </a:extLst>
          </p:cNvPr>
          <p:cNvCxnSpPr>
            <a:cxnSpLocks/>
          </p:cNvCxnSpPr>
          <p:nvPr userDrawn="1"/>
        </p:nvCxnSpPr>
        <p:spPr>
          <a:xfrm rot="5400000">
            <a:off x="-2068163" y="3135230"/>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a:extLst>
              <a:ext uri="{FF2B5EF4-FFF2-40B4-BE49-F238E27FC236}">
                <a16:creationId xmlns:a16="http://schemas.microsoft.com/office/drawing/2014/main" id="{90251BAF-AB76-734B-80B9-91B628112ACA}"/>
              </a:ext>
            </a:extLst>
          </p:cNvPr>
          <p:cNvCxnSpPr>
            <a:cxnSpLocks/>
          </p:cNvCxnSpPr>
          <p:nvPr userDrawn="1"/>
        </p:nvCxnSpPr>
        <p:spPr>
          <a:xfrm rot="5400000">
            <a:off x="-2788888" y="3135229"/>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hthoek 35">
            <a:extLst>
              <a:ext uri="{FF2B5EF4-FFF2-40B4-BE49-F238E27FC236}">
                <a16:creationId xmlns:a16="http://schemas.microsoft.com/office/drawing/2014/main" id="{4D55CE2C-9E4B-7A4D-937C-2CC1054D2867}"/>
              </a:ext>
            </a:extLst>
          </p:cNvPr>
          <p:cNvSpPr/>
          <p:nvPr userDrawn="1"/>
        </p:nvSpPr>
        <p:spPr>
          <a:xfrm>
            <a:off x="10375285"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Rechthoek 36">
            <a:extLst>
              <a:ext uri="{FF2B5EF4-FFF2-40B4-BE49-F238E27FC236}">
                <a16:creationId xmlns:a16="http://schemas.microsoft.com/office/drawing/2014/main" id="{98E243DB-7AA1-5144-9C07-C17DD621C024}"/>
              </a:ext>
            </a:extLst>
          </p:cNvPr>
          <p:cNvSpPr/>
          <p:nvPr userDrawn="1"/>
        </p:nvSpPr>
        <p:spPr>
          <a:xfrm>
            <a:off x="11093904"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hthoek 37">
            <a:extLst>
              <a:ext uri="{FF2B5EF4-FFF2-40B4-BE49-F238E27FC236}">
                <a16:creationId xmlns:a16="http://schemas.microsoft.com/office/drawing/2014/main" id="{960971D3-9F4B-6D4B-8A4C-79CF6541F07B}"/>
              </a:ext>
            </a:extLst>
          </p:cNvPr>
          <p:cNvSpPr/>
          <p:nvPr userDrawn="1"/>
        </p:nvSpPr>
        <p:spPr>
          <a:xfrm>
            <a:off x="11812530"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Rechthoek 38">
            <a:extLst>
              <a:ext uri="{FF2B5EF4-FFF2-40B4-BE49-F238E27FC236}">
                <a16:creationId xmlns:a16="http://schemas.microsoft.com/office/drawing/2014/main" id="{468381B3-3BFA-B94E-A685-9E2E3255E3F1}"/>
              </a:ext>
            </a:extLst>
          </p:cNvPr>
          <p:cNvSpPr/>
          <p:nvPr userDrawn="1"/>
        </p:nvSpPr>
        <p:spPr>
          <a:xfrm>
            <a:off x="10375285"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hthoek 39">
            <a:extLst>
              <a:ext uri="{FF2B5EF4-FFF2-40B4-BE49-F238E27FC236}">
                <a16:creationId xmlns:a16="http://schemas.microsoft.com/office/drawing/2014/main" id="{B6AB6DD5-4256-7049-87E8-F5907C3FA6F5}"/>
              </a:ext>
            </a:extLst>
          </p:cNvPr>
          <p:cNvSpPr/>
          <p:nvPr userDrawn="1"/>
        </p:nvSpPr>
        <p:spPr>
          <a:xfrm>
            <a:off x="11093904"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hthoek 40">
            <a:extLst>
              <a:ext uri="{FF2B5EF4-FFF2-40B4-BE49-F238E27FC236}">
                <a16:creationId xmlns:a16="http://schemas.microsoft.com/office/drawing/2014/main" id="{F05F7AD6-0CC3-864F-8143-F761DBADFA0C}"/>
              </a:ext>
            </a:extLst>
          </p:cNvPr>
          <p:cNvSpPr/>
          <p:nvPr userDrawn="1"/>
        </p:nvSpPr>
        <p:spPr>
          <a:xfrm>
            <a:off x="11812530"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hthoek 41">
            <a:extLst>
              <a:ext uri="{FF2B5EF4-FFF2-40B4-BE49-F238E27FC236}">
                <a16:creationId xmlns:a16="http://schemas.microsoft.com/office/drawing/2014/main" id="{ED55AE35-1BB4-8C41-98B6-DBAB042318E4}"/>
              </a:ext>
            </a:extLst>
          </p:cNvPr>
          <p:cNvSpPr/>
          <p:nvPr userDrawn="1"/>
        </p:nvSpPr>
        <p:spPr>
          <a:xfrm>
            <a:off x="10375285"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hthoek 42">
            <a:extLst>
              <a:ext uri="{FF2B5EF4-FFF2-40B4-BE49-F238E27FC236}">
                <a16:creationId xmlns:a16="http://schemas.microsoft.com/office/drawing/2014/main" id="{DF10D17E-5E99-004D-B776-96BA07E52BF9}"/>
              </a:ext>
            </a:extLst>
          </p:cNvPr>
          <p:cNvSpPr/>
          <p:nvPr userDrawn="1"/>
        </p:nvSpPr>
        <p:spPr>
          <a:xfrm>
            <a:off x="11093904"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hthoek 43">
            <a:extLst>
              <a:ext uri="{FF2B5EF4-FFF2-40B4-BE49-F238E27FC236}">
                <a16:creationId xmlns:a16="http://schemas.microsoft.com/office/drawing/2014/main" id="{EA1C878A-B5CB-3946-A7C3-5EB33FD2C8FB}"/>
              </a:ext>
            </a:extLst>
          </p:cNvPr>
          <p:cNvSpPr/>
          <p:nvPr userDrawn="1"/>
        </p:nvSpPr>
        <p:spPr>
          <a:xfrm>
            <a:off x="11812530"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90193CF0-F401-1A48-AC72-51AB9311EF29}"/>
              </a:ext>
            </a:extLst>
          </p:cNvPr>
          <p:cNvSpPr/>
          <p:nvPr userDrawn="1"/>
        </p:nvSpPr>
        <p:spPr>
          <a:xfrm>
            <a:off x="10375285"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FC813691-A246-3C41-8E82-42E85A30FD70}"/>
              </a:ext>
            </a:extLst>
          </p:cNvPr>
          <p:cNvSpPr/>
          <p:nvPr userDrawn="1"/>
        </p:nvSpPr>
        <p:spPr>
          <a:xfrm>
            <a:off x="11093904"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46">
            <a:extLst>
              <a:ext uri="{FF2B5EF4-FFF2-40B4-BE49-F238E27FC236}">
                <a16:creationId xmlns:a16="http://schemas.microsoft.com/office/drawing/2014/main" id="{75D7AC5A-F39E-0A47-BA31-D81A56EE4AB4}"/>
              </a:ext>
            </a:extLst>
          </p:cNvPr>
          <p:cNvSpPr/>
          <p:nvPr userDrawn="1"/>
        </p:nvSpPr>
        <p:spPr>
          <a:xfrm>
            <a:off x="11812530"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47">
            <a:extLst>
              <a:ext uri="{FF2B5EF4-FFF2-40B4-BE49-F238E27FC236}">
                <a16:creationId xmlns:a16="http://schemas.microsoft.com/office/drawing/2014/main" id="{5F489478-2177-924D-8E9A-01C7AD5EF0F6}"/>
              </a:ext>
            </a:extLst>
          </p:cNvPr>
          <p:cNvSpPr/>
          <p:nvPr userDrawn="1"/>
        </p:nvSpPr>
        <p:spPr>
          <a:xfrm>
            <a:off x="10375285"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48">
            <a:extLst>
              <a:ext uri="{FF2B5EF4-FFF2-40B4-BE49-F238E27FC236}">
                <a16:creationId xmlns:a16="http://schemas.microsoft.com/office/drawing/2014/main" id="{FFA1746B-6AFD-E943-9A57-C4E434477118}"/>
              </a:ext>
            </a:extLst>
          </p:cNvPr>
          <p:cNvSpPr/>
          <p:nvPr userDrawn="1"/>
        </p:nvSpPr>
        <p:spPr>
          <a:xfrm>
            <a:off x="11093904"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49">
            <a:extLst>
              <a:ext uri="{FF2B5EF4-FFF2-40B4-BE49-F238E27FC236}">
                <a16:creationId xmlns:a16="http://schemas.microsoft.com/office/drawing/2014/main" id="{E3DCAE65-1E8E-EC45-8AAE-D47B2899792C}"/>
              </a:ext>
            </a:extLst>
          </p:cNvPr>
          <p:cNvSpPr/>
          <p:nvPr userDrawn="1"/>
        </p:nvSpPr>
        <p:spPr>
          <a:xfrm>
            <a:off x="11812530"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50">
            <a:extLst>
              <a:ext uri="{FF2B5EF4-FFF2-40B4-BE49-F238E27FC236}">
                <a16:creationId xmlns:a16="http://schemas.microsoft.com/office/drawing/2014/main" id="{83FFBB94-D807-FC40-B9B8-B03B3168982F}"/>
              </a:ext>
            </a:extLst>
          </p:cNvPr>
          <p:cNvSpPr/>
          <p:nvPr userDrawn="1"/>
        </p:nvSpPr>
        <p:spPr>
          <a:xfrm>
            <a:off x="10375285"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51">
            <a:extLst>
              <a:ext uri="{FF2B5EF4-FFF2-40B4-BE49-F238E27FC236}">
                <a16:creationId xmlns:a16="http://schemas.microsoft.com/office/drawing/2014/main" id="{26649506-57CA-584E-BB9E-12E190315725}"/>
              </a:ext>
            </a:extLst>
          </p:cNvPr>
          <p:cNvSpPr/>
          <p:nvPr userDrawn="1"/>
        </p:nvSpPr>
        <p:spPr>
          <a:xfrm>
            <a:off x="11093904"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52">
            <a:extLst>
              <a:ext uri="{FF2B5EF4-FFF2-40B4-BE49-F238E27FC236}">
                <a16:creationId xmlns:a16="http://schemas.microsoft.com/office/drawing/2014/main" id="{9ABCE9FA-184A-9740-B029-C9D0491434E4}"/>
              </a:ext>
            </a:extLst>
          </p:cNvPr>
          <p:cNvSpPr/>
          <p:nvPr userDrawn="1"/>
        </p:nvSpPr>
        <p:spPr>
          <a:xfrm>
            <a:off x="11812530"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53">
            <a:extLst>
              <a:ext uri="{FF2B5EF4-FFF2-40B4-BE49-F238E27FC236}">
                <a16:creationId xmlns:a16="http://schemas.microsoft.com/office/drawing/2014/main" id="{B75F4DAA-971A-2245-832C-2015278FA2F7}"/>
              </a:ext>
            </a:extLst>
          </p:cNvPr>
          <p:cNvSpPr/>
          <p:nvPr userDrawn="1"/>
        </p:nvSpPr>
        <p:spPr>
          <a:xfrm>
            <a:off x="10375285"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a:extLst>
              <a:ext uri="{FF2B5EF4-FFF2-40B4-BE49-F238E27FC236}">
                <a16:creationId xmlns:a16="http://schemas.microsoft.com/office/drawing/2014/main" id="{393D39BE-E919-184C-8CD6-685BF8636796}"/>
              </a:ext>
            </a:extLst>
          </p:cNvPr>
          <p:cNvSpPr/>
          <p:nvPr userDrawn="1"/>
        </p:nvSpPr>
        <p:spPr>
          <a:xfrm>
            <a:off x="11093904"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a:extLst>
              <a:ext uri="{FF2B5EF4-FFF2-40B4-BE49-F238E27FC236}">
                <a16:creationId xmlns:a16="http://schemas.microsoft.com/office/drawing/2014/main" id="{5CC6D1B3-7EB3-7A48-BEEF-BAF2DCA8D37F}"/>
              </a:ext>
            </a:extLst>
          </p:cNvPr>
          <p:cNvSpPr/>
          <p:nvPr userDrawn="1"/>
        </p:nvSpPr>
        <p:spPr>
          <a:xfrm>
            <a:off x="11812530"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56">
            <a:extLst>
              <a:ext uri="{FF2B5EF4-FFF2-40B4-BE49-F238E27FC236}">
                <a16:creationId xmlns:a16="http://schemas.microsoft.com/office/drawing/2014/main" id="{77C31678-367D-B344-A03E-BF4BFB263C7F}"/>
              </a:ext>
            </a:extLst>
          </p:cNvPr>
          <p:cNvSpPr/>
          <p:nvPr userDrawn="1"/>
        </p:nvSpPr>
        <p:spPr>
          <a:xfrm>
            <a:off x="10375285"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57">
            <a:extLst>
              <a:ext uri="{FF2B5EF4-FFF2-40B4-BE49-F238E27FC236}">
                <a16:creationId xmlns:a16="http://schemas.microsoft.com/office/drawing/2014/main" id="{BDEF99E6-6B0A-2144-A2AE-4BECAE08FBA1}"/>
              </a:ext>
            </a:extLst>
          </p:cNvPr>
          <p:cNvSpPr/>
          <p:nvPr userDrawn="1"/>
        </p:nvSpPr>
        <p:spPr>
          <a:xfrm>
            <a:off x="11093904"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58">
            <a:extLst>
              <a:ext uri="{FF2B5EF4-FFF2-40B4-BE49-F238E27FC236}">
                <a16:creationId xmlns:a16="http://schemas.microsoft.com/office/drawing/2014/main" id="{EB3C4AD7-8FE8-3048-B930-9E28267477D0}"/>
              </a:ext>
            </a:extLst>
          </p:cNvPr>
          <p:cNvSpPr/>
          <p:nvPr userDrawn="1"/>
        </p:nvSpPr>
        <p:spPr>
          <a:xfrm>
            <a:off x="11812530"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59">
            <a:extLst>
              <a:ext uri="{FF2B5EF4-FFF2-40B4-BE49-F238E27FC236}">
                <a16:creationId xmlns:a16="http://schemas.microsoft.com/office/drawing/2014/main" id="{EFDBD7B9-64E6-8F49-90E3-B8D3628B2286}"/>
              </a:ext>
            </a:extLst>
          </p:cNvPr>
          <p:cNvSpPr/>
          <p:nvPr userDrawn="1"/>
        </p:nvSpPr>
        <p:spPr>
          <a:xfrm>
            <a:off x="10375285"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60">
            <a:extLst>
              <a:ext uri="{FF2B5EF4-FFF2-40B4-BE49-F238E27FC236}">
                <a16:creationId xmlns:a16="http://schemas.microsoft.com/office/drawing/2014/main" id="{6C72D90A-7BBF-914F-AFC3-1544641A8ABD}"/>
              </a:ext>
            </a:extLst>
          </p:cNvPr>
          <p:cNvSpPr/>
          <p:nvPr userDrawn="1"/>
        </p:nvSpPr>
        <p:spPr>
          <a:xfrm>
            <a:off x="11093904"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Rechthoek 61">
            <a:extLst>
              <a:ext uri="{FF2B5EF4-FFF2-40B4-BE49-F238E27FC236}">
                <a16:creationId xmlns:a16="http://schemas.microsoft.com/office/drawing/2014/main" id="{A034B4F5-2777-224B-AE0F-FBB368813C68}"/>
              </a:ext>
            </a:extLst>
          </p:cNvPr>
          <p:cNvSpPr/>
          <p:nvPr userDrawn="1"/>
        </p:nvSpPr>
        <p:spPr>
          <a:xfrm>
            <a:off x="11812530"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Vrije vorm 7">
            <a:extLst>
              <a:ext uri="{FF2B5EF4-FFF2-40B4-BE49-F238E27FC236}">
                <a16:creationId xmlns:a16="http://schemas.microsoft.com/office/drawing/2014/main" id="{0DA5CFBA-55E0-5044-AA73-77ED79946507}"/>
              </a:ext>
            </a:extLst>
          </p:cNvPr>
          <p:cNvSpPr>
            <a:spLocks/>
          </p:cNvSpPr>
          <p:nvPr userDrawn="1"/>
        </p:nvSpPr>
        <p:spPr bwMode="auto">
          <a:xfrm>
            <a:off x="347642" y="520566"/>
            <a:ext cx="9342986" cy="5037607"/>
          </a:xfrm>
          <a:custGeom>
            <a:avLst/>
            <a:gdLst>
              <a:gd name="connsiteX0" fmla="*/ 0 w 9342986"/>
              <a:gd name="connsiteY0" fmla="*/ 0 h 5037607"/>
              <a:gd name="connsiteX1" fmla="*/ 9342986 w 9342986"/>
              <a:gd name="connsiteY1" fmla="*/ 0 h 5037607"/>
              <a:gd name="connsiteX2" fmla="*/ 9342986 w 9342986"/>
              <a:gd name="connsiteY2" fmla="*/ 4761792 h 5037607"/>
              <a:gd name="connsiteX3" fmla="*/ 8734661 w 9342986"/>
              <a:gd name="connsiteY3" fmla="*/ 5037607 h 5037607"/>
              <a:gd name="connsiteX4" fmla="*/ 0 w 9342986"/>
              <a:gd name="connsiteY4" fmla="*/ 5037607 h 503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2986" h="5037607">
                <a:moveTo>
                  <a:pt x="0" y="0"/>
                </a:moveTo>
                <a:lnTo>
                  <a:pt x="9342986" y="0"/>
                </a:lnTo>
                <a:lnTo>
                  <a:pt x="9342986" y="4761792"/>
                </a:lnTo>
                <a:lnTo>
                  <a:pt x="8734661" y="5037607"/>
                </a:lnTo>
                <a:lnTo>
                  <a:pt x="0" y="5037607"/>
                </a:lnTo>
                <a:close/>
              </a:path>
            </a:pathLst>
          </a:custGeom>
          <a:solidFill>
            <a:schemeClr val="bg1"/>
          </a:solidFill>
          <a:ln>
            <a:noFill/>
          </a:ln>
        </p:spPr>
        <p:txBody>
          <a:bodyPr vert="horz" wrap="square" lIns="91419" tIns="45709" rIns="91419" bIns="45709" numCol="1" anchor="t" anchorCtr="0" compatLnSpc="1">
            <a:prstTxWarp prst="textNoShape">
              <a:avLst/>
            </a:prstTxWarp>
            <a:noAutofit/>
          </a:bodyPr>
          <a:lstStyle/>
          <a:p>
            <a:endParaRPr lang="en-GB" sz="1116"/>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a:xfrm>
            <a:off x="1347597" y="6378834"/>
            <a:ext cx="1528579" cy="365125"/>
          </a:xfrm>
          <a:prstGeom prst="rect">
            <a:avLst/>
          </a:prstGeom>
        </p:spPr>
        <p:txBody>
          <a:bodyPr/>
          <a:lstStyle>
            <a:lvl1pPr>
              <a:defRPr>
                <a:solidFill>
                  <a:schemeClr val="bg1"/>
                </a:solidFill>
              </a:defRPr>
            </a:lvl1pPr>
          </a:lstStyle>
          <a:p>
            <a:fld id="{983E98E2-2F2D-4D58-85FA-0D1673CABE49}" type="datetime4">
              <a:rPr lang="en-GB" smtClean="0"/>
              <a:t>23 January 2025</a:t>
            </a:fld>
            <a:endParaRPr lang="nl-NL"/>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a:xfrm>
            <a:off x="3151752" y="6378834"/>
            <a:ext cx="4616234" cy="365125"/>
          </a:xfrm>
          <a:prstGeom prst="rect">
            <a:avLst/>
          </a:prstGeom>
        </p:spPr>
        <p:txBody>
          <a:bodyPr/>
          <a:lstStyle>
            <a:lvl1pPr>
              <a:defRPr b="1" i="0">
                <a:solidFill>
                  <a:schemeClr val="bg1"/>
                </a:solidFill>
                <a:latin typeface="Arial" panose="020B0604020202020204" pitchFamily="34" charset="0"/>
                <a:cs typeface="Arial" panose="020B0604020202020204" pitchFamily="34" charset="0"/>
              </a:defRPr>
            </a:lvl1pPr>
          </a:lstStyle>
          <a:p>
            <a:r>
              <a:rPr lang="nl-NL"/>
              <a:t>Confidentiality</a:t>
            </a:r>
            <a:endParaRPr lang="nl-NL">
              <a:cs typeface="Arial" panose="020B0604020202020204" pitchFamily="34" charset="0"/>
            </a:endParaRP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a:xfrm>
            <a:off x="454699" y="6378834"/>
            <a:ext cx="514165" cy="365125"/>
          </a:xfrm>
          <a:prstGeom prst="rect">
            <a:avLst/>
          </a:prstGeom>
        </p:spPr>
        <p:txBody>
          <a:bodyPr/>
          <a:lstStyle>
            <a:lvl1pPr>
              <a:defRPr>
                <a:solidFill>
                  <a:schemeClr val="bg1"/>
                </a:solidFill>
              </a:defRPr>
            </a:lvl1pPr>
          </a:lstStyle>
          <a:p>
            <a:fld id="{3B0AF0F1-83F4-0746-A551-EEC1F1FEC0BD}" type="slidenum">
              <a:rPr lang="nl-NL" smtClean="0"/>
              <a:pPr/>
              <a:t>‹Nr.›</a:t>
            </a:fld>
            <a:endParaRPr lang="nl-NL" dirty="0"/>
          </a:p>
        </p:txBody>
      </p:sp>
      <p:pic>
        <p:nvPicPr>
          <p:cNvPr id="66" name="Picture 10">
            <a:extLst>
              <a:ext uri="{FF2B5EF4-FFF2-40B4-BE49-F238E27FC236}">
                <a16:creationId xmlns:a16="http://schemas.microsoft.com/office/drawing/2014/main" id="{29DF362A-5A47-49C1-9DF6-15C85C8A506F}"/>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0789199" y="6472800"/>
            <a:ext cx="954000" cy="179999"/>
          </a:xfrm>
          <a:prstGeom prst="rect">
            <a:avLst/>
          </a:prstGeom>
        </p:spPr>
      </p:pic>
      <p:cxnSp>
        <p:nvCxnSpPr>
          <p:cNvPr id="67" name="Rechte verbindingslijn 23">
            <a:extLst>
              <a:ext uri="{FF2B5EF4-FFF2-40B4-BE49-F238E27FC236}">
                <a16:creationId xmlns:a16="http://schemas.microsoft.com/office/drawing/2014/main" id="{4B291AC1-8A34-4DC1-93D0-43BCED1810C1}"/>
              </a:ext>
            </a:extLst>
          </p:cNvPr>
          <p:cNvCxnSpPr>
            <a:cxnSpLocks/>
          </p:cNvCxnSpPr>
          <p:nvPr userDrawn="1"/>
        </p:nvCxnSpPr>
        <p:spPr>
          <a:xfrm rot="5400000">
            <a:off x="7991298" y="3135230"/>
            <a:ext cx="627628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TextBox 5">
            <a:extLst>
              <a:ext uri="{FF2B5EF4-FFF2-40B4-BE49-F238E27FC236}">
                <a16:creationId xmlns:a16="http://schemas.microsoft.com/office/drawing/2014/main" id="{6FB8C2EB-F8A3-435C-812C-FA3CA4B710E5}"/>
              </a:ext>
            </a:extLst>
          </p:cNvPr>
          <p:cNvSpPr txBox="1"/>
          <p:nvPr userDrawn="1"/>
        </p:nvSpPr>
        <p:spPr>
          <a:xfrm>
            <a:off x="790469" y="961877"/>
            <a:ext cx="8254068" cy="4154984"/>
          </a:xfrm>
          <a:prstGeom prst="rect">
            <a:avLst/>
          </a:prstGeom>
          <a:noFill/>
        </p:spPr>
        <p:txBody>
          <a:bodyPr wrap="square" lIns="0" tIns="0" rIns="0" bIns="0" rtlCol="0">
            <a:spAutoFit/>
          </a:bodyPr>
          <a:lstStyle/>
          <a:p>
            <a:pPr algn="l" rtl="0" fontAlgn="base"/>
            <a:r>
              <a:rPr lang="en-US" sz="1800" b="0" i="0" dirty="0">
                <a:solidFill>
                  <a:schemeClr val="tx1"/>
                </a:solidFill>
                <a:effectLst/>
                <a:latin typeface="+mn-lt"/>
              </a:rPr>
              <a:t>TenneT is a leading European grid operator. We are committed to providing a secure and reliable supply of electricity 24 hours a day, 365 days a year, while helping to drive the energy transition in our pursuit of a brighter energy future – more sustainable, reliable and affordable than ever before. In our role as the first cross-border Transmission System Operator (TSO) we design, build, maintain and operate over 25,000 </a:t>
            </a:r>
            <a:r>
              <a:rPr lang="en-US" sz="1800" b="0" i="0" dirty="0" err="1">
                <a:solidFill>
                  <a:schemeClr val="tx1"/>
                </a:solidFill>
                <a:effectLst/>
                <a:latin typeface="+mn-lt"/>
              </a:rPr>
              <a:t>kilometres</a:t>
            </a:r>
            <a:r>
              <a:rPr lang="en-US" sz="1800" b="0" i="0" dirty="0">
                <a:solidFill>
                  <a:schemeClr val="tx1"/>
                </a:solidFill>
                <a:effectLst/>
                <a:latin typeface="+mn-lt"/>
              </a:rPr>
              <a:t> of high-voltage electricity grid in the Netherlands and large parts of Germany, and facilitate the European energy market through our 17 interconnectors to </a:t>
            </a:r>
            <a:r>
              <a:rPr lang="en-US" sz="1800" b="0" i="0" dirty="0" err="1">
                <a:solidFill>
                  <a:schemeClr val="tx1"/>
                </a:solidFill>
                <a:effectLst/>
                <a:latin typeface="+mn-lt"/>
              </a:rPr>
              <a:t>neighbouring</a:t>
            </a:r>
            <a:r>
              <a:rPr lang="en-US" sz="1800" b="0" i="0" dirty="0">
                <a:solidFill>
                  <a:schemeClr val="tx1"/>
                </a:solidFill>
                <a:effectLst/>
                <a:latin typeface="+mn-lt"/>
              </a:rPr>
              <a:t> countries. We are one of the largest investors in national and international onshore and offshore electricity grids, with a turnover of EUR 9.2 billion and a total asset value of EUR 45 billion. Every day our 8,300 employees take ownership, show courage and make and maintain connections to ensure that the supply and demand of electricity is balanced for over 43 million people.</a:t>
            </a:r>
          </a:p>
          <a:p>
            <a:pPr algn="l" rtl="0" fontAlgn="base"/>
            <a:r>
              <a:rPr lang="en-US" sz="1800" b="0" i="0" dirty="0">
                <a:solidFill>
                  <a:schemeClr val="tx1"/>
                </a:solidFill>
                <a:effectLst/>
                <a:latin typeface="+mn-lt"/>
              </a:rPr>
              <a:t>  </a:t>
            </a:r>
            <a:endParaRPr lang="en-US" b="0" i="0" dirty="0">
              <a:solidFill>
                <a:schemeClr val="tx1"/>
              </a:solidFill>
              <a:effectLst/>
              <a:latin typeface="+mn-lt"/>
            </a:endParaRPr>
          </a:p>
          <a:p>
            <a:pPr algn="l" rtl="0" fontAlgn="base"/>
            <a:r>
              <a:rPr lang="en-US" sz="1800" b="0" i="0" dirty="0">
                <a:solidFill>
                  <a:schemeClr val="tx1"/>
                </a:solidFill>
                <a:effectLst/>
                <a:latin typeface="+mn-lt"/>
              </a:rPr>
              <a:t>Lighting the way ahead together </a:t>
            </a:r>
            <a:endParaRPr lang="en-US" b="0" i="0" dirty="0">
              <a:solidFill>
                <a:schemeClr val="tx1"/>
              </a:solidFill>
              <a:effectLst/>
              <a:latin typeface="+mn-lt"/>
            </a:endParaRPr>
          </a:p>
        </p:txBody>
      </p:sp>
    </p:spTree>
    <p:extLst>
      <p:ext uri="{BB962C8B-B14F-4D97-AF65-F5344CB8AC3E}">
        <p14:creationId xmlns:p14="http://schemas.microsoft.com/office/powerpoint/2010/main" val="29142552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bout TenneT – DE">
    <p:spTree>
      <p:nvGrpSpPr>
        <p:cNvPr id="1" name=""/>
        <p:cNvGrpSpPr/>
        <p:nvPr/>
      </p:nvGrpSpPr>
      <p:grpSpPr>
        <a:xfrm>
          <a:off x="0" y="0"/>
          <a:ext cx="0" cy="0"/>
          <a:chOff x="0" y="0"/>
          <a:chExt cx="0" cy="0"/>
        </a:xfrm>
      </p:grpSpPr>
      <p:pic>
        <p:nvPicPr>
          <p:cNvPr id="3" name="Afbeelding 2" descr="Afbeelding met gras, buiten, veld, vliegtuig&#10;&#10;Automatisch gegenereerde beschrijving">
            <a:extLst>
              <a:ext uri="{FF2B5EF4-FFF2-40B4-BE49-F238E27FC236}">
                <a16:creationId xmlns:a16="http://schemas.microsoft.com/office/drawing/2014/main" id="{3990674F-A2BC-DD47-A2D8-6FDFA41496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57999"/>
          </a:xfrm>
          <a:prstGeom prst="rect">
            <a:avLst/>
          </a:prstGeom>
        </p:spPr>
      </p:pic>
      <p:cxnSp>
        <p:nvCxnSpPr>
          <p:cNvPr id="10" name="Rechte verbindingslijn 9">
            <a:extLst>
              <a:ext uri="{FF2B5EF4-FFF2-40B4-BE49-F238E27FC236}">
                <a16:creationId xmlns:a16="http://schemas.microsoft.com/office/drawing/2014/main" id="{C332C484-63EA-954D-95D2-C030667EF3D1}"/>
              </a:ext>
            </a:extLst>
          </p:cNvPr>
          <p:cNvCxnSpPr/>
          <p:nvPr userDrawn="1"/>
        </p:nvCxnSpPr>
        <p:spPr>
          <a:xfrm>
            <a:off x="1" y="51920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Rechte verbindingslijn 10">
            <a:extLst>
              <a:ext uri="{FF2B5EF4-FFF2-40B4-BE49-F238E27FC236}">
                <a16:creationId xmlns:a16="http://schemas.microsoft.com/office/drawing/2014/main" id="{B4E21DE3-7FB4-CA4E-B3A7-69F9877C66B3}"/>
              </a:ext>
            </a:extLst>
          </p:cNvPr>
          <p:cNvCxnSpPr/>
          <p:nvPr userDrawn="1"/>
        </p:nvCxnSpPr>
        <p:spPr>
          <a:xfrm>
            <a:off x="1" y="123782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Rechte verbindingslijn 11">
            <a:extLst>
              <a:ext uri="{FF2B5EF4-FFF2-40B4-BE49-F238E27FC236}">
                <a16:creationId xmlns:a16="http://schemas.microsoft.com/office/drawing/2014/main" id="{BC0D80A7-47DD-7847-8F76-70C883397333}"/>
              </a:ext>
            </a:extLst>
          </p:cNvPr>
          <p:cNvCxnSpPr/>
          <p:nvPr userDrawn="1"/>
        </p:nvCxnSpPr>
        <p:spPr>
          <a:xfrm>
            <a:off x="1" y="195855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3025A578-4784-2F44-A938-EF6E021F9F64}"/>
              </a:ext>
            </a:extLst>
          </p:cNvPr>
          <p:cNvCxnSpPr/>
          <p:nvPr userDrawn="1"/>
        </p:nvCxnSpPr>
        <p:spPr>
          <a:xfrm>
            <a:off x="1" y="26792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Rechte verbindingslijn 13">
            <a:extLst>
              <a:ext uri="{FF2B5EF4-FFF2-40B4-BE49-F238E27FC236}">
                <a16:creationId xmlns:a16="http://schemas.microsoft.com/office/drawing/2014/main" id="{3DEEFB7B-D827-C444-8EEE-34398EB55CC0}"/>
              </a:ext>
            </a:extLst>
          </p:cNvPr>
          <p:cNvCxnSpPr/>
          <p:nvPr userDrawn="1"/>
        </p:nvCxnSpPr>
        <p:spPr>
          <a:xfrm>
            <a:off x="1" y="34000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E88315E0-B775-A344-A1E9-6F2E33A23418}"/>
              </a:ext>
            </a:extLst>
          </p:cNvPr>
          <p:cNvCxnSpPr/>
          <p:nvPr userDrawn="1"/>
        </p:nvCxnSpPr>
        <p:spPr>
          <a:xfrm>
            <a:off x="1" y="41143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883F5199-4065-044B-AEAE-D79C4CC5401C}"/>
              </a:ext>
            </a:extLst>
          </p:cNvPr>
          <p:cNvCxnSpPr/>
          <p:nvPr userDrawn="1"/>
        </p:nvCxnSpPr>
        <p:spPr>
          <a:xfrm>
            <a:off x="1" y="48351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D5159968-843B-A64D-85BD-A1E135C0AEFC}"/>
              </a:ext>
            </a:extLst>
          </p:cNvPr>
          <p:cNvCxnSpPr/>
          <p:nvPr userDrawn="1"/>
        </p:nvCxnSpPr>
        <p:spPr>
          <a:xfrm>
            <a:off x="1" y="555582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C4DDC9B-2166-834F-9982-718075802EA6}"/>
              </a:ext>
            </a:extLst>
          </p:cNvPr>
          <p:cNvCxnSpPr/>
          <p:nvPr userDrawn="1"/>
        </p:nvCxnSpPr>
        <p:spPr>
          <a:xfrm>
            <a:off x="1" y="62733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0A192E1D-D8ED-E14B-903C-DEED7FDC5F42}"/>
              </a:ext>
            </a:extLst>
          </p:cNvPr>
          <p:cNvCxnSpPr>
            <a:cxnSpLocks/>
          </p:cNvCxnSpPr>
          <p:nvPr userDrawn="1"/>
        </p:nvCxnSpPr>
        <p:spPr>
          <a:xfrm>
            <a:off x="7536396" y="-2911"/>
            <a:ext cx="0" cy="627628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708570B-ACCE-8246-964A-1D63117F1DA3}"/>
              </a:ext>
            </a:extLst>
          </p:cNvPr>
          <p:cNvCxnSpPr>
            <a:cxnSpLocks/>
          </p:cNvCxnSpPr>
          <p:nvPr userDrawn="1"/>
        </p:nvCxnSpPr>
        <p:spPr>
          <a:xfrm rot="5400000">
            <a:off x="4825608"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1496480E-D9EE-4A4C-B703-AEC39FEDAD84}"/>
              </a:ext>
            </a:extLst>
          </p:cNvPr>
          <p:cNvCxnSpPr>
            <a:cxnSpLocks/>
          </p:cNvCxnSpPr>
          <p:nvPr userDrawn="1"/>
        </p:nvCxnSpPr>
        <p:spPr>
          <a:xfrm rot="5400000">
            <a:off x="5542100"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5E2794F3-FB2E-B541-BE31-02760B56D77B}"/>
              </a:ext>
            </a:extLst>
          </p:cNvPr>
          <p:cNvCxnSpPr>
            <a:cxnSpLocks/>
          </p:cNvCxnSpPr>
          <p:nvPr userDrawn="1"/>
        </p:nvCxnSpPr>
        <p:spPr>
          <a:xfrm rot="5400000">
            <a:off x="6260708"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a:extLst>
              <a:ext uri="{FF2B5EF4-FFF2-40B4-BE49-F238E27FC236}">
                <a16:creationId xmlns:a16="http://schemas.microsoft.com/office/drawing/2014/main" id="{733A6E7D-2C41-5941-8178-D2E146F89A38}"/>
              </a:ext>
            </a:extLst>
          </p:cNvPr>
          <p:cNvCxnSpPr>
            <a:cxnSpLocks/>
          </p:cNvCxnSpPr>
          <p:nvPr userDrawn="1"/>
        </p:nvCxnSpPr>
        <p:spPr>
          <a:xfrm rot="5400000">
            <a:off x="6981433"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3454EC6A-E945-604E-9BF6-17F8D395D516}"/>
              </a:ext>
            </a:extLst>
          </p:cNvPr>
          <p:cNvCxnSpPr>
            <a:cxnSpLocks/>
          </p:cNvCxnSpPr>
          <p:nvPr userDrawn="1"/>
        </p:nvCxnSpPr>
        <p:spPr>
          <a:xfrm rot="5400000">
            <a:off x="7991298" y="3135230"/>
            <a:ext cx="627628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36D5AFB9-42DF-634D-AD69-3E4750A28313}"/>
              </a:ext>
            </a:extLst>
          </p:cNvPr>
          <p:cNvCxnSpPr>
            <a:cxnSpLocks/>
          </p:cNvCxnSpPr>
          <p:nvPr userDrawn="1"/>
        </p:nvCxnSpPr>
        <p:spPr>
          <a:xfrm rot="5400000">
            <a:off x="8708848" y="3135230"/>
            <a:ext cx="627628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3D69571E-A74D-4F47-A7C2-4B5CB986B029}"/>
              </a:ext>
            </a:extLst>
          </p:cNvPr>
          <p:cNvCxnSpPr>
            <a:cxnSpLocks/>
          </p:cNvCxnSpPr>
          <p:nvPr userDrawn="1"/>
        </p:nvCxnSpPr>
        <p:spPr>
          <a:xfrm rot="5400000">
            <a:off x="2964211"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a:extLst>
              <a:ext uri="{FF2B5EF4-FFF2-40B4-BE49-F238E27FC236}">
                <a16:creationId xmlns:a16="http://schemas.microsoft.com/office/drawing/2014/main" id="{85D0CA90-3B99-7847-A502-79CEAD04F9CD}"/>
              </a:ext>
            </a:extLst>
          </p:cNvPr>
          <p:cNvCxnSpPr>
            <a:cxnSpLocks/>
          </p:cNvCxnSpPr>
          <p:nvPr userDrawn="1"/>
        </p:nvCxnSpPr>
        <p:spPr>
          <a:xfrm rot="5400000">
            <a:off x="3678586"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a:extLst>
              <a:ext uri="{FF2B5EF4-FFF2-40B4-BE49-F238E27FC236}">
                <a16:creationId xmlns:a16="http://schemas.microsoft.com/office/drawing/2014/main" id="{09E35250-1ECC-E746-83AE-94869F61E029}"/>
              </a:ext>
            </a:extLst>
          </p:cNvPr>
          <p:cNvCxnSpPr>
            <a:cxnSpLocks/>
          </p:cNvCxnSpPr>
          <p:nvPr userDrawn="1"/>
        </p:nvCxnSpPr>
        <p:spPr>
          <a:xfrm rot="5400000">
            <a:off x="2243486"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a:extLst>
              <a:ext uri="{FF2B5EF4-FFF2-40B4-BE49-F238E27FC236}">
                <a16:creationId xmlns:a16="http://schemas.microsoft.com/office/drawing/2014/main" id="{F82A37FE-DD97-7942-BECE-F50EEA230FB2}"/>
              </a:ext>
            </a:extLst>
          </p:cNvPr>
          <p:cNvCxnSpPr>
            <a:cxnSpLocks/>
          </p:cNvCxnSpPr>
          <p:nvPr userDrawn="1"/>
        </p:nvCxnSpPr>
        <p:spPr>
          <a:xfrm rot="5400000">
            <a:off x="1522761"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FB87BA3-2BDB-DA4F-B9AE-F0DB0E1E376B}"/>
              </a:ext>
            </a:extLst>
          </p:cNvPr>
          <p:cNvCxnSpPr>
            <a:cxnSpLocks/>
          </p:cNvCxnSpPr>
          <p:nvPr userDrawn="1"/>
        </p:nvCxnSpPr>
        <p:spPr>
          <a:xfrm rot="5400000">
            <a:off x="805212"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B21FC6AE-1A01-4C48-9287-B62F1DC4BAFC}"/>
              </a:ext>
            </a:extLst>
          </p:cNvPr>
          <p:cNvCxnSpPr>
            <a:cxnSpLocks/>
          </p:cNvCxnSpPr>
          <p:nvPr userDrawn="1"/>
        </p:nvCxnSpPr>
        <p:spPr>
          <a:xfrm rot="5400000">
            <a:off x="87662"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163A02BA-125F-234E-A85B-278F278207E0}"/>
              </a:ext>
            </a:extLst>
          </p:cNvPr>
          <p:cNvCxnSpPr>
            <a:cxnSpLocks/>
          </p:cNvCxnSpPr>
          <p:nvPr userDrawn="1"/>
        </p:nvCxnSpPr>
        <p:spPr>
          <a:xfrm rot="5400000">
            <a:off x="-629888"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echte verbindingslijn 32">
            <a:extLst>
              <a:ext uri="{FF2B5EF4-FFF2-40B4-BE49-F238E27FC236}">
                <a16:creationId xmlns:a16="http://schemas.microsoft.com/office/drawing/2014/main" id="{932C77E3-5991-8144-ADB2-A3FEA8432B74}"/>
              </a:ext>
            </a:extLst>
          </p:cNvPr>
          <p:cNvCxnSpPr>
            <a:cxnSpLocks/>
          </p:cNvCxnSpPr>
          <p:nvPr userDrawn="1"/>
        </p:nvCxnSpPr>
        <p:spPr>
          <a:xfrm rot="5400000">
            <a:off x="-1350613" y="3135230"/>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67CBC2B-229F-E74C-8ACF-64922A97B0C1}"/>
              </a:ext>
            </a:extLst>
          </p:cNvPr>
          <p:cNvCxnSpPr>
            <a:cxnSpLocks/>
          </p:cNvCxnSpPr>
          <p:nvPr userDrawn="1"/>
        </p:nvCxnSpPr>
        <p:spPr>
          <a:xfrm rot="5400000">
            <a:off x="-2068163" y="3135230"/>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a:extLst>
              <a:ext uri="{FF2B5EF4-FFF2-40B4-BE49-F238E27FC236}">
                <a16:creationId xmlns:a16="http://schemas.microsoft.com/office/drawing/2014/main" id="{90251BAF-AB76-734B-80B9-91B628112ACA}"/>
              </a:ext>
            </a:extLst>
          </p:cNvPr>
          <p:cNvCxnSpPr>
            <a:cxnSpLocks/>
          </p:cNvCxnSpPr>
          <p:nvPr userDrawn="1"/>
        </p:nvCxnSpPr>
        <p:spPr>
          <a:xfrm rot="5400000">
            <a:off x="-2788888" y="3135229"/>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hthoek 35">
            <a:extLst>
              <a:ext uri="{FF2B5EF4-FFF2-40B4-BE49-F238E27FC236}">
                <a16:creationId xmlns:a16="http://schemas.microsoft.com/office/drawing/2014/main" id="{4D55CE2C-9E4B-7A4D-937C-2CC1054D2867}"/>
              </a:ext>
            </a:extLst>
          </p:cNvPr>
          <p:cNvSpPr/>
          <p:nvPr userDrawn="1"/>
        </p:nvSpPr>
        <p:spPr>
          <a:xfrm>
            <a:off x="10375285"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Rechthoek 36">
            <a:extLst>
              <a:ext uri="{FF2B5EF4-FFF2-40B4-BE49-F238E27FC236}">
                <a16:creationId xmlns:a16="http://schemas.microsoft.com/office/drawing/2014/main" id="{98E243DB-7AA1-5144-9C07-C17DD621C024}"/>
              </a:ext>
            </a:extLst>
          </p:cNvPr>
          <p:cNvSpPr/>
          <p:nvPr userDrawn="1"/>
        </p:nvSpPr>
        <p:spPr>
          <a:xfrm>
            <a:off x="11093904"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hthoek 37">
            <a:extLst>
              <a:ext uri="{FF2B5EF4-FFF2-40B4-BE49-F238E27FC236}">
                <a16:creationId xmlns:a16="http://schemas.microsoft.com/office/drawing/2014/main" id="{960971D3-9F4B-6D4B-8A4C-79CF6541F07B}"/>
              </a:ext>
            </a:extLst>
          </p:cNvPr>
          <p:cNvSpPr/>
          <p:nvPr userDrawn="1"/>
        </p:nvSpPr>
        <p:spPr>
          <a:xfrm>
            <a:off x="11812530"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Rechthoek 38">
            <a:extLst>
              <a:ext uri="{FF2B5EF4-FFF2-40B4-BE49-F238E27FC236}">
                <a16:creationId xmlns:a16="http://schemas.microsoft.com/office/drawing/2014/main" id="{468381B3-3BFA-B94E-A685-9E2E3255E3F1}"/>
              </a:ext>
            </a:extLst>
          </p:cNvPr>
          <p:cNvSpPr/>
          <p:nvPr userDrawn="1"/>
        </p:nvSpPr>
        <p:spPr>
          <a:xfrm>
            <a:off x="10375285"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hthoek 39">
            <a:extLst>
              <a:ext uri="{FF2B5EF4-FFF2-40B4-BE49-F238E27FC236}">
                <a16:creationId xmlns:a16="http://schemas.microsoft.com/office/drawing/2014/main" id="{B6AB6DD5-4256-7049-87E8-F5907C3FA6F5}"/>
              </a:ext>
            </a:extLst>
          </p:cNvPr>
          <p:cNvSpPr/>
          <p:nvPr userDrawn="1"/>
        </p:nvSpPr>
        <p:spPr>
          <a:xfrm>
            <a:off x="11093904"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hthoek 40">
            <a:extLst>
              <a:ext uri="{FF2B5EF4-FFF2-40B4-BE49-F238E27FC236}">
                <a16:creationId xmlns:a16="http://schemas.microsoft.com/office/drawing/2014/main" id="{F05F7AD6-0CC3-864F-8143-F761DBADFA0C}"/>
              </a:ext>
            </a:extLst>
          </p:cNvPr>
          <p:cNvSpPr/>
          <p:nvPr userDrawn="1"/>
        </p:nvSpPr>
        <p:spPr>
          <a:xfrm>
            <a:off x="11812530"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hthoek 41">
            <a:extLst>
              <a:ext uri="{FF2B5EF4-FFF2-40B4-BE49-F238E27FC236}">
                <a16:creationId xmlns:a16="http://schemas.microsoft.com/office/drawing/2014/main" id="{ED55AE35-1BB4-8C41-98B6-DBAB042318E4}"/>
              </a:ext>
            </a:extLst>
          </p:cNvPr>
          <p:cNvSpPr/>
          <p:nvPr userDrawn="1"/>
        </p:nvSpPr>
        <p:spPr>
          <a:xfrm>
            <a:off x="10375285"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hthoek 42">
            <a:extLst>
              <a:ext uri="{FF2B5EF4-FFF2-40B4-BE49-F238E27FC236}">
                <a16:creationId xmlns:a16="http://schemas.microsoft.com/office/drawing/2014/main" id="{DF10D17E-5E99-004D-B776-96BA07E52BF9}"/>
              </a:ext>
            </a:extLst>
          </p:cNvPr>
          <p:cNvSpPr/>
          <p:nvPr userDrawn="1"/>
        </p:nvSpPr>
        <p:spPr>
          <a:xfrm>
            <a:off x="11093904"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hthoek 43">
            <a:extLst>
              <a:ext uri="{FF2B5EF4-FFF2-40B4-BE49-F238E27FC236}">
                <a16:creationId xmlns:a16="http://schemas.microsoft.com/office/drawing/2014/main" id="{EA1C878A-B5CB-3946-A7C3-5EB33FD2C8FB}"/>
              </a:ext>
            </a:extLst>
          </p:cNvPr>
          <p:cNvSpPr/>
          <p:nvPr userDrawn="1"/>
        </p:nvSpPr>
        <p:spPr>
          <a:xfrm>
            <a:off x="11812530"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90193CF0-F401-1A48-AC72-51AB9311EF29}"/>
              </a:ext>
            </a:extLst>
          </p:cNvPr>
          <p:cNvSpPr/>
          <p:nvPr userDrawn="1"/>
        </p:nvSpPr>
        <p:spPr>
          <a:xfrm>
            <a:off x="10375285"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FC813691-A246-3C41-8E82-42E85A30FD70}"/>
              </a:ext>
            </a:extLst>
          </p:cNvPr>
          <p:cNvSpPr/>
          <p:nvPr userDrawn="1"/>
        </p:nvSpPr>
        <p:spPr>
          <a:xfrm>
            <a:off x="11093904"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46">
            <a:extLst>
              <a:ext uri="{FF2B5EF4-FFF2-40B4-BE49-F238E27FC236}">
                <a16:creationId xmlns:a16="http://schemas.microsoft.com/office/drawing/2014/main" id="{75D7AC5A-F39E-0A47-BA31-D81A56EE4AB4}"/>
              </a:ext>
            </a:extLst>
          </p:cNvPr>
          <p:cNvSpPr/>
          <p:nvPr userDrawn="1"/>
        </p:nvSpPr>
        <p:spPr>
          <a:xfrm>
            <a:off x="11812530"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47">
            <a:extLst>
              <a:ext uri="{FF2B5EF4-FFF2-40B4-BE49-F238E27FC236}">
                <a16:creationId xmlns:a16="http://schemas.microsoft.com/office/drawing/2014/main" id="{5F489478-2177-924D-8E9A-01C7AD5EF0F6}"/>
              </a:ext>
            </a:extLst>
          </p:cNvPr>
          <p:cNvSpPr/>
          <p:nvPr userDrawn="1"/>
        </p:nvSpPr>
        <p:spPr>
          <a:xfrm>
            <a:off x="10375285"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48">
            <a:extLst>
              <a:ext uri="{FF2B5EF4-FFF2-40B4-BE49-F238E27FC236}">
                <a16:creationId xmlns:a16="http://schemas.microsoft.com/office/drawing/2014/main" id="{FFA1746B-6AFD-E943-9A57-C4E434477118}"/>
              </a:ext>
            </a:extLst>
          </p:cNvPr>
          <p:cNvSpPr/>
          <p:nvPr userDrawn="1"/>
        </p:nvSpPr>
        <p:spPr>
          <a:xfrm>
            <a:off x="11093904"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49">
            <a:extLst>
              <a:ext uri="{FF2B5EF4-FFF2-40B4-BE49-F238E27FC236}">
                <a16:creationId xmlns:a16="http://schemas.microsoft.com/office/drawing/2014/main" id="{E3DCAE65-1E8E-EC45-8AAE-D47B2899792C}"/>
              </a:ext>
            </a:extLst>
          </p:cNvPr>
          <p:cNvSpPr/>
          <p:nvPr userDrawn="1"/>
        </p:nvSpPr>
        <p:spPr>
          <a:xfrm>
            <a:off x="11812530"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50">
            <a:extLst>
              <a:ext uri="{FF2B5EF4-FFF2-40B4-BE49-F238E27FC236}">
                <a16:creationId xmlns:a16="http://schemas.microsoft.com/office/drawing/2014/main" id="{83FFBB94-D807-FC40-B9B8-B03B3168982F}"/>
              </a:ext>
            </a:extLst>
          </p:cNvPr>
          <p:cNvSpPr/>
          <p:nvPr userDrawn="1"/>
        </p:nvSpPr>
        <p:spPr>
          <a:xfrm>
            <a:off x="10375285"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51">
            <a:extLst>
              <a:ext uri="{FF2B5EF4-FFF2-40B4-BE49-F238E27FC236}">
                <a16:creationId xmlns:a16="http://schemas.microsoft.com/office/drawing/2014/main" id="{26649506-57CA-584E-BB9E-12E190315725}"/>
              </a:ext>
            </a:extLst>
          </p:cNvPr>
          <p:cNvSpPr/>
          <p:nvPr userDrawn="1"/>
        </p:nvSpPr>
        <p:spPr>
          <a:xfrm>
            <a:off x="11093904"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52">
            <a:extLst>
              <a:ext uri="{FF2B5EF4-FFF2-40B4-BE49-F238E27FC236}">
                <a16:creationId xmlns:a16="http://schemas.microsoft.com/office/drawing/2014/main" id="{9ABCE9FA-184A-9740-B029-C9D0491434E4}"/>
              </a:ext>
            </a:extLst>
          </p:cNvPr>
          <p:cNvSpPr/>
          <p:nvPr userDrawn="1"/>
        </p:nvSpPr>
        <p:spPr>
          <a:xfrm>
            <a:off x="11812530"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53">
            <a:extLst>
              <a:ext uri="{FF2B5EF4-FFF2-40B4-BE49-F238E27FC236}">
                <a16:creationId xmlns:a16="http://schemas.microsoft.com/office/drawing/2014/main" id="{B75F4DAA-971A-2245-832C-2015278FA2F7}"/>
              </a:ext>
            </a:extLst>
          </p:cNvPr>
          <p:cNvSpPr/>
          <p:nvPr userDrawn="1"/>
        </p:nvSpPr>
        <p:spPr>
          <a:xfrm>
            <a:off x="10375285"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a:extLst>
              <a:ext uri="{FF2B5EF4-FFF2-40B4-BE49-F238E27FC236}">
                <a16:creationId xmlns:a16="http://schemas.microsoft.com/office/drawing/2014/main" id="{393D39BE-E919-184C-8CD6-685BF8636796}"/>
              </a:ext>
            </a:extLst>
          </p:cNvPr>
          <p:cNvSpPr/>
          <p:nvPr userDrawn="1"/>
        </p:nvSpPr>
        <p:spPr>
          <a:xfrm>
            <a:off x="11093904"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a:extLst>
              <a:ext uri="{FF2B5EF4-FFF2-40B4-BE49-F238E27FC236}">
                <a16:creationId xmlns:a16="http://schemas.microsoft.com/office/drawing/2014/main" id="{5CC6D1B3-7EB3-7A48-BEEF-BAF2DCA8D37F}"/>
              </a:ext>
            </a:extLst>
          </p:cNvPr>
          <p:cNvSpPr/>
          <p:nvPr userDrawn="1"/>
        </p:nvSpPr>
        <p:spPr>
          <a:xfrm>
            <a:off x="11812530"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56">
            <a:extLst>
              <a:ext uri="{FF2B5EF4-FFF2-40B4-BE49-F238E27FC236}">
                <a16:creationId xmlns:a16="http://schemas.microsoft.com/office/drawing/2014/main" id="{77C31678-367D-B344-A03E-BF4BFB263C7F}"/>
              </a:ext>
            </a:extLst>
          </p:cNvPr>
          <p:cNvSpPr/>
          <p:nvPr userDrawn="1"/>
        </p:nvSpPr>
        <p:spPr>
          <a:xfrm>
            <a:off x="10375285"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57">
            <a:extLst>
              <a:ext uri="{FF2B5EF4-FFF2-40B4-BE49-F238E27FC236}">
                <a16:creationId xmlns:a16="http://schemas.microsoft.com/office/drawing/2014/main" id="{BDEF99E6-6B0A-2144-A2AE-4BECAE08FBA1}"/>
              </a:ext>
            </a:extLst>
          </p:cNvPr>
          <p:cNvSpPr/>
          <p:nvPr userDrawn="1"/>
        </p:nvSpPr>
        <p:spPr>
          <a:xfrm>
            <a:off x="11093904"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58">
            <a:extLst>
              <a:ext uri="{FF2B5EF4-FFF2-40B4-BE49-F238E27FC236}">
                <a16:creationId xmlns:a16="http://schemas.microsoft.com/office/drawing/2014/main" id="{EB3C4AD7-8FE8-3048-B930-9E28267477D0}"/>
              </a:ext>
            </a:extLst>
          </p:cNvPr>
          <p:cNvSpPr/>
          <p:nvPr userDrawn="1"/>
        </p:nvSpPr>
        <p:spPr>
          <a:xfrm>
            <a:off x="11812530"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59">
            <a:extLst>
              <a:ext uri="{FF2B5EF4-FFF2-40B4-BE49-F238E27FC236}">
                <a16:creationId xmlns:a16="http://schemas.microsoft.com/office/drawing/2014/main" id="{EFDBD7B9-64E6-8F49-90E3-B8D3628B2286}"/>
              </a:ext>
            </a:extLst>
          </p:cNvPr>
          <p:cNvSpPr/>
          <p:nvPr userDrawn="1"/>
        </p:nvSpPr>
        <p:spPr>
          <a:xfrm>
            <a:off x="10375285"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60">
            <a:extLst>
              <a:ext uri="{FF2B5EF4-FFF2-40B4-BE49-F238E27FC236}">
                <a16:creationId xmlns:a16="http://schemas.microsoft.com/office/drawing/2014/main" id="{6C72D90A-7BBF-914F-AFC3-1544641A8ABD}"/>
              </a:ext>
            </a:extLst>
          </p:cNvPr>
          <p:cNvSpPr/>
          <p:nvPr userDrawn="1"/>
        </p:nvSpPr>
        <p:spPr>
          <a:xfrm>
            <a:off x="11093904"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Rechthoek 61">
            <a:extLst>
              <a:ext uri="{FF2B5EF4-FFF2-40B4-BE49-F238E27FC236}">
                <a16:creationId xmlns:a16="http://schemas.microsoft.com/office/drawing/2014/main" id="{A034B4F5-2777-224B-AE0F-FBB368813C68}"/>
              </a:ext>
            </a:extLst>
          </p:cNvPr>
          <p:cNvSpPr/>
          <p:nvPr userDrawn="1"/>
        </p:nvSpPr>
        <p:spPr>
          <a:xfrm>
            <a:off x="11812530"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Vrije vorm 7">
            <a:extLst>
              <a:ext uri="{FF2B5EF4-FFF2-40B4-BE49-F238E27FC236}">
                <a16:creationId xmlns:a16="http://schemas.microsoft.com/office/drawing/2014/main" id="{0DA5CFBA-55E0-5044-AA73-77ED79946507}"/>
              </a:ext>
            </a:extLst>
          </p:cNvPr>
          <p:cNvSpPr>
            <a:spLocks/>
          </p:cNvSpPr>
          <p:nvPr userDrawn="1"/>
        </p:nvSpPr>
        <p:spPr bwMode="auto">
          <a:xfrm>
            <a:off x="347642" y="520566"/>
            <a:ext cx="9342986" cy="5037607"/>
          </a:xfrm>
          <a:custGeom>
            <a:avLst/>
            <a:gdLst>
              <a:gd name="connsiteX0" fmla="*/ 0 w 9342986"/>
              <a:gd name="connsiteY0" fmla="*/ 0 h 5037607"/>
              <a:gd name="connsiteX1" fmla="*/ 9342986 w 9342986"/>
              <a:gd name="connsiteY1" fmla="*/ 0 h 5037607"/>
              <a:gd name="connsiteX2" fmla="*/ 9342986 w 9342986"/>
              <a:gd name="connsiteY2" fmla="*/ 4761792 h 5037607"/>
              <a:gd name="connsiteX3" fmla="*/ 8734661 w 9342986"/>
              <a:gd name="connsiteY3" fmla="*/ 5037607 h 5037607"/>
              <a:gd name="connsiteX4" fmla="*/ 0 w 9342986"/>
              <a:gd name="connsiteY4" fmla="*/ 5037607 h 503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2986" h="5037607">
                <a:moveTo>
                  <a:pt x="0" y="0"/>
                </a:moveTo>
                <a:lnTo>
                  <a:pt x="9342986" y="0"/>
                </a:lnTo>
                <a:lnTo>
                  <a:pt x="9342986" y="4761792"/>
                </a:lnTo>
                <a:lnTo>
                  <a:pt x="8734661" y="5037607"/>
                </a:lnTo>
                <a:lnTo>
                  <a:pt x="0" y="5037607"/>
                </a:lnTo>
                <a:close/>
              </a:path>
            </a:pathLst>
          </a:custGeom>
          <a:solidFill>
            <a:schemeClr val="bg1"/>
          </a:solidFill>
          <a:ln>
            <a:noFill/>
          </a:ln>
        </p:spPr>
        <p:txBody>
          <a:bodyPr vert="horz" wrap="square" lIns="91419" tIns="45709" rIns="91419" bIns="45709" numCol="1" anchor="t" anchorCtr="0" compatLnSpc="1">
            <a:prstTxWarp prst="textNoShape">
              <a:avLst/>
            </a:prstTxWarp>
            <a:noAutofit/>
          </a:bodyPr>
          <a:lstStyle/>
          <a:p>
            <a:endParaRPr lang="en-GB" sz="1116"/>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a:xfrm>
            <a:off x="1347597" y="6378834"/>
            <a:ext cx="1528579" cy="365125"/>
          </a:xfrm>
          <a:prstGeom prst="rect">
            <a:avLst/>
          </a:prstGeom>
        </p:spPr>
        <p:txBody>
          <a:bodyPr/>
          <a:lstStyle>
            <a:lvl1pPr>
              <a:defRPr>
                <a:solidFill>
                  <a:schemeClr val="bg1"/>
                </a:solidFill>
              </a:defRPr>
            </a:lvl1pPr>
          </a:lstStyle>
          <a:p>
            <a:fld id="{68D5FA36-4097-40B0-9727-4E5DB46385BA}" type="datetime4">
              <a:rPr lang="en-GB" smtClean="0"/>
              <a:t>23 January 2025</a:t>
            </a:fld>
            <a:endParaRPr lang="nl-NL"/>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a:xfrm>
            <a:off x="3151752" y="6378834"/>
            <a:ext cx="4616234" cy="365125"/>
          </a:xfrm>
          <a:prstGeom prst="rect">
            <a:avLst/>
          </a:prstGeom>
        </p:spPr>
        <p:txBody>
          <a:bodyPr/>
          <a:lstStyle>
            <a:lvl1pPr>
              <a:defRPr b="1" i="0">
                <a:solidFill>
                  <a:schemeClr val="bg1"/>
                </a:solidFill>
                <a:latin typeface="Arial" panose="020B0604020202020204" pitchFamily="34" charset="0"/>
                <a:cs typeface="Arial" panose="020B0604020202020204" pitchFamily="34" charset="0"/>
              </a:defRPr>
            </a:lvl1pPr>
          </a:lstStyle>
          <a:p>
            <a:r>
              <a:rPr lang="nl-NL"/>
              <a:t>Confidentiality</a:t>
            </a:r>
            <a:endParaRPr lang="nl-NL">
              <a:cs typeface="Arial" panose="020B0604020202020204" pitchFamily="34" charset="0"/>
            </a:endParaRP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a:xfrm>
            <a:off x="454699" y="6378834"/>
            <a:ext cx="514165" cy="365125"/>
          </a:xfrm>
          <a:prstGeom prst="rect">
            <a:avLst/>
          </a:prstGeom>
        </p:spPr>
        <p:txBody>
          <a:bodyPr/>
          <a:lstStyle>
            <a:lvl1pPr>
              <a:defRPr>
                <a:solidFill>
                  <a:schemeClr val="bg1"/>
                </a:solidFill>
              </a:defRPr>
            </a:lvl1pPr>
          </a:lstStyle>
          <a:p>
            <a:fld id="{3B0AF0F1-83F4-0746-A551-EEC1F1FEC0BD}" type="slidenum">
              <a:rPr lang="nl-NL" smtClean="0"/>
              <a:pPr/>
              <a:t>‹Nr.›</a:t>
            </a:fld>
            <a:endParaRPr lang="nl-NL" dirty="0"/>
          </a:p>
        </p:txBody>
      </p:sp>
      <p:pic>
        <p:nvPicPr>
          <p:cNvPr id="65" name="Picture 10">
            <a:extLst>
              <a:ext uri="{FF2B5EF4-FFF2-40B4-BE49-F238E27FC236}">
                <a16:creationId xmlns:a16="http://schemas.microsoft.com/office/drawing/2014/main" id="{623337E5-63FA-4E3C-9887-8D8CE69DCDE3}"/>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0789199" y="6472800"/>
            <a:ext cx="954000" cy="179999"/>
          </a:xfrm>
          <a:prstGeom prst="rect">
            <a:avLst/>
          </a:prstGeom>
        </p:spPr>
      </p:pic>
      <p:sp>
        <p:nvSpPr>
          <p:cNvPr id="64" name="TextBox 5">
            <a:extLst>
              <a:ext uri="{FF2B5EF4-FFF2-40B4-BE49-F238E27FC236}">
                <a16:creationId xmlns:a16="http://schemas.microsoft.com/office/drawing/2014/main" id="{75EEC1FA-93B1-4780-880F-D189D92CE04F}"/>
              </a:ext>
            </a:extLst>
          </p:cNvPr>
          <p:cNvSpPr txBox="1"/>
          <p:nvPr userDrawn="1"/>
        </p:nvSpPr>
        <p:spPr>
          <a:xfrm>
            <a:off x="718487" y="840159"/>
            <a:ext cx="8254067" cy="4154984"/>
          </a:xfrm>
          <a:prstGeom prst="rect">
            <a:avLst/>
          </a:prstGeom>
          <a:noFill/>
        </p:spPr>
        <p:txBody>
          <a:bodyPr wrap="square" lIns="0" tIns="0" rIns="0" bIns="0" rtlCol="0">
            <a:spAutoFit/>
          </a:bodyPr>
          <a:lstStyle/>
          <a:p>
            <a:r>
              <a:rPr lang="de-DE" sz="1800" kern="1200" noProof="0" dirty="0">
                <a:solidFill>
                  <a:schemeClr val="tx1"/>
                </a:solidFill>
                <a:effectLst/>
                <a:latin typeface="+mn-lt"/>
                <a:ea typeface="+mn-ea"/>
                <a:cs typeface="+mn-cs"/>
              </a:rPr>
              <a:t>TenneT ist ein führender europäischer Netzbetreiber. Wir setzen uns für eine sichere und zuverlässige Stromversorgung ein – 24 Stunden am Tag, 365 Tage im Jahr. Wir gestalten die Energiewende mit – für eine nachhaltige, zuverlässige und bezahlbare Energiezukunft. Als erster grenzüberschreitender Übertragungsnetzbetreiber planen, bauen und betreiben wir ein fast 24.500 km langes Hoch- und Höchstspannungsnetz in den Niederlanden und großen Teilen Deutschlands und ermöglichen mit unseren 16 </a:t>
            </a:r>
            <a:r>
              <a:rPr lang="de-DE" sz="1800" kern="1200" noProof="0" dirty="0" err="1">
                <a:solidFill>
                  <a:schemeClr val="tx1"/>
                </a:solidFill>
                <a:effectLst/>
                <a:latin typeface="+mn-lt"/>
                <a:ea typeface="+mn-ea"/>
                <a:cs typeface="+mn-cs"/>
              </a:rPr>
              <a:t>Interkonnektoren</a:t>
            </a:r>
            <a:r>
              <a:rPr lang="de-DE" sz="1800" kern="1200" noProof="0" dirty="0">
                <a:solidFill>
                  <a:schemeClr val="tx1"/>
                </a:solidFill>
                <a:effectLst/>
                <a:latin typeface="+mn-lt"/>
                <a:ea typeface="+mn-ea"/>
                <a:cs typeface="+mn-cs"/>
              </a:rPr>
              <a:t> zu Nachbarländern den europäischen Energiemarkt. Mit einem Umsatz von </a:t>
            </a:r>
            <a:br>
              <a:rPr lang="de-DE" sz="1800" kern="1200" noProof="0" dirty="0">
                <a:solidFill>
                  <a:schemeClr val="tx1"/>
                </a:solidFill>
                <a:effectLst/>
                <a:latin typeface="+mn-lt"/>
                <a:ea typeface="+mn-ea"/>
                <a:cs typeface="+mn-cs"/>
              </a:rPr>
            </a:br>
            <a:r>
              <a:rPr lang="de-DE" sz="1800" kern="1200" noProof="0" dirty="0">
                <a:solidFill>
                  <a:schemeClr val="tx1"/>
                </a:solidFill>
                <a:effectLst/>
                <a:latin typeface="+mn-lt"/>
                <a:ea typeface="+mn-ea"/>
                <a:cs typeface="+mn-cs"/>
              </a:rPr>
              <a:t>6,4 Mrd. Euro und einer Bilanzsumme von 32 Mrd. Euro sind wir einer der größten Investoren in nationale und internationale Stromnetze, an Land und auf See. Jeden Tag geben unsere 6.600 Mitarbeiter ihr Bestes und sorgen im Sinne unserer Werte Verantwortung, Mut und Vernetzung dafür, dass sich mehr als </a:t>
            </a:r>
            <a:br>
              <a:rPr lang="de-DE" sz="1800" kern="1200" noProof="0" dirty="0">
                <a:solidFill>
                  <a:schemeClr val="tx1"/>
                </a:solidFill>
                <a:effectLst/>
                <a:latin typeface="+mn-lt"/>
                <a:ea typeface="+mn-ea"/>
                <a:cs typeface="+mn-cs"/>
              </a:rPr>
            </a:br>
            <a:r>
              <a:rPr lang="de-DE" sz="1800" kern="1200" noProof="0" dirty="0">
                <a:solidFill>
                  <a:schemeClr val="tx1"/>
                </a:solidFill>
                <a:effectLst/>
                <a:latin typeface="+mn-lt"/>
                <a:ea typeface="+mn-ea"/>
                <a:cs typeface="+mn-cs"/>
              </a:rPr>
              <a:t>42 Millionen Endverbraucher auf eine stabile Stromversorgung verlassen können. </a:t>
            </a:r>
            <a:endParaRPr lang="de-DE" sz="1800" b="0" kern="1200" noProof="0" dirty="0">
              <a:solidFill>
                <a:schemeClr val="tx1"/>
              </a:solidFill>
              <a:effectLst/>
              <a:latin typeface="+mn-lt"/>
              <a:ea typeface="+mn-ea"/>
              <a:cs typeface="+mn-cs"/>
            </a:endParaRPr>
          </a:p>
          <a:p>
            <a:endParaRPr lang="de-DE" sz="1800" b="0" kern="1200" noProof="0" dirty="0">
              <a:solidFill>
                <a:schemeClr val="tx1"/>
              </a:solidFill>
              <a:effectLst/>
              <a:latin typeface="+mn-lt"/>
              <a:ea typeface="+mn-ea"/>
              <a:cs typeface="+mn-cs"/>
            </a:endParaRPr>
          </a:p>
          <a:p>
            <a:r>
              <a:rPr lang="de-DE" sz="1800" b="0" kern="1200" noProof="0" dirty="0" err="1">
                <a:solidFill>
                  <a:schemeClr val="tx1"/>
                </a:solidFill>
                <a:effectLst/>
                <a:latin typeface="+mn-lt"/>
                <a:ea typeface="+mn-ea"/>
                <a:cs typeface="+mn-cs"/>
              </a:rPr>
              <a:t>Lighting</a:t>
            </a:r>
            <a:r>
              <a:rPr lang="de-DE" sz="1800" b="0" kern="1200" noProof="0" dirty="0">
                <a:solidFill>
                  <a:schemeClr val="tx1"/>
                </a:solidFill>
                <a:effectLst/>
                <a:latin typeface="+mn-lt"/>
                <a:ea typeface="+mn-ea"/>
                <a:cs typeface="+mn-cs"/>
              </a:rPr>
              <a:t> </a:t>
            </a:r>
            <a:r>
              <a:rPr lang="de-DE" sz="1800" b="0" kern="1200" noProof="0" dirty="0" err="1">
                <a:solidFill>
                  <a:schemeClr val="tx1"/>
                </a:solidFill>
                <a:effectLst/>
                <a:latin typeface="+mn-lt"/>
                <a:ea typeface="+mn-ea"/>
                <a:cs typeface="+mn-cs"/>
              </a:rPr>
              <a:t>the</a:t>
            </a:r>
            <a:r>
              <a:rPr lang="de-DE" sz="1800" b="0" kern="1200" noProof="0" dirty="0">
                <a:solidFill>
                  <a:schemeClr val="tx1"/>
                </a:solidFill>
                <a:effectLst/>
                <a:latin typeface="+mn-lt"/>
                <a:ea typeface="+mn-ea"/>
                <a:cs typeface="+mn-cs"/>
              </a:rPr>
              <a:t> </a:t>
            </a:r>
            <a:r>
              <a:rPr lang="de-DE" sz="1800" b="0" kern="1200" noProof="0" dirty="0" err="1">
                <a:solidFill>
                  <a:schemeClr val="tx1"/>
                </a:solidFill>
                <a:effectLst/>
                <a:latin typeface="+mn-lt"/>
                <a:ea typeface="+mn-ea"/>
                <a:cs typeface="+mn-cs"/>
              </a:rPr>
              <a:t>way</a:t>
            </a:r>
            <a:r>
              <a:rPr lang="de-DE" sz="1800" b="0" kern="1200" noProof="0" dirty="0">
                <a:solidFill>
                  <a:schemeClr val="tx1"/>
                </a:solidFill>
                <a:effectLst/>
                <a:latin typeface="+mn-lt"/>
                <a:ea typeface="+mn-ea"/>
                <a:cs typeface="+mn-cs"/>
              </a:rPr>
              <a:t> </a:t>
            </a:r>
            <a:r>
              <a:rPr lang="de-DE" sz="1800" b="0" kern="1200" noProof="0" dirty="0" err="1">
                <a:solidFill>
                  <a:schemeClr val="tx1"/>
                </a:solidFill>
                <a:effectLst/>
                <a:latin typeface="+mn-lt"/>
                <a:ea typeface="+mn-ea"/>
                <a:cs typeface="+mn-cs"/>
              </a:rPr>
              <a:t>ahead</a:t>
            </a:r>
            <a:r>
              <a:rPr lang="de-DE" sz="1800" b="0" kern="1200" noProof="0" dirty="0">
                <a:solidFill>
                  <a:schemeClr val="tx1"/>
                </a:solidFill>
                <a:effectLst/>
                <a:latin typeface="+mn-lt"/>
                <a:ea typeface="+mn-ea"/>
                <a:cs typeface="+mn-cs"/>
              </a:rPr>
              <a:t> </a:t>
            </a:r>
            <a:r>
              <a:rPr lang="de-DE" sz="1800" b="0" kern="1200" noProof="0" dirty="0" err="1">
                <a:solidFill>
                  <a:schemeClr val="tx1"/>
                </a:solidFill>
                <a:effectLst/>
                <a:latin typeface="+mn-lt"/>
                <a:ea typeface="+mn-ea"/>
                <a:cs typeface="+mn-cs"/>
              </a:rPr>
              <a:t>together</a:t>
            </a:r>
            <a:r>
              <a:rPr lang="de-DE" sz="1800" b="0" kern="1200" noProof="0" dirty="0">
                <a:solidFill>
                  <a:schemeClr val="tx1"/>
                </a:solidFill>
                <a:effectLst/>
                <a:latin typeface="+mn-lt"/>
                <a:ea typeface="+mn-ea"/>
                <a:cs typeface="+mn-cs"/>
              </a:rPr>
              <a:t>.</a:t>
            </a:r>
            <a:endParaRPr lang="de-DE" sz="1800" b="1" kern="1200" noProof="0" dirty="0">
              <a:solidFill>
                <a:schemeClr val="tx1"/>
              </a:solidFill>
              <a:effectLst/>
              <a:latin typeface="+mn-lt"/>
              <a:ea typeface="+mn-ea"/>
              <a:cs typeface="+mn-cs"/>
            </a:endParaRPr>
          </a:p>
        </p:txBody>
      </p:sp>
    </p:spTree>
    <p:extLst>
      <p:ext uri="{BB962C8B-B14F-4D97-AF65-F5344CB8AC3E}">
        <p14:creationId xmlns:p14="http://schemas.microsoft.com/office/powerpoint/2010/main" val="7176658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bout TenneT – NL">
    <p:spTree>
      <p:nvGrpSpPr>
        <p:cNvPr id="1" name=""/>
        <p:cNvGrpSpPr/>
        <p:nvPr/>
      </p:nvGrpSpPr>
      <p:grpSpPr>
        <a:xfrm>
          <a:off x="0" y="0"/>
          <a:ext cx="0" cy="0"/>
          <a:chOff x="0" y="0"/>
          <a:chExt cx="0" cy="0"/>
        </a:xfrm>
      </p:grpSpPr>
      <p:pic>
        <p:nvPicPr>
          <p:cNvPr id="65" name="Afbeelding 64" descr="Afbeelding met gras, buiten, veld, vliegtuig&#10;&#10;Automatisch gegenereerde beschrijving">
            <a:extLst>
              <a:ext uri="{FF2B5EF4-FFF2-40B4-BE49-F238E27FC236}">
                <a16:creationId xmlns:a16="http://schemas.microsoft.com/office/drawing/2014/main" id="{D286E7C1-B0B3-D44C-A6E8-2BFA532CB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57999"/>
          </a:xfrm>
          <a:prstGeom prst="rect">
            <a:avLst/>
          </a:prstGeom>
        </p:spPr>
      </p:pic>
      <p:cxnSp>
        <p:nvCxnSpPr>
          <p:cNvPr id="10" name="Rechte verbindingslijn 9">
            <a:extLst>
              <a:ext uri="{FF2B5EF4-FFF2-40B4-BE49-F238E27FC236}">
                <a16:creationId xmlns:a16="http://schemas.microsoft.com/office/drawing/2014/main" id="{C332C484-63EA-954D-95D2-C030667EF3D1}"/>
              </a:ext>
            </a:extLst>
          </p:cNvPr>
          <p:cNvCxnSpPr/>
          <p:nvPr userDrawn="1"/>
        </p:nvCxnSpPr>
        <p:spPr>
          <a:xfrm>
            <a:off x="1" y="51920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Rechte verbindingslijn 10">
            <a:extLst>
              <a:ext uri="{FF2B5EF4-FFF2-40B4-BE49-F238E27FC236}">
                <a16:creationId xmlns:a16="http://schemas.microsoft.com/office/drawing/2014/main" id="{B4E21DE3-7FB4-CA4E-B3A7-69F9877C66B3}"/>
              </a:ext>
            </a:extLst>
          </p:cNvPr>
          <p:cNvCxnSpPr/>
          <p:nvPr userDrawn="1"/>
        </p:nvCxnSpPr>
        <p:spPr>
          <a:xfrm>
            <a:off x="1" y="123782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Rechte verbindingslijn 11">
            <a:extLst>
              <a:ext uri="{FF2B5EF4-FFF2-40B4-BE49-F238E27FC236}">
                <a16:creationId xmlns:a16="http://schemas.microsoft.com/office/drawing/2014/main" id="{BC0D80A7-47DD-7847-8F76-70C883397333}"/>
              </a:ext>
            </a:extLst>
          </p:cNvPr>
          <p:cNvCxnSpPr/>
          <p:nvPr userDrawn="1"/>
        </p:nvCxnSpPr>
        <p:spPr>
          <a:xfrm>
            <a:off x="1" y="195855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3025A578-4784-2F44-A938-EF6E021F9F64}"/>
              </a:ext>
            </a:extLst>
          </p:cNvPr>
          <p:cNvCxnSpPr/>
          <p:nvPr userDrawn="1"/>
        </p:nvCxnSpPr>
        <p:spPr>
          <a:xfrm>
            <a:off x="1" y="26792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Rechte verbindingslijn 13">
            <a:extLst>
              <a:ext uri="{FF2B5EF4-FFF2-40B4-BE49-F238E27FC236}">
                <a16:creationId xmlns:a16="http://schemas.microsoft.com/office/drawing/2014/main" id="{3DEEFB7B-D827-C444-8EEE-34398EB55CC0}"/>
              </a:ext>
            </a:extLst>
          </p:cNvPr>
          <p:cNvCxnSpPr/>
          <p:nvPr userDrawn="1"/>
        </p:nvCxnSpPr>
        <p:spPr>
          <a:xfrm>
            <a:off x="1" y="34000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E88315E0-B775-A344-A1E9-6F2E33A23418}"/>
              </a:ext>
            </a:extLst>
          </p:cNvPr>
          <p:cNvCxnSpPr/>
          <p:nvPr userDrawn="1"/>
        </p:nvCxnSpPr>
        <p:spPr>
          <a:xfrm>
            <a:off x="1" y="41143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883F5199-4065-044B-AEAE-D79C4CC5401C}"/>
              </a:ext>
            </a:extLst>
          </p:cNvPr>
          <p:cNvCxnSpPr/>
          <p:nvPr userDrawn="1"/>
        </p:nvCxnSpPr>
        <p:spPr>
          <a:xfrm>
            <a:off x="1" y="48351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D5159968-843B-A64D-85BD-A1E135C0AEFC}"/>
              </a:ext>
            </a:extLst>
          </p:cNvPr>
          <p:cNvCxnSpPr/>
          <p:nvPr userDrawn="1"/>
        </p:nvCxnSpPr>
        <p:spPr>
          <a:xfrm>
            <a:off x="1" y="555582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C4DDC9B-2166-834F-9982-718075802EA6}"/>
              </a:ext>
            </a:extLst>
          </p:cNvPr>
          <p:cNvCxnSpPr/>
          <p:nvPr userDrawn="1"/>
        </p:nvCxnSpPr>
        <p:spPr>
          <a:xfrm>
            <a:off x="1" y="627337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0A192E1D-D8ED-E14B-903C-DEED7FDC5F42}"/>
              </a:ext>
            </a:extLst>
          </p:cNvPr>
          <p:cNvCxnSpPr>
            <a:cxnSpLocks/>
          </p:cNvCxnSpPr>
          <p:nvPr userDrawn="1"/>
        </p:nvCxnSpPr>
        <p:spPr>
          <a:xfrm>
            <a:off x="7536396" y="-2911"/>
            <a:ext cx="0" cy="627628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708570B-ACCE-8246-964A-1D63117F1DA3}"/>
              </a:ext>
            </a:extLst>
          </p:cNvPr>
          <p:cNvCxnSpPr>
            <a:cxnSpLocks/>
          </p:cNvCxnSpPr>
          <p:nvPr userDrawn="1"/>
        </p:nvCxnSpPr>
        <p:spPr>
          <a:xfrm rot="5400000">
            <a:off x="4825608"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1496480E-D9EE-4A4C-B703-AEC39FEDAD84}"/>
              </a:ext>
            </a:extLst>
          </p:cNvPr>
          <p:cNvCxnSpPr>
            <a:cxnSpLocks/>
          </p:cNvCxnSpPr>
          <p:nvPr userDrawn="1"/>
        </p:nvCxnSpPr>
        <p:spPr>
          <a:xfrm rot="5400000">
            <a:off x="5542100"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5E2794F3-FB2E-B541-BE31-02760B56D77B}"/>
              </a:ext>
            </a:extLst>
          </p:cNvPr>
          <p:cNvCxnSpPr>
            <a:cxnSpLocks/>
          </p:cNvCxnSpPr>
          <p:nvPr userDrawn="1"/>
        </p:nvCxnSpPr>
        <p:spPr>
          <a:xfrm rot="5400000">
            <a:off x="6260708"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a:extLst>
              <a:ext uri="{FF2B5EF4-FFF2-40B4-BE49-F238E27FC236}">
                <a16:creationId xmlns:a16="http://schemas.microsoft.com/office/drawing/2014/main" id="{733A6E7D-2C41-5941-8178-D2E146F89A38}"/>
              </a:ext>
            </a:extLst>
          </p:cNvPr>
          <p:cNvCxnSpPr>
            <a:cxnSpLocks/>
          </p:cNvCxnSpPr>
          <p:nvPr userDrawn="1"/>
        </p:nvCxnSpPr>
        <p:spPr>
          <a:xfrm rot="5400000">
            <a:off x="6980830" y="3427544"/>
            <a:ext cx="686091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36D5AFB9-42DF-634D-AD69-3E4750A28313}"/>
              </a:ext>
            </a:extLst>
          </p:cNvPr>
          <p:cNvCxnSpPr>
            <a:cxnSpLocks/>
          </p:cNvCxnSpPr>
          <p:nvPr userDrawn="1"/>
        </p:nvCxnSpPr>
        <p:spPr>
          <a:xfrm rot="5400000">
            <a:off x="8710390" y="3135230"/>
            <a:ext cx="627628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3D69571E-A74D-4F47-A7C2-4B5CB986B029}"/>
              </a:ext>
            </a:extLst>
          </p:cNvPr>
          <p:cNvCxnSpPr>
            <a:cxnSpLocks/>
          </p:cNvCxnSpPr>
          <p:nvPr userDrawn="1"/>
        </p:nvCxnSpPr>
        <p:spPr>
          <a:xfrm rot="5400000">
            <a:off x="2964211"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a:extLst>
              <a:ext uri="{FF2B5EF4-FFF2-40B4-BE49-F238E27FC236}">
                <a16:creationId xmlns:a16="http://schemas.microsoft.com/office/drawing/2014/main" id="{85D0CA90-3B99-7847-A502-79CEAD04F9CD}"/>
              </a:ext>
            </a:extLst>
          </p:cNvPr>
          <p:cNvCxnSpPr>
            <a:cxnSpLocks/>
          </p:cNvCxnSpPr>
          <p:nvPr userDrawn="1"/>
        </p:nvCxnSpPr>
        <p:spPr>
          <a:xfrm rot="5400000">
            <a:off x="3678586"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a:extLst>
              <a:ext uri="{FF2B5EF4-FFF2-40B4-BE49-F238E27FC236}">
                <a16:creationId xmlns:a16="http://schemas.microsoft.com/office/drawing/2014/main" id="{09E35250-1ECC-E746-83AE-94869F61E029}"/>
              </a:ext>
            </a:extLst>
          </p:cNvPr>
          <p:cNvCxnSpPr>
            <a:cxnSpLocks/>
          </p:cNvCxnSpPr>
          <p:nvPr userDrawn="1"/>
        </p:nvCxnSpPr>
        <p:spPr>
          <a:xfrm rot="5400000">
            <a:off x="2243486" y="3135232"/>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a:extLst>
              <a:ext uri="{FF2B5EF4-FFF2-40B4-BE49-F238E27FC236}">
                <a16:creationId xmlns:a16="http://schemas.microsoft.com/office/drawing/2014/main" id="{F82A37FE-DD97-7942-BECE-F50EEA230FB2}"/>
              </a:ext>
            </a:extLst>
          </p:cNvPr>
          <p:cNvCxnSpPr>
            <a:cxnSpLocks/>
          </p:cNvCxnSpPr>
          <p:nvPr userDrawn="1"/>
        </p:nvCxnSpPr>
        <p:spPr>
          <a:xfrm rot="5400000">
            <a:off x="1522761"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FB87BA3-2BDB-DA4F-B9AE-F0DB0E1E376B}"/>
              </a:ext>
            </a:extLst>
          </p:cNvPr>
          <p:cNvCxnSpPr>
            <a:cxnSpLocks/>
          </p:cNvCxnSpPr>
          <p:nvPr userDrawn="1"/>
        </p:nvCxnSpPr>
        <p:spPr>
          <a:xfrm rot="5400000">
            <a:off x="805212"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B21FC6AE-1A01-4C48-9287-B62F1DC4BAFC}"/>
              </a:ext>
            </a:extLst>
          </p:cNvPr>
          <p:cNvCxnSpPr>
            <a:cxnSpLocks/>
          </p:cNvCxnSpPr>
          <p:nvPr userDrawn="1"/>
        </p:nvCxnSpPr>
        <p:spPr>
          <a:xfrm rot="5400000">
            <a:off x="87662"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163A02BA-125F-234E-A85B-278F278207E0}"/>
              </a:ext>
            </a:extLst>
          </p:cNvPr>
          <p:cNvCxnSpPr>
            <a:cxnSpLocks/>
          </p:cNvCxnSpPr>
          <p:nvPr userDrawn="1"/>
        </p:nvCxnSpPr>
        <p:spPr>
          <a:xfrm rot="5400000">
            <a:off x="-629888" y="3135231"/>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echte verbindingslijn 32">
            <a:extLst>
              <a:ext uri="{FF2B5EF4-FFF2-40B4-BE49-F238E27FC236}">
                <a16:creationId xmlns:a16="http://schemas.microsoft.com/office/drawing/2014/main" id="{932C77E3-5991-8144-ADB2-A3FEA8432B74}"/>
              </a:ext>
            </a:extLst>
          </p:cNvPr>
          <p:cNvCxnSpPr>
            <a:cxnSpLocks/>
          </p:cNvCxnSpPr>
          <p:nvPr userDrawn="1"/>
        </p:nvCxnSpPr>
        <p:spPr>
          <a:xfrm rot="5400000">
            <a:off x="-1350613" y="3135230"/>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67CBC2B-229F-E74C-8ACF-64922A97B0C1}"/>
              </a:ext>
            </a:extLst>
          </p:cNvPr>
          <p:cNvCxnSpPr>
            <a:cxnSpLocks/>
          </p:cNvCxnSpPr>
          <p:nvPr userDrawn="1"/>
        </p:nvCxnSpPr>
        <p:spPr>
          <a:xfrm rot="5400000">
            <a:off x="-2068163" y="3135230"/>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a:extLst>
              <a:ext uri="{FF2B5EF4-FFF2-40B4-BE49-F238E27FC236}">
                <a16:creationId xmlns:a16="http://schemas.microsoft.com/office/drawing/2014/main" id="{90251BAF-AB76-734B-80B9-91B628112ACA}"/>
              </a:ext>
            </a:extLst>
          </p:cNvPr>
          <p:cNvCxnSpPr>
            <a:cxnSpLocks/>
          </p:cNvCxnSpPr>
          <p:nvPr userDrawn="1"/>
        </p:nvCxnSpPr>
        <p:spPr>
          <a:xfrm rot="5400000">
            <a:off x="-2788888" y="3135229"/>
            <a:ext cx="62762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hthoek 35">
            <a:extLst>
              <a:ext uri="{FF2B5EF4-FFF2-40B4-BE49-F238E27FC236}">
                <a16:creationId xmlns:a16="http://schemas.microsoft.com/office/drawing/2014/main" id="{4D55CE2C-9E4B-7A4D-937C-2CC1054D2867}"/>
              </a:ext>
            </a:extLst>
          </p:cNvPr>
          <p:cNvSpPr/>
          <p:nvPr userDrawn="1"/>
        </p:nvSpPr>
        <p:spPr>
          <a:xfrm>
            <a:off x="10375285"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7" name="Rechthoek 36">
            <a:extLst>
              <a:ext uri="{FF2B5EF4-FFF2-40B4-BE49-F238E27FC236}">
                <a16:creationId xmlns:a16="http://schemas.microsoft.com/office/drawing/2014/main" id="{98E243DB-7AA1-5144-9C07-C17DD621C024}"/>
              </a:ext>
            </a:extLst>
          </p:cNvPr>
          <p:cNvSpPr/>
          <p:nvPr userDrawn="1"/>
        </p:nvSpPr>
        <p:spPr>
          <a:xfrm>
            <a:off x="11093904"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960971D3-9F4B-6D4B-8A4C-79CF6541F07B}"/>
              </a:ext>
            </a:extLst>
          </p:cNvPr>
          <p:cNvSpPr/>
          <p:nvPr userDrawn="1"/>
        </p:nvSpPr>
        <p:spPr>
          <a:xfrm>
            <a:off x="11812530" y="192270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468381B3-3BFA-B94E-A685-9E2E3255E3F1}"/>
              </a:ext>
            </a:extLst>
          </p:cNvPr>
          <p:cNvSpPr/>
          <p:nvPr userDrawn="1"/>
        </p:nvSpPr>
        <p:spPr>
          <a:xfrm>
            <a:off x="10375285"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B6AB6DD5-4256-7049-87E8-F5907C3FA6F5}"/>
              </a:ext>
            </a:extLst>
          </p:cNvPr>
          <p:cNvSpPr/>
          <p:nvPr userDrawn="1"/>
        </p:nvSpPr>
        <p:spPr>
          <a:xfrm>
            <a:off x="11093904"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F05F7AD6-0CC3-864F-8143-F761DBADFA0C}"/>
              </a:ext>
            </a:extLst>
          </p:cNvPr>
          <p:cNvSpPr/>
          <p:nvPr userDrawn="1"/>
        </p:nvSpPr>
        <p:spPr>
          <a:xfrm>
            <a:off x="11812530" y="120336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ED55AE35-1BB4-8C41-98B6-DBAB042318E4}"/>
              </a:ext>
            </a:extLst>
          </p:cNvPr>
          <p:cNvSpPr/>
          <p:nvPr userDrawn="1"/>
        </p:nvSpPr>
        <p:spPr>
          <a:xfrm>
            <a:off x="10375285"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DF10D17E-5E99-004D-B776-96BA07E52BF9}"/>
              </a:ext>
            </a:extLst>
          </p:cNvPr>
          <p:cNvSpPr/>
          <p:nvPr userDrawn="1"/>
        </p:nvSpPr>
        <p:spPr>
          <a:xfrm>
            <a:off x="11093904"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4" name="Rechthoek 43">
            <a:extLst>
              <a:ext uri="{FF2B5EF4-FFF2-40B4-BE49-F238E27FC236}">
                <a16:creationId xmlns:a16="http://schemas.microsoft.com/office/drawing/2014/main" id="{EA1C878A-B5CB-3946-A7C3-5EB33FD2C8FB}"/>
              </a:ext>
            </a:extLst>
          </p:cNvPr>
          <p:cNvSpPr/>
          <p:nvPr userDrawn="1"/>
        </p:nvSpPr>
        <p:spPr>
          <a:xfrm>
            <a:off x="11812530" y="48402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90193CF0-F401-1A48-AC72-51AB9311EF29}"/>
              </a:ext>
            </a:extLst>
          </p:cNvPr>
          <p:cNvSpPr/>
          <p:nvPr userDrawn="1"/>
        </p:nvSpPr>
        <p:spPr>
          <a:xfrm>
            <a:off x="10375285"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6" name="Rechthoek 45">
            <a:extLst>
              <a:ext uri="{FF2B5EF4-FFF2-40B4-BE49-F238E27FC236}">
                <a16:creationId xmlns:a16="http://schemas.microsoft.com/office/drawing/2014/main" id="{FC813691-A246-3C41-8E82-42E85A30FD70}"/>
              </a:ext>
            </a:extLst>
          </p:cNvPr>
          <p:cNvSpPr/>
          <p:nvPr userDrawn="1"/>
        </p:nvSpPr>
        <p:spPr>
          <a:xfrm>
            <a:off x="11093904"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7" name="Rechthoek 46">
            <a:extLst>
              <a:ext uri="{FF2B5EF4-FFF2-40B4-BE49-F238E27FC236}">
                <a16:creationId xmlns:a16="http://schemas.microsoft.com/office/drawing/2014/main" id="{75D7AC5A-F39E-0A47-BA31-D81A56EE4AB4}"/>
              </a:ext>
            </a:extLst>
          </p:cNvPr>
          <p:cNvSpPr/>
          <p:nvPr userDrawn="1"/>
        </p:nvSpPr>
        <p:spPr>
          <a:xfrm>
            <a:off x="11812530" y="4080714"/>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8" name="Rechthoek 47">
            <a:extLst>
              <a:ext uri="{FF2B5EF4-FFF2-40B4-BE49-F238E27FC236}">
                <a16:creationId xmlns:a16="http://schemas.microsoft.com/office/drawing/2014/main" id="{5F489478-2177-924D-8E9A-01C7AD5EF0F6}"/>
              </a:ext>
            </a:extLst>
          </p:cNvPr>
          <p:cNvSpPr/>
          <p:nvPr userDrawn="1"/>
        </p:nvSpPr>
        <p:spPr>
          <a:xfrm>
            <a:off x="10375285"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9" name="Rechthoek 48">
            <a:extLst>
              <a:ext uri="{FF2B5EF4-FFF2-40B4-BE49-F238E27FC236}">
                <a16:creationId xmlns:a16="http://schemas.microsoft.com/office/drawing/2014/main" id="{FFA1746B-6AFD-E943-9A57-C4E434477118}"/>
              </a:ext>
            </a:extLst>
          </p:cNvPr>
          <p:cNvSpPr/>
          <p:nvPr userDrawn="1"/>
        </p:nvSpPr>
        <p:spPr>
          <a:xfrm>
            <a:off x="11093904"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0" name="Rechthoek 49">
            <a:extLst>
              <a:ext uri="{FF2B5EF4-FFF2-40B4-BE49-F238E27FC236}">
                <a16:creationId xmlns:a16="http://schemas.microsoft.com/office/drawing/2014/main" id="{E3DCAE65-1E8E-EC45-8AAE-D47B2899792C}"/>
              </a:ext>
            </a:extLst>
          </p:cNvPr>
          <p:cNvSpPr/>
          <p:nvPr userDrawn="1"/>
        </p:nvSpPr>
        <p:spPr>
          <a:xfrm>
            <a:off x="11812530" y="336137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1" name="Rechthoek 50">
            <a:extLst>
              <a:ext uri="{FF2B5EF4-FFF2-40B4-BE49-F238E27FC236}">
                <a16:creationId xmlns:a16="http://schemas.microsoft.com/office/drawing/2014/main" id="{83FFBB94-D807-FC40-B9B8-B03B3168982F}"/>
              </a:ext>
            </a:extLst>
          </p:cNvPr>
          <p:cNvSpPr/>
          <p:nvPr userDrawn="1"/>
        </p:nvSpPr>
        <p:spPr>
          <a:xfrm>
            <a:off x="10375285"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2" name="Rechthoek 51">
            <a:extLst>
              <a:ext uri="{FF2B5EF4-FFF2-40B4-BE49-F238E27FC236}">
                <a16:creationId xmlns:a16="http://schemas.microsoft.com/office/drawing/2014/main" id="{26649506-57CA-584E-BB9E-12E190315725}"/>
              </a:ext>
            </a:extLst>
          </p:cNvPr>
          <p:cNvSpPr/>
          <p:nvPr userDrawn="1"/>
        </p:nvSpPr>
        <p:spPr>
          <a:xfrm>
            <a:off x="11093904"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3" name="Rechthoek 52">
            <a:extLst>
              <a:ext uri="{FF2B5EF4-FFF2-40B4-BE49-F238E27FC236}">
                <a16:creationId xmlns:a16="http://schemas.microsoft.com/office/drawing/2014/main" id="{9ABCE9FA-184A-9740-B029-C9D0491434E4}"/>
              </a:ext>
            </a:extLst>
          </p:cNvPr>
          <p:cNvSpPr/>
          <p:nvPr userDrawn="1"/>
        </p:nvSpPr>
        <p:spPr>
          <a:xfrm>
            <a:off x="11812530" y="2642038"/>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4" name="Rechthoek 53">
            <a:extLst>
              <a:ext uri="{FF2B5EF4-FFF2-40B4-BE49-F238E27FC236}">
                <a16:creationId xmlns:a16="http://schemas.microsoft.com/office/drawing/2014/main" id="{B75F4DAA-971A-2245-832C-2015278FA2F7}"/>
              </a:ext>
            </a:extLst>
          </p:cNvPr>
          <p:cNvSpPr/>
          <p:nvPr userDrawn="1"/>
        </p:nvSpPr>
        <p:spPr>
          <a:xfrm>
            <a:off x="10375285"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5" name="Rechthoek 54">
            <a:extLst>
              <a:ext uri="{FF2B5EF4-FFF2-40B4-BE49-F238E27FC236}">
                <a16:creationId xmlns:a16="http://schemas.microsoft.com/office/drawing/2014/main" id="{393D39BE-E919-184C-8CD6-685BF8636796}"/>
              </a:ext>
            </a:extLst>
          </p:cNvPr>
          <p:cNvSpPr/>
          <p:nvPr userDrawn="1"/>
        </p:nvSpPr>
        <p:spPr>
          <a:xfrm>
            <a:off x="11093904"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6" name="Rechthoek 55">
            <a:extLst>
              <a:ext uri="{FF2B5EF4-FFF2-40B4-BE49-F238E27FC236}">
                <a16:creationId xmlns:a16="http://schemas.microsoft.com/office/drawing/2014/main" id="{5CC6D1B3-7EB3-7A48-BEEF-BAF2DCA8D37F}"/>
              </a:ext>
            </a:extLst>
          </p:cNvPr>
          <p:cNvSpPr/>
          <p:nvPr userDrawn="1"/>
        </p:nvSpPr>
        <p:spPr>
          <a:xfrm>
            <a:off x="11812530" y="4800052"/>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7" name="Rechthoek 56">
            <a:extLst>
              <a:ext uri="{FF2B5EF4-FFF2-40B4-BE49-F238E27FC236}">
                <a16:creationId xmlns:a16="http://schemas.microsoft.com/office/drawing/2014/main" id="{77C31678-367D-B344-A03E-BF4BFB263C7F}"/>
              </a:ext>
            </a:extLst>
          </p:cNvPr>
          <p:cNvSpPr/>
          <p:nvPr userDrawn="1"/>
        </p:nvSpPr>
        <p:spPr>
          <a:xfrm>
            <a:off x="10375285"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8" name="Rechthoek 57">
            <a:extLst>
              <a:ext uri="{FF2B5EF4-FFF2-40B4-BE49-F238E27FC236}">
                <a16:creationId xmlns:a16="http://schemas.microsoft.com/office/drawing/2014/main" id="{BDEF99E6-6B0A-2144-A2AE-4BECAE08FBA1}"/>
              </a:ext>
            </a:extLst>
          </p:cNvPr>
          <p:cNvSpPr/>
          <p:nvPr userDrawn="1"/>
        </p:nvSpPr>
        <p:spPr>
          <a:xfrm>
            <a:off x="11093904"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9" name="Rechthoek 58">
            <a:extLst>
              <a:ext uri="{FF2B5EF4-FFF2-40B4-BE49-F238E27FC236}">
                <a16:creationId xmlns:a16="http://schemas.microsoft.com/office/drawing/2014/main" id="{EB3C4AD7-8FE8-3048-B930-9E28267477D0}"/>
              </a:ext>
            </a:extLst>
          </p:cNvPr>
          <p:cNvSpPr/>
          <p:nvPr userDrawn="1"/>
        </p:nvSpPr>
        <p:spPr>
          <a:xfrm>
            <a:off x="11812530" y="5519390"/>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0" name="Rechthoek 59">
            <a:extLst>
              <a:ext uri="{FF2B5EF4-FFF2-40B4-BE49-F238E27FC236}">
                <a16:creationId xmlns:a16="http://schemas.microsoft.com/office/drawing/2014/main" id="{EFDBD7B9-64E6-8F49-90E3-B8D3628B2286}"/>
              </a:ext>
            </a:extLst>
          </p:cNvPr>
          <p:cNvSpPr/>
          <p:nvPr userDrawn="1"/>
        </p:nvSpPr>
        <p:spPr>
          <a:xfrm>
            <a:off x="10375285"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6C72D90A-7BBF-914F-AFC3-1544641A8ABD}"/>
              </a:ext>
            </a:extLst>
          </p:cNvPr>
          <p:cNvSpPr/>
          <p:nvPr userDrawn="1"/>
        </p:nvSpPr>
        <p:spPr>
          <a:xfrm>
            <a:off x="11093904"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A034B4F5-2777-224B-AE0F-FBB368813C68}"/>
              </a:ext>
            </a:extLst>
          </p:cNvPr>
          <p:cNvSpPr/>
          <p:nvPr userDrawn="1"/>
        </p:nvSpPr>
        <p:spPr>
          <a:xfrm>
            <a:off x="11812530" y="6238725"/>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 name="Vrije vorm 7">
            <a:extLst>
              <a:ext uri="{FF2B5EF4-FFF2-40B4-BE49-F238E27FC236}">
                <a16:creationId xmlns:a16="http://schemas.microsoft.com/office/drawing/2014/main" id="{0DA5CFBA-55E0-5044-AA73-77ED79946507}"/>
              </a:ext>
            </a:extLst>
          </p:cNvPr>
          <p:cNvSpPr>
            <a:spLocks/>
          </p:cNvSpPr>
          <p:nvPr userDrawn="1"/>
        </p:nvSpPr>
        <p:spPr bwMode="auto">
          <a:xfrm>
            <a:off x="347642" y="520566"/>
            <a:ext cx="9342986" cy="5037607"/>
          </a:xfrm>
          <a:custGeom>
            <a:avLst/>
            <a:gdLst>
              <a:gd name="connsiteX0" fmla="*/ 0 w 9342986"/>
              <a:gd name="connsiteY0" fmla="*/ 0 h 5037607"/>
              <a:gd name="connsiteX1" fmla="*/ 9342986 w 9342986"/>
              <a:gd name="connsiteY1" fmla="*/ 0 h 5037607"/>
              <a:gd name="connsiteX2" fmla="*/ 9342986 w 9342986"/>
              <a:gd name="connsiteY2" fmla="*/ 4761792 h 5037607"/>
              <a:gd name="connsiteX3" fmla="*/ 8734661 w 9342986"/>
              <a:gd name="connsiteY3" fmla="*/ 5037607 h 5037607"/>
              <a:gd name="connsiteX4" fmla="*/ 0 w 9342986"/>
              <a:gd name="connsiteY4" fmla="*/ 5037607 h 503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2986" h="5037607">
                <a:moveTo>
                  <a:pt x="0" y="0"/>
                </a:moveTo>
                <a:lnTo>
                  <a:pt x="9342986" y="0"/>
                </a:lnTo>
                <a:lnTo>
                  <a:pt x="9342986" y="4761792"/>
                </a:lnTo>
                <a:lnTo>
                  <a:pt x="8734661" y="5037607"/>
                </a:lnTo>
                <a:lnTo>
                  <a:pt x="0" y="5037607"/>
                </a:lnTo>
                <a:close/>
              </a:path>
            </a:pathLst>
          </a:custGeom>
          <a:solidFill>
            <a:schemeClr val="bg1"/>
          </a:solidFill>
          <a:ln>
            <a:noFill/>
          </a:ln>
        </p:spPr>
        <p:txBody>
          <a:bodyPr vert="horz" wrap="square" lIns="91419" tIns="45709" rIns="91419" bIns="45709" numCol="1" anchor="t" anchorCtr="0" compatLnSpc="1">
            <a:prstTxWarp prst="textNoShape">
              <a:avLst/>
            </a:prstTxWarp>
            <a:noAutofit/>
          </a:bodyPr>
          <a:lstStyle/>
          <a:p>
            <a:endParaRPr lang="nl-NL" sz="1116" noProof="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a:xfrm>
            <a:off x="1347597" y="6378834"/>
            <a:ext cx="1528579" cy="365125"/>
          </a:xfrm>
          <a:prstGeom prst="rect">
            <a:avLst/>
          </a:prstGeom>
        </p:spPr>
        <p:txBody>
          <a:bodyPr/>
          <a:lstStyle>
            <a:lvl1pPr>
              <a:defRPr>
                <a:solidFill>
                  <a:schemeClr val="bg1"/>
                </a:solidFill>
              </a:defRPr>
            </a:lvl1pPr>
          </a:lstStyle>
          <a:p>
            <a:fld id="{F657690D-DCD4-4BF8-B92C-DCFDDA31D773}" type="datetime4">
              <a:rPr lang="en-GB" noProof="0" smtClean="0"/>
              <a:t>23 January 2025</a:t>
            </a:fld>
            <a:endParaRPr lang="nl-NL"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a:xfrm>
            <a:off x="3151752" y="6378834"/>
            <a:ext cx="4616234" cy="365125"/>
          </a:xfrm>
          <a:prstGeom prst="rect">
            <a:avLst/>
          </a:prstGeom>
        </p:spPr>
        <p:txBody>
          <a:bodyPr/>
          <a:lstStyle>
            <a:lvl1pPr>
              <a:defRPr b="1" i="0">
                <a:solidFill>
                  <a:schemeClr val="bg1"/>
                </a:solidFill>
                <a:latin typeface="Arial" panose="020B0604020202020204" pitchFamily="34" charset="0"/>
                <a:cs typeface="Arial" panose="020B0604020202020204" pitchFamily="34" charset="0"/>
              </a:defRPr>
            </a:lvl1pPr>
          </a:lstStyle>
          <a:p>
            <a:r>
              <a:rPr lang="nl-NL" noProof="0"/>
              <a:t>Confidentiality</a:t>
            </a:r>
            <a:endParaRPr lang="nl-NL" noProof="0">
              <a:cs typeface="Arial" panose="020B0604020202020204" pitchFamily="34" charset="0"/>
            </a:endParaRP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a:xfrm>
            <a:off x="454699" y="6378834"/>
            <a:ext cx="514165" cy="365125"/>
          </a:xfrm>
          <a:prstGeom prst="rect">
            <a:avLst/>
          </a:prstGeom>
        </p:spPr>
        <p:txBody>
          <a:bodyPr/>
          <a:lstStyle>
            <a:lvl1pPr>
              <a:defRPr>
                <a:solidFill>
                  <a:schemeClr val="bg1"/>
                </a:solidFill>
              </a:defRPr>
            </a:lvl1pPr>
          </a:lstStyle>
          <a:p>
            <a:fld id="{3B0AF0F1-83F4-0746-A551-EEC1F1FEC0BD}" type="slidenum">
              <a:rPr lang="nl-NL" noProof="0" smtClean="0"/>
              <a:pPr/>
              <a:t>‹Nr.›</a:t>
            </a:fld>
            <a:endParaRPr lang="nl-NL" noProof="0"/>
          </a:p>
        </p:txBody>
      </p:sp>
      <p:pic>
        <p:nvPicPr>
          <p:cNvPr id="63" name="Picture 10">
            <a:extLst>
              <a:ext uri="{FF2B5EF4-FFF2-40B4-BE49-F238E27FC236}">
                <a16:creationId xmlns:a16="http://schemas.microsoft.com/office/drawing/2014/main" id="{230B2EAD-0DD4-46B3-9BD5-FAF2A8A049DD}"/>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0789199" y="6472800"/>
            <a:ext cx="954000" cy="179999"/>
          </a:xfrm>
          <a:prstGeom prst="rect">
            <a:avLst/>
          </a:prstGeom>
        </p:spPr>
      </p:pic>
      <p:cxnSp>
        <p:nvCxnSpPr>
          <p:cNvPr id="67" name="Rechte verbindingslijn 23">
            <a:extLst>
              <a:ext uri="{FF2B5EF4-FFF2-40B4-BE49-F238E27FC236}">
                <a16:creationId xmlns:a16="http://schemas.microsoft.com/office/drawing/2014/main" id="{4C93718A-C4D6-445E-8B3C-F4B59C0DB0E6}"/>
              </a:ext>
            </a:extLst>
          </p:cNvPr>
          <p:cNvCxnSpPr>
            <a:cxnSpLocks/>
          </p:cNvCxnSpPr>
          <p:nvPr userDrawn="1"/>
        </p:nvCxnSpPr>
        <p:spPr>
          <a:xfrm rot="5400000">
            <a:off x="7991298" y="3135230"/>
            <a:ext cx="627628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TextBox 5">
            <a:extLst>
              <a:ext uri="{FF2B5EF4-FFF2-40B4-BE49-F238E27FC236}">
                <a16:creationId xmlns:a16="http://schemas.microsoft.com/office/drawing/2014/main" id="{0BBE1770-7710-4E63-A932-3D1B3814AA0D}"/>
              </a:ext>
            </a:extLst>
          </p:cNvPr>
          <p:cNvSpPr txBox="1"/>
          <p:nvPr userDrawn="1"/>
        </p:nvSpPr>
        <p:spPr>
          <a:xfrm>
            <a:off x="718487" y="840159"/>
            <a:ext cx="8509593" cy="4431983"/>
          </a:xfrm>
          <a:prstGeom prst="rect">
            <a:avLst/>
          </a:prstGeom>
          <a:noFill/>
        </p:spPr>
        <p:txBody>
          <a:bodyPr wrap="square" lIns="0" tIns="0" rIns="0" bIns="0" rtlCol="0">
            <a:spAutoFit/>
          </a:bodyPr>
          <a:lstStyle/>
          <a:p>
            <a:r>
              <a:rPr lang="nl-NL" sz="1800" kern="1200" noProof="0" dirty="0">
                <a:solidFill>
                  <a:schemeClr val="tx1"/>
                </a:solidFill>
                <a:effectLst/>
                <a:latin typeface="+mn-lt"/>
                <a:ea typeface="+mn-ea"/>
                <a:cs typeface="+mn-cs"/>
              </a:rPr>
              <a:t>TenneT is een toonaangevende Europese netbeheerder (Transmission System Operator, TSO). Wij zetten ons in voor een veilige en betrouwbare elektriciteitsvoorziening, 24 uur per dag en 365 dagen per jaar. Daarbij stimuleren we de energietransitie met als doel een duurzame, betrouwbare en betaalbare energietoekomst. Als eerste grensoverschrijdende TSO ontwerpen, bouwen, onderhouden en exploiteren we 24.500 kilometer aan hoogspanningsverbindingen in Nederland en grote delen van Duitsland, en faciliteren we de Europese energiemarkt via de 16 </a:t>
            </a:r>
            <a:r>
              <a:rPr lang="nl-NL" sz="1800" kern="1200" noProof="0" dirty="0" err="1">
                <a:solidFill>
                  <a:schemeClr val="tx1"/>
                </a:solidFill>
                <a:effectLst/>
                <a:latin typeface="+mn-lt"/>
                <a:ea typeface="+mn-ea"/>
                <a:cs typeface="+mn-cs"/>
              </a:rPr>
              <a:t>interconnectoren</a:t>
            </a:r>
            <a:r>
              <a:rPr lang="nl-NL" sz="1800" kern="1200" noProof="0" dirty="0">
                <a:solidFill>
                  <a:schemeClr val="tx1"/>
                </a:solidFill>
                <a:effectLst/>
                <a:latin typeface="+mn-lt"/>
                <a:ea typeface="+mn-ea"/>
                <a:cs typeface="+mn-cs"/>
              </a:rPr>
              <a:t> met onze buurlanden. Met een omzet van 6,4 miljard euro en een totale activawaarde van 32 miljard euro zijn we een van de grootste investeerders in nationale en internationale elektriciteitsnetten, zowel onshore als offshore. Elke dag stellen onze 6.600 medewerkers alles in het werk om tegemoet te komen aan de behoeften van de samenleving door het tonen van eigenaarschap, moed en verbinding. Samen zorgen we ervoor dat meer dan </a:t>
            </a:r>
            <a:br>
              <a:rPr lang="nl-NL" sz="1800" kern="1200" noProof="0" dirty="0">
                <a:solidFill>
                  <a:schemeClr val="tx1"/>
                </a:solidFill>
                <a:effectLst/>
                <a:latin typeface="+mn-lt"/>
                <a:ea typeface="+mn-ea"/>
                <a:cs typeface="+mn-cs"/>
              </a:rPr>
            </a:br>
            <a:r>
              <a:rPr lang="nl-NL" sz="1800" kern="1200" noProof="0" dirty="0">
                <a:solidFill>
                  <a:schemeClr val="tx1"/>
                </a:solidFill>
                <a:effectLst/>
                <a:latin typeface="+mn-lt"/>
                <a:ea typeface="+mn-ea"/>
                <a:cs typeface="+mn-cs"/>
              </a:rPr>
              <a:t>42 miljoen eindgebruikers op een stabiele elektriciteitsvoorziening kunnen rekenen. </a:t>
            </a:r>
            <a:br>
              <a:rPr lang="nl-NL" sz="1800" kern="1200" noProof="0" dirty="0">
                <a:solidFill>
                  <a:schemeClr val="tx1"/>
                </a:solidFill>
                <a:effectLst/>
                <a:latin typeface="+mn-lt"/>
                <a:ea typeface="+mn-ea"/>
                <a:cs typeface="+mn-cs"/>
              </a:rPr>
            </a:br>
            <a:endParaRPr lang="nl-NL" sz="1800" kern="1200" noProof="0" dirty="0">
              <a:solidFill>
                <a:schemeClr val="tx1"/>
              </a:solidFill>
              <a:effectLst/>
              <a:latin typeface="+mn-lt"/>
              <a:ea typeface="+mn-ea"/>
              <a:cs typeface="+mn-cs"/>
            </a:endParaRPr>
          </a:p>
          <a:p>
            <a:r>
              <a:rPr lang="nl-NL" sz="1800" kern="1200" noProof="0" dirty="0" err="1">
                <a:solidFill>
                  <a:schemeClr val="tx1"/>
                </a:solidFill>
                <a:effectLst/>
                <a:latin typeface="+mn-lt"/>
                <a:ea typeface="+mn-ea"/>
                <a:cs typeface="+mn-cs"/>
              </a:rPr>
              <a:t>Lighting</a:t>
            </a:r>
            <a:r>
              <a:rPr lang="nl-NL" sz="1800" kern="1200" noProof="0" dirty="0">
                <a:solidFill>
                  <a:schemeClr val="tx1"/>
                </a:solidFill>
                <a:effectLst/>
                <a:latin typeface="+mn-lt"/>
                <a:ea typeface="+mn-ea"/>
                <a:cs typeface="+mn-cs"/>
              </a:rPr>
              <a:t> </a:t>
            </a:r>
            <a:r>
              <a:rPr lang="nl-NL" sz="1800" kern="1200" noProof="0" dirty="0" err="1">
                <a:solidFill>
                  <a:schemeClr val="tx1"/>
                </a:solidFill>
                <a:effectLst/>
                <a:latin typeface="+mn-lt"/>
                <a:ea typeface="+mn-ea"/>
                <a:cs typeface="+mn-cs"/>
              </a:rPr>
              <a:t>the</a:t>
            </a:r>
            <a:r>
              <a:rPr lang="nl-NL" sz="1800" kern="1200" noProof="0" dirty="0">
                <a:solidFill>
                  <a:schemeClr val="tx1"/>
                </a:solidFill>
                <a:effectLst/>
                <a:latin typeface="+mn-lt"/>
                <a:ea typeface="+mn-ea"/>
                <a:cs typeface="+mn-cs"/>
              </a:rPr>
              <a:t> way </a:t>
            </a:r>
            <a:r>
              <a:rPr lang="nl-NL" sz="1800" kern="1200" noProof="0" dirty="0" err="1">
                <a:solidFill>
                  <a:schemeClr val="tx1"/>
                </a:solidFill>
                <a:effectLst/>
                <a:latin typeface="+mn-lt"/>
                <a:ea typeface="+mn-ea"/>
                <a:cs typeface="+mn-cs"/>
              </a:rPr>
              <a:t>ahead</a:t>
            </a:r>
            <a:r>
              <a:rPr lang="nl-NL" sz="1800" kern="1200" noProof="0" dirty="0">
                <a:solidFill>
                  <a:schemeClr val="tx1"/>
                </a:solidFill>
                <a:effectLst/>
                <a:latin typeface="+mn-lt"/>
                <a:ea typeface="+mn-ea"/>
                <a:cs typeface="+mn-cs"/>
              </a:rPr>
              <a:t> </a:t>
            </a:r>
            <a:r>
              <a:rPr lang="nl-NL" sz="1800" kern="1200" noProof="0" dirty="0" err="1">
                <a:solidFill>
                  <a:schemeClr val="tx1"/>
                </a:solidFill>
                <a:effectLst/>
                <a:latin typeface="+mn-lt"/>
                <a:ea typeface="+mn-ea"/>
                <a:cs typeface="+mn-cs"/>
              </a:rPr>
              <a:t>together</a:t>
            </a:r>
            <a:r>
              <a:rPr lang="nl-NL" sz="1800" kern="1200" noProof="0" dirty="0">
                <a:solidFill>
                  <a:schemeClr val="tx1"/>
                </a:solidFill>
                <a:effectLst/>
                <a:latin typeface="+mn-lt"/>
                <a:ea typeface="+mn-ea"/>
                <a:cs typeface="+mn-cs"/>
              </a:rPr>
              <a:t>. </a:t>
            </a:r>
          </a:p>
        </p:txBody>
      </p:sp>
    </p:spTree>
    <p:extLst>
      <p:ext uri="{BB962C8B-B14F-4D97-AF65-F5344CB8AC3E}">
        <p14:creationId xmlns:p14="http://schemas.microsoft.com/office/powerpoint/2010/main" val="7943096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 moment of safety – EN">
    <p:bg>
      <p:bgPr>
        <a:solidFill>
          <a:schemeClr val="bg1"/>
        </a:solidFill>
        <a:effectLst/>
      </p:bgPr>
    </p:bg>
    <p:spTree>
      <p:nvGrpSpPr>
        <p:cNvPr id="1" name=""/>
        <p:cNvGrpSpPr/>
        <p:nvPr/>
      </p:nvGrpSpPr>
      <p:grpSpPr>
        <a:xfrm>
          <a:off x="0" y="0"/>
          <a:ext cx="0" cy="0"/>
          <a:chOff x="0" y="0"/>
          <a:chExt cx="0" cy="0"/>
        </a:xfrm>
      </p:grpSpPr>
      <p:sp>
        <p:nvSpPr>
          <p:cNvPr id="339" name="Vrije vorm 338">
            <a:extLst>
              <a:ext uri="{FF2B5EF4-FFF2-40B4-BE49-F238E27FC236}">
                <a16:creationId xmlns:a16="http://schemas.microsoft.com/office/drawing/2014/main" id="{1AE144A2-56E7-0847-BDB2-E98F69D93B18}"/>
              </a:ext>
            </a:extLst>
          </p:cNvPr>
          <p:cNvSpPr/>
          <p:nvPr userDrawn="1"/>
        </p:nvSpPr>
        <p:spPr>
          <a:xfrm>
            <a:off x="0" y="161"/>
            <a:ext cx="12192000" cy="6058829"/>
          </a:xfrm>
          <a:custGeom>
            <a:avLst/>
            <a:gdLst>
              <a:gd name="connsiteX0" fmla="*/ 0 w 12192000"/>
              <a:gd name="connsiteY0" fmla="*/ 0 h 6058829"/>
              <a:gd name="connsiteX1" fmla="*/ 12192000 w 12192000"/>
              <a:gd name="connsiteY1" fmla="*/ 0 h 6058829"/>
              <a:gd name="connsiteX2" fmla="*/ 12192000 w 12192000"/>
              <a:gd name="connsiteY2" fmla="*/ 5887378 h 6058829"/>
              <a:gd name="connsiteX3" fmla="*/ 11813856 w 12192000"/>
              <a:gd name="connsiteY3" fmla="*/ 6058829 h 6058829"/>
              <a:gd name="connsiteX4" fmla="*/ 0 w 12192000"/>
              <a:gd name="connsiteY4" fmla="*/ 6058829 h 6058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058829">
                <a:moveTo>
                  <a:pt x="0" y="0"/>
                </a:moveTo>
                <a:lnTo>
                  <a:pt x="12192000" y="0"/>
                </a:lnTo>
                <a:lnTo>
                  <a:pt x="12192000" y="5887378"/>
                </a:lnTo>
                <a:lnTo>
                  <a:pt x="11813856" y="6058829"/>
                </a:lnTo>
                <a:lnTo>
                  <a:pt x="0" y="6058829"/>
                </a:lnTo>
                <a:close/>
              </a:path>
            </a:pathLst>
          </a:custGeom>
          <a:solidFill>
            <a:srgbClr val="D2E6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dirty="0"/>
          </a:p>
        </p:txBody>
      </p:sp>
      <p:grpSp>
        <p:nvGrpSpPr>
          <p:cNvPr id="337" name="Groep 336">
            <a:extLst>
              <a:ext uri="{FF2B5EF4-FFF2-40B4-BE49-F238E27FC236}">
                <a16:creationId xmlns:a16="http://schemas.microsoft.com/office/drawing/2014/main" id="{272709AC-6499-5C4A-AE3C-EFC1261B8C09}"/>
              </a:ext>
            </a:extLst>
          </p:cNvPr>
          <p:cNvGrpSpPr/>
          <p:nvPr userDrawn="1"/>
        </p:nvGrpSpPr>
        <p:grpSpPr>
          <a:xfrm>
            <a:off x="329951" y="96343"/>
            <a:ext cx="11575154" cy="5826059"/>
            <a:chOff x="329951" y="96343"/>
            <a:chExt cx="11575154" cy="5826059"/>
          </a:xfrm>
        </p:grpSpPr>
        <p:sp>
          <p:nvSpPr>
            <p:cNvPr id="24" name="Rechthoek 23">
              <a:extLst>
                <a:ext uri="{FF2B5EF4-FFF2-40B4-BE49-F238E27FC236}">
                  <a16:creationId xmlns:a16="http://schemas.microsoft.com/office/drawing/2014/main" id="{163141D3-FC3C-F144-A4C0-F65A3B749D61}"/>
                </a:ext>
              </a:extLst>
            </p:cNvPr>
            <p:cNvSpPr/>
            <p:nvPr userDrawn="1"/>
          </p:nvSpPr>
          <p:spPr>
            <a:xfrm>
              <a:off x="329951"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5" name="Rechthoek 24">
              <a:extLst>
                <a:ext uri="{FF2B5EF4-FFF2-40B4-BE49-F238E27FC236}">
                  <a16:creationId xmlns:a16="http://schemas.microsoft.com/office/drawing/2014/main" id="{05E9D430-E98D-FB41-9DFC-5FA9AB34170C}"/>
                </a:ext>
              </a:extLst>
            </p:cNvPr>
            <p:cNvSpPr/>
            <p:nvPr userDrawn="1"/>
          </p:nvSpPr>
          <p:spPr>
            <a:xfrm>
              <a:off x="329951"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6" name="Rechthoek 25">
              <a:extLst>
                <a:ext uri="{FF2B5EF4-FFF2-40B4-BE49-F238E27FC236}">
                  <a16:creationId xmlns:a16="http://schemas.microsoft.com/office/drawing/2014/main" id="{F43ADCCE-3D24-A74A-BDDC-A4F065076A70}"/>
                </a:ext>
              </a:extLst>
            </p:cNvPr>
            <p:cNvSpPr/>
            <p:nvPr userDrawn="1"/>
          </p:nvSpPr>
          <p:spPr>
            <a:xfrm>
              <a:off x="285451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7" name="Rechthoek 26">
              <a:extLst>
                <a:ext uri="{FF2B5EF4-FFF2-40B4-BE49-F238E27FC236}">
                  <a16:creationId xmlns:a16="http://schemas.microsoft.com/office/drawing/2014/main" id="{903E1EBD-0C75-B346-8730-3536D7FD86BF}"/>
                </a:ext>
              </a:extLst>
            </p:cNvPr>
            <p:cNvSpPr/>
            <p:nvPr userDrawn="1"/>
          </p:nvSpPr>
          <p:spPr>
            <a:xfrm>
              <a:off x="321415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8" name="Rechthoek 27">
              <a:extLst>
                <a:ext uri="{FF2B5EF4-FFF2-40B4-BE49-F238E27FC236}">
                  <a16:creationId xmlns:a16="http://schemas.microsoft.com/office/drawing/2014/main" id="{D53F4434-4F41-084E-A279-66D06070700F}"/>
                </a:ext>
              </a:extLst>
            </p:cNvPr>
            <p:cNvSpPr/>
            <p:nvPr userDrawn="1"/>
          </p:nvSpPr>
          <p:spPr>
            <a:xfrm>
              <a:off x="249328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9" name="Rechthoek 28">
              <a:extLst>
                <a:ext uri="{FF2B5EF4-FFF2-40B4-BE49-F238E27FC236}">
                  <a16:creationId xmlns:a16="http://schemas.microsoft.com/office/drawing/2014/main" id="{D61B622F-A3D5-CE42-8EEA-870260BC91B1}"/>
                </a:ext>
              </a:extLst>
            </p:cNvPr>
            <p:cNvSpPr/>
            <p:nvPr userDrawn="1"/>
          </p:nvSpPr>
          <p:spPr>
            <a:xfrm>
              <a:off x="177082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0" name="Rechthoek 29">
              <a:extLst>
                <a:ext uri="{FF2B5EF4-FFF2-40B4-BE49-F238E27FC236}">
                  <a16:creationId xmlns:a16="http://schemas.microsoft.com/office/drawing/2014/main" id="{5852AF2F-9B57-D94E-A125-0D32A32C0A0D}"/>
                </a:ext>
              </a:extLst>
            </p:cNvPr>
            <p:cNvSpPr/>
            <p:nvPr userDrawn="1"/>
          </p:nvSpPr>
          <p:spPr>
            <a:xfrm>
              <a:off x="213205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1" name="Rechthoek 30">
              <a:extLst>
                <a:ext uri="{FF2B5EF4-FFF2-40B4-BE49-F238E27FC236}">
                  <a16:creationId xmlns:a16="http://schemas.microsoft.com/office/drawing/2014/main" id="{EF097089-294E-804A-A1FD-3BFEB104C364}"/>
                </a:ext>
              </a:extLst>
            </p:cNvPr>
            <p:cNvSpPr/>
            <p:nvPr userDrawn="1"/>
          </p:nvSpPr>
          <p:spPr>
            <a:xfrm>
              <a:off x="140958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2" name="Rechthoek 31">
              <a:extLst>
                <a:ext uri="{FF2B5EF4-FFF2-40B4-BE49-F238E27FC236}">
                  <a16:creationId xmlns:a16="http://schemas.microsoft.com/office/drawing/2014/main" id="{8A1BCE83-3631-FA47-8832-C881A56CA072}"/>
                </a:ext>
              </a:extLst>
            </p:cNvPr>
            <p:cNvSpPr/>
            <p:nvPr userDrawn="1"/>
          </p:nvSpPr>
          <p:spPr>
            <a:xfrm>
              <a:off x="69118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3" name="Rechthoek 32">
              <a:extLst>
                <a:ext uri="{FF2B5EF4-FFF2-40B4-BE49-F238E27FC236}">
                  <a16:creationId xmlns:a16="http://schemas.microsoft.com/office/drawing/2014/main" id="{867C3A7B-7D33-604C-9DAC-C110ABC7D460}"/>
                </a:ext>
              </a:extLst>
            </p:cNvPr>
            <p:cNvSpPr/>
            <p:nvPr userDrawn="1"/>
          </p:nvSpPr>
          <p:spPr>
            <a:xfrm>
              <a:off x="105241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4" name="Rechthoek 33">
              <a:extLst>
                <a:ext uri="{FF2B5EF4-FFF2-40B4-BE49-F238E27FC236}">
                  <a16:creationId xmlns:a16="http://schemas.microsoft.com/office/drawing/2014/main" id="{63A364C2-49CA-4242-AD34-F6B352289A7D}"/>
                </a:ext>
              </a:extLst>
            </p:cNvPr>
            <p:cNvSpPr/>
            <p:nvPr userDrawn="1"/>
          </p:nvSpPr>
          <p:spPr>
            <a:xfrm>
              <a:off x="32995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5" name="Rechthoek 34">
              <a:extLst>
                <a:ext uri="{FF2B5EF4-FFF2-40B4-BE49-F238E27FC236}">
                  <a16:creationId xmlns:a16="http://schemas.microsoft.com/office/drawing/2014/main" id="{0224041D-22CA-684D-9642-E5C38CB2C02F}"/>
                </a:ext>
              </a:extLst>
            </p:cNvPr>
            <p:cNvSpPr/>
            <p:nvPr userDrawn="1"/>
          </p:nvSpPr>
          <p:spPr>
            <a:xfrm>
              <a:off x="357406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6" name="Rechthoek 35">
              <a:extLst>
                <a:ext uri="{FF2B5EF4-FFF2-40B4-BE49-F238E27FC236}">
                  <a16:creationId xmlns:a16="http://schemas.microsoft.com/office/drawing/2014/main" id="{BC591C27-0F26-434F-9232-B3B49B6B602C}"/>
                </a:ext>
              </a:extLst>
            </p:cNvPr>
            <p:cNvSpPr/>
            <p:nvPr userDrawn="1"/>
          </p:nvSpPr>
          <p:spPr>
            <a:xfrm>
              <a:off x="393715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7" name="Rechthoek 36">
              <a:extLst>
                <a:ext uri="{FF2B5EF4-FFF2-40B4-BE49-F238E27FC236}">
                  <a16:creationId xmlns:a16="http://schemas.microsoft.com/office/drawing/2014/main" id="{685B2004-92A9-E147-873C-A793805A2B8F}"/>
                </a:ext>
              </a:extLst>
            </p:cNvPr>
            <p:cNvSpPr/>
            <p:nvPr userDrawn="1"/>
          </p:nvSpPr>
          <p:spPr>
            <a:xfrm>
              <a:off x="429706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8" name="Rechthoek 37">
              <a:extLst>
                <a:ext uri="{FF2B5EF4-FFF2-40B4-BE49-F238E27FC236}">
                  <a16:creationId xmlns:a16="http://schemas.microsoft.com/office/drawing/2014/main" id="{6F1825D7-BD95-C444-AF68-0564250C5D43}"/>
                </a:ext>
              </a:extLst>
            </p:cNvPr>
            <p:cNvSpPr/>
            <p:nvPr userDrawn="1"/>
          </p:nvSpPr>
          <p:spPr>
            <a:xfrm>
              <a:off x="465856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9" name="Rechthoek 38">
              <a:extLst>
                <a:ext uri="{FF2B5EF4-FFF2-40B4-BE49-F238E27FC236}">
                  <a16:creationId xmlns:a16="http://schemas.microsoft.com/office/drawing/2014/main" id="{8AAB4811-405B-0844-9130-D0653E27FCA6}"/>
                </a:ext>
              </a:extLst>
            </p:cNvPr>
            <p:cNvSpPr/>
            <p:nvPr userDrawn="1"/>
          </p:nvSpPr>
          <p:spPr>
            <a:xfrm>
              <a:off x="501847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0" name="Rechthoek 39">
              <a:extLst>
                <a:ext uri="{FF2B5EF4-FFF2-40B4-BE49-F238E27FC236}">
                  <a16:creationId xmlns:a16="http://schemas.microsoft.com/office/drawing/2014/main" id="{6AF8BD4E-36E4-834F-BD5F-637F301562AC}"/>
                </a:ext>
              </a:extLst>
            </p:cNvPr>
            <p:cNvSpPr/>
            <p:nvPr userDrawn="1"/>
          </p:nvSpPr>
          <p:spPr>
            <a:xfrm>
              <a:off x="537837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1" name="Rechthoek 40">
              <a:extLst>
                <a:ext uri="{FF2B5EF4-FFF2-40B4-BE49-F238E27FC236}">
                  <a16:creationId xmlns:a16="http://schemas.microsoft.com/office/drawing/2014/main" id="{D842C925-DA20-8741-9BFA-4C7DFB35671C}"/>
                </a:ext>
              </a:extLst>
            </p:cNvPr>
            <p:cNvSpPr/>
            <p:nvPr userDrawn="1"/>
          </p:nvSpPr>
          <p:spPr>
            <a:xfrm>
              <a:off x="573987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2" name="Rechthoek 41">
              <a:extLst>
                <a:ext uri="{FF2B5EF4-FFF2-40B4-BE49-F238E27FC236}">
                  <a16:creationId xmlns:a16="http://schemas.microsoft.com/office/drawing/2014/main" id="{867C1841-2F4E-5F4D-93E1-83BF35C4C13E}"/>
                </a:ext>
              </a:extLst>
            </p:cNvPr>
            <p:cNvSpPr/>
            <p:nvPr userDrawn="1"/>
          </p:nvSpPr>
          <p:spPr>
            <a:xfrm>
              <a:off x="329951"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3" name="Rechthoek 42">
              <a:extLst>
                <a:ext uri="{FF2B5EF4-FFF2-40B4-BE49-F238E27FC236}">
                  <a16:creationId xmlns:a16="http://schemas.microsoft.com/office/drawing/2014/main" id="{D36C9464-149E-E840-B37C-92654CB35B01}"/>
                </a:ext>
              </a:extLst>
            </p:cNvPr>
            <p:cNvSpPr/>
            <p:nvPr userDrawn="1"/>
          </p:nvSpPr>
          <p:spPr>
            <a:xfrm>
              <a:off x="329951"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4" name="Rechthoek 43">
              <a:extLst>
                <a:ext uri="{FF2B5EF4-FFF2-40B4-BE49-F238E27FC236}">
                  <a16:creationId xmlns:a16="http://schemas.microsoft.com/office/drawing/2014/main" id="{426BB2EC-7872-DA44-9B6C-E9AD2835B899}"/>
                </a:ext>
              </a:extLst>
            </p:cNvPr>
            <p:cNvSpPr/>
            <p:nvPr userDrawn="1"/>
          </p:nvSpPr>
          <p:spPr>
            <a:xfrm>
              <a:off x="329951"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5" name="Rechthoek 44">
              <a:extLst>
                <a:ext uri="{FF2B5EF4-FFF2-40B4-BE49-F238E27FC236}">
                  <a16:creationId xmlns:a16="http://schemas.microsoft.com/office/drawing/2014/main" id="{A0BBDBD8-78CC-D241-A158-3926BAD27960}"/>
                </a:ext>
              </a:extLst>
            </p:cNvPr>
            <p:cNvSpPr/>
            <p:nvPr userDrawn="1"/>
          </p:nvSpPr>
          <p:spPr>
            <a:xfrm>
              <a:off x="329951"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6" name="Rechthoek 45">
              <a:extLst>
                <a:ext uri="{FF2B5EF4-FFF2-40B4-BE49-F238E27FC236}">
                  <a16:creationId xmlns:a16="http://schemas.microsoft.com/office/drawing/2014/main" id="{18433956-D786-C341-9E57-72FC9F57C6CB}"/>
                </a:ext>
              </a:extLst>
            </p:cNvPr>
            <p:cNvSpPr/>
            <p:nvPr userDrawn="1"/>
          </p:nvSpPr>
          <p:spPr>
            <a:xfrm>
              <a:off x="329951"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7" name="Rechthoek 46">
              <a:extLst>
                <a:ext uri="{FF2B5EF4-FFF2-40B4-BE49-F238E27FC236}">
                  <a16:creationId xmlns:a16="http://schemas.microsoft.com/office/drawing/2014/main" id="{A5C6C6AC-A9F0-354A-B242-408E4A9E891F}"/>
                </a:ext>
              </a:extLst>
            </p:cNvPr>
            <p:cNvSpPr/>
            <p:nvPr userDrawn="1"/>
          </p:nvSpPr>
          <p:spPr>
            <a:xfrm>
              <a:off x="329951"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2" name="Rechthoek 81">
              <a:extLst>
                <a:ext uri="{FF2B5EF4-FFF2-40B4-BE49-F238E27FC236}">
                  <a16:creationId xmlns:a16="http://schemas.microsoft.com/office/drawing/2014/main" id="{E6A0644F-40C8-C14A-8169-F63419052086}"/>
                </a:ext>
              </a:extLst>
            </p:cNvPr>
            <p:cNvSpPr/>
            <p:nvPr userDrawn="1"/>
          </p:nvSpPr>
          <p:spPr>
            <a:xfrm>
              <a:off x="8965386"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3" name="Rechthoek 82">
              <a:extLst>
                <a:ext uri="{FF2B5EF4-FFF2-40B4-BE49-F238E27FC236}">
                  <a16:creationId xmlns:a16="http://schemas.microsoft.com/office/drawing/2014/main" id="{6E13F0F0-1723-CE42-B9CA-7376B55235B5}"/>
                </a:ext>
              </a:extLst>
            </p:cNvPr>
            <p:cNvSpPr/>
            <p:nvPr userDrawn="1"/>
          </p:nvSpPr>
          <p:spPr>
            <a:xfrm>
              <a:off x="9325025"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4" name="Rechthoek 83">
              <a:extLst>
                <a:ext uri="{FF2B5EF4-FFF2-40B4-BE49-F238E27FC236}">
                  <a16:creationId xmlns:a16="http://schemas.microsoft.com/office/drawing/2014/main" id="{DB586DA0-CEF5-8F45-BB2C-5864F673BF17}"/>
                </a:ext>
              </a:extLst>
            </p:cNvPr>
            <p:cNvSpPr/>
            <p:nvPr userDrawn="1"/>
          </p:nvSpPr>
          <p:spPr>
            <a:xfrm>
              <a:off x="8604154"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5" name="Rechthoek 84">
              <a:extLst>
                <a:ext uri="{FF2B5EF4-FFF2-40B4-BE49-F238E27FC236}">
                  <a16:creationId xmlns:a16="http://schemas.microsoft.com/office/drawing/2014/main" id="{78B2C762-C507-A44D-B3EC-38C7C6A42348}"/>
                </a:ext>
              </a:extLst>
            </p:cNvPr>
            <p:cNvSpPr/>
            <p:nvPr userDrawn="1"/>
          </p:nvSpPr>
          <p:spPr>
            <a:xfrm>
              <a:off x="7881689"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6" name="Rechthoek 85">
              <a:extLst>
                <a:ext uri="{FF2B5EF4-FFF2-40B4-BE49-F238E27FC236}">
                  <a16:creationId xmlns:a16="http://schemas.microsoft.com/office/drawing/2014/main" id="{ED92E93C-3E71-CC4C-A27A-CD4D73694C1B}"/>
                </a:ext>
              </a:extLst>
            </p:cNvPr>
            <p:cNvSpPr/>
            <p:nvPr userDrawn="1"/>
          </p:nvSpPr>
          <p:spPr>
            <a:xfrm>
              <a:off x="8242921"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7" name="Rechthoek 86">
              <a:extLst>
                <a:ext uri="{FF2B5EF4-FFF2-40B4-BE49-F238E27FC236}">
                  <a16:creationId xmlns:a16="http://schemas.microsoft.com/office/drawing/2014/main" id="{BB9F3F59-D62D-DC41-847E-0E14AAA27219}"/>
                </a:ext>
              </a:extLst>
            </p:cNvPr>
            <p:cNvSpPr/>
            <p:nvPr userDrawn="1"/>
          </p:nvSpPr>
          <p:spPr>
            <a:xfrm>
              <a:off x="752045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8" name="Rechthoek 87">
              <a:extLst>
                <a:ext uri="{FF2B5EF4-FFF2-40B4-BE49-F238E27FC236}">
                  <a16:creationId xmlns:a16="http://schemas.microsoft.com/office/drawing/2014/main" id="{12783E87-3F54-C64F-AF36-4A2C68FEE93F}"/>
                </a:ext>
              </a:extLst>
            </p:cNvPr>
            <p:cNvSpPr/>
            <p:nvPr userDrawn="1"/>
          </p:nvSpPr>
          <p:spPr>
            <a:xfrm>
              <a:off x="7163284"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9" name="Rechthoek 88">
              <a:extLst>
                <a:ext uri="{FF2B5EF4-FFF2-40B4-BE49-F238E27FC236}">
                  <a16:creationId xmlns:a16="http://schemas.microsoft.com/office/drawing/2014/main" id="{ED4B4EB4-0C4E-7641-B877-96DE17754862}"/>
                </a:ext>
              </a:extLst>
            </p:cNvPr>
            <p:cNvSpPr/>
            <p:nvPr userDrawn="1"/>
          </p:nvSpPr>
          <p:spPr>
            <a:xfrm>
              <a:off x="9684933"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0" name="Rechthoek 89">
              <a:extLst>
                <a:ext uri="{FF2B5EF4-FFF2-40B4-BE49-F238E27FC236}">
                  <a16:creationId xmlns:a16="http://schemas.microsoft.com/office/drawing/2014/main" id="{EDFDE497-8166-A04D-BEE1-86357DDA4B73}"/>
                </a:ext>
              </a:extLst>
            </p:cNvPr>
            <p:cNvSpPr/>
            <p:nvPr userDrawn="1"/>
          </p:nvSpPr>
          <p:spPr>
            <a:xfrm>
              <a:off x="10048025"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1" name="Rechthoek 90">
              <a:extLst>
                <a:ext uri="{FF2B5EF4-FFF2-40B4-BE49-F238E27FC236}">
                  <a16:creationId xmlns:a16="http://schemas.microsoft.com/office/drawing/2014/main" id="{DD9CE7CC-9025-3B4C-B6B4-A0370628439F}"/>
                </a:ext>
              </a:extLst>
            </p:cNvPr>
            <p:cNvSpPr/>
            <p:nvPr userDrawn="1"/>
          </p:nvSpPr>
          <p:spPr>
            <a:xfrm>
              <a:off x="10407932"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2" name="Rechthoek 91">
              <a:extLst>
                <a:ext uri="{FF2B5EF4-FFF2-40B4-BE49-F238E27FC236}">
                  <a16:creationId xmlns:a16="http://schemas.microsoft.com/office/drawing/2014/main" id="{20DFEA39-B3EE-E64F-B8F5-A7A8D8401FB3}"/>
                </a:ext>
              </a:extLst>
            </p:cNvPr>
            <p:cNvSpPr/>
            <p:nvPr userDrawn="1"/>
          </p:nvSpPr>
          <p:spPr>
            <a:xfrm>
              <a:off x="10769432"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3" name="Rechthoek 92">
              <a:extLst>
                <a:ext uri="{FF2B5EF4-FFF2-40B4-BE49-F238E27FC236}">
                  <a16:creationId xmlns:a16="http://schemas.microsoft.com/office/drawing/2014/main" id="{FE5804BC-0BB4-5A4D-97EE-8FF4CF75251C}"/>
                </a:ext>
              </a:extLst>
            </p:cNvPr>
            <p:cNvSpPr/>
            <p:nvPr userDrawn="1"/>
          </p:nvSpPr>
          <p:spPr>
            <a:xfrm>
              <a:off x="11129340"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4" name="Rechthoek 93">
              <a:extLst>
                <a:ext uri="{FF2B5EF4-FFF2-40B4-BE49-F238E27FC236}">
                  <a16:creationId xmlns:a16="http://schemas.microsoft.com/office/drawing/2014/main" id="{54C802C4-7D49-924E-B9C7-9BA936409D44}"/>
                </a:ext>
              </a:extLst>
            </p:cNvPr>
            <p:cNvSpPr/>
            <p:nvPr userDrawn="1"/>
          </p:nvSpPr>
          <p:spPr>
            <a:xfrm>
              <a:off x="1148924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5" name="Rechthoek 94">
              <a:extLst>
                <a:ext uri="{FF2B5EF4-FFF2-40B4-BE49-F238E27FC236}">
                  <a16:creationId xmlns:a16="http://schemas.microsoft.com/office/drawing/2014/main" id="{8AD57B08-85DD-F54A-AF03-D2959D4D09D5}"/>
                </a:ext>
              </a:extLst>
            </p:cNvPr>
            <p:cNvSpPr/>
            <p:nvPr userDrawn="1"/>
          </p:nvSpPr>
          <p:spPr>
            <a:xfrm>
              <a:off x="1185074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6" name="Rechthoek 95">
              <a:extLst>
                <a:ext uri="{FF2B5EF4-FFF2-40B4-BE49-F238E27FC236}">
                  <a16:creationId xmlns:a16="http://schemas.microsoft.com/office/drawing/2014/main" id="{603D261E-0CA4-6940-B826-ADA38969AB84}"/>
                </a:ext>
              </a:extLst>
            </p:cNvPr>
            <p:cNvSpPr/>
            <p:nvPr userDrawn="1"/>
          </p:nvSpPr>
          <p:spPr>
            <a:xfrm>
              <a:off x="8965386"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7" name="Rechthoek 96">
              <a:extLst>
                <a:ext uri="{FF2B5EF4-FFF2-40B4-BE49-F238E27FC236}">
                  <a16:creationId xmlns:a16="http://schemas.microsoft.com/office/drawing/2014/main" id="{D3566BFA-ABB5-CB42-A675-016C19699B28}"/>
                </a:ext>
              </a:extLst>
            </p:cNvPr>
            <p:cNvSpPr/>
            <p:nvPr userDrawn="1"/>
          </p:nvSpPr>
          <p:spPr>
            <a:xfrm>
              <a:off x="9325025"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8" name="Rechthoek 97">
              <a:extLst>
                <a:ext uri="{FF2B5EF4-FFF2-40B4-BE49-F238E27FC236}">
                  <a16:creationId xmlns:a16="http://schemas.microsoft.com/office/drawing/2014/main" id="{6A46C681-2FFA-7F47-9509-6B109917CA74}"/>
                </a:ext>
              </a:extLst>
            </p:cNvPr>
            <p:cNvSpPr/>
            <p:nvPr userDrawn="1"/>
          </p:nvSpPr>
          <p:spPr>
            <a:xfrm>
              <a:off x="8604154"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9" name="Rechthoek 98">
              <a:extLst>
                <a:ext uri="{FF2B5EF4-FFF2-40B4-BE49-F238E27FC236}">
                  <a16:creationId xmlns:a16="http://schemas.microsoft.com/office/drawing/2014/main" id="{CE01AD20-EAD5-244E-9FB4-3E964131472F}"/>
                </a:ext>
              </a:extLst>
            </p:cNvPr>
            <p:cNvSpPr/>
            <p:nvPr userDrawn="1"/>
          </p:nvSpPr>
          <p:spPr>
            <a:xfrm>
              <a:off x="7881689"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0" name="Rechthoek 99">
              <a:extLst>
                <a:ext uri="{FF2B5EF4-FFF2-40B4-BE49-F238E27FC236}">
                  <a16:creationId xmlns:a16="http://schemas.microsoft.com/office/drawing/2014/main" id="{72416B84-D4E9-EC47-9DAC-90AFD3D8B7A1}"/>
                </a:ext>
              </a:extLst>
            </p:cNvPr>
            <p:cNvSpPr/>
            <p:nvPr userDrawn="1"/>
          </p:nvSpPr>
          <p:spPr>
            <a:xfrm>
              <a:off x="8242921"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1" name="Rechthoek 100">
              <a:extLst>
                <a:ext uri="{FF2B5EF4-FFF2-40B4-BE49-F238E27FC236}">
                  <a16:creationId xmlns:a16="http://schemas.microsoft.com/office/drawing/2014/main" id="{7BF2F730-1518-E544-BA6F-3ED3B171C113}"/>
                </a:ext>
              </a:extLst>
            </p:cNvPr>
            <p:cNvSpPr/>
            <p:nvPr userDrawn="1"/>
          </p:nvSpPr>
          <p:spPr>
            <a:xfrm>
              <a:off x="752045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2" name="Rechthoek 101">
              <a:extLst>
                <a:ext uri="{FF2B5EF4-FFF2-40B4-BE49-F238E27FC236}">
                  <a16:creationId xmlns:a16="http://schemas.microsoft.com/office/drawing/2014/main" id="{2D7A400B-C2A5-C34A-9BC3-2279286DA92A}"/>
                </a:ext>
              </a:extLst>
            </p:cNvPr>
            <p:cNvSpPr/>
            <p:nvPr userDrawn="1"/>
          </p:nvSpPr>
          <p:spPr>
            <a:xfrm>
              <a:off x="7163284"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3" name="Rechthoek 102">
              <a:extLst>
                <a:ext uri="{FF2B5EF4-FFF2-40B4-BE49-F238E27FC236}">
                  <a16:creationId xmlns:a16="http://schemas.microsoft.com/office/drawing/2014/main" id="{12F8B4C0-A36A-6646-8298-1CB15F5F12B5}"/>
                </a:ext>
              </a:extLst>
            </p:cNvPr>
            <p:cNvSpPr/>
            <p:nvPr userDrawn="1"/>
          </p:nvSpPr>
          <p:spPr>
            <a:xfrm>
              <a:off x="9684933"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4" name="Rechthoek 103">
              <a:extLst>
                <a:ext uri="{FF2B5EF4-FFF2-40B4-BE49-F238E27FC236}">
                  <a16:creationId xmlns:a16="http://schemas.microsoft.com/office/drawing/2014/main" id="{811174C9-839E-BE43-9709-8739DC809FA4}"/>
                </a:ext>
              </a:extLst>
            </p:cNvPr>
            <p:cNvSpPr/>
            <p:nvPr userDrawn="1"/>
          </p:nvSpPr>
          <p:spPr>
            <a:xfrm>
              <a:off x="10048025"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5" name="Rechthoek 104">
              <a:extLst>
                <a:ext uri="{FF2B5EF4-FFF2-40B4-BE49-F238E27FC236}">
                  <a16:creationId xmlns:a16="http://schemas.microsoft.com/office/drawing/2014/main" id="{A71C28B0-AFC9-2E4D-B4C6-A9898B7FB23B}"/>
                </a:ext>
              </a:extLst>
            </p:cNvPr>
            <p:cNvSpPr/>
            <p:nvPr userDrawn="1"/>
          </p:nvSpPr>
          <p:spPr>
            <a:xfrm>
              <a:off x="10407932"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6" name="Rechthoek 105">
              <a:extLst>
                <a:ext uri="{FF2B5EF4-FFF2-40B4-BE49-F238E27FC236}">
                  <a16:creationId xmlns:a16="http://schemas.microsoft.com/office/drawing/2014/main" id="{59F783A9-873B-B944-8DC9-7BFA18B99C40}"/>
                </a:ext>
              </a:extLst>
            </p:cNvPr>
            <p:cNvSpPr/>
            <p:nvPr userDrawn="1"/>
          </p:nvSpPr>
          <p:spPr>
            <a:xfrm>
              <a:off x="10769432"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7" name="Rechthoek 106">
              <a:extLst>
                <a:ext uri="{FF2B5EF4-FFF2-40B4-BE49-F238E27FC236}">
                  <a16:creationId xmlns:a16="http://schemas.microsoft.com/office/drawing/2014/main" id="{79FC56FA-DAEC-BA46-8DA5-D155B6BFCFCA}"/>
                </a:ext>
              </a:extLst>
            </p:cNvPr>
            <p:cNvSpPr/>
            <p:nvPr userDrawn="1"/>
          </p:nvSpPr>
          <p:spPr>
            <a:xfrm>
              <a:off x="11129340"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8" name="Rechthoek 107">
              <a:extLst>
                <a:ext uri="{FF2B5EF4-FFF2-40B4-BE49-F238E27FC236}">
                  <a16:creationId xmlns:a16="http://schemas.microsoft.com/office/drawing/2014/main" id="{D9878764-2E23-E646-9713-0E464E1ADCCC}"/>
                </a:ext>
              </a:extLst>
            </p:cNvPr>
            <p:cNvSpPr/>
            <p:nvPr userDrawn="1"/>
          </p:nvSpPr>
          <p:spPr>
            <a:xfrm>
              <a:off x="1148924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09" name="Rechthoek 108">
              <a:extLst>
                <a:ext uri="{FF2B5EF4-FFF2-40B4-BE49-F238E27FC236}">
                  <a16:creationId xmlns:a16="http://schemas.microsoft.com/office/drawing/2014/main" id="{81DF3E2F-4F6A-A145-B9E2-1C9E8CF1FE19}"/>
                </a:ext>
              </a:extLst>
            </p:cNvPr>
            <p:cNvSpPr/>
            <p:nvPr userDrawn="1"/>
          </p:nvSpPr>
          <p:spPr>
            <a:xfrm>
              <a:off x="1185074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0" name="Rechthoek 109">
              <a:extLst>
                <a:ext uri="{FF2B5EF4-FFF2-40B4-BE49-F238E27FC236}">
                  <a16:creationId xmlns:a16="http://schemas.microsoft.com/office/drawing/2014/main" id="{204952F0-E1F4-134F-A479-5A1EBED97557}"/>
                </a:ext>
              </a:extLst>
            </p:cNvPr>
            <p:cNvSpPr/>
            <p:nvPr userDrawn="1"/>
          </p:nvSpPr>
          <p:spPr>
            <a:xfrm>
              <a:off x="896538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1" name="Rechthoek 110">
              <a:extLst>
                <a:ext uri="{FF2B5EF4-FFF2-40B4-BE49-F238E27FC236}">
                  <a16:creationId xmlns:a16="http://schemas.microsoft.com/office/drawing/2014/main" id="{D8BB9E83-4A91-7846-BEFA-476A8AE72C74}"/>
                </a:ext>
              </a:extLst>
            </p:cNvPr>
            <p:cNvSpPr/>
            <p:nvPr userDrawn="1"/>
          </p:nvSpPr>
          <p:spPr>
            <a:xfrm>
              <a:off x="932502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2" name="Rechthoek 111">
              <a:extLst>
                <a:ext uri="{FF2B5EF4-FFF2-40B4-BE49-F238E27FC236}">
                  <a16:creationId xmlns:a16="http://schemas.microsoft.com/office/drawing/2014/main" id="{5F8B08DB-F14E-3048-9E94-9DFF22887BFC}"/>
                </a:ext>
              </a:extLst>
            </p:cNvPr>
            <p:cNvSpPr/>
            <p:nvPr userDrawn="1"/>
          </p:nvSpPr>
          <p:spPr>
            <a:xfrm>
              <a:off x="860415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3" name="Rechthoek 112">
              <a:extLst>
                <a:ext uri="{FF2B5EF4-FFF2-40B4-BE49-F238E27FC236}">
                  <a16:creationId xmlns:a16="http://schemas.microsoft.com/office/drawing/2014/main" id="{0881A577-845D-124F-9D4B-B93D9E88BB8F}"/>
                </a:ext>
              </a:extLst>
            </p:cNvPr>
            <p:cNvSpPr/>
            <p:nvPr userDrawn="1"/>
          </p:nvSpPr>
          <p:spPr>
            <a:xfrm>
              <a:off x="7881689"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4" name="Rechthoek 113">
              <a:extLst>
                <a:ext uri="{FF2B5EF4-FFF2-40B4-BE49-F238E27FC236}">
                  <a16:creationId xmlns:a16="http://schemas.microsoft.com/office/drawing/2014/main" id="{9DBDB731-13C9-ED4C-AF1E-2602566EC156}"/>
                </a:ext>
              </a:extLst>
            </p:cNvPr>
            <p:cNvSpPr/>
            <p:nvPr userDrawn="1"/>
          </p:nvSpPr>
          <p:spPr>
            <a:xfrm>
              <a:off x="824292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5" name="Rechthoek 114">
              <a:extLst>
                <a:ext uri="{FF2B5EF4-FFF2-40B4-BE49-F238E27FC236}">
                  <a16:creationId xmlns:a16="http://schemas.microsoft.com/office/drawing/2014/main" id="{DE386F2E-8A42-5541-9342-576376B2F440}"/>
                </a:ext>
              </a:extLst>
            </p:cNvPr>
            <p:cNvSpPr/>
            <p:nvPr userDrawn="1"/>
          </p:nvSpPr>
          <p:spPr>
            <a:xfrm>
              <a:off x="752045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6" name="Rechthoek 115">
              <a:extLst>
                <a:ext uri="{FF2B5EF4-FFF2-40B4-BE49-F238E27FC236}">
                  <a16:creationId xmlns:a16="http://schemas.microsoft.com/office/drawing/2014/main" id="{D81E282B-0C98-4344-A639-BCE6C2AA1D4C}"/>
                </a:ext>
              </a:extLst>
            </p:cNvPr>
            <p:cNvSpPr/>
            <p:nvPr userDrawn="1"/>
          </p:nvSpPr>
          <p:spPr>
            <a:xfrm>
              <a:off x="680205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7" name="Rechthoek 116">
              <a:extLst>
                <a:ext uri="{FF2B5EF4-FFF2-40B4-BE49-F238E27FC236}">
                  <a16:creationId xmlns:a16="http://schemas.microsoft.com/office/drawing/2014/main" id="{DCBF5B49-9F84-A446-BE26-C5DC410A8605}"/>
                </a:ext>
              </a:extLst>
            </p:cNvPr>
            <p:cNvSpPr/>
            <p:nvPr userDrawn="1"/>
          </p:nvSpPr>
          <p:spPr>
            <a:xfrm>
              <a:off x="716328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8" name="Rechthoek 117">
              <a:extLst>
                <a:ext uri="{FF2B5EF4-FFF2-40B4-BE49-F238E27FC236}">
                  <a16:creationId xmlns:a16="http://schemas.microsoft.com/office/drawing/2014/main" id="{3A38DB5C-3B04-7B4E-881C-DBE9A7514D86}"/>
                </a:ext>
              </a:extLst>
            </p:cNvPr>
            <p:cNvSpPr/>
            <p:nvPr userDrawn="1"/>
          </p:nvSpPr>
          <p:spPr>
            <a:xfrm>
              <a:off x="644082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19" name="Rechthoek 118">
              <a:extLst>
                <a:ext uri="{FF2B5EF4-FFF2-40B4-BE49-F238E27FC236}">
                  <a16:creationId xmlns:a16="http://schemas.microsoft.com/office/drawing/2014/main" id="{47619A73-A93A-4D4B-9152-6DAD5347B744}"/>
                </a:ext>
              </a:extLst>
            </p:cNvPr>
            <p:cNvSpPr/>
            <p:nvPr userDrawn="1"/>
          </p:nvSpPr>
          <p:spPr>
            <a:xfrm>
              <a:off x="60836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0" name="Rechthoek 119">
              <a:extLst>
                <a:ext uri="{FF2B5EF4-FFF2-40B4-BE49-F238E27FC236}">
                  <a16:creationId xmlns:a16="http://schemas.microsoft.com/office/drawing/2014/main" id="{06E77A45-CC03-034A-B0EF-FF1E65BEDFB2}"/>
                </a:ext>
              </a:extLst>
            </p:cNvPr>
            <p:cNvSpPr/>
            <p:nvPr userDrawn="1"/>
          </p:nvSpPr>
          <p:spPr>
            <a:xfrm>
              <a:off x="968493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1" name="Rechthoek 120">
              <a:extLst>
                <a:ext uri="{FF2B5EF4-FFF2-40B4-BE49-F238E27FC236}">
                  <a16:creationId xmlns:a16="http://schemas.microsoft.com/office/drawing/2014/main" id="{7B40D71F-2F76-E248-8729-F65150474167}"/>
                </a:ext>
              </a:extLst>
            </p:cNvPr>
            <p:cNvSpPr/>
            <p:nvPr userDrawn="1"/>
          </p:nvSpPr>
          <p:spPr>
            <a:xfrm>
              <a:off x="1004802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2" name="Rechthoek 121">
              <a:extLst>
                <a:ext uri="{FF2B5EF4-FFF2-40B4-BE49-F238E27FC236}">
                  <a16:creationId xmlns:a16="http://schemas.microsoft.com/office/drawing/2014/main" id="{E6441020-C482-844D-9C02-CD69B3C5B168}"/>
                </a:ext>
              </a:extLst>
            </p:cNvPr>
            <p:cNvSpPr/>
            <p:nvPr userDrawn="1"/>
          </p:nvSpPr>
          <p:spPr>
            <a:xfrm>
              <a:off x="1040793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3" name="Rechthoek 122">
              <a:extLst>
                <a:ext uri="{FF2B5EF4-FFF2-40B4-BE49-F238E27FC236}">
                  <a16:creationId xmlns:a16="http://schemas.microsoft.com/office/drawing/2014/main" id="{D72AD4BD-048E-4B4B-BC87-48255EB6EE25}"/>
                </a:ext>
              </a:extLst>
            </p:cNvPr>
            <p:cNvSpPr/>
            <p:nvPr userDrawn="1"/>
          </p:nvSpPr>
          <p:spPr>
            <a:xfrm>
              <a:off x="1076943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4" name="Rechthoek 123">
              <a:extLst>
                <a:ext uri="{FF2B5EF4-FFF2-40B4-BE49-F238E27FC236}">
                  <a16:creationId xmlns:a16="http://schemas.microsoft.com/office/drawing/2014/main" id="{DDE0839B-508E-9445-8A44-9F6489377919}"/>
                </a:ext>
              </a:extLst>
            </p:cNvPr>
            <p:cNvSpPr/>
            <p:nvPr userDrawn="1"/>
          </p:nvSpPr>
          <p:spPr>
            <a:xfrm>
              <a:off x="1112934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5" name="Rechthoek 124">
              <a:extLst>
                <a:ext uri="{FF2B5EF4-FFF2-40B4-BE49-F238E27FC236}">
                  <a16:creationId xmlns:a16="http://schemas.microsoft.com/office/drawing/2014/main" id="{F9BC5FD0-87DE-FE4E-86EA-87399CC5F910}"/>
                </a:ext>
              </a:extLst>
            </p:cNvPr>
            <p:cNvSpPr/>
            <p:nvPr userDrawn="1"/>
          </p:nvSpPr>
          <p:spPr>
            <a:xfrm>
              <a:off x="114892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6" name="Rechthoek 125">
              <a:extLst>
                <a:ext uri="{FF2B5EF4-FFF2-40B4-BE49-F238E27FC236}">
                  <a16:creationId xmlns:a16="http://schemas.microsoft.com/office/drawing/2014/main" id="{64B37F64-86AA-E241-903E-2C9D1C3AE3CD}"/>
                </a:ext>
              </a:extLst>
            </p:cNvPr>
            <p:cNvSpPr/>
            <p:nvPr userDrawn="1"/>
          </p:nvSpPr>
          <p:spPr>
            <a:xfrm>
              <a:off x="118507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7" name="Rechthoek 126">
              <a:extLst>
                <a:ext uri="{FF2B5EF4-FFF2-40B4-BE49-F238E27FC236}">
                  <a16:creationId xmlns:a16="http://schemas.microsoft.com/office/drawing/2014/main" id="{D6F9C76D-913A-4F4D-BB1C-46334D7BC3C3}"/>
                </a:ext>
              </a:extLst>
            </p:cNvPr>
            <p:cNvSpPr/>
            <p:nvPr userDrawn="1"/>
          </p:nvSpPr>
          <p:spPr>
            <a:xfrm>
              <a:off x="8965386"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8" name="Rechthoek 127">
              <a:extLst>
                <a:ext uri="{FF2B5EF4-FFF2-40B4-BE49-F238E27FC236}">
                  <a16:creationId xmlns:a16="http://schemas.microsoft.com/office/drawing/2014/main" id="{423D77CD-4F96-AC4A-A8C1-D7F2B54ABBF8}"/>
                </a:ext>
              </a:extLst>
            </p:cNvPr>
            <p:cNvSpPr/>
            <p:nvPr userDrawn="1"/>
          </p:nvSpPr>
          <p:spPr>
            <a:xfrm>
              <a:off x="9325025"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9" name="Rechthoek 128">
              <a:extLst>
                <a:ext uri="{FF2B5EF4-FFF2-40B4-BE49-F238E27FC236}">
                  <a16:creationId xmlns:a16="http://schemas.microsoft.com/office/drawing/2014/main" id="{96CC7068-6254-C54A-BEB5-51C2A310CA50}"/>
                </a:ext>
              </a:extLst>
            </p:cNvPr>
            <p:cNvSpPr/>
            <p:nvPr userDrawn="1"/>
          </p:nvSpPr>
          <p:spPr>
            <a:xfrm>
              <a:off x="8604154"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0" name="Rechthoek 129">
              <a:extLst>
                <a:ext uri="{FF2B5EF4-FFF2-40B4-BE49-F238E27FC236}">
                  <a16:creationId xmlns:a16="http://schemas.microsoft.com/office/drawing/2014/main" id="{32C1DC85-D66B-5D41-AFB5-F18753916B11}"/>
                </a:ext>
              </a:extLst>
            </p:cNvPr>
            <p:cNvSpPr/>
            <p:nvPr userDrawn="1"/>
          </p:nvSpPr>
          <p:spPr>
            <a:xfrm>
              <a:off x="7881689"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1" name="Rechthoek 130">
              <a:extLst>
                <a:ext uri="{FF2B5EF4-FFF2-40B4-BE49-F238E27FC236}">
                  <a16:creationId xmlns:a16="http://schemas.microsoft.com/office/drawing/2014/main" id="{1B4F8D9A-4D4D-EC4C-9413-45DF214A0474}"/>
                </a:ext>
              </a:extLst>
            </p:cNvPr>
            <p:cNvSpPr/>
            <p:nvPr userDrawn="1"/>
          </p:nvSpPr>
          <p:spPr>
            <a:xfrm>
              <a:off x="8242921"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2" name="Rechthoek 131">
              <a:extLst>
                <a:ext uri="{FF2B5EF4-FFF2-40B4-BE49-F238E27FC236}">
                  <a16:creationId xmlns:a16="http://schemas.microsoft.com/office/drawing/2014/main" id="{4093579C-19A2-4E4D-A844-6277E22A9306}"/>
                </a:ext>
              </a:extLst>
            </p:cNvPr>
            <p:cNvSpPr/>
            <p:nvPr userDrawn="1"/>
          </p:nvSpPr>
          <p:spPr>
            <a:xfrm>
              <a:off x="752045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3" name="Rechthoek 132">
              <a:extLst>
                <a:ext uri="{FF2B5EF4-FFF2-40B4-BE49-F238E27FC236}">
                  <a16:creationId xmlns:a16="http://schemas.microsoft.com/office/drawing/2014/main" id="{97697038-67E8-6C48-AC78-8199E64F0973}"/>
                </a:ext>
              </a:extLst>
            </p:cNvPr>
            <p:cNvSpPr/>
            <p:nvPr userDrawn="1"/>
          </p:nvSpPr>
          <p:spPr>
            <a:xfrm>
              <a:off x="7163284"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4" name="Rechthoek 133">
              <a:extLst>
                <a:ext uri="{FF2B5EF4-FFF2-40B4-BE49-F238E27FC236}">
                  <a16:creationId xmlns:a16="http://schemas.microsoft.com/office/drawing/2014/main" id="{4E31C8D5-CD0A-A341-8CB5-FFAA2AC3496E}"/>
                </a:ext>
              </a:extLst>
            </p:cNvPr>
            <p:cNvSpPr/>
            <p:nvPr userDrawn="1"/>
          </p:nvSpPr>
          <p:spPr>
            <a:xfrm>
              <a:off x="9684933"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5" name="Rechthoek 134">
              <a:extLst>
                <a:ext uri="{FF2B5EF4-FFF2-40B4-BE49-F238E27FC236}">
                  <a16:creationId xmlns:a16="http://schemas.microsoft.com/office/drawing/2014/main" id="{9DBFF5BD-0B8A-8F46-BE32-EAC13F292926}"/>
                </a:ext>
              </a:extLst>
            </p:cNvPr>
            <p:cNvSpPr/>
            <p:nvPr userDrawn="1"/>
          </p:nvSpPr>
          <p:spPr>
            <a:xfrm>
              <a:off x="10048025"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6" name="Rechthoek 135">
              <a:extLst>
                <a:ext uri="{FF2B5EF4-FFF2-40B4-BE49-F238E27FC236}">
                  <a16:creationId xmlns:a16="http://schemas.microsoft.com/office/drawing/2014/main" id="{7FDAB8BF-00BA-E247-AD24-02A69165F7A4}"/>
                </a:ext>
              </a:extLst>
            </p:cNvPr>
            <p:cNvSpPr/>
            <p:nvPr userDrawn="1"/>
          </p:nvSpPr>
          <p:spPr>
            <a:xfrm>
              <a:off x="10407932"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7" name="Rechthoek 136">
              <a:extLst>
                <a:ext uri="{FF2B5EF4-FFF2-40B4-BE49-F238E27FC236}">
                  <a16:creationId xmlns:a16="http://schemas.microsoft.com/office/drawing/2014/main" id="{E24D2D81-467E-3C40-8336-19EB7407F0F4}"/>
                </a:ext>
              </a:extLst>
            </p:cNvPr>
            <p:cNvSpPr/>
            <p:nvPr userDrawn="1"/>
          </p:nvSpPr>
          <p:spPr>
            <a:xfrm>
              <a:off x="10769432"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8" name="Rechthoek 137">
              <a:extLst>
                <a:ext uri="{FF2B5EF4-FFF2-40B4-BE49-F238E27FC236}">
                  <a16:creationId xmlns:a16="http://schemas.microsoft.com/office/drawing/2014/main" id="{88F658E2-F364-AB4C-897E-6E8688BF6171}"/>
                </a:ext>
              </a:extLst>
            </p:cNvPr>
            <p:cNvSpPr/>
            <p:nvPr userDrawn="1"/>
          </p:nvSpPr>
          <p:spPr>
            <a:xfrm>
              <a:off x="11129340"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9" name="Rechthoek 138">
              <a:extLst>
                <a:ext uri="{FF2B5EF4-FFF2-40B4-BE49-F238E27FC236}">
                  <a16:creationId xmlns:a16="http://schemas.microsoft.com/office/drawing/2014/main" id="{7917C825-4BA2-D047-A360-6103ED076A1B}"/>
                </a:ext>
              </a:extLst>
            </p:cNvPr>
            <p:cNvSpPr/>
            <p:nvPr userDrawn="1"/>
          </p:nvSpPr>
          <p:spPr>
            <a:xfrm>
              <a:off x="1148924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0" name="Rechthoek 139">
              <a:extLst>
                <a:ext uri="{FF2B5EF4-FFF2-40B4-BE49-F238E27FC236}">
                  <a16:creationId xmlns:a16="http://schemas.microsoft.com/office/drawing/2014/main" id="{1B5BF9B8-8992-834E-8A1B-88D911FA0C4E}"/>
                </a:ext>
              </a:extLst>
            </p:cNvPr>
            <p:cNvSpPr/>
            <p:nvPr userDrawn="1"/>
          </p:nvSpPr>
          <p:spPr>
            <a:xfrm>
              <a:off x="1185074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1" name="Rechthoek 140">
              <a:extLst>
                <a:ext uri="{FF2B5EF4-FFF2-40B4-BE49-F238E27FC236}">
                  <a16:creationId xmlns:a16="http://schemas.microsoft.com/office/drawing/2014/main" id="{E811603B-4BAA-A245-9D33-2A3F0E035ACF}"/>
                </a:ext>
              </a:extLst>
            </p:cNvPr>
            <p:cNvSpPr/>
            <p:nvPr userDrawn="1"/>
          </p:nvSpPr>
          <p:spPr>
            <a:xfrm>
              <a:off x="8965386"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2" name="Rechthoek 141">
              <a:extLst>
                <a:ext uri="{FF2B5EF4-FFF2-40B4-BE49-F238E27FC236}">
                  <a16:creationId xmlns:a16="http://schemas.microsoft.com/office/drawing/2014/main" id="{A9C56408-DAAE-F14E-A958-914FC69E03D2}"/>
                </a:ext>
              </a:extLst>
            </p:cNvPr>
            <p:cNvSpPr/>
            <p:nvPr userDrawn="1"/>
          </p:nvSpPr>
          <p:spPr>
            <a:xfrm>
              <a:off x="9325025"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3" name="Rechthoek 142">
              <a:extLst>
                <a:ext uri="{FF2B5EF4-FFF2-40B4-BE49-F238E27FC236}">
                  <a16:creationId xmlns:a16="http://schemas.microsoft.com/office/drawing/2014/main" id="{3BB9DE46-6A30-7643-B62A-90D2B6661501}"/>
                </a:ext>
              </a:extLst>
            </p:cNvPr>
            <p:cNvSpPr/>
            <p:nvPr userDrawn="1"/>
          </p:nvSpPr>
          <p:spPr>
            <a:xfrm>
              <a:off x="8604154"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4" name="Rechthoek 143">
              <a:extLst>
                <a:ext uri="{FF2B5EF4-FFF2-40B4-BE49-F238E27FC236}">
                  <a16:creationId xmlns:a16="http://schemas.microsoft.com/office/drawing/2014/main" id="{BD1023B3-FA66-5A4B-9DC5-C70D27FB8073}"/>
                </a:ext>
              </a:extLst>
            </p:cNvPr>
            <p:cNvSpPr/>
            <p:nvPr userDrawn="1"/>
          </p:nvSpPr>
          <p:spPr>
            <a:xfrm>
              <a:off x="7881689"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5" name="Rechthoek 144">
              <a:extLst>
                <a:ext uri="{FF2B5EF4-FFF2-40B4-BE49-F238E27FC236}">
                  <a16:creationId xmlns:a16="http://schemas.microsoft.com/office/drawing/2014/main" id="{D5DD5257-A2F7-4F4D-AF92-7C22C2888562}"/>
                </a:ext>
              </a:extLst>
            </p:cNvPr>
            <p:cNvSpPr/>
            <p:nvPr userDrawn="1"/>
          </p:nvSpPr>
          <p:spPr>
            <a:xfrm>
              <a:off x="8242921"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6" name="Rechthoek 145">
              <a:extLst>
                <a:ext uri="{FF2B5EF4-FFF2-40B4-BE49-F238E27FC236}">
                  <a16:creationId xmlns:a16="http://schemas.microsoft.com/office/drawing/2014/main" id="{1E37FED7-16B9-6342-BFAB-FB9736D33C38}"/>
                </a:ext>
              </a:extLst>
            </p:cNvPr>
            <p:cNvSpPr/>
            <p:nvPr userDrawn="1"/>
          </p:nvSpPr>
          <p:spPr>
            <a:xfrm>
              <a:off x="752045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7" name="Rechthoek 146">
              <a:extLst>
                <a:ext uri="{FF2B5EF4-FFF2-40B4-BE49-F238E27FC236}">
                  <a16:creationId xmlns:a16="http://schemas.microsoft.com/office/drawing/2014/main" id="{7B6A5640-2096-E24F-903D-F5A702A35856}"/>
                </a:ext>
              </a:extLst>
            </p:cNvPr>
            <p:cNvSpPr/>
            <p:nvPr userDrawn="1"/>
          </p:nvSpPr>
          <p:spPr>
            <a:xfrm>
              <a:off x="7163284"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8" name="Rechthoek 147">
              <a:extLst>
                <a:ext uri="{FF2B5EF4-FFF2-40B4-BE49-F238E27FC236}">
                  <a16:creationId xmlns:a16="http://schemas.microsoft.com/office/drawing/2014/main" id="{4589485F-8807-4F43-AA6E-6F4798DC7EE1}"/>
                </a:ext>
              </a:extLst>
            </p:cNvPr>
            <p:cNvSpPr/>
            <p:nvPr userDrawn="1"/>
          </p:nvSpPr>
          <p:spPr>
            <a:xfrm>
              <a:off x="9684933"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9" name="Rechthoek 148">
              <a:extLst>
                <a:ext uri="{FF2B5EF4-FFF2-40B4-BE49-F238E27FC236}">
                  <a16:creationId xmlns:a16="http://schemas.microsoft.com/office/drawing/2014/main" id="{9EF48A83-6F18-C041-ABF1-81DB430C9503}"/>
                </a:ext>
              </a:extLst>
            </p:cNvPr>
            <p:cNvSpPr/>
            <p:nvPr userDrawn="1"/>
          </p:nvSpPr>
          <p:spPr>
            <a:xfrm>
              <a:off x="10048025"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0" name="Rechthoek 149">
              <a:extLst>
                <a:ext uri="{FF2B5EF4-FFF2-40B4-BE49-F238E27FC236}">
                  <a16:creationId xmlns:a16="http://schemas.microsoft.com/office/drawing/2014/main" id="{61B8F06D-B26D-DF4A-8B61-A2D5E04796D0}"/>
                </a:ext>
              </a:extLst>
            </p:cNvPr>
            <p:cNvSpPr/>
            <p:nvPr userDrawn="1"/>
          </p:nvSpPr>
          <p:spPr>
            <a:xfrm>
              <a:off x="10407932"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1" name="Rechthoek 150">
              <a:extLst>
                <a:ext uri="{FF2B5EF4-FFF2-40B4-BE49-F238E27FC236}">
                  <a16:creationId xmlns:a16="http://schemas.microsoft.com/office/drawing/2014/main" id="{C8894CC5-6D01-1A4C-AF84-F79660038E80}"/>
                </a:ext>
              </a:extLst>
            </p:cNvPr>
            <p:cNvSpPr/>
            <p:nvPr userDrawn="1"/>
          </p:nvSpPr>
          <p:spPr>
            <a:xfrm>
              <a:off x="10769432"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2" name="Rechthoek 151">
              <a:extLst>
                <a:ext uri="{FF2B5EF4-FFF2-40B4-BE49-F238E27FC236}">
                  <a16:creationId xmlns:a16="http://schemas.microsoft.com/office/drawing/2014/main" id="{30FEBBD9-5D50-024E-969F-79DAD9AB8273}"/>
                </a:ext>
              </a:extLst>
            </p:cNvPr>
            <p:cNvSpPr/>
            <p:nvPr userDrawn="1"/>
          </p:nvSpPr>
          <p:spPr>
            <a:xfrm>
              <a:off x="11129340"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3" name="Rechthoek 152">
              <a:extLst>
                <a:ext uri="{FF2B5EF4-FFF2-40B4-BE49-F238E27FC236}">
                  <a16:creationId xmlns:a16="http://schemas.microsoft.com/office/drawing/2014/main" id="{A422D123-1485-EA43-A23F-9CB5FFF1C00D}"/>
                </a:ext>
              </a:extLst>
            </p:cNvPr>
            <p:cNvSpPr/>
            <p:nvPr userDrawn="1"/>
          </p:nvSpPr>
          <p:spPr>
            <a:xfrm>
              <a:off x="1148924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4" name="Rechthoek 153">
              <a:extLst>
                <a:ext uri="{FF2B5EF4-FFF2-40B4-BE49-F238E27FC236}">
                  <a16:creationId xmlns:a16="http://schemas.microsoft.com/office/drawing/2014/main" id="{95EFBF2F-CEFC-DE44-AD24-2ECBC946E9A8}"/>
                </a:ext>
              </a:extLst>
            </p:cNvPr>
            <p:cNvSpPr/>
            <p:nvPr userDrawn="1"/>
          </p:nvSpPr>
          <p:spPr>
            <a:xfrm>
              <a:off x="1185074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5" name="Rechthoek 154">
              <a:extLst>
                <a:ext uri="{FF2B5EF4-FFF2-40B4-BE49-F238E27FC236}">
                  <a16:creationId xmlns:a16="http://schemas.microsoft.com/office/drawing/2014/main" id="{63ADA443-1F1F-D642-873C-643553071E32}"/>
                </a:ext>
              </a:extLst>
            </p:cNvPr>
            <p:cNvSpPr/>
            <p:nvPr userDrawn="1"/>
          </p:nvSpPr>
          <p:spPr>
            <a:xfrm>
              <a:off x="8965386"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6" name="Rechthoek 155">
              <a:extLst>
                <a:ext uri="{FF2B5EF4-FFF2-40B4-BE49-F238E27FC236}">
                  <a16:creationId xmlns:a16="http://schemas.microsoft.com/office/drawing/2014/main" id="{50844D2A-5574-1B44-B746-CBFFD612E1D7}"/>
                </a:ext>
              </a:extLst>
            </p:cNvPr>
            <p:cNvSpPr/>
            <p:nvPr userDrawn="1"/>
          </p:nvSpPr>
          <p:spPr>
            <a:xfrm>
              <a:off x="9325025"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7" name="Rechthoek 156">
              <a:extLst>
                <a:ext uri="{FF2B5EF4-FFF2-40B4-BE49-F238E27FC236}">
                  <a16:creationId xmlns:a16="http://schemas.microsoft.com/office/drawing/2014/main" id="{5E82C546-46D8-824A-BC0D-5453AFC47E68}"/>
                </a:ext>
              </a:extLst>
            </p:cNvPr>
            <p:cNvSpPr/>
            <p:nvPr userDrawn="1"/>
          </p:nvSpPr>
          <p:spPr>
            <a:xfrm>
              <a:off x="8604154"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8" name="Rechthoek 157">
              <a:extLst>
                <a:ext uri="{FF2B5EF4-FFF2-40B4-BE49-F238E27FC236}">
                  <a16:creationId xmlns:a16="http://schemas.microsoft.com/office/drawing/2014/main" id="{01D009C4-601B-0046-A3A6-22C2A946F161}"/>
                </a:ext>
              </a:extLst>
            </p:cNvPr>
            <p:cNvSpPr/>
            <p:nvPr userDrawn="1"/>
          </p:nvSpPr>
          <p:spPr>
            <a:xfrm>
              <a:off x="7881689"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59" name="Rechthoek 158">
              <a:extLst>
                <a:ext uri="{FF2B5EF4-FFF2-40B4-BE49-F238E27FC236}">
                  <a16:creationId xmlns:a16="http://schemas.microsoft.com/office/drawing/2014/main" id="{1CC9017D-DE66-E541-8436-078774EF22F0}"/>
                </a:ext>
              </a:extLst>
            </p:cNvPr>
            <p:cNvSpPr/>
            <p:nvPr userDrawn="1"/>
          </p:nvSpPr>
          <p:spPr>
            <a:xfrm>
              <a:off x="8242921"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0" name="Rechthoek 159">
              <a:extLst>
                <a:ext uri="{FF2B5EF4-FFF2-40B4-BE49-F238E27FC236}">
                  <a16:creationId xmlns:a16="http://schemas.microsoft.com/office/drawing/2014/main" id="{1380D20D-95D9-0242-ADD4-1AA84D062918}"/>
                </a:ext>
              </a:extLst>
            </p:cNvPr>
            <p:cNvSpPr/>
            <p:nvPr userDrawn="1"/>
          </p:nvSpPr>
          <p:spPr>
            <a:xfrm>
              <a:off x="752045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1" name="Rechthoek 160">
              <a:extLst>
                <a:ext uri="{FF2B5EF4-FFF2-40B4-BE49-F238E27FC236}">
                  <a16:creationId xmlns:a16="http://schemas.microsoft.com/office/drawing/2014/main" id="{A0C09487-6302-DE43-BADD-64000F0AA10C}"/>
                </a:ext>
              </a:extLst>
            </p:cNvPr>
            <p:cNvSpPr/>
            <p:nvPr userDrawn="1"/>
          </p:nvSpPr>
          <p:spPr>
            <a:xfrm>
              <a:off x="7163284"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2" name="Rechthoek 161">
              <a:extLst>
                <a:ext uri="{FF2B5EF4-FFF2-40B4-BE49-F238E27FC236}">
                  <a16:creationId xmlns:a16="http://schemas.microsoft.com/office/drawing/2014/main" id="{56F81E4A-18DD-254C-A153-5D0D2CC91F51}"/>
                </a:ext>
              </a:extLst>
            </p:cNvPr>
            <p:cNvSpPr/>
            <p:nvPr userDrawn="1"/>
          </p:nvSpPr>
          <p:spPr>
            <a:xfrm>
              <a:off x="9684933"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3" name="Rechthoek 162">
              <a:extLst>
                <a:ext uri="{FF2B5EF4-FFF2-40B4-BE49-F238E27FC236}">
                  <a16:creationId xmlns:a16="http://schemas.microsoft.com/office/drawing/2014/main" id="{C9C7AF16-57FE-5C4A-AD31-DE29BD8304A6}"/>
                </a:ext>
              </a:extLst>
            </p:cNvPr>
            <p:cNvSpPr/>
            <p:nvPr userDrawn="1"/>
          </p:nvSpPr>
          <p:spPr>
            <a:xfrm>
              <a:off x="10048025"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4" name="Rechthoek 163">
              <a:extLst>
                <a:ext uri="{FF2B5EF4-FFF2-40B4-BE49-F238E27FC236}">
                  <a16:creationId xmlns:a16="http://schemas.microsoft.com/office/drawing/2014/main" id="{9E8577D5-3A8D-6148-B60B-6ED3FF28DEB1}"/>
                </a:ext>
              </a:extLst>
            </p:cNvPr>
            <p:cNvSpPr/>
            <p:nvPr userDrawn="1"/>
          </p:nvSpPr>
          <p:spPr>
            <a:xfrm>
              <a:off x="10407932"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5" name="Rechthoek 164">
              <a:extLst>
                <a:ext uri="{FF2B5EF4-FFF2-40B4-BE49-F238E27FC236}">
                  <a16:creationId xmlns:a16="http://schemas.microsoft.com/office/drawing/2014/main" id="{582C01C4-49AB-9A46-977C-522A75A74089}"/>
                </a:ext>
              </a:extLst>
            </p:cNvPr>
            <p:cNvSpPr/>
            <p:nvPr userDrawn="1"/>
          </p:nvSpPr>
          <p:spPr>
            <a:xfrm>
              <a:off x="10769432"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6" name="Rechthoek 165">
              <a:extLst>
                <a:ext uri="{FF2B5EF4-FFF2-40B4-BE49-F238E27FC236}">
                  <a16:creationId xmlns:a16="http://schemas.microsoft.com/office/drawing/2014/main" id="{15041BB9-52FF-BF4C-85B9-C2E897B8D790}"/>
                </a:ext>
              </a:extLst>
            </p:cNvPr>
            <p:cNvSpPr/>
            <p:nvPr userDrawn="1"/>
          </p:nvSpPr>
          <p:spPr>
            <a:xfrm>
              <a:off x="11129340"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7" name="Rechthoek 166">
              <a:extLst>
                <a:ext uri="{FF2B5EF4-FFF2-40B4-BE49-F238E27FC236}">
                  <a16:creationId xmlns:a16="http://schemas.microsoft.com/office/drawing/2014/main" id="{897DDBC0-13A6-5142-A18E-2CC145F533EA}"/>
                </a:ext>
              </a:extLst>
            </p:cNvPr>
            <p:cNvSpPr/>
            <p:nvPr userDrawn="1"/>
          </p:nvSpPr>
          <p:spPr>
            <a:xfrm>
              <a:off x="1148924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8" name="Rechthoek 167">
              <a:extLst>
                <a:ext uri="{FF2B5EF4-FFF2-40B4-BE49-F238E27FC236}">
                  <a16:creationId xmlns:a16="http://schemas.microsoft.com/office/drawing/2014/main" id="{F6D9D06C-ED1A-0F40-B354-844F2EF16D42}"/>
                </a:ext>
              </a:extLst>
            </p:cNvPr>
            <p:cNvSpPr/>
            <p:nvPr userDrawn="1"/>
          </p:nvSpPr>
          <p:spPr>
            <a:xfrm>
              <a:off x="1185074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9" name="Rechthoek 168">
              <a:extLst>
                <a:ext uri="{FF2B5EF4-FFF2-40B4-BE49-F238E27FC236}">
                  <a16:creationId xmlns:a16="http://schemas.microsoft.com/office/drawing/2014/main" id="{7AE4E440-F399-EA4D-BC20-F1F54526137F}"/>
                </a:ext>
              </a:extLst>
            </p:cNvPr>
            <p:cNvSpPr/>
            <p:nvPr userDrawn="1"/>
          </p:nvSpPr>
          <p:spPr>
            <a:xfrm>
              <a:off x="8965386"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0" name="Rechthoek 169">
              <a:extLst>
                <a:ext uri="{FF2B5EF4-FFF2-40B4-BE49-F238E27FC236}">
                  <a16:creationId xmlns:a16="http://schemas.microsoft.com/office/drawing/2014/main" id="{490585D0-AE27-E640-BBD3-7F7ACE05D21E}"/>
                </a:ext>
              </a:extLst>
            </p:cNvPr>
            <p:cNvSpPr/>
            <p:nvPr userDrawn="1"/>
          </p:nvSpPr>
          <p:spPr>
            <a:xfrm>
              <a:off x="9325025"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1" name="Rechthoek 170">
              <a:extLst>
                <a:ext uri="{FF2B5EF4-FFF2-40B4-BE49-F238E27FC236}">
                  <a16:creationId xmlns:a16="http://schemas.microsoft.com/office/drawing/2014/main" id="{D358A2C9-B223-E941-9BD8-19F455BF8571}"/>
                </a:ext>
              </a:extLst>
            </p:cNvPr>
            <p:cNvSpPr/>
            <p:nvPr userDrawn="1"/>
          </p:nvSpPr>
          <p:spPr>
            <a:xfrm>
              <a:off x="8604154"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2" name="Rechthoek 171">
              <a:extLst>
                <a:ext uri="{FF2B5EF4-FFF2-40B4-BE49-F238E27FC236}">
                  <a16:creationId xmlns:a16="http://schemas.microsoft.com/office/drawing/2014/main" id="{3D353EB3-AE4C-F04D-8CB5-0F696B5082BC}"/>
                </a:ext>
              </a:extLst>
            </p:cNvPr>
            <p:cNvSpPr/>
            <p:nvPr userDrawn="1"/>
          </p:nvSpPr>
          <p:spPr>
            <a:xfrm>
              <a:off x="7881689"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3" name="Rechthoek 172">
              <a:extLst>
                <a:ext uri="{FF2B5EF4-FFF2-40B4-BE49-F238E27FC236}">
                  <a16:creationId xmlns:a16="http://schemas.microsoft.com/office/drawing/2014/main" id="{F960F58D-A105-2E46-9767-8B0999D65E5D}"/>
                </a:ext>
              </a:extLst>
            </p:cNvPr>
            <p:cNvSpPr/>
            <p:nvPr userDrawn="1"/>
          </p:nvSpPr>
          <p:spPr>
            <a:xfrm>
              <a:off x="8242921"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4" name="Rechthoek 173">
              <a:extLst>
                <a:ext uri="{FF2B5EF4-FFF2-40B4-BE49-F238E27FC236}">
                  <a16:creationId xmlns:a16="http://schemas.microsoft.com/office/drawing/2014/main" id="{4CBD20C8-C2F1-314B-B0DC-8EACA8165186}"/>
                </a:ext>
              </a:extLst>
            </p:cNvPr>
            <p:cNvSpPr/>
            <p:nvPr userDrawn="1"/>
          </p:nvSpPr>
          <p:spPr>
            <a:xfrm>
              <a:off x="752045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5" name="Rechthoek 174">
              <a:extLst>
                <a:ext uri="{FF2B5EF4-FFF2-40B4-BE49-F238E27FC236}">
                  <a16:creationId xmlns:a16="http://schemas.microsoft.com/office/drawing/2014/main" id="{A26F7A08-47F8-DC45-9C73-F08A20CA3E0E}"/>
                </a:ext>
              </a:extLst>
            </p:cNvPr>
            <p:cNvSpPr/>
            <p:nvPr userDrawn="1"/>
          </p:nvSpPr>
          <p:spPr>
            <a:xfrm>
              <a:off x="7163284"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6" name="Rechthoek 175">
              <a:extLst>
                <a:ext uri="{FF2B5EF4-FFF2-40B4-BE49-F238E27FC236}">
                  <a16:creationId xmlns:a16="http://schemas.microsoft.com/office/drawing/2014/main" id="{BF9EFF0A-4484-CF44-B146-B6508E3EF9F3}"/>
                </a:ext>
              </a:extLst>
            </p:cNvPr>
            <p:cNvSpPr/>
            <p:nvPr userDrawn="1"/>
          </p:nvSpPr>
          <p:spPr>
            <a:xfrm>
              <a:off x="9684933"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7" name="Rechthoek 176">
              <a:extLst>
                <a:ext uri="{FF2B5EF4-FFF2-40B4-BE49-F238E27FC236}">
                  <a16:creationId xmlns:a16="http://schemas.microsoft.com/office/drawing/2014/main" id="{11C39394-519D-F248-9C22-B15531B01C1D}"/>
                </a:ext>
              </a:extLst>
            </p:cNvPr>
            <p:cNvSpPr/>
            <p:nvPr userDrawn="1"/>
          </p:nvSpPr>
          <p:spPr>
            <a:xfrm>
              <a:off x="10048025"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8" name="Rechthoek 177">
              <a:extLst>
                <a:ext uri="{FF2B5EF4-FFF2-40B4-BE49-F238E27FC236}">
                  <a16:creationId xmlns:a16="http://schemas.microsoft.com/office/drawing/2014/main" id="{D39697CB-5C2E-0849-8A28-FF538B315DF7}"/>
                </a:ext>
              </a:extLst>
            </p:cNvPr>
            <p:cNvSpPr/>
            <p:nvPr userDrawn="1"/>
          </p:nvSpPr>
          <p:spPr>
            <a:xfrm>
              <a:off x="10407932"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9" name="Rechthoek 178">
              <a:extLst>
                <a:ext uri="{FF2B5EF4-FFF2-40B4-BE49-F238E27FC236}">
                  <a16:creationId xmlns:a16="http://schemas.microsoft.com/office/drawing/2014/main" id="{7E788494-2572-874C-8E51-0D43CFFF143E}"/>
                </a:ext>
              </a:extLst>
            </p:cNvPr>
            <p:cNvSpPr/>
            <p:nvPr userDrawn="1"/>
          </p:nvSpPr>
          <p:spPr>
            <a:xfrm>
              <a:off x="10769432"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0" name="Rechthoek 179">
              <a:extLst>
                <a:ext uri="{FF2B5EF4-FFF2-40B4-BE49-F238E27FC236}">
                  <a16:creationId xmlns:a16="http://schemas.microsoft.com/office/drawing/2014/main" id="{9A91AFA8-8607-2744-B27E-4969A146CAD5}"/>
                </a:ext>
              </a:extLst>
            </p:cNvPr>
            <p:cNvSpPr/>
            <p:nvPr userDrawn="1"/>
          </p:nvSpPr>
          <p:spPr>
            <a:xfrm>
              <a:off x="11129340"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1" name="Rechthoek 180">
              <a:extLst>
                <a:ext uri="{FF2B5EF4-FFF2-40B4-BE49-F238E27FC236}">
                  <a16:creationId xmlns:a16="http://schemas.microsoft.com/office/drawing/2014/main" id="{262CA04B-9859-A947-97F6-57D4B6BB1492}"/>
                </a:ext>
              </a:extLst>
            </p:cNvPr>
            <p:cNvSpPr/>
            <p:nvPr userDrawn="1"/>
          </p:nvSpPr>
          <p:spPr>
            <a:xfrm>
              <a:off x="1148924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2" name="Rechthoek 181">
              <a:extLst>
                <a:ext uri="{FF2B5EF4-FFF2-40B4-BE49-F238E27FC236}">
                  <a16:creationId xmlns:a16="http://schemas.microsoft.com/office/drawing/2014/main" id="{1361E52D-FF53-0942-9E77-A5F658BDEE28}"/>
                </a:ext>
              </a:extLst>
            </p:cNvPr>
            <p:cNvSpPr/>
            <p:nvPr userDrawn="1"/>
          </p:nvSpPr>
          <p:spPr>
            <a:xfrm>
              <a:off x="1185074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3" name="Rechthoek 182">
              <a:extLst>
                <a:ext uri="{FF2B5EF4-FFF2-40B4-BE49-F238E27FC236}">
                  <a16:creationId xmlns:a16="http://schemas.microsoft.com/office/drawing/2014/main" id="{05979C80-9EA0-CA41-95DF-D92AC70A6199}"/>
                </a:ext>
              </a:extLst>
            </p:cNvPr>
            <p:cNvSpPr/>
            <p:nvPr userDrawn="1"/>
          </p:nvSpPr>
          <p:spPr>
            <a:xfrm>
              <a:off x="8965386"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4" name="Rechthoek 183">
              <a:extLst>
                <a:ext uri="{FF2B5EF4-FFF2-40B4-BE49-F238E27FC236}">
                  <a16:creationId xmlns:a16="http://schemas.microsoft.com/office/drawing/2014/main" id="{672F8EFD-5596-8E42-B18E-B2622695555D}"/>
                </a:ext>
              </a:extLst>
            </p:cNvPr>
            <p:cNvSpPr/>
            <p:nvPr userDrawn="1"/>
          </p:nvSpPr>
          <p:spPr>
            <a:xfrm>
              <a:off x="9325025"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5" name="Rechthoek 184">
              <a:extLst>
                <a:ext uri="{FF2B5EF4-FFF2-40B4-BE49-F238E27FC236}">
                  <a16:creationId xmlns:a16="http://schemas.microsoft.com/office/drawing/2014/main" id="{F49DA6D9-9323-F543-908B-4983EA9E0CA2}"/>
                </a:ext>
              </a:extLst>
            </p:cNvPr>
            <p:cNvSpPr/>
            <p:nvPr userDrawn="1"/>
          </p:nvSpPr>
          <p:spPr>
            <a:xfrm>
              <a:off x="8604154"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6" name="Rechthoek 185">
              <a:extLst>
                <a:ext uri="{FF2B5EF4-FFF2-40B4-BE49-F238E27FC236}">
                  <a16:creationId xmlns:a16="http://schemas.microsoft.com/office/drawing/2014/main" id="{63CB7996-77B7-5E42-8E8A-7806BEA38860}"/>
                </a:ext>
              </a:extLst>
            </p:cNvPr>
            <p:cNvSpPr/>
            <p:nvPr userDrawn="1"/>
          </p:nvSpPr>
          <p:spPr>
            <a:xfrm>
              <a:off x="7881689"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7" name="Rechthoek 186">
              <a:extLst>
                <a:ext uri="{FF2B5EF4-FFF2-40B4-BE49-F238E27FC236}">
                  <a16:creationId xmlns:a16="http://schemas.microsoft.com/office/drawing/2014/main" id="{41CA0223-5596-1246-AF57-B05DB12110E5}"/>
                </a:ext>
              </a:extLst>
            </p:cNvPr>
            <p:cNvSpPr/>
            <p:nvPr userDrawn="1"/>
          </p:nvSpPr>
          <p:spPr>
            <a:xfrm>
              <a:off x="8242921"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8" name="Rechthoek 187">
              <a:extLst>
                <a:ext uri="{FF2B5EF4-FFF2-40B4-BE49-F238E27FC236}">
                  <a16:creationId xmlns:a16="http://schemas.microsoft.com/office/drawing/2014/main" id="{6862EF39-E48E-804C-9BFE-A46548056661}"/>
                </a:ext>
              </a:extLst>
            </p:cNvPr>
            <p:cNvSpPr/>
            <p:nvPr userDrawn="1"/>
          </p:nvSpPr>
          <p:spPr>
            <a:xfrm>
              <a:off x="752045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9" name="Rechthoek 188">
              <a:extLst>
                <a:ext uri="{FF2B5EF4-FFF2-40B4-BE49-F238E27FC236}">
                  <a16:creationId xmlns:a16="http://schemas.microsoft.com/office/drawing/2014/main" id="{25254F11-5B1F-7B43-B7AC-CEBB9E963B08}"/>
                </a:ext>
              </a:extLst>
            </p:cNvPr>
            <p:cNvSpPr/>
            <p:nvPr userDrawn="1"/>
          </p:nvSpPr>
          <p:spPr>
            <a:xfrm>
              <a:off x="7163284"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0" name="Rechthoek 189">
              <a:extLst>
                <a:ext uri="{FF2B5EF4-FFF2-40B4-BE49-F238E27FC236}">
                  <a16:creationId xmlns:a16="http://schemas.microsoft.com/office/drawing/2014/main" id="{ACD0CFA3-8726-DB42-AB35-8DE530E49736}"/>
                </a:ext>
              </a:extLst>
            </p:cNvPr>
            <p:cNvSpPr/>
            <p:nvPr userDrawn="1"/>
          </p:nvSpPr>
          <p:spPr>
            <a:xfrm>
              <a:off x="9684933"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1" name="Rechthoek 190">
              <a:extLst>
                <a:ext uri="{FF2B5EF4-FFF2-40B4-BE49-F238E27FC236}">
                  <a16:creationId xmlns:a16="http://schemas.microsoft.com/office/drawing/2014/main" id="{27FC9CFB-3A0C-E54C-8B44-F7477DC2251C}"/>
                </a:ext>
              </a:extLst>
            </p:cNvPr>
            <p:cNvSpPr/>
            <p:nvPr userDrawn="1"/>
          </p:nvSpPr>
          <p:spPr>
            <a:xfrm>
              <a:off x="10048025"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2" name="Rechthoek 191">
              <a:extLst>
                <a:ext uri="{FF2B5EF4-FFF2-40B4-BE49-F238E27FC236}">
                  <a16:creationId xmlns:a16="http://schemas.microsoft.com/office/drawing/2014/main" id="{23FE6C79-7E5A-1F41-ADC0-863C6E3144D8}"/>
                </a:ext>
              </a:extLst>
            </p:cNvPr>
            <p:cNvSpPr/>
            <p:nvPr userDrawn="1"/>
          </p:nvSpPr>
          <p:spPr>
            <a:xfrm>
              <a:off x="10407932"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3" name="Rechthoek 192">
              <a:extLst>
                <a:ext uri="{FF2B5EF4-FFF2-40B4-BE49-F238E27FC236}">
                  <a16:creationId xmlns:a16="http://schemas.microsoft.com/office/drawing/2014/main" id="{868BB43B-4C07-8440-BB73-FC5E16BE8941}"/>
                </a:ext>
              </a:extLst>
            </p:cNvPr>
            <p:cNvSpPr/>
            <p:nvPr userDrawn="1"/>
          </p:nvSpPr>
          <p:spPr>
            <a:xfrm>
              <a:off x="10769432"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4" name="Rechthoek 193">
              <a:extLst>
                <a:ext uri="{FF2B5EF4-FFF2-40B4-BE49-F238E27FC236}">
                  <a16:creationId xmlns:a16="http://schemas.microsoft.com/office/drawing/2014/main" id="{D76EE41B-D759-934F-8FEC-C6DC2535D77C}"/>
                </a:ext>
              </a:extLst>
            </p:cNvPr>
            <p:cNvSpPr/>
            <p:nvPr userDrawn="1"/>
          </p:nvSpPr>
          <p:spPr>
            <a:xfrm>
              <a:off x="11129340"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5" name="Rechthoek 194">
              <a:extLst>
                <a:ext uri="{FF2B5EF4-FFF2-40B4-BE49-F238E27FC236}">
                  <a16:creationId xmlns:a16="http://schemas.microsoft.com/office/drawing/2014/main" id="{CFDEBD3B-296F-6B47-B887-EA896F0564CF}"/>
                </a:ext>
              </a:extLst>
            </p:cNvPr>
            <p:cNvSpPr/>
            <p:nvPr userDrawn="1"/>
          </p:nvSpPr>
          <p:spPr>
            <a:xfrm>
              <a:off x="1148924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6" name="Rechthoek 195">
              <a:extLst>
                <a:ext uri="{FF2B5EF4-FFF2-40B4-BE49-F238E27FC236}">
                  <a16:creationId xmlns:a16="http://schemas.microsoft.com/office/drawing/2014/main" id="{11CA010E-E72A-D540-8C76-D844A95FFFB3}"/>
                </a:ext>
              </a:extLst>
            </p:cNvPr>
            <p:cNvSpPr/>
            <p:nvPr userDrawn="1"/>
          </p:nvSpPr>
          <p:spPr>
            <a:xfrm>
              <a:off x="1185074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7" name="Rechthoek 196">
              <a:extLst>
                <a:ext uri="{FF2B5EF4-FFF2-40B4-BE49-F238E27FC236}">
                  <a16:creationId xmlns:a16="http://schemas.microsoft.com/office/drawing/2014/main" id="{611A280D-4C7B-6F40-A05F-3B3F756691C8}"/>
                </a:ext>
              </a:extLst>
            </p:cNvPr>
            <p:cNvSpPr/>
            <p:nvPr userDrawn="1"/>
          </p:nvSpPr>
          <p:spPr>
            <a:xfrm>
              <a:off x="8965386"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8" name="Rechthoek 197">
              <a:extLst>
                <a:ext uri="{FF2B5EF4-FFF2-40B4-BE49-F238E27FC236}">
                  <a16:creationId xmlns:a16="http://schemas.microsoft.com/office/drawing/2014/main" id="{A88D7E01-4C53-5846-823F-4583486504FD}"/>
                </a:ext>
              </a:extLst>
            </p:cNvPr>
            <p:cNvSpPr/>
            <p:nvPr userDrawn="1"/>
          </p:nvSpPr>
          <p:spPr>
            <a:xfrm>
              <a:off x="9325025"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9" name="Rechthoek 198">
              <a:extLst>
                <a:ext uri="{FF2B5EF4-FFF2-40B4-BE49-F238E27FC236}">
                  <a16:creationId xmlns:a16="http://schemas.microsoft.com/office/drawing/2014/main" id="{E0FB05D6-2D23-6C4C-8AB7-FC6C23DA9F56}"/>
                </a:ext>
              </a:extLst>
            </p:cNvPr>
            <p:cNvSpPr/>
            <p:nvPr userDrawn="1"/>
          </p:nvSpPr>
          <p:spPr>
            <a:xfrm>
              <a:off x="8604154"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0" name="Rechthoek 199">
              <a:extLst>
                <a:ext uri="{FF2B5EF4-FFF2-40B4-BE49-F238E27FC236}">
                  <a16:creationId xmlns:a16="http://schemas.microsoft.com/office/drawing/2014/main" id="{F720C752-6BD5-C74C-84EE-CFF39FD96262}"/>
                </a:ext>
              </a:extLst>
            </p:cNvPr>
            <p:cNvSpPr/>
            <p:nvPr userDrawn="1"/>
          </p:nvSpPr>
          <p:spPr>
            <a:xfrm>
              <a:off x="7881689"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1" name="Rechthoek 200">
              <a:extLst>
                <a:ext uri="{FF2B5EF4-FFF2-40B4-BE49-F238E27FC236}">
                  <a16:creationId xmlns:a16="http://schemas.microsoft.com/office/drawing/2014/main" id="{832DBC2F-5668-1147-B076-8331BE6DA1C9}"/>
                </a:ext>
              </a:extLst>
            </p:cNvPr>
            <p:cNvSpPr/>
            <p:nvPr userDrawn="1"/>
          </p:nvSpPr>
          <p:spPr>
            <a:xfrm>
              <a:off x="8242921"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2" name="Rechthoek 201">
              <a:extLst>
                <a:ext uri="{FF2B5EF4-FFF2-40B4-BE49-F238E27FC236}">
                  <a16:creationId xmlns:a16="http://schemas.microsoft.com/office/drawing/2014/main" id="{37A2A709-7F55-A34C-852B-030FC9CE5DD2}"/>
                </a:ext>
              </a:extLst>
            </p:cNvPr>
            <p:cNvSpPr/>
            <p:nvPr userDrawn="1"/>
          </p:nvSpPr>
          <p:spPr>
            <a:xfrm>
              <a:off x="752045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3" name="Rechthoek 202">
              <a:extLst>
                <a:ext uri="{FF2B5EF4-FFF2-40B4-BE49-F238E27FC236}">
                  <a16:creationId xmlns:a16="http://schemas.microsoft.com/office/drawing/2014/main" id="{AC3EEDD0-A1D1-794E-A5D8-87A94BEFD875}"/>
                </a:ext>
              </a:extLst>
            </p:cNvPr>
            <p:cNvSpPr/>
            <p:nvPr userDrawn="1"/>
          </p:nvSpPr>
          <p:spPr>
            <a:xfrm>
              <a:off x="7163284"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4" name="Rechthoek 203">
              <a:extLst>
                <a:ext uri="{FF2B5EF4-FFF2-40B4-BE49-F238E27FC236}">
                  <a16:creationId xmlns:a16="http://schemas.microsoft.com/office/drawing/2014/main" id="{5CE8FBE2-5BD6-804D-AE15-67417D72062B}"/>
                </a:ext>
              </a:extLst>
            </p:cNvPr>
            <p:cNvSpPr/>
            <p:nvPr userDrawn="1"/>
          </p:nvSpPr>
          <p:spPr>
            <a:xfrm>
              <a:off x="9684933"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5" name="Rechthoek 204">
              <a:extLst>
                <a:ext uri="{FF2B5EF4-FFF2-40B4-BE49-F238E27FC236}">
                  <a16:creationId xmlns:a16="http://schemas.microsoft.com/office/drawing/2014/main" id="{D0841BEA-8DE7-8F45-BB30-FFC40F11CE74}"/>
                </a:ext>
              </a:extLst>
            </p:cNvPr>
            <p:cNvSpPr/>
            <p:nvPr userDrawn="1"/>
          </p:nvSpPr>
          <p:spPr>
            <a:xfrm>
              <a:off x="10048025"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6" name="Rechthoek 205">
              <a:extLst>
                <a:ext uri="{FF2B5EF4-FFF2-40B4-BE49-F238E27FC236}">
                  <a16:creationId xmlns:a16="http://schemas.microsoft.com/office/drawing/2014/main" id="{E5A894EF-A2C3-B841-8C6A-F4469FEE6078}"/>
                </a:ext>
              </a:extLst>
            </p:cNvPr>
            <p:cNvSpPr/>
            <p:nvPr userDrawn="1"/>
          </p:nvSpPr>
          <p:spPr>
            <a:xfrm>
              <a:off x="10407932"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7" name="Rechthoek 206">
              <a:extLst>
                <a:ext uri="{FF2B5EF4-FFF2-40B4-BE49-F238E27FC236}">
                  <a16:creationId xmlns:a16="http://schemas.microsoft.com/office/drawing/2014/main" id="{BB64406A-291A-6745-96CA-C4DDC2F2AAA5}"/>
                </a:ext>
              </a:extLst>
            </p:cNvPr>
            <p:cNvSpPr/>
            <p:nvPr userDrawn="1"/>
          </p:nvSpPr>
          <p:spPr>
            <a:xfrm>
              <a:off x="10769432"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8" name="Rechthoek 207">
              <a:extLst>
                <a:ext uri="{FF2B5EF4-FFF2-40B4-BE49-F238E27FC236}">
                  <a16:creationId xmlns:a16="http://schemas.microsoft.com/office/drawing/2014/main" id="{C277632B-6B32-074E-BE4E-0BCC5F6611B8}"/>
                </a:ext>
              </a:extLst>
            </p:cNvPr>
            <p:cNvSpPr/>
            <p:nvPr userDrawn="1"/>
          </p:nvSpPr>
          <p:spPr>
            <a:xfrm>
              <a:off x="11129340"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9" name="Rechthoek 208">
              <a:extLst>
                <a:ext uri="{FF2B5EF4-FFF2-40B4-BE49-F238E27FC236}">
                  <a16:creationId xmlns:a16="http://schemas.microsoft.com/office/drawing/2014/main" id="{9D120BC3-3AD0-3E40-B2A3-71EAD7D86C39}"/>
                </a:ext>
              </a:extLst>
            </p:cNvPr>
            <p:cNvSpPr/>
            <p:nvPr userDrawn="1"/>
          </p:nvSpPr>
          <p:spPr>
            <a:xfrm>
              <a:off x="1148924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0" name="Rechthoek 209">
              <a:extLst>
                <a:ext uri="{FF2B5EF4-FFF2-40B4-BE49-F238E27FC236}">
                  <a16:creationId xmlns:a16="http://schemas.microsoft.com/office/drawing/2014/main" id="{42BD8B2A-D880-9049-8430-E673177202F2}"/>
                </a:ext>
              </a:extLst>
            </p:cNvPr>
            <p:cNvSpPr/>
            <p:nvPr userDrawn="1"/>
          </p:nvSpPr>
          <p:spPr>
            <a:xfrm>
              <a:off x="1185074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1" name="Rechthoek 210">
              <a:extLst>
                <a:ext uri="{FF2B5EF4-FFF2-40B4-BE49-F238E27FC236}">
                  <a16:creationId xmlns:a16="http://schemas.microsoft.com/office/drawing/2014/main" id="{63C23E28-BF2A-0940-9514-5F95FC11FFC0}"/>
                </a:ext>
              </a:extLst>
            </p:cNvPr>
            <p:cNvSpPr/>
            <p:nvPr userDrawn="1"/>
          </p:nvSpPr>
          <p:spPr>
            <a:xfrm>
              <a:off x="329951" y="4068681"/>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2" name="Rechthoek 211">
              <a:extLst>
                <a:ext uri="{FF2B5EF4-FFF2-40B4-BE49-F238E27FC236}">
                  <a16:creationId xmlns:a16="http://schemas.microsoft.com/office/drawing/2014/main" id="{7AE4D547-9454-C449-91FB-A2251540A3DF}"/>
                </a:ext>
              </a:extLst>
            </p:cNvPr>
            <p:cNvSpPr/>
            <p:nvPr userDrawn="1"/>
          </p:nvSpPr>
          <p:spPr>
            <a:xfrm>
              <a:off x="329951" y="3705228"/>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3" name="Rechthoek 212">
              <a:extLst>
                <a:ext uri="{FF2B5EF4-FFF2-40B4-BE49-F238E27FC236}">
                  <a16:creationId xmlns:a16="http://schemas.microsoft.com/office/drawing/2014/main" id="{4129B9BC-D30D-A046-BAF8-17EFF18058C8}"/>
                </a:ext>
              </a:extLst>
            </p:cNvPr>
            <p:cNvSpPr/>
            <p:nvPr userDrawn="1"/>
          </p:nvSpPr>
          <p:spPr>
            <a:xfrm>
              <a:off x="329951"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4" name="Rechthoek 213">
              <a:extLst>
                <a:ext uri="{FF2B5EF4-FFF2-40B4-BE49-F238E27FC236}">
                  <a16:creationId xmlns:a16="http://schemas.microsoft.com/office/drawing/2014/main" id="{8000A5D1-CC96-F74B-BFAD-18F066354FC0}"/>
                </a:ext>
              </a:extLst>
            </p:cNvPr>
            <p:cNvSpPr/>
            <p:nvPr userDrawn="1"/>
          </p:nvSpPr>
          <p:spPr>
            <a:xfrm>
              <a:off x="329951" y="515008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5" name="Rechthoek 214">
              <a:extLst>
                <a:ext uri="{FF2B5EF4-FFF2-40B4-BE49-F238E27FC236}">
                  <a16:creationId xmlns:a16="http://schemas.microsoft.com/office/drawing/2014/main" id="{068CC09A-951B-C645-9EF1-AB7673088081}"/>
                </a:ext>
              </a:extLst>
            </p:cNvPr>
            <p:cNvSpPr/>
            <p:nvPr userDrawn="1"/>
          </p:nvSpPr>
          <p:spPr>
            <a:xfrm>
              <a:off x="329951" y="478663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6" name="Rechthoek 215">
              <a:extLst>
                <a:ext uri="{FF2B5EF4-FFF2-40B4-BE49-F238E27FC236}">
                  <a16:creationId xmlns:a16="http://schemas.microsoft.com/office/drawing/2014/main" id="{221FD207-FE10-FC43-A28C-F4A64543A33A}"/>
                </a:ext>
              </a:extLst>
            </p:cNvPr>
            <p:cNvSpPr/>
            <p:nvPr userDrawn="1"/>
          </p:nvSpPr>
          <p:spPr>
            <a:xfrm>
              <a:off x="329951" y="442647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7" name="Rechthoek 216">
              <a:extLst>
                <a:ext uri="{FF2B5EF4-FFF2-40B4-BE49-F238E27FC236}">
                  <a16:creationId xmlns:a16="http://schemas.microsoft.com/office/drawing/2014/main" id="{39C391D7-3435-E849-9AA4-2B94FD1C2A10}"/>
                </a:ext>
              </a:extLst>
            </p:cNvPr>
            <p:cNvSpPr/>
            <p:nvPr userDrawn="1"/>
          </p:nvSpPr>
          <p:spPr>
            <a:xfrm>
              <a:off x="329951" y="586804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8" name="Rechthoek 217">
              <a:extLst>
                <a:ext uri="{FF2B5EF4-FFF2-40B4-BE49-F238E27FC236}">
                  <a16:creationId xmlns:a16="http://schemas.microsoft.com/office/drawing/2014/main" id="{80336B4A-BC5E-B341-859F-21150D9EA431}"/>
                </a:ext>
              </a:extLst>
            </p:cNvPr>
            <p:cNvSpPr/>
            <p:nvPr userDrawn="1"/>
          </p:nvSpPr>
          <p:spPr>
            <a:xfrm>
              <a:off x="329951" y="550788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9" name="Rechthoek 218">
              <a:extLst>
                <a:ext uri="{FF2B5EF4-FFF2-40B4-BE49-F238E27FC236}">
                  <a16:creationId xmlns:a16="http://schemas.microsoft.com/office/drawing/2014/main" id="{C100B2F4-DF6F-3040-BD15-E3F157233F62}"/>
                </a:ext>
              </a:extLst>
            </p:cNvPr>
            <p:cNvSpPr/>
            <p:nvPr userDrawn="1"/>
          </p:nvSpPr>
          <p:spPr>
            <a:xfrm>
              <a:off x="11850747" y="4068681"/>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0" name="Rechthoek 219">
              <a:extLst>
                <a:ext uri="{FF2B5EF4-FFF2-40B4-BE49-F238E27FC236}">
                  <a16:creationId xmlns:a16="http://schemas.microsoft.com/office/drawing/2014/main" id="{C142FD20-21C5-4842-86AC-C2181494D833}"/>
                </a:ext>
              </a:extLst>
            </p:cNvPr>
            <p:cNvSpPr/>
            <p:nvPr userDrawn="1"/>
          </p:nvSpPr>
          <p:spPr>
            <a:xfrm>
              <a:off x="11850747" y="3705228"/>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1" name="Rechthoek 220">
              <a:extLst>
                <a:ext uri="{FF2B5EF4-FFF2-40B4-BE49-F238E27FC236}">
                  <a16:creationId xmlns:a16="http://schemas.microsoft.com/office/drawing/2014/main" id="{6BBEBA76-EBB1-7D40-BECE-326DD5FFDBBE}"/>
                </a:ext>
              </a:extLst>
            </p:cNvPr>
            <p:cNvSpPr/>
            <p:nvPr userDrawn="1"/>
          </p:nvSpPr>
          <p:spPr>
            <a:xfrm>
              <a:off x="8965386"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2" name="Rechthoek 221">
              <a:extLst>
                <a:ext uri="{FF2B5EF4-FFF2-40B4-BE49-F238E27FC236}">
                  <a16:creationId xmlns:a16="http://schemas.microsoft.com/office/drawing/2014/main" id="{390EC9D9-BFC0-1B4B-B22D-630CABE0A776}"/>
                </a:ext>
              </a:extLst>
            </p:cNvPr>
            <p:cNvSpPr/>
            <p:nvPr userDrawn="1"/>
          </p:nvSpPr>
          <p:spPr>
            <a:xfrm>
              <a:off x="9325025"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3" name="Rechthoek 222">
              <a:extLst>
                <a:ext uri="{FF2B5EF4-FFF2-40B4-BE49-F238E27FC236}">
                  <a16:creationId xmlns:a16="http://schemas.microsoft.com/office/drawing/2014/main" id="{F2580E9C-7F1C-7143-8185-9FDBCFFE2053}"/>
                </a:ext>
              </a:extLst>
            </p:cNvPr>
            <p:cNvSpPr/>
            <p:nvPr userDrawn="1"/>
          </p:nvSpPr>
          <p:spPr>
            <a:xfrm>
              <a:off x="8604154"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4" name="Rechthoek 223">
              <a:extLst>
                <a:ext uri="{FF2B5EF4-FFF2-40B4-BE49-F238E27FC236}">
                  <a16:creationId xmlns:a16="http://schemas.microsoft.com/office/drawing/2014/main" id="{40749918-C2FA-EA4B-8B1D-178F87A66B40}"/>
                </a:ext>
              </a:extLst>
            </p:cNvPr>
            <p:cNvSpPr/>
            <p:nvPr userDrawn="1"/>
          </p:nvSpPr>
          <p:spPr>
            <a:xfrm>
              <a:off x="7881689"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5" name="Rechthoek 224">
              <a:extLst>
                <a:ext uri="{FF2B5EF4-FFF2-40B4-BE49-F238E27FC236}">
                  <a16:creationId xmlns:a16="http://schemas.microsoft.com/office/drawing/2014/main" id="{B0CE4002-4053-1142-A33F-2004B01B03B3}"/>
                </a:ext>
              </a:extLst>
            </p:cNvPr>
            <p:cNvSpPr/>
            <p:nvPr userDrawn="1"/>
          </p:nvSpPr>
          <p:spPr>
            <a:xfrm>
              <a:off x="8242921"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6" name="Rechthoek 225">
              <a:extLst>
                <a:ext uri="{FF2B5EF4-FFF2-40B4-BE49-F238E27FC236}">
                  <a16:creationId xmlns:a16="http://schemas.microsoft.com/office/drawing/2014/main" id="{0C218EB2-4A88-5A49-B3AA-AA0B26592E2E}"/>
                </a:ext>
              </a:extLst>
            </p:cNvPr>
            <p:cNvSpPr/>
            <p:nvPr userDrawn="1"/>
          </p:nvSpPr>
          <p:spPr>
            <a:xfrm>
              <a:off x="752045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7" name="Rechthoek 226">
              <a:extLst>
                <a:ext uri="{FF2B5EF4-FFF2-40B4-BE49-F238E27FC236}">
                  <a16:creationId xmlns:a16="http://schemas.microsoft.com/office/drawing/2014/main" id="{1E9ABF66-0782-4A4B-8A8A-51545DEB317B}"/>
                </a:ext>
              </a:extLst>
            </p:cNvPr>
            <p:cNvSpPr/>
            <p:nvPr userDrawn="1"/>
          </p:nvSpPr>
          <p:spPr>
            <a:xfrm>
              <a:off x="7163284"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8" name="Rechthoek 227">
              <a:extLst>
                <a:ext uri="{FF2B5EF4-FFF2-40B4-BE49-F238E27FC236}">
                  <a16:creationId xmlns:a16="http://schemas.microsoft.com/office/drawing/2014/main" id="{DCB94A92-477E-F04E-9C41-AE775034B0C0}"/>
                </a:ext>
              </a:extLst>
            </p:cNvPr>
            <p:cNvSpPr/>
            <p:nvPr userDrawn="1"/>
          </p:nvSpPr>
          <p:spPr>
            <a:xfrm>
              <a:off x="9684933"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29" name="Rechthoek 228">
              <a:extLst>
                <a:ext uri="{FF2B5EF4-FFF2-40B4-BE49-F238E27FC236}">
                  <a16:creationId xmlns:a16="http://schemas.microsoft.com/office/drawing/2014/main" id="{7C82C1B4-1864-5248-8A1F-AF65828C0DEE}"/>
                </a:ext>
              </a:extLst>
            </p:cNvPr>
            <p:cNvSpPr/>
            <p:nvPr userDrawn="1"/>
          </p:nvSpPr>
          <p:spPr>
            <a:xfrm>
              <a:off x="10048025"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0" name="Rechthoek 229">
              <a:extLst>
                <a:ext uri="{FF2B5EF4-FFF2-40B4-BE49-F238E27FC236}">
                  <a16:creationId xmlns:a16="http://schemas.microsoft.com/office/drawing/2014/main" id="{C4E42661-C7E0-6142-A549-FB4CA09DFD35}"/>
                </a:ext>
              </a:extLst>
            </p:cNvPr>
            <p:cNvSpPr/>
            <p:nvPr userDrawn="1"/>
          </p:nvSpPr>
          <p:spPr>
            <a:xfrm>
              <a:off x="10407932"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1" name="Rechthoek 230">
              <a:extLst>
                <a:ext uri="{FF2B5EF4-FFF2-40B4-BE49-F238E27FC236}">
                  <a16:creationId xmlns:a16="http://schemas.microsoft.com/office/drawing/2014/main" id="{A867ABC2-D1C2-1A44-A851-A10AE32BC323}"/>
                </a:ext>
              </a:extLst>
            </p:cNvPr>
            <p:cNvSpPr/>
            <p:nvPr userDrawn="1"/>
          </p:nvSpPr>
          <p:spPr>
            <a:xfrm>
              <a:off x="10769432"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2" name="Rechthoek 231">
              <a:extLst>
                <a:ext uri="{FF2B5EF4-FFF2-40B4-BE49-F238E27FC236}">
                  <a16:creationId xmlns:a16="http://schemas.microsoft.com/office/drawing/2014/main" id="{218DD0C7-4642-8C49-9104-0C8908F22AC0}"/>
                </a:ext>
              </a:extLst>
            </p:cNvPr>
            <p:cNvSpPr/>
            <p:nvPr userDrawn="1"/>
          </p:nvSpPr>
          <p:spPr>
            <a:xfrm>
              <a:off x="11129340"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3" name="Rechthoek 232">
              <a:extLst>
                <a:ext uri="{FF2B5EF4-FFF2-40B4-BE49-F238E27FC236}">
                  <a16:creationId xmlns:a16="http://schemas.microsoft.com/office/drawing/2014/main" id="{ECF6F341-4C31-F34B-AD4B-8921C94E28E7}"/>
                </a:ext>
              </a:extLst>
            </p:cNvPr>
            <p:cNvSpPr/>
            <p:nvPr userDrawn="1"/>
          </p:nvSpPr>
          <p:spPr>
            <a:xfrm>
              <a:off x="1148924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4" name="Rechthoek 233">
              <a:extLst>
                <a:ext uri="{FF2B5EF4-FFF2-40B4-BE49-F238E27FC236}">
                  <a16:creationId xmlns:a16="http://schemas.microsoft.com/office/drawing/2014/main" id="{D155DAF5-E02E-854F-B639-F80C75286DA8}"/>
                </a:ext>
              </a:extLst>
            </p:cNvPr>
            <p:cNvSpPr/>
            <p:nvPr userDrawn="1"/>
          </p:nvSpPr>
          <p:spPr>
            <a:xfrm>
              <a:off x="1185074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5" name="Rechthoek 234">
              <a:extLst>
                <a:ext uri="{FF2B5EF4-FFF2-40B4-BE49-F238E27FC236}">
                  <a16:creationId xmlns:a16="http://schemas.microsoft.com/office/drawing/2014/main" id="{67EB18EA-8F75-314E-AB8C-69953FAA4662}"/>
                </a:ext>
              </a:extLst>
            </p:cNvPr>
            <p:cNvSpPr/>
            <p:nvPr userDrawn="1"/>
          </p:nvSpPr>
          <p:spPr>
            <a:xfrm>
              <a:off x="11850747" y="515008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6" name="Rechthoek 235">
              <a:extLst>
                <a:ext uri="{FF2B5EF4-FFF2-40B4-BE49-F238E27FC236}">
                  <a16:creationId xmlns:a16="http://schemas.microsoft.com/office/drawing/2014/main" id="{CE24762E-DB4D-C149-B013-C3DC524A2220}"/>
                </a:ext>
              </a:extLst>
            </p:cNvPr>
            <p:cNvSpPr/>
            <p:nvPr userDrawn="1"/>
          </p:nvSpPr>
          <p:spPr>
            <a:xfrm>
              <a:off x="11850747" y="478663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7" name="Rechthoek 236">
              <a:extLst>
                <a:ext uri="{FF2B5EF4-FFF2-40B4-BE49-F238E27FC236}">
                  <a16:creationId xmlns:a16="http://schemas.microsoft.com/office/drawing/2014/main" id="{1D78AC82-DA2B-A249-9186-EED1B20F06E8}"/>
                </a:ext>
              </a:extLst>
            </p:cNvPr>
            <p:cNvSpPr/>
            <p:nvPr userDrawn="1"/>
          </p:nvSpPr>
          <p:spPr>
            <a:xfrm>
              <a:off x="11850747" y="442647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8" name="Rechthoek 237">
              <a:extLst>
                <a:ext uri="{FF2B5EF4-FFF2-40B4-BE49-F238E27FC236}">
                  <a16:creationId xmlns:a16="http://schemas.microsoft.com/office/drawing/2014/main" id="{EC3EFAF2-38DB-2641-8B86-FBEDC1508BFC}"/>
                </a:ext>
              </a:extLst>
            </p:cNvPr>
            <p:cNvSpPr/>
            <p:nvPr userDrawn="1"/>
          </p:nvSpPr>
          <p:spPr>
            <a:xfrm>
              <a:off x="11850747" y="586804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9" name="Rechthoek 238">
              <a:extLst>
                <a:ext uri="{FF2B5EF4-FFF2-40B4-BE49-F238E27FC236}">
                  <a16:creationId xmlns:a16="http://schemas.microsoft.com/office/drawing/2014/main" id="{A6120113-A263-B647-9685-C8B1569917A1}"/>
                </a:ext>
              </a:extLst>
            </p:cNvPr>
            <p:cNvSpPr/>
            <p:nvPr userDrawn="1"/>
          </p:nvSpPr>
          <p:spPr>
            <a:xfrm>
              <a:off x="11850747" y="550788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cxnSp>
        <p:nvCxnSpPr>
          <p:cNvPr id="3" name="Rechte verbindingslijn 2">
            <a:extLst>
              <a:ext uri="{FF2B5EF4-FFF2-40B4-BE49-F238E27FC236}">
                <a16:creationId xmlns:a16="http://schemas.microsoft.com/office/drawing/2014/main" id="{FC1C4C89-F2EB-184A-A367-D71D2885D609}"/>
              </a:ext>
            </a:extLst>
          </p:cNvPr>
          <p:cNvCxnSpPr>
            <a:cxnSpLocks/>
          </p:cNvCxnSpPr>
          <p:nvPr userDrawn="1"/>
        </p:nvCxnSpPr>
        <p:spPr>
          <a:xfrm>
            <a:off x="0" y="123522"/>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Rechte verbindingslijn 286">
            <a:extLst>
              <a:ext uri="{FF2B5EF4-FFF2-40B4-BE49-F238E27FC236}">
                <a16:creationId xmlns:a16="http://schemas.microsoft.com/office/drawing/2014/main" id="{EA548EF4-A5E7-044C-B41D-A2BFC5DBD9F6}"/>
              </a:ext>
            </a:extLst>
          </p:cNvPr>
          <p:cNvCxnSpPr/>
          <p:nvPr userDrawn="1"/>
        </p:nvCxnSpPr>
        <p:spPr>
          <a:xfrm>
            <a:off x="0" y="48425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8" name="Rechte verbindingslijn 287">
            <a:extLst>
              <a:ext uri="{FF2B5EF4-FFF2-40B4-BE49-F238E27FC236}">
                <a16:creationId xmlns:a16="http://schemas.microsoft.com/office/drawing/2014/main" id="{176C7794-D454-C44D-8BBF-8DD01D8D87DA}"/>
              </a:ext>
            </a:extLst>
          </p:cNvPr>
          <p:cNvCxnSpPr/>
          <p:nvPr userDrawn="1"/>
        </p:nvCxnSpPr>
        <p:spPr>
          <a:xfrm>
            <a:off x="0" y="844984"/>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9" name="Rechte verbindingslijn 288">
            <a:extLst>
              <a:ext uri="{FF2B5EF4-FFF2-40B4-BE49-F238E27FC236}">
                <a16:creationId xmlns:a16="http://schemas.microsoft.com/office/drawing/2014/main" id="{52A11350-A6A3-7D43-BF28-8128697A10AC}"/>
              </a:ext>
            </a:extLst>
          </p:cNvPr>
          <p:cNvCxnSpPr/>
          <p:nvPr userDrawn="1"/>
        </p:nvCxnSpPr>
        <p:spPr>
          <a:xfrm>
            <a:off x="0" y="120571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0" name="Rechte verbindingslijn 289">
            <a:extLst>
              <a:ext uri="{FF2B5EF4-FFF2-40B4-BE49-F238E27FC236}">
                <a16:creationId xmlns:a16="http://schemas.microsoft.com/office/drawing/2014/main" id="{16E1826E-4AEE-1140-B5E6-20F9DC737437}"/>
              </a:ext>
            </a:extLst>
          </p:cNvPr>
          <p:cNvCxnSpPr/>
          <p:nvPr userDrawn="1"/>
        </p:nvCxnSpPr>
        <p:spPr>
          <a:xfrm>
            <a:off x="0" y="156644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1" name="Rechte verbindingslijn 290">
            <a:extLst>
              <a:ext uri="{FF2B5EF4-FFF2-40B4-BE49-F238E27FC236}">
                <a16:creationId xmlns:a16="http://schemas.microsoft.com/office/drawing/2014/main" id="{07A73483-FF5C-A24E-880B-EF9AC2931B17}"/>
              </a:ext>
            </a:extLst>
          </p:cNvPr>
          <p:cNvCxnSpPr/>
          <p:nvPr userDrawn="1"/>
        </p:nvCxnSpPr>
        <p:spPr>
          <a:xfrm>
            <a:off x="0" y="1927177"/>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2" name="Rechte verbindingslijn 291">
            <a:extLst>
              <a:ext uri="{FF2B5EF4-FFF2-40B4-BE49-F238E27FC236}">
                <a16:creationId xmlns:a16="http://schemas.microsoft.com/office/drawing/2014/main" id="{3D70DCCD-8511-ED43-8D0A-8BE1BF1844F4}"/>
              </a:ext>
            </a:extLst>
          </p:cNvPr>
          <p:cNvCxnSpPr/>
          <p:nvPr userDrawn="1"/>
        </p:nvCxnSpPr>
        <p:spPr>
          <a:xfrm>
            <a:off x="0" y="2287908"/>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3" name="Rechte verbindingslijn 292">
            <a:extLst>
              <a:ext uri="{FF2B5EF4-FFF2-40B4-BE49-F238E27FC236}">
                <a16:creationId xmlns:a16="http://schemas.microsoft.com/office/drawing/2014/main" id="{7908FA16-2E13-0442-AE93-F9FED0CCE5A7}"/>
              </a:ext>
            </a:extLst>
          </p:cNvPr>
          <p:cNvCxnSpPr/>
          <p:nvPr userDrawn="1"/>
        </p:nvCxnSpPr>
        <p:spPr>
          <a:xfrm>
            <a:off x="0" y="2648639"/>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4" name="Rechte verbindingslijn 293">
            <a:extLst>
              <a:ext uri="{FF2B5EF4-FFF2-40B4-BE49-F238E27FC236}">
                <a16:creationId xmlns:a16="http://schemas.microsoft.com/office/drawing/2014/main" id="{C91C00AD-466F-0C45-A173-372E4DE14AFB}"/>
              </a:ext>
            </a:extLst>
          </p:cNvPr>
          <p:cNvCxnSpPr/>
          <p:nvPr userDrawn="1"/>
        </p:nvCxnSpPr>
        <p:spPr>
          <a:xfrm>
            <a:off x="0" y="3009370"/>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5" name="Rechte verbindingslijn 294">
            <a:extLst>
              <a:ext uri="{FF2B5EF4-FFF2-40B4-BE49-F238E27FC236}">
                <a16:creationId xmlns:a16="http://schemas.microsoft.com/office/drawing/2014/main" id="{52A8C5D3-D35E-B34A-91E2-4B640C027FDA}"/>
              </a:ext>
            </a:extLst>
          </p:cNvPr>
          <p:cNvCxnSpPr/>
          <p:nvPr userDrawn="1"/>
        </p:nvCxnSpPr>
        <p:spPr>
          <a:xfrm>
            <a:off x="0" y="33701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7" name="Rechte verbindingslijn 296">
            <a:extLst>
              <a:ext uri="{FF2B5EF4-FFF2-40B4-BE49-F238E27FC236}">
                <a16:creationId xmlns:a16="http://schemas.microsoft.com/office/drawing/2014/main" id="{23607342-B411-C344-ADAB-BC4B77BBFCEC}"/>
              </a:ext>
            </a:extLst>
          </p:cNvPr>
          <p:cNvCxnSpPr/>
          <p:nvPr userDrawn="1"/>
        </p:nvCxnSpPr>
        <p:spPr>
          <a:xfrm>
            <a:off x="0" y="409156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8" name="Rechte verbindingslijn 297">
            <a:extLst>
              <a:ext uri="{FF2B5EF4-FFF2-40B4-BE49-F238E27FC236}">
                <a16:creationId xmlns:a16="http://schemas.microsoft.com/office/drawing/2014/main" id="{A2F6786E-C0EF-994A-9253-27CEF2051A82}"/>
              </a:ext>
            </a:extLst>
          </p:cNvPr>
          <p:cNvCxnSpPr/>
          <p:nvPr userDrawn="1"/>
        </p:nvCxnSpPr>
        <p:spPr>
          <a:xfrm>
            <a:off x="0" y="4452294"/>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9" name="Rechte verbindingslijn 298">
            <a:extLst>
              <a:ext uri="{FF2B5EF4-FFF2-40B4-BE49-F238E27FC236}">
                <a16:creationId xmlns:a16="http://schemas.microsoft.com/office/drawing/2014/main" id="{C7029F7F-9F94-9740-863D-9E52FDFC2663}"/>
              </a:ext>
            </a:extLst>
          </p:cNvPr>
          <p:cNvCxnSpPr/>
          <p:nvPr userDrawn="1"/>
        </p:nvCxnSpPr>
        <p:spPr>
          <a:xfrm>
            <a:off x="0" y="481302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0" name="Rechte verbindingslijn 299">
            <a:extLst>
              <a:ext uri="{FF2B5EF4-FFF2-40B4-BE49-F238E27FC236}">
                <a16:creationId xmlns:a16="http://schemas.microsoft.com/office/drawing/2014/main" id="{2FBD54ED-1929-434A-9398-4055F5F1C8F8}"/>
              </a:ext>
            </a:extLst>
          </p:cNvPr>
          <p:cNvCxnSpPr/>
          <p:nvPr userDrawn="1"/>
        </p:nvCxnSpPr>
        <p:spPr>
          <a:xfrm>
            <a:off x="0" y="517375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2" name="Rechte verbindingslijn 301">
            <a:extLst>
              <a:ext uri="{FF2B5EF4-FFF2-40B4-BE49-F238E27FC236}">
                <a16:creationId xmlns:a16="http://schemas.microsoft.com/office/drawing/2014/main" id="{0D62A316-6216-8247-8DE7-344C71F92CEA}"/>
              </a:ext>
            </a:extLst>
          </p:cNvPr>
          <p:cNvCxnSpPr>
            <a:cxnSpLocks/>
          </p:cNvCxnSpPr>
          <p:nvPr userDrawn="1"/>
        </p:nvCxnSpPr>
        <p:spPr>
          <a:xfrm>
            <a:off x="0" y="589522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3" name="Rechte verbindingslijn 302">
            <a:extLst>
              <a:ext uri="{FF2B5EF4-FFF2-40B4-BE49-F238E27FC236}">
                <a16:creationId xmlns:a16="http://schemas.microsoft.com/office/drawing/2014/main" id="{5375DFB1-E5F9-AC41-857C-595E358D7B3B}"/>
              </a:ext>
            </a:extLst>
          </p:cNvPr>
          <p:cNvCxnSpPr>
            <a:cxnSpLocks/>
          </p:cNvCxnSpPr>
          <p:nvPr userDrawn="1"/>
        </p:nvCxnSpPr>
        <p:spPr>
          <a:xfrm>
            <a:off x="35713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4" name="Rechte verbindingslijn 303">
            <a:extLst>
              <a:ext uri="{FF2B5EF4-FFF2-40B4-BE49-F238E27FC236}">
                <a16:creationId xmlns:a16="http://schemas.microsoft.com/office/drawing/2014/main" id="{CE0D2B8C-AFB7-9B4A-9A63-159D4F59CEC5}"/>
              </a:ext>
            </a:extLst>
          </p:cNvPr>
          <p:cNvCxnSpPr>
            <a:cxnSpLocks/>
          </p:cNvCxnSpPr>
          <p:nvPr userDrawn="1"/>
        </p:nvCxnSpPr>
        <p:spPr>
          <a:xfrm>
            <a:off x="71836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6" name="Rechte verbindingslijn 305">
            <a:extLst>
              <a:ext uri="{FF2B5EF4-FFF2-40B4-BE49-F238E27FC236}">
                <a16:creationId xmlns:a16="http://schemas.microsoft.com/office/drawing/2014/main" id="{06BE2066-4885-104B-943F-0A4AEB318276}"/>
              </a:ext>
            </a:extLst>
          </p:cNvPr>
          <p:cNvCxnSpPr>
            <a:cxnSpLocks/>
          </p:cNvCxnSpPr>
          <p:nvPr userDrawn="1"/>
        </p:nvCxnSpPr>
        <p:spPr>
          <a:xfrm>
            <a:off x="143676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7" name="Rechte verbindingslijn 306">
            <a:extLst>
              <a:ext uri="{FF2B5EF4-FFF2-40B4-BE49-F238E27FC236}">
                <a16:creationId xmlns:a16="http://schemas.microsoft.com/office/drawing/2014/main" id="{DF2A8E07-91EA-BA42-9ADA-5C2BC5F46821}"/>
              </a:ext>
            </a:extLst>
          </p:cNvPr>
          <p:cNvCxnSpPr>
            <a:cxnSpLocks/>
          </p:cNvCxnSpPr>
          <p:nvPr userDrawn="1"/>
        </p:nvCxnSpPr>
        <p:spPr>
          <a:xfrm>
            <a:off x="179799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8" name="Rechte verbindingslijn 307">
            <a:extLst>
              <a:ext uri="{FF2B5EF4-FFF2-40B4-BE49-F238E27FC236}">
                <a16:creationId xmlns:a16="http://schemas.microsoft.com/office/drawing/2014/main" id="{773FA7DF-637A-3944-93BE-6E7C1A162EFB}"/>
              </a:ext>
            </a:extLst>
          </p:cNvPr>
          <p:cNvCxnSpPr>
            <a:cxnSpLocks/>
          </p:cNvCxnSpPr>
          <p:nvPr userDrawn="1"/>
        </p:nvCxnSpPr>
        <p:spPr>
          <a:xfrm>
            <a:off x="215923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9" name="Rechte verbindingslijn 308">
            <a:extLst>
              <a:ext uri="{FF2B5EF4-FFF2-40B4-BE49-F238E27FC236}">
                <a16:creationId xmlns:a16="http://schemas.microsoft.com/office/drawing/2014/main" id="{A1EECD3E-1FDE-0E40-B120-599F65F6A613}"/>
              </a:ext>
            </a:extLst>
          </p:cNvPr>
          <p:cNvCxnSpPr>
            <a:cxnSpLocks/>
          </p:cNvCxnSpPr>
          <p:nvPr userDrawn="1"/>
        </p:nvCxnSpPr>
        <p:spPr>
          <a:xfrm>
            <a:off x="252046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0" name="Rechte verbindingslijn 309">
            <a:extLst>
              <a:ext uri="{FF2B5EF4-FFF2-40B4-BE49-F238E27FC236}">
                <a16:creationId xmlns:a16="http://schemas.microsoft.com/office/drawing/2014/main" id="{9D312BC6-6923-C84C-ADF0-23842727A099}"/>
              </a:ext>
            </a:extLst>
          </p:cNvPr>
          <p:cNvCxnSpPr>
            <a:cxnSpLocks/>
          </p:cNvCxnSpPr>
          <p:nvPr userDrawn="1"/>
        </p:nvCxnSpPr>
        <p:spPr>
          <a:xfrm>
            <a:off x="288169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2" name="Rechte verbindingslijn 311">
            <a:extLst>
              <a:ext uri="{FF2B5EF4-FFF2-40B4-BE49-F238E27FC236}">
                <a16:creationId xmlns:a16="http://schemas.microsoft.com/office/drawing/2014/main" id="{6BA109E6-B2C6-5D4C-964F-A81DCA918619}"/>
              </a:ext>
            </a:extLst>
          </p:cNvPr>
          <p:cNvCxnSpPr>
            <a:cxnSpLocks/>
          </p:cNvCxnSpPr>
          <p:nvPr userDrawn="1"/>
        </p:nvCxnSpPr>
        <p:spPr>
          <a:xfrm>
            <a:off x="360124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3" name="Rechte verbindingslijn 312">
            <a:extLst>
              <a:ext uri="{FF2B5EF4-FFF2-40B4-BE49-F238E27FC236}">
                <a16:creationId xmlns:a16="http://schemas.microsoft.com/office/drawing/2014/main" id="{28F56A07-73CD-794B-8651-F420EB4379D6}"/>
              </a:ext>
            </a:extLst>
          </p:cNvPr>
          <p:cNvCxnSpPr>
            <a:cxnSpLocks/>
          </p:cNvCxnSpPr>
          <p:nvPr userDrawn="1"/>
        </p:nvCxnSpPr>
        <p:spPr>
          <a:xfrm>
            <a:off x="396433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4" name="Rechte verbindingslijn 313">
            <a:extLst>
              <a:ext uri="{FF2B5EF4-FFF2-40B4-BE49-F238E27FC236}">
                <a16:creationId xmlns:a16="http://schemas.microsoft.com/office/drawing/2014/main" id="{79A941C0-BD0C-F449-BCF0-1E8BEAE7CB1C}"/>
              </a:ext>
            </a:extLst>
          </p:cNvPr>
          <p:cNvCxnSpPr>
            <a:cxnSpLocks/>
          </p:cNvCxnSpPr>
          <p:nvPr userDrawn="1"/>
        </p:nvCxnSpPr>
        <p:spPr>
          <a:xfrm>
            <a:off x="432424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5" name="Rechte verbindingslijn 314">
            <a:extLst>
              <a:ext uri="{FF2B5EF4-FFF2-40B4-BE49-F238E27FC236}">
                <a16:creationId xmlns:a16="http://schemas.microsoft.com/office/drawing/2014/main" id="{5BFBF68D-38A9-124D-95C9-FA82A27C7E21}"/>
              </a:ext>
            </a:extLst>
          </p:cNvPr>
          <p:cNvCxnSpPr>
            <a:cxnSpLocks/>
          </p:cNvCxnSpPr>
          <p:nvPr userDrawn="1"/>
        </p:nvCxnSpPr>
        <p:spPr>
          <a:xfrm>
            <a:off x="468574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6" name="Rechte verbindingslijn 315">
            <a:extLst>
              <a:ext uri="{FF2B5EF4-FFF2-40B4-BE49-F238E27FC236}">
                <a16:creationId xmlns:a16="http://schemas.microsoft.com/office/drawing/2014/main" id="{1162E74A-6454-D244-9A5A-D8A78CB42144}"/>
              </a:ext>
            </a:extLst>
          </p:cNvPr>
          <p:cNvCxnSpPr>
            <a:cxnSpLocks/>
          </p:cNvCxnSpPr>
          <p:nvPr userDrawn="1"/>
        </p:nvCxnSpPr>
        <p:spPr>
          <a:xfrm>
            <a:off x="504565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7" name="Rechte verbindingslijn 316">
            <a:extLst>
              <a:ext uri="{FF2B5EF4-FFF2-40B4-BE49-F238E27FC236}">
                <a16:creationId xmlns:a16="http://schemas.microsoft.com/office/drawing/2014/main" id="{249F44F6-BBA5-C94C-9C29-3533B1746269}"/>
              </a:ext>
            </a:extLst>
          </p:cNvPr>
          <p:cNvCxnSpPr>
            <a:cxnSpLocks/>
          </p:cNvCxnSpPr>
          <p:nvPr userDrawn="1"/>
        </p:nvCxnSpPr>
        <p:spPr>
          <a:xfrm>
            <a:off x="540555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8" name="Rechte verbindingslijn 317">
            <a:extLst>
              <a:ext uri="{FF2B5EF4-FFF2-40B4-BE49-F238E27FC236}">
                <a16:creationId xmlns:a16="http://schemas.microsoft.com/office/drawing/2014/main" id="{821C349D-A6AD-694C-B825-D2DE8169386E}"/>
              </a:ext>
            </a:extLst>
          </p:cNvPr>
          <p:cNvCxnSpPr>
            <a:cxnSpLocks/>
          </p:cNvCxnSpPr>
          <p:nvPr userDrawn="1"/>
        </p:nvCxnSpPr>
        <p:spPr>
          <a:xfrm>
            <a:off x="576705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9" name="Rechte verbindingslijn 318">
            <a:extLst>
              <a:ext uri="{FF2B5EF4-FFF2-40B4-BE49-F238E27FC236}">
                <a16:creationId xmlns:a16="http://schemas.microsoft.com/office/drawing/2014/main" id="{C96F41EE-41AC-7D43-A58A-2905EE8F58CB}"/>
              </a:ext>
            </a:extLst>
          </p:cNvPr>
          <p:cNvCxnSpPr>
            <a:cxnSpLocks/>
          </p:cNvCxnSpPr>
          <p:nvPr userDrawn="1"/>
        </p:nvCxnSpPr>
        <p:spPr>
          <a:xfrm>
            <a:off x="61108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0" name="Rechte verbindingslijn 319">
            <a:extLst>
              <a:ext uri="{FF2B5EF4-FFF2-40B4-BE49-F238E27FC236}">
                <a16:creationId xmlns:a16="http://schemas.microsoft.com/office/drawing/2014/main" id="{AFE07DEF-26B5-E945-8B07-0926E72AD034}"/>
              </a:ext>
            </a:extLst>
          </p:cNvPr>
          <p:cNvCxnSpPr>
            <a:cxnSpLocks/>
          </p:cNvCxnSpPr>
          <p:nvPr userDrawn="1"/>
        </p:nvCxnSpPr>
        <p:spPr>
          <a:xfrm>
            <a:off x="646799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1" name="Rechte verbindingslijn 320">
            <a:extLst>
              <a:ext uri="{FF2B5EF4-FFF2-40B4-BE49-F238E27FC236}">
                <a16:creationId xmlns:a16="http://schemas.microsoft.com/office/drawing/2014/main" id="{E72A3348-AF42-8E49-928C-F48BF5B34E9C}"/>
              </a:ext>
            </a:extLst>
          </p:cNvPr>
          <p:cNvCxnSpPr>
            <a:cxnSpLocks/>
          </p:cNvCxnSpPr>
          <p:nvPr userDrawn="1"/>
        </p:nvCxnSpPr>
        <p:spPr>
          <a:xfrm>
            <a:off x="682923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2" name="Rechte verbindingslijn 321">
            <a:extLst>
              <a:ext uri="{FF2B5EF4-FFF2-40B4-BE49-F238E27FC236}">
                <a16:creationId xmlns:a16="http://schemas.microsoft.com/office/drawing/2014/main" id="{66BE4BD5-4166-B940-BF9F-75DF4A7A6E48}"/>
              </a:ext>
            </a:extLst>
          </p:cNvPr>
          <p:cNvCxnSpPr>
            <a:cxnSpLocks/>
          </p:cNvCxnSpPr>
          <p:nvPr userDrawn="1"/>
        </p:nvCxnSpPr>
        <p:spPr>
          <a:xfrm>
            <a:off x="719046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3" name="Rechte verbindingslijn 322">
            <a:extLst>
              <a:ext uri="{FF2B5EF4-FFF2-40B4-BE49-F238E27FC236}">
                <a16:creationId xmlns:a16="http://schemas.microsoft.com/office/drawing/2014/main" id="{AB9826B0-EA82-974B-9561-FA08C841285E}"/>
              </a:ext>
            </a:extLst>
          </p:cNvPr>
          <p:cNvCxnSpPr>
            <a:cxnSpLocks/>
          </p:cNvCxnSpPr>
          <p:nvPr userDrawn="1"/>
        </p:nvCxnSpPr>
        <p:spPr>
          <a:xfrm>
            <a:off x="754763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4" name="Rechte verbindingslijn 323">
            <a:extLst>
              <a:ext uri="{FF2B5EF4-FFF2-40B4-BE49-F238E27FC236}">
                <a16:creationId xmlns:a16="http://schemas.microsoft.com/office/drawing/2014/main" id="{4CE27E73-0E17-CE4B-84DB-BC7EC5DDD743}"/>
              </a:ext>
            </a:extLst>
          </p:cNvPr>
          <p:cNvCxnSpPr>
            <a:cxnSpLocks/>
          </p:cNvCxnSpPr>
          <p:nvPr userDrawn="1"/>
        </p:nvCxnSpPr>
        <p:spPr>
          <a:xfrm>
            <a:off x="7908868"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5" name="Rechte verbindingslijn 324">
            <a:extLst>
              <a:ext uri="{FF2B5EF4-FFF2-40B4-BE49-F238E27FC236}">
                <a16:creationId xmlns:a16="http://schemas.microsoft.com/office/drawing/2014/main" id="{8197F9F6-7F80-A44D-8628-403C56C33385}"/>
              </a:ext>
            </a:extLst>
          </p:cNvPr>
          <p:cNvCxnSpPr>
            <a:cxnSpLocks/>
          </p:cNvCxnSpPr>
          <p:nvPr userDrawn="1"/>
        </p:nvCxnSpPr>
        <p:spPr>
          <a:xfrm>
            <a:off x="827010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6" name="Rechte verbindingslijn 325">
            <a:extLst>
              <a:ext uri="{FF2B5EF4-FFF2-40B4-BE49-F238E27FC236}">
                <a16:creationId xmlns:a16="http://schemas.microsoft.com/office/drawing/2014/main" id="{5C7816E2-8BD3-7644-8E43-ABE32197C4FD}"/>
              </a:ext>
            </a:extLst>
          </p:cNvPr>
          <p:cNvCxnSpPr>
            <a:cxnSpLocks/>
          </p:cNvCxnSpPr>
          <p:nvPr userDrawn="1"/>
        </p:nvCxnSpPr>
        <p:spPr>
          <a:xfrm>
            <a:off x="863133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7" name="Rechte verbindingslijn 326">
            <a:extLst>
              <a:ext uri="{FF2B5EF4-FFF2-40B4-BE49-F238E27FC236}">
                <a16:creationId xmlns:a16="http://schemas.microsoft.com/office/drawing/2014/main" id="{FEA4CC9D-DD6C-7548-86C1-20561E90E406}"/>
              </a:ext>
            </a:extLst>
          </p:cNvPr>
          <p:cNvCxnSpPr>
            <a:cxnSpLocks/>
          </p:cNvCxnSpPr>
          <p:nvPr userDrawn="1"/>
        </p:nvCxnSpPr>
        <p:spPr>
          <a:xfrm>
            <a:off x="899256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8" name="Rechte verbindingslijn 327">
            <a:extLst>
              <a:ext uri="{FF2B5EF4-FFF2-40B4-BE49-F238E27FC236}">
                <a16:creationId xmlns:a16="http://schemas.microsoft.com/office/drawing/2014/main" id="{09CD2479-6804-3943-AD48-1A9FC44AC96A}"/>
              </a:ext>
            </a:extLst>
          </p:cNvPr>
          <p:cNvCxnSpPr>
            <a:cxnSpLocks/>
          </p:cNvCxnSpPr>
          <p:nvPr userDrawn="1"/>
        </p:nvCxnSpPr>
        <p:spPr>
          <a:xfrm>
            <a:off x="935220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Rechte verbindingslijn 328">
            <a:extLst>
              <a:ext uri="{FF2B5EF4-FFF2-40B4-BE49-F238E27FC236}">
                <a16:creationId xmlns:a16="http://schemas.microsoft.com/office/drawing/2014/main" id="{E63323EC-60A4-E145-A997-E126CAD514E2}"/>
              </a:ext>
            </a:extLst>
          </p:cNvPr>
          <p:cNvCxnSpPr>
            <a:cxnSpLocks/>
          </p:cNvCxnSpPr>
          <p:nvPr userDrawn="1"/>
        </p:nvCxnSpPr>
        <p:spPr>
          <a:xfrm>
            <a:off x="971211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0" name="Rechte verbindingslijn 329">
            <a:extLst>
              <a:ext uri="{FF2B5EF4-FFF2-40B4-BE49-F238E27FC236}">
                <a16:creationId xmlns:a16="http://schemas.microsoft.com/office/drawing/2014/main" id="{45F6A9E1-EE02-044B-B406-74D2D8A5E8BC}"/>
              </a:ext>
            </a:extLst>
          </p:cNvPr>
          <p:cNvCxnSpPr>
            <a:cxnSpLocks/>
          </p:cNvCxnSpPr>
          <p:nvPr userDrawn="1"/>
        </p:nvCxnSpPr>
        <p:spPr>
          <a:xfrm>
            <a:off x="1007520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1" name="Rechte verbindingslijn 330">
            <a:extLst>
              <a:ext uri="{FF2B5EF4-FFF2-40B4-BE49-F238E27FC236}">
                <a16:creationId xmlns:a16="http://schemas.microsoft.com/office/drawing/2014/main" id="{475B3072-3E2A-784F-A803-8D74B13D18B1}"/>
              </a:ext>
            </a:extLst>
          </p:cNvPr>
          <p:cNvCxnSpPr>
            <a:cxnSpLocks/>
          </p:cNvCxnSpPr>
          <p:nvPr userDrawn="1"/>
        </p:nvCxnSpPr>
        <p:spPr>
          <a:xfrm>
            <a:off x="1040793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2" name="Rechte verbindingslijn 331">
            <a:extLst>
              <a:ext uri="{FF2B5EF4-FFF2-40B4-BE49-F238E27FC236}">
                <a16:creationId xmlns:a16="http://schemas.microsoft.com/office/drawing/2014/main" id="{B69833E8-3551-0549-A5A0-95E034C1B146}"/>
              </a:ext>
            </a:extLst>
          </p:cNvPr>
          <p:cNvCxnSpPr>
            <a:cxnSpLocks/>
          </p:cNvCxnSpPr>
          <p:nvPr userDrawn="1"/>
        </p:nvCxnSpPr>
        <p:spPr>
          <a:xfrm>
            <a:off x="1079661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3" name="Rechte verbindingslijn 332">
            <a:extLst>
              <a:ext uri="{FF2B5EF4-FFF2-40B4-BE49-F238E27FC236}">
                <a16:creationId xmlns:a16="http://schemas.microsoft.com/office/drawing/2014/main" id="{F0157305-6574-824A-AB73-2D3791459E27}"/>
              </a:ext>
            </a:extLst>
          </p:cNvPr>
          <p:cNvCxnSpPr>
            <a:cxnSpLocks/>
          </p:cNvCxnSpPr>
          <p:nvPr userDrawn="1"/>
        </p:nvCxnSpPr>
        <p:spPr>
          <a:xfrm>
            <a:off x="1115651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4" name="Rechte verbindingslijn 333">
            <a:extLst>
              <a:ext uri="{FF2B5EF4-FFF2-40B4-BE49-F238E27FC236}">
                <a16:creationId xmlns:a16="http://schemas.microsoft.com/office/drawing/2014/main" id="{A3A8467A-BFF6-7642-A1FB-A2995CDCD6A5}"/>
              </a:ext>
            </a:extLst>
          </p:cNvPr>
          <p:cNvCxnSpPr>
            <a:cxnSpLocks/>
          </p:cNvCxnSpPr>
          <p:nvPr userDrawn="1"/>
        </p:nvCxnSpPr>
        <p:spPr>
          <a:xfrm>
            <a:off x="115164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5" name="Rechte verbindingslijn 334">
            <a:extLst>
              <a:ext uri="{FF2B5EF4-FFF2-40B4-BE49-F238E27FC236}">
                <a16:creationId xmlns:a16="http://schemas.microsoft.com/office/drawing/2014/main" id="{76C12D7D-1FCF-7142-83C1-1A5DFF936737}"/>
              </a:ext>
            </a:extLst>
          </p:cNvPr>
          <p:cNvCxnSpPr>
            <a:cxnSpLocks/>
          </p:cNvCxnSpPr>
          <p:nvPr userDrawn="1"/>
        </p:nvCxnSpPr>
        <p:spPr>
          <a:xfrm>
            <a:off x="118779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jdelijke aanduiding voor datum 3">
            <a:extLst>
              <a:ext uri="{FF2B5EF4-FFF2-40B4-BE49-F238E27FC236}">
                <a16:creationId xmlns:a16="http://schemas.microsoft.com/office/drawing/2014/main" id="{146B7EFA-5249-014A-9A6E-4C9BABB52DA9}"/>
              </a:ext>
            </a:extLst>
          </p:cNvPr>
          <p:cNvSpPr>
            <a:spLocks noGrp="1"/>
          </p:cNvSpPr>
          <p:nvPr userDrawn="1">
            <p:ph type="dt" sz="half" idx="10"/>
          </p:nvPr>
        </p:nvSpPr>
        <p:spPr>
          <a:xfrm>
            <a:off x="1347597" y="6378834"/>
            <a:ext cx="1528579" cy="365125"/>
          </a:xfrm>
          <a:prstGeom prst="rect">
            <a:avLst/>
          </a:prstGeom>
        </p:spPr>
        <p:txBody>
          <a:bodyPr/>
          <a:lstStyle/>
          <a:p>
            <a:fld id="{01D92E6C-58B7-449F-825E-60C09D84D838}"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userDrawn="1">
            <p:ph type="ftr" sz="quarter" idx="11"/>
          </p:nvPr>
        </p:nvSpPr>
        <p:spPr>
          <a:xfrm>
            <a:off x="3151752" y="6378834"/>
            <a:ext cx="4616234" cy="365125"/>
          </a:xfrm>
          <a:prstGeom prst="rect">
            <a:avLst/>
          </a:prstGeom>
        </p:spPr>
        <p:txBody>
          <a:bodyPr/>
          <a:lstStyle>
            <a:lvl1pPr>
              <a:defRPr b="1" i="0">
                <a:latin typeface="Arial" panose="020B0604020202020204" pitchFamily="34" charset="0"/>
                <a:cs typeface="Arial" panose="020B0604020202020204" pitchFamily="34" charset="0"/>
              </a:defRPr>
            </a:lvl1pPr>
          </a:lstStyle>
          <a:p>
            <a:r>
              <a:rPr lang="en-GB" noProof="0"/>
              <a:t>Confidentiality</a:t>
            </a:r>
            <a:endParaRPr lang="en-GB"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userDrawn="1">
            <p:ph type="sldNum" sz="quarter" idx="12"/>
          </p:nvPr>
        </p:nvSpPr>
        <p:spPr>
          <a:xfrm>
            <a:off x="454699" y="6378834"/>
            <a:ext cx="514165" cy="365125"/>
          </a:xfrm>
          <a:prstGeom prst="rect">
            <a:avLst/>
          </a:prstGeom>
        </p:spPr>
        <p:txBody>
          <a:bodyPr/>
          <a:lstStyle/>
          <a:p>
            <a:fld id="{3B0AF0F1-83F4-0746-A551-EEC1F1FEC0BD}" type="slidenum">
              <a:rPr lang="en-GB" noProof="0" smtClean="0"/>
              <a:t>‹Nr.›</a:t>
            </a:fld>
            <a:endParaRPr lang="en-GB" noProof="0" dirty="0"/>
          </a:p>
        </p:txBody>
      </p:sp>
      <p:grpSp>
        <p:nvGrpSpPr>
          <p:cNvPr id="11" name="Groep 10">
            <a:extLst>
              <a:ext uri="{FF2B5EF4-FFF2-40B4-BE49-F238E27FC236}">
                <a16:creationId xmlns:a16="http://schemas.microsoft.com/office/drawing/2014/main" id="{9EE19687-E547-8748-804B-91DC58EE1A7D}"/>
              </a:ext>
            </a:extLst>
          </p:cNvPr>
          <p:cNvGrpSpPr/>
          <p:nvPr userDrawn="1"/>
        </p:nvGrpSpPr>
        <p:grpSpPr>
          <a:xfrm>
            <a:off x="2879001" y="4391006"/>
            <a:ext cx="7088912" cy="138113"/>
            <a:chOff x="2879001" y="4391006"/>
            <a:chExt cx="7088912" cy="138113"/>
          </a:xfrm>
        </p:grpSpPr>
        <p:sp>
          <p:nvSpPr>
            <p:cNvPr id="340" name="Line 5">
              <a:extLst>
                <a:ext uri="{FF2B5EF4-FFF2-40B4-BE49-F238E27FC236}">
                  <a16:creationId xmlns:a16="http://schemas.microsoft.com/office/drawing/2014/main" id="{12E6AB72-FC33-A043-A2DF-73AA53231B72}"/>
                </a:ext>
              </a:extLst>
            </p:cNvPr>
            <p:cNvSpPr>
              <a:spLocks noChangeShapeType="1"/>
            </p:cNvSpPr>
            <p:nvPr userDrawn="1"/>
          </p:nvSpPr>
          <p:spPr bwMode="auto">
            <a:xfrm>
              <a:off x="2879001" y="4460062"/>
              <a:ext cx="7088912" cy="0"/>
            </a:xfrm>
            <a:prstGeom prst="line">
              <a:avLst/>
            </a:prstGeom>
            <a:noFill/>
            <a:ln w="19050" cap="flat">
              <a:solidFill>
                <a:srgbClr val="33A92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41" name="Freeform 6">
              <a:extLst>
                <a:ext uri="{FF2B5EF4-FFF2-40B4-BE49-F238E27FC236}">
                  <a16:creationId xmlns:a16="http://schemas.microsoft.com/office/drawing/2014/main" id="{6E57EB53-E772-A040-A925-67CA62235194}"/>
                </a:ext>
              </a:extLst>
            </p:cNvPr>
            <p:cNvSpPr>
              <a:spLocks/>
            </p:cNvSpPr>
            <p:nvPr userDrawn="1"/>
          </p:nvSpPr>
          <p:spPr bwMode="auto">
            <a:xfrm>
              <a:off x="5468436" y="4391006"/>
              <a:ext cx="71438" cy="138113"/>
            </a:xfrm>
            <a:custGeom>
              <a:avLst/>
              <a:gdLst>
                <a:gd name="T0" fmla="*/ 0 w 45"/>
                <a:gd name="T1" fmla="*/ 87 h 87"/>
                <a:gd name="T2" fmla="*/ 45 w 45"/>
                <a:gd name="T3" fmla="*/ 42 h 87"/>
                <a:gd name="T4" fmla="*/ 0 w 45"/>
                <a:gd name="T5" fmla="*/ 0 h 87"/>
                <a:gd name="T6" fmla="*/ 0 w 45"/>
                <a:gd name="T7" fmla="*/ 87 h 87"/>
              </a:gdLst>
              <a:ahLst/>
              <a:cxnLst>
                <a:cxn ang="0">
                  <a:pos x="T0" y="T1"/>
                </a:cxn>
                <a:cxn ang="0">
                  <a:pos x="T2" y="T3"/>
                </a:cxn>
                <a:cxn ang="0">
                  <a:pos x="T4" y="T5"/>
                </a:cxn>
                <a:cxn ang="0">
                  <a:pos x="T6" y="T7"/>
                </a:cxn>
              </a:cxnLst>
              <a:rect l="0" t="0" r="r" b="b"/>
              <a:pathLst>
                <a:path w="45" h="87">
                  <a:moveTo>
                    <a:pt x="0" y="87"/>
                  </a:moveTo>
                  <a:lnTo>
                    <a:pt x="45"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42" name="Freeform 8">
              <a:extLst>
                <a:ext uri="{FF2B5EF4-FFF2-40B4-BE49-F238E27FC236}">
                  <a16:creationId xmlns:a16="http://schemas.microsoft.com/office/drawing/2014/main" id="{7B684CB9-62B7-3843-8B37-799FD700A612}"/>
                </a:ext>
              </a:extLst>
            </p:cNvPr>
            <p:cNvSpPr>
              <a:spLocks/>
            </p:cNvSpPr>
            <p:nvPr userDrawn="1"/>
          </p:nvSpPr>
          <p:spPr bwMode="auto">
            <a:xfrm>
              <a:off x="7605415" y="4391006"/>
              <a:ext cx="66675" cy="138113"/>
            </a:xfrm>
            <a:custGeom>
              <a:avLst/>
              <a:gdLst>
                <a:gd name="T0" fmla="*/ 0 w 42"/>
                <a:gd name="T1" fmla="*/ 87 h 87"/>
                <a:gd name="T2" fmla="*/ 42 w 42"/>
                <a:gd name="T3" fmla="*/ 42 h 87"/>
                <a:gd name="T4" fmla="*/ 0 w 42"/>
                <a:gd name="T5" fmla="*/ 0 h 87"/>
                <a:gd name="T6" fmla="*/ 0 w 42"/>
                <a:gd name="T7" fmla="*/ 87 h 87"/>
              </a:gdLst>
              <a:ahLst/>
              <a:cxnLst>
                <a:cxn ang="0">
                  <a:pos x="T0" y="T1"/>
                </a:cxn>
                <a:cxn ang="0">
                  <a:pos x="T2" y="T3"/>
                </a:cxn>
                <a:cxn ang="0">
                  <a:pos x="T4" y="T5"/>
                </a:cxn>
                <a:cxn ang="0">
                  <a:pos x="T6" y="T7"/>
                </a:cxn>
              </a:cxnLst>
              <a:rect l="0" t="0" r="r" b="b"/>
              <a:pathLst>
                <a:path w="42" h="87">
                  <a:moveTo>
                    <a:pt x="0" y="87"/>
                  </a:moveTo>
                  <a:lnTo>
                    <a:pt x="42"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43" name="Freeform 10">
              <a:extLst>
                <a:ext uri="{FF2B5EF4-FFF2-40B4-BE49-F238E27FC236}">
                  <a16:creationId xmlns:a16="http://schemas.microsoft.com/office/drawing/2014/main" id="{11CDDEF5-2FDA-4C4A-8529-C0E9031CA333}"/>
                </a:ext>
              </a:extLst>
            </p:cNvPr>
            <p:cNvSpPr>
              <a:spLocks/>
            </p:cNvSpPr>
            <p:nvPr userDrawn="1"/>
          </p:nvSpPr>
          <p:spPr bwMode="auto">
            <a:xfrm>
              <a:off x="9594755" y="4391006"/>
              <a:ext cx="66675" cy="138113"/>
            </a:xfrm>
            <a:custGeom>
              <a:avLst/>
              <a:gdLst>
                <a:gd name="T0" fmla="*/ 0 w 42"/>
                <a:gd name="T1" fmla="*/ 87 h 87"/>
                <a:gd name="T2" fmla="*/ 42 w 42"/>
                <a:gd name="T3" fmla="*/ 42 h 87"/>
                <a:gd name="T4" fmla="*/ 0 w 42"/>
                <a:gd name="T5" fmla="*/ 0 h 87"/>
                <a:gd name="T6" fmla="*/ 0 w 42"/>
                <a:gd name="T7" fmla="*/ 87 h 87"/>
              </a:gdLst>
              <a:ahLst/>
              <a:cxnLst>
                <a:cxn ang="0">
                  <a:pos x="T0" y="T1"/>
                </a:cxn>
                <a:cxn ang="0">
                  <a:pos x="T2" y="T3"/>
                </a:cxn>
                <a:cxn ang="0">
                  <a:pos x="T4" y="T5"/>
                </a:cxn>
                <a:cxn ang="0">
                  <a:pos x="T6" y="T7"/>
                </a:cxn>
              </a:cxnLst>
              <a:rect l="0" t="0" r="r" b="b"/>
              <a:pathLst>
                <a:path w="42" h="87">
                  <a:moveTo>
                    <a:pt x="0" y="87"/>
                  </a:moveTo>
                  <a:lnTo>
                    <a:pt x="42"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44" name="Freeform 12">
              <a:extLst>
                <a:ext uri="{FF2B5EF4-FFF2-40B4-BE49-F238E27FC236}">
                  <a16:creationId xmlns:a16="http://schemas.microsoft.com/office/drawing/2014/main" id="{0C507F2F-C813-2C41-9CCA-2FE6290DF173}"/>
                </a:ext>
              </a:extLst>
            </p:cNvPr>
            <p:cNvSpPr>
              <a:spLocks/>
            </p:cNvSpPr>
            <p:nvPr userDrawn="1"/>
          </p:nvSpPr>
          <p:spPr bwMode="auto">
            <a:xfrm>
              <a:off x="3479097" y="4391006"/>
              <a:ext cx="71438" cy="138113"/>
            </a:xfrm>
            <a:custGeom>
              <a:avLst/>
              <a:gdLst>
                <a:gd name="T0" fmla="*/ 0 w 45"/>
                <a:gd name="T1" fmla="*/ 87 h 87"/>
                <a:gd name="T2" fmla="*/ 45 w 45"/>
                <a:gd name="T3" fmla="*/ 45 h 87"/>
                <a:gd name="T4" fmla="*/ 0 w 45"/>
                <a:gd name="T5" fmla="*/ 0 h 87"/>
                <a:gd name="T6" fmla="*/ 0 w 45"/>
                <a:gd name="T7" fmla="*/ 87 h 87"/>
              </a:gdLst>
              <a:ahLst/>
              <a:cxnLst>
                <a:cxn ang="0">
                  <a:pos x="T0" y="T1"/>
                </a:cxn>
                <a:cxn ang="0">
                  <a:pos x="T2" y="T3"/>
                </a:cxn>
                <a:cxn ang="0">
                  <a:pos x="T4" y="T5"/>
                </a:cxn>
                <a:cxn ang="0">
                  <a:pos x="T6" y="T7"/>
                </a:cxn>
              </a:cxnLst>
              <a:rect l="0" t="0" r="r" b="b"/>
              <a:pathLst>
                <a:path w="45" h="87">
                  <a:moveTo>
                    <a:pt x="0" y="87"/>
                  </a:moveTo>
                  <a:lnTo>
                    <a:pt x="45" y="45"/>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grpSp>
      <p:sp>
        <p:nvSpPr>
          <p:cNvPr id="371" name="Vrije vorm 370">
            <a:extLst>
              <a:ext uri="{FF2B5EF4-FFF2-40B4-BE49-F238E27FC236}">
                <a16:creationId xmlns:a16="http://schemas.microsoft.com/office/drawing/2014/main" id="{DB5AA652-02A0-5E4A-86E7-8B8D98D516AB}"/>
              </a:ext>
            </a:extLst>
          </p:cNvPr>
          <p:cNvSpPr/>
          <p:nvPr userDrawn="1"/>
        </p:nvSpPr>
        <p:spPr>
          <a:xfrm>
            <a:off x="1079816" y="3732144"/>
            <a:ext cx="2159928" cy="1802182"/>
          </a:xfrm>
          <a:custGeom>
            <a:avLst/>
            <a:gdLst>
              <a:gd name="connsiteX0" fmla="*/ 0 w 2164230"/>
              <a:gd name="connsiteY0" fmla="*/ 0 h 1807700"/>
              <a:gd name="connsiteX1" fmla="*/ 2164230 w 2164230"/>
              <a:gd name="connsiteY1" fmla="*/ 0 h 1807700"/>
              <a:gd name="connsiteX2" fmla="*/ 2164230 w 2164230"/>
              <a:gd name="connsiteY2" fmla="*/ 1686494 h 1807700"/>
              <a:gd name="connsiteX3" fmla="*/ 1896904 w 2164230"/>
              <a:gd name="connsiteY3" fmla="*/ 1807700 h 1807700"/>
              <a:gd name="connsiteX4" fmla="*/ 0 w 2164230"/>
              <a:gd name="connsiteY4" fmla="*/ 1807700 h 180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230" h="1807700">
                <a:moveTo>
                  <a:pt x="0" y="0"/>
                </a:moveTo>
                <a:lnTo>
                  <a:pt x="2164230" y="0"/>
                </a:lnTo>
                <a:lnTo>
                  <a:pt x="2164230" y="1686494"/>
                </a:lnTo>
                <a:lnTo>
                  <a:pt x="1896904" y="1807700"/>
                </a:lnTo>
                <a:lnTo>
                  <a:pt x="0" y="1807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72000" bIns="72000" rtlCol="0" anchor="t">
            <a:noAutofit/>
          </a:bodyPr>
          <a:lstStyle/>
          <a:p>
            <a:pPr marL="0" marR="0" lvl="0" indent="0" algn="l" defTabSz="914130" rtl="0" eaLnBrk="1" fontAlgn="auto" latinLnBrk="0" hangingPunct="1">
              <a:lnSpc>
                <a:spcPct val="100000"/>
              </a:lnSpc>
              <a:spcBef>
                <a:spcPts val="0"/>
              </a:spcBef>
              <a:spcAft>
                <a:spcPts val="0"/>
              </a:spcAft>
              <a:buClrTx/>
              <a:buSzTx/>
              <a:buFontTx/>
              <a:buNone/>
              <a:tabLst/>
              <a:defRPr/>
            </a:pPr>
            <a:r>
              <a:rPr lang="en-GB" sz="1600" b="1" kern="1200" noProof="0" dirty="0">
                <a:solidFill>
                  <a:schemeClr val="bg1"/>
                </a:solidFill>
                <a:effectLst/>
                <a:latin typeface="+mn-lt"/>
                <a:ea typeface="+mn-ea"/>
                <a:cs typeface="+mn-cs"/>
              </a:rPr>
              <a:t>We also draw attention to the following safety measures in case </a:t>
            </a:r>
            <a:br>
              <a:rPr lang="en-GB" sz="1600" b="1" kern="1200" noProof="0" dirty="0">
                <a:solidFill>
                  <a:schemeClr val="bg1"/>
                </a:solidFill>
                <a:effectLst/>
                <a:latin typeface="+mn-lt"/>
                <a:ea typeface="+mn-ea"/>
                <a:cs typeface="+mn-cs"/>
              </a:rPr>
            </a:br>
            <a:r>
              <a:rPr lang="en-GB" sz="1600" b="1" kern="1200" noProof="0" dirty="0">
                <a:solidFill>
                  <a:schemeClr val="bg1"/>
                </a:solidFill>
                <a:effectLst/>
                <a:latin typeface="+mn-lt"/>
                <a:ea typeface="+mn-ea"/>
                <a:cs typeface="+mn-cs"/>
              </a:rPr>
              <a:t>of evacuation of </a:t>
            </a:r>
            <a:br>
              <a:rPr lang="en-GB" sz="1600" b="1" kern="1200" noProof="0" dirty="0">
                <a:solidFill>
                  <a:schemeClr val="bg1"/>
                </a:solidFill>
                <a:effectLst/>
                <a:latin typeface="+mn-lt"/>
                <a:ea typeface="+mn-ea"/>
                <a:cs typeface="+mn-cs"/>
              </a:rPr>
            </a:br>
            <a:r>
              <a:rPr lang="en-GB" sz="1600" b="1" kern="1200" noProof="0" dirty="0">
                <a:solidFill>
                  <a:schemeClr val="bg1"/>
                </a:solidFill>
                <a:effectLst/>
                <a:latin typeface="+mn-lt"/>
                <a:ea typeface="+mn-ea"/>
                <a:cs typeface="+mn-cs"/>
              </a:rPr>
              <a:t>the premises</a:t>
            </a:r>
            <a:endParaRPr lang="en-GB" sz="1600" kern="1200" noProof="0" dirty="0">
              <a:solidFill>
                <a:schemeClr val="bg1"/>
              </a:solidFill>
              <a:effectLst/>
              <a:latin typeface="+mn-lt"/>
              <a:ea typeface="+mn-ea"/>
              <a:cs typeface="+mn-cs"/>
            </a:endParaRPr>
          </a:p>
        </p:txBody>
      </p:sp>
      <p:pic>
        <p:nvPicPr>
          <p:cNvPr id="345" name="Afbeelding 344">
            <a:extLst>
              <a:ext uri="{FF2B5EF4-FFF2-40B4-BE49-F238E27FC236}">
                <a16:creationId xmlns:a16="http://schemas.microsoft.com/office/drawing/2014/main" id="{D70C0E20-B96C-4E32-A151-EB6788A80F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279" y="6471518"/>
            <a:ext cx="952619" cy="179756"/>
          </a:xfrm>
          <a:prstGeom prst="rect">
            <a:avLst/>
          </a:prstGeom>
        </p:spPr>
      </p:pic>
      <p:cxnSp>
        <p:nvCxnSpPr>
          <p:cNvPr id="296" name="Rechte verbindingslijn 295">
            <a:extLst>
              <a:ext uri="{FF2B5EF4-FFF2-40B4-BE49-F238E27FC236}">
                <a16:creationId xmlns:a16="http://schemas.microsoft.com/office/drawing/2014/main" id="{8BB947D5-AE51-7746-B2F4-F1F4FFFAA7BF}"/>
              </a:ext>
            </a:extLst>
          </p:cNvPr>
          <p:cNvCxnSpPr/>
          <p:nvPr userDrawn="1"/>
        </p:nvCxnSpPr>
        <p:spPr>
          <a:xfrm>
            <a:off x="0" y="3730832"/>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5" name="Rechte verbindingslijn 304">
            <a:extLst>
              <a:ext uri="{FF2B5EF4-FFF2-40B4-BE49-F238E27FC236}">
                <a16:creationId xmlns:a16="http://schemas.microsoft.com/office/drawing/2014/main" id="{10761261-35E9-794C-B0B5-12E18DC19DA2}"/>
              </a:ext>
            </a:extLst>
          </p:cNvPr>
          <p:cNvCxnSpPr>
            <a:cxnSpLocks/>
          </p:cNvCxnSpPr>
          <p:nvPr userDrawn="1"/>
        </p:nvCxnSpPr>
        <p:spPr>
          <a:xfrm>
            <a:off x="107959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1" name="Rechte verbindingslijn 310">
            <a:extLst>
              <a:ext uri="{FF2B5EF4-FFF2-40B4-BE49-F238E27FC236}">
                <a16:creationId xmlns:a16="http://schemas.microsoft.com/office/drawing/2014/main" id="{12651B24-6705-D341-BBA7-F43A18341824}"/>
              </a:ext>
            </a:extLst>
          </p:cNvPr>
          <p:cNvCxnSpPr>
            <a:cxnSpLocks/>
          </p:cNvCxnSpPr>
          <p:nvPr userDrawn="1"/>
        </p:nvCxnSpPr>
        <p:spPr>
          <a:xfrm>
            <a:off x="324133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1" name="Rechte verbindingslijn 300">
            <a:extLst>
              <a:ext uri="{FF2B5EF4-FFF2-40B4-BE49-F238E27FC236}">
                <a16:creationId xmlns:a16="http://schemas.microsoft.com/office/drawing/2014/main" id="{92D92F0F-B1EF-8147-A39A-E2AEC194B929}"/>
              </a:ext>
            </a:extLst>
          </p:cNvPr>
          <p:cNvCxnSpPr/>
          <p:nvPr userDrawn="1"/>
        </p:nvCxnSpPr>
        <p:spPr>
          <a:xfrm>
            <a:off x="0" y="5534487"/>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49" name="Freeform 17">
            <a:extLst>
              <a:ext uri="{FF2B5EF4-FFF2-40B4-BE49-F238E27FC236}">
                <a16:creationId xmlns:a16="http://schemas.microsoft.com/office/drawing/2014/main" id="{88BC5723-B860-5B41-82FD-0BF37801A62E}"/>
              </a:ext>
            </a:extLst>
          </p:cNvPr>
          <p:cNvSpPr>
            <a:spLocks/>
          </p:cNvSpPr>
          <p:nvPr userDrawn="1"/>
        </p:nvSpPr>
        <p:spPr bwMode="auto">
          <a:xfrm>
            <a:off x="1079619" y="484866"/>
            <a:ext cx="5751927" cy="2888974"/>
          </a:xfrm>
          <a:custGeom>
            <a:avLst/>
            <a:gdLst>
              <a:gd name="connsiteX0" fmla="*/ 0 w 5751926"/>
              <a:gd name="connsiteY0" fmla="*/ 0 h 2884784"/>
              <a:gd name="connsiteX1" fmla="*/ 1145894 w 5751926"/>
              <a:gd name="connsiteY1" fmla="*/ 0 h 2884784"/>
              <a:gd name="connsiteX2" fmla="*/ 4606032 w 5751926"/>
              <a:gd name="connsiteY2" fmla="*/ 0 h 2884784"/>
              <a:gd name="connsiteX3" fmla="*/ 5751926 w 5751926"/>
              <a:gd name="connsiteY3" fmla="*/ 0 h 2884784"/>
              <a:gd name="connsiteX4" fmla="*/ 5751926 w 5751926"/>
              <a:gd name="connsiteY4" fmla="*/ 2644834 h 2884784"/>
              <a:gd name="connsiteX5" fmla="*/ 5279643 w 5751926"/>
              <a:gd name="connsiteY5" fmla="*/ 2880976 h 2884784"/>
              <a:gd name="connsiteX6" fmla="*/ 1145894 w 5751926"/>
              <a:gd name="connsiteY6" fmla="*/ 2884784 h 2884784"/>
              <a:gd name="connsiteX7" fmla="*/ 1145894 w 5751926"/>
              <a:gd name="connsiteY7" fmla="*/ 2883728 h 2884784"/>
              <a:gd name="connsiteX8" fmla="*/ 0 w 5751926"/>
              <a:gd name="connsiteY8" fmla="*/ 2884784 h 28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1926" h="2884784">
                <a:moveTo>
                  <a:pt x="0" y="0"/>
                </a:moveTo>
                <a:lnTo>
                  <a:pt x="1145894" y="0"/>
                </a:lnTo>
                <a:lnTo>
                  <a:pt x="4606032" y="0"/>
                </a:lnTo>
                <a:lnTo>
                  <a:pt x="5751926" y="0"/>
                </a:lnTo>
                <a:lnTo>
                  <a:pt x="5751926" y="2644834"/>
                </a:lnTo>
                <a:lnTo>
                  <a:pt x="5279643" y="2880976"/>
                </a:lnTo>
                <a:lnTo>
                  <a:pt x="1145894" y="2884784"/>
                </a:lnTo>
                <a:lnTo>
                  <a:pt x="1145894" y="2883728"/>
                </a:lnTo>
                <a:lnTo>
                  <a:pt x="0" y="2884784"/>
                </a:lnTo>
                <a:close/>
              </a:path>
            </a:pathLst>
          </a:custGeom>
          <a:solidFill>
            <a:schemeClr val="bg1"/>
          </a:solidFill>
          <a:ln>
            <a:noFill/>
          </a:ln>
        </p:spPr>
        <p:txBody>
          <a:bodyPr vert="horz" wrap="square" lIns="216000" tIns="216000" rIns="900000" bIns="215951" numCol="1" anchor="t" anchorCtr="0" compatLnSpc="1">
            <a:prstTxWarp prst="textNoShape">
              <a:avLst/>
            </a:prstTxWarp>
            <a:noAutofit/>
          </a:bodyPr>
          <a:lstStyle/>
          <a:p>
            <a:pPr rtl="0">
              <a:lnSpc>
                <a:spcPct val="100000"/>
              </a:lnSpc>
              <a:spcBef>
                <a:spcPts val="0"/>
              </a:spcBef>
              <a:spcAft>
                <a:spcPts val="0"/>
              </a:spcAft>
            </a:pPr>
            <a:r>
              <a:rPr lang="en-GB" sz="3000" b="1" i="0" u="none" strike="noStrike" kern="1200" baseline="0" noProof="0" dirty="0">
                <a:solidFill>
                  <a:schemeClr val="tx1"/>
                </a:solidFill>
                <a:latin typeface="Arial" panose="020B0604020202020204" pitchFamily="34" charset="0"/>
              </a:rPr>
              <a:t>A moment for safety</a:t>
            </a:r>
            <a:endParaRPr lang="en-GB" sz="3000" b="0" i="0" u="none" strike="noStrike" kern="1200" baseline="0" noProof="0" dirty="0">
              <a:solidFill>
                <a:schemeClr val="tx1"/>
              </a:solidFill>
              <a:latin typeface="Arial" panose="020B0604020202020204" pitchFamily="34" charset="0"/>
            </a:endParaRPr>
          </a:p>
          <a:p>
            <a:pPr rtl="0">
              <a:lnSpc>
                <a:spcPct val="100000"/>
              </a:lnSpc>
              <a:spcBef>
                <a:spcPts val="0"/>
              </a:spcBef>
              <a:spcAft>
                <a:spcPts val="0"/>
              </a:spcAft>
            </a:pPr>
            <a:endParaRPr lang="en-GB" sz="2000" b="0" i="0" u="none" strike="noStrike" kern="1200" baseline="0" noProof="0" dirty="0">
              <a:solidFill>
                <a:schemeClr val="tx1"/>
              </a:solidFill>
              <a:latin typeface="Arial" panose="020B0604020202020204" pitchFamily="34" charset="0"/>
            </a:endParaRPr>
          </a:p>
          <a:p>
            <a:pPr rtl="0">
              <a:lnSpc>
                <a:spcPct val="100000"/>
              </a:lnSpc>
              <a:spcAft>
                <a:spcPts val="0"/>
              </a:spcAft>
            </a:pPr>
            <a:r>
              <a:rPr lang="en-GB" sz="2000" b="0" i="0" u="none" strike="noStrike" kern="1200" baseline="0" noProof="0" dirty="0">
                <a:solidFill>
                  <a:schemeClr val="tx1"/>
                </a:solidFill>
                <a:latin typeface="Arial" panose="020B0604020202020204" pitchFamily="34" charset="0"/>
              </a:rPr>
              <a:t>Together we provide a safe working environment. We learn from mistakes and sharing ideas, concerns and asking questions are a matter of course.</a:t>
            </a:r>
          </a:p>
        </p:txBody>
      </p:sp>
      <p:sp>
        <p:nvSpPr>
          <p:cNvPr id="336" name="TextBox 11">
            <a:extLst>
              <a:ext uri="{FF2B5EF4-FFF2-40B4-BE49-F238E27FC236}">
                <a16:creationId xmlns:a16="http://schemas.microsoft.com/office/drawing/2014/main" id="{CD58CDAA-B738-4AF2-8F79-17A9C720F44F}"/>
              </a:ext>
            </a:extLst>
          </p:cNvPr>
          <p:cNvSpPr txBox="1"/>
          <p:nvPr userDrawn="1"/>
        </p:nvSpPr>
        <p:spPr>
          <a:xfrm>
            <a:off x="3612500" y="5239521"/>
            <a:ext cx="1792224" cy="792001"/>
          </a:xfrm>
          <a:prstGeom prst="rect">
            <a:avLst/>
          </a:prstGeom>
          <a:noFill/>
        </p:spPr>
        <p:txBody>
          <a:bodyPr wrap="square" lIns="35992" tIns="89980" rIns="35992" bIns="89980" rtlCol="0" anchor="t">
            <a:noAutofit/>
          </a:bodyPr>
          <a:lstStyle/>
          <a:p>
            <a:pPr algn="ctr"/>
            <a:r>
              <a:rPr lang="en-GB" sz="1200" b="1" kern="1200" noProof="0" dirty="0">
                <a:solidFill>
                  <a:schemeClr val="tx1"/>
                </a:solidFill>
                <a:effectLst/>
                <a:latin typeface="+mn-lt"/>
                <a:ea typeface="+mn-ea"/>
                <a:cs typeface="+mn-cs"/>
              </a:rPr>
              <a:t>Follow the escape route as indicated</a:t>
            </a:r>
            <a:endParaRPr lang="en-GB" sz="1200" kern="1200" noProof="0" dirty="0">
              <a:solidFill>
                <a:schemeClr val="tx1"/>
              </a:solidFill>
              <a:effectLst/>
              <a:latin typeface="+mn-lt"/>
              <a:ea typeface="+mn-ea"/>
              <a:cs typeface="+mn-cs"/>
            </a:endParaRPr>
          </a:p>
        </p:txBody>
      </p:sp>
      <p:sp>
        <p:nvSpPr>
          <p:cNvPr id="338" name="TextBox 12">
            <a:extLst>
              <a:ext uri="{FF2B5EF4-FFF2-40B4-BE49-F238E27FC236}">
                <a16:creationId xmlns:a16="http://schemas.microsoft.com/office/drawing/2014/main" id="{80F7E768-D146-4030-AF9E-170BD2A5FE60}"/>
              </a:ext>
            </a:extLst>
          </p:cNvPr>
          <p:cNvSpPr txBox="1"/>
          <p:nvPr userDrawn="1"/>
        </p:nvSpPr>
        <p:spPr>
          <a:xfrm>
            <a:off x="5676532" y="5239521"/>
            <a:ext cx="1792224" cy="792001"/>
          </a:xfrm>
          <a:prstGeom prst="rect">
            <a:avLst/>
          </a:prstGeom>
          <a:noFill/>
        </p:spPr>
        <p:txBody>
          <a:bodyPr wrap="square" lIns="35992" tIns="89980" rIns="35992" bIns="89980" rtlCol="0" anchor="t">
            <a:noAutofit/>
          </a:bodyPr>
          <a:lstStyle/>
          <a:p>
            <a:pPr algn="ctr"/>
            <a:r>
              <a:rPr lang="en-GB" sz="1200" b="1" kern="1200" noProof="0" dirty="0">
                <a:solidFill>
                  <a:schemeClr val="tx1"/>
                </a:solidFill>
                <a:effectLst/>
                <a:latin typeface="+mn-lt"/>
                <a:ea typeface="+mn-ea"/>
                <a:cs typeface="+mn-cs"/>
              </a:rPr>
              <a:t>Use the stairs</a:t>
            </a:r>
          </a:p>
          <a:p>
            <a:pPr algn="ctr"/>
            <a:r>
              <a:rPr lang="en-GB" sz="1200" b="1" kern="1200" noProof="0" dirty="0">
                <a:solidFill>
                  <a:schemeClr val="tx1"/>
                </a:solidFill>
                <a:effectLst/>
                <a:latin typeface="+mn-lt"/>
                <a:ea typeface="+mn-ea"/>
                <a:cs typeface="+mn-cs"/>
              </a:rPr>
              <a:t>instead of the lift</a:t>
            </a:r>
            <a:endParaRPr lang="en-GB" sz="1200" kern="1200" noProof="0" dirty="0">
              <a:solidFill>
                <a:schemeClr val="tx1"/>
              </a:solidFill>
              <a:effectLst/>
              <a:latin typeface="+mn-lt"/>
              <a:ea typeface="+mn-ea"/>
              <a:cs typeface="+mn-cs"/>
            </a:endParaRPr>
          </a:p>
        </p:txBody>
      </p:sp>
      <p:sp>
        <p:nvSpPr>
          <p:cNvPr id="346" name="TextBox 14">
            <a:extLst>
              <a:ext uri="{FF2B5EF4-FFF2-40B4-BE49-F238E27FC236}">
                <a16:creationId xmlns:a16="http://schemas.microsoft.com/office/drawing/2014/main" id="{72CDD3A7-7075-4926-ABFD-AE6B8634CB6F}"/>
              </a:ext>
            </a:extLst>
          </p:cNvPr>
          <p:cNvSpPr txBox="1"/>
          <p:nvPr userDrawn="1"/>
        </p:nvSpPr>
        <p:spPr>
          <a:xfrm>
            <a:off x="7751828" y="5239521"/>
            <a:ext cx="1792224" cy="792001"/>
          </a:xfrm>
          <a:prstGeom prst="rect">
            <a:avLst/>
          </a:prstGeom>
          <a:noFill/>
        </p:spPr>
        <p:txBody>
          <a:bodyPr wrap="square" lIns="35992" tIns="89980" rIns="35992" bIns="89980" rtlCol="0" anchor="t">
            <a:noAutofit/>
          </a:bodyPr>
          <a:lstStyle/>
          <a:p>
            <a:pPr algn="ctr"/>
            <a:r>
              <a:rPr lang="en-GB" sz="1200" b="1" kern="1200" noProof="0" dirty="0">
                <a:solidFill>
                  <a:schemeClr val="tx1"/>
                </a:solidFill>
                <a:effectLst/>
                <a:latin typeface="+mn-lt"/>
                <a:ea typeface="+mn-ea"/>
                <a:cs typeface="+mn-cs"/>
              </a:rPr>
              <a:t>Go to the</a:t>
            </a:r>
          </a:p>
          <a:p>
            <a:pPr algn="ctr"/>
            <a:r>
              <a:rPr lang="en-GB" sz="1200" b="1" kern="1200" noProof="0" dirty="0">
                <a:solidFill>
                  <a:schemeClr val="tx1"/>
                </a:solidFill>
                <a:effectLst/>
                <a:latin typeface="+mn-lt"/>
                <a:ea typeface="+mn-ea"/>
                <a:cs typeface="+mn-cs"/>
              </a:rPr>
              <a:t>assembly point</a:t>
            </a:r>
            <a:endParaRPr lang="en-GB" sz="1200" kern="1200" noProof="0" dirty="0">
              <a:solidFill>
                <a:schemeClr val="tx1"/>
              </a:solidFill>
              <a:effectLst/>
              <a:latin typeface="+mn-lt"/>
              <a:ea typeface="+mn-ea"/>
              <a:cs typeface="+mn-cs"/>
            </a:endParaRPr>
          </a:p>
        </p:txBody>
      </p:sp>
      <p:sp>
        <p:nvSpPr>
          <p:cNvPr id="347" name="TextBox 16">
            <a:extLst>
              <a:ext uri="{FF2B5EF4-FFF2-40B4-BE49-F238E27FC236}">
                <a16:creationId xmlns:a16="http://schemas.microsoft.com/office/drawing/2014/main" id="{6045ED30-8E59-450C-9C61-64307ABC0C09}"/>
              </a:ext>
            </a:extLst>
          </p:cNvPr>
          <p:cNvSpPr txBox="1"/>
          <p:nvPr userDrawn="1"/>
        </p:nvSpPr>
        <p:spPr>
          <a:xfrm>
            <a:off x="9741213" y="5239521"/>
            <a:ext cx="1792224" cy="792001"/>
          </a:xfrm>
          <a:prstGeom prst="rect">
            <a:avLst/>
          </a:prstGeom>
          <a:noFill/>
        </p:spPr>
        <p:txBody>
          <a:bodyPr wrap="square" lIns="35992" tIns="89980" rIns="35992" bIns="89980" rtlCol="0" anchor="t">
            <a:noAutofit/>
          </a:bodyPr>
          <a:lstStyle/>
          <a:p>
            <a:pPr algn="ctr"/>
            <a:r>
              <a:rPr lang="en-GB" sz="1200" b="1" kern="1200" noProof="0" dirty="0">
                <a:solidFill>
                  <a:schemeClr val="tx1"/>
                </a:solidFill>
                <a:effectLst/>
                <a:latin typeface="+mn-lt"/>
                <a:ea typeface="+mn-ea"/>
                <a:cs typeface="+mn-cs"/>
              </a:rPr>
              <a:t>Follow the instructions </a:t>
            </a:r>
          </a:p>
          <a:p>
            <a:pPr algn="ctr"/>
            <a:r>
              <a:rPr lang="en-GB" sz="1200" b="1" kern="1200" noProof="0" dirty="0">
                <a:solidFill>
                  <a:schemeClr val="tx1"/>
                </a:solidFill>
                <a:effectLst/>
                <a:latin typeface="+mn-lt"/>
                <a:ea typeface="+mn-ea"/>
                <a:cs typeface="+mn-cs"/>
              </a:rPr>
              <a:t>of the in-company emergency responder</a:t>
            </a:r>
            <a:endParaRPr lang="en-GB" sz="1200" kern="1200" noProof="0" dirty="0">
              <a:solidFill>
                <a:schemeClr val="tx1"/>
              </a:solidFill>
              <a:effectLst/>
              <a:latin typeface="+mn-lt"/>
              <a:ea typeface="+mn-ea"/>
              <a:cs typeface="+mn-cs"/>
            </a:endParaRPr>
          </a:p>
        </p:txBody>
      </p:sp>
      <p:grpSp>
        <p:nvGrpSpPr>
          <p:cNvPr id="387" name="Group 25">
            <a:extLst>
              <a:ext uri="{FF2B5EF4-FFF2-40B4-BE49-F238E27FC236}">
                <a16:creationId xmlns:a16="http://schemas.microsoft.com/office/drawing/2014/main" id="{0D1D0535-6B1A-435D-B3E3-E37CA3E551B3}"/>
              </a:ext>
            </a:extLst>
          </p:cNvPr>
          <p:cNvGrpSpPr/>
          <p:nvPr userDrawn="1"/>
        </p:nvGrpSpPr>
        <p:grpSpPr>
          <a:xfrm>
            <a:off x="3784713" y="3736162"/>
            <a:ext cx="1447799" cy="1447800"/>
            <a:chOff x="3409950" y="3786188"/>
            <a:chExt cx="1447800" cy="1447800"/>
          </a:xfrm>
        </p:grpSpPr>
        <p:sp>
          <p:nvSpPr>
            <p:cNvPr id="388" name="Oval 14">
              <a:extLst>
                <a:ext uri="{FF2B5EF4-FFF2-40B4-BE49-F238E27FC236}">
                  <a16:creationId xmlns:a16="http://schemas.microsoft.com/office/drawing/2014/main" id="{A42FE03A-D911-4FBC-867A-8B48E8FA2155}"/>
                </a:ext>
              </a:extLst>
            </p:cNvPr>
            <p:cNvSpPr>
              <a:spLocks noChangeArrowheads="1"/>
            </p:cNvSpPr>
            <p:nvPr userDrawn="1"/>
          </p:nvSpPr>
          <p:spPr bwMode="auto">
            <a:xfrm>
              <a:off x="3409950" y="3786188"/>
              <a:ext cx="1447800" cy="1447800"/>
            </a:xfrm>
            <a:prstGeom prst="ellipse">
              <a:avLst/>
            </a:pr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89" name="Freeform 15">
              <a:extLst>
                <a:ext uri="{FF2B5EF4-FFF2-40B4-BE49-F238E27FC236}">
                  <a16:creationId xmlns:a16="http://schemas.microsoft.com/office/drawing/2014/main" id="{D6D280A7-1AC0-4C65-9DE1-EB680DBC7E58}"/>
                </a:ext>
              </a:extLst>
            </p:cNvPr>
            <p:cNvSpPr>
              <a:spLocks/>
            </p:cNvSpPr>
            <p:nvPr userDrawn="1"/>
          </p:nvSpPr>
          <p:spPr bwMode="auto">
            <a:xfrm>
              <a:off x="3738563" y="4114801"/>
              <a:ext cx="790575" cy="790575"/>
            </a:xfrm>
            <a:custGeom>
              <a:avLst/>
              <a:gdLst>
                <a:gd name="T0" fmla="*/ 148 w 166"/>
                <a:gd name="T1" fmla="*/ 96 h 166"/>
                <a:gd name="T2" fmla="*/ 148 w 166"/>
                <a:gd name="T3" fmla="*/ 166 h 166"/>
                <a:gd name="T4" fmla="*/ 166 w 166"/>
                <a:gd name="T5" fmla="*/ 166 h 166"/>
                <a:gd name="T6" fmla="*/ 166 w 166"/>
                <a:gd name="T7" fmla="*/ 0 h 166"/>
                <a:gd name="T8" fmla="*/ 0 w 166"/>
                <a:gd name="T9" fmla="*/ 0 h 166"/>
                <a:gd name="T10" fmla="*/ 0 w 166"/>
                <a:gd name="T11" fmla="*/ 166 h 166"/>
                <a:gd name="T12" fmla="*/ 58 w 166"/>
                <a:gd name="T13" fmla="*/ 166 h 166"/>
                <a:gd name="T14" fmla="*/ 58 w 166"/>
                <a:gd name="T15" fmla="*/ 142 h 166"/>
                <a:gd name="T16" fmla="*/ 39 w 166"/>
                <a:gd name="T17" fmla="*/ 142 h 166"/>
                <a:gd name="T18" fmla="*/ 39 w 166"/>
                <a:gd name="T19" fmla="*/ 121 h 166"/>
                <a:gd name="T20" fmla="*/ 58 w 166"/>
                <a:gd name="T21" fmla="*/ 121 h 166"/>
                <a:gd name="T22" fmla="*/ 58 w 166"/>
                <a:gd name="T23" fmla="*/ 15 h 166"/>
                <a:gd name="T24" fmla="*/ 148 w 166"/>
                <a:gd name="T25" fmla="*/ 15 h 166"/>
                <a:gd name="T26" fmla="*/ 148 w 166"/>
                <a:gd name="T27" fmla="*/ 86 h 166"/>
                <a:gd name="T28" fmla="*/ 135 w 166"/>
                <a:gd name="T29" fmla="*/ 86 h 166"/>
                <a:gd name="T30" fmla="*/ 122 w 166"/>
                <a:gd name="T31" fmla="*/ 64 h 166"/>
                <a:gd name="T32" fmla="*/ 124 w 166"/>
                <a:gd name="T33" fmla="*/ 58 h 166"/>
                <a:gd name="T34" fmla="*/ 124 w 166"/>
                <a:gd name="T35" fmla="*/ 58 h 166"/>
                <a:gd name="T36" fmla="*/ 134 w 166"/>
                <a:gd name="T37" fmla="*/ 49 h 166"/>
                <a:gd name="T38" fmla="*/ 126 w 166"/>
                <a:gd name="T39" fmla="*/ 33 h 166"/>
                <a:gd name="T40" fmla="*/ 110 w 166"/>
                <a:gd name="T41" fmla="*/ 41 h 166"/>
                <a:gd name="T42" fmla="*/ 113 w 166"/>
                <a:gd name="T43" fmla="*/ 53 h 166"/>
                <a:gd name="T44" fmla="*/ 113 w 166"/>
                <a:gd name="T45" fmla="*/ 53 h 166"/>
                <a:gd name="T46" fmla="*/ 114 w 166"/>
                <a:gd name="T47" fmla="*/ 57 h 166"/>
                <a:gd name="T48" fmla="*/ 111 w 166"/>
                <a:gd name="T49" fmla="*/ 58 h 166"/>
                <a:gd name="T50" fmla="*/ 80 w 166"/>
                <a:gd name="T51" fmla="*/ 58 h 166"/>
                <a:gd name="T52" fmla="*/ 75 w 166"/>
                <a:gd name="T53" fmla="*/ 62 h 166"/>
                <a:gd name="T54" fmla="*/ 64 w 166"/>
                <a:gd name="T55" fmla="*/ 84 h 166"/>
                <a:gd name="T56" fmla="*/ 73 w 166"/>
                <a:gd name="T57" fmla="*/ 84 h 166"/>
                <a:gd name="T58" fmla="*/ 81 w 166"/>
                <a:gd name="T59" fmla="*/ 69 h 166"/>
                <a:gd name="T60" fmla="*/ 95 w 166"/>
                <a:gd name="T61" fmla="*/ 69 h 166"/>
                <a:gd name="T62" fmla="*/ 97 w 166"/>
                <a:gd name="T63" fmla="*/ 72 h 166"/>
                <a:gd name="T64" fmla="*/ 72 w 166"/>
                <a:gd name="T65" fmla="*/ 126 h 166"/>
                <a:gd name="T66" fmla="*/ 44 w 166"/>
                <a:gd name="T67" fmla="*/ 126 h 166"/>
                <a:gd name="T68" fmla="*/ 44 w 166"/>
                <a:gd name="T69" fmla="*/ 137 h 166"/>
                <a:gd name="T70" fmla="*/ 75 w 166"/>
                <a:gd name="T71" fmla="*/ 137 h 166"/>
                <a:gd name="T72" fmla="*/ 81 w 166"/>
                <a:gd name="T73" fmla="*/ 134 h 166"/>
                <a:gd name="T74" fmla="*/ 95 w 166"/>
                <a:gd name="T75" fmla="*/ 112 h 166"/>
                <a:gd name="T76" fmla="*/ 114 w 166"/>
                <a:gd name="T77" fmla="*/ 166 h 166"/>
                <a:gd name="T78" fmla="*/ 125 w 166"/>
                <a:gd name="T79" fmla="*/ 166 h 166"/>
                <a:gd name="T80" fmla="*/ 109 w 166"/>
                <a:gd name="T81" fmla="*/ 104 h 166"/>
                <a:gd name="T82" fmla="*/ 110 w 166"/>
                <a:gd name="T83" fmla="*/ 97 h 166"/>
                <a:gd name="T84" fmla="*/ 118 w 166"/>
                <a:gd name="T85" fmla="*/ 78 h 166"/>
                <a:gd name="T86" fmla="*/ 127 w 166"/>
                <a:gd name="T87" fmla="*/ 93 h 166"/>
                <a:gd name="T88" fmla="*/ 132 w 166"/>
                <a:gd name="T89" fmla="*/ 96 h 166"/>
                <a:gd name="T90" fmla="*/ 148 w 166"/>
                <a:gd name="T91" fmla="*/ 9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66">
                  <a:moveTo>
                    <a:pt x="148" y="96"/>
                  </a:moveTo>
                  <a:cubicBezTo>
                    <a:pt x="148" y="166"/>
                    <a:pt x="148" y="166"/>
                    <a:pt x="148" y="166"/>
                  </a:cubicBezTo>
                  <a:cubicBezTo>
                    <a:pt x="166" y="166"/>
                    <a:pt x="166" y="166"/>
                    <a:pt x="166" y="166"/>
                  </a:cubicBezTo>
                  <a:cubicBezTo>
                    <a:pt x="166" y="0"/>
                    <a:pt x="166" y="0"/>
                    <a:pt x="166" y="0"/>
                  </a:cubicBezTo>
                  <a:cubicBezTo>
                    <a:pt x="0" y="0"/>
                    <a:pt x="0" y="0"/>
                    <a:pt x="0" y="0"/>
                  </a:cubicBezTo>
                  <a:cubicBezTo>
                    <a:pt x="0" y="166"/>
                    <a:pt x="0" y="166"/>
                    <a:pt x="0" y="166"/>
                  </a:cubicBezTo>
                  <a:cubicBezTo>
                    <a:pt x="58" y="166"/>
                    <a:pt x="58" y="166"/>
                    <a:pt x="58" y="166"/>
                  </a:cubicBezTo>
                  <a:cubicBezTo>
                    <a:pt x="58" y="142"/>
                    <a:pt x="58" y="142"/>
                    <a:pt x="58" y="142"/>
                  </a:cubicBezTo>
                  <a:cubicBezTo>
                    <a:pt x="39" y="142"/>
                    <a:pt x="39" y="142"/>
                    <a:pt x="39" y="142"/>
                  </a:cubicBezTo>
                  <a:cubicBezTo>
                    <a:pt x="39" y="121"/>
                    <a:pt x="39" y="121"/>
                    <a:pt x="39" y="121"/>
                  </a:cubicBezTo>
                  <a:cubicBezTo>
                    <a:pt x="58" y="121"/>
                    <a:pt x="58" y="121"/>
                    <a:pt x="58" y="121"/>
                  </a:cubicBezTo>
                  <a:cubicBezTo>
                    <a:pt x="58" y="15"/>
                    <a:pt x="58" y="15"/>
                    <a:pt x="58" y="15"/>
                  </a:cubicBezTo>
                  <a:cubicBezTo>
                    <a:pt x="148" y="15"/>
                    <a:pt x="148" y="15"/>
                    <a:pt x="148" y="15"/>
                  </a:cubicBezTo>
                  <a:cubicBezTo>
                    <a:pt x="148" y="86"/>
                    <a:pt x="148" y="86"/>
                    <a:pt x="148" y="86"/>
                  </a:cubicBezTo>
                  <a:cubicBezTo>
                    <a:pt x="135" y="86"/>
                    <a:pt x="135" y="86"/>
                    <a:pt x="135" y="86"/>
                  </a:cubicBezTo>
                  <a:cubicBezTo>
                    <a:pt x="135" y="86"/>
                    <a:pt x="124" y="67"/>
                    <a:pt x="122" y="64"/>
                  </a:cubicBezTo>
                  <a:cubicBezTo>
                    <a:pt x="120" y="60"/>
                    <a:pt x="122" y="58"/>
                    <a:pt x="124" y="58"/>
                  </a:cubicBezTo>
                  <a:cubicBezTo>
                    <a:pt x="124" y="58"/>
                    <a:pt x="124" y="58"/>
                    <a:pt x="124" y="58"/>
                  </a:cubicBezTo>
                  <a:cubicBezTo>
                    <a:pt x="129" y="57"/>
                    <a:pt x="133" y="54"/>
                    <a:pt x="134" y="49"/>
                  </a:cubicBezTo>
                  <a:cubicBezTo>
                    <a:pt x="136" y="43"/>
                    <a:pt x="133" y="35"/>
                    <a:pt x="126" y="33"/>
                  </a:cubicBezTo>
                  <a:cubicBezTo>
                    <a:pt x="120" y="31"/>
                    <a:pt x="112" y="34"/>
                    <a:pt x="110" y="41"/>
                  </a:cubicBezTo>
                  <a:cubicBezTo>
                    <a:pt x="109" y="45"/>
                    <a:pt x="110" y="50"/>
                    <a:pt x="113" y="53"/>
                  </a:cubicBezTo>
                  <a:cubicBezTo>
                    <a:pt x="113" y="53"/>
                    <a:pt x="113" y="53"/>
                    <a:pt x="113" y="53"/>
                  </a:cubicBezTo>
                  <a:cubicBezTo>
                    <a:pt x="113" y="54"/>
                    <a:pt x="114" y="55"/>
                    <a:pt x="114" y="57"/>
                  </a:cubicBezTo>
                  <a:cubicBezTo>
                    <a:pt x="114" y="58"/>
                    <a:pt x="113" y="58"/>
                    <a:pt x="111" y="58"/>
                  </a:cubicBezTo>
                  <a:cubicBezTo>
                    <a:pt x="80" y="58"/>
                    <a:pt x="80" y="58"/>
                    <a:pt x="80" y="58"/>
                  </a:cubicBezTo>
                  <a:cubicBezTo>
                    <a:pt x="78" y="58"/>
                    <a:pt x="75" y="60"/>
                    <a:pt x="75" y="62"/>
                  </a:cubicBezTo>
                  <a:cubicBezTo>
                    <a:pt x="64" y="84"/>
                    <a:pt x="64" y="84"/>
                    <a:pt x="64" y="84"/>
                  </a:cubicBezTo>
                  <a:cubicBezTo>
                    <a:pt x="73" y="84"/>
                    <a:pt x="73" y="84"/>
                    <a:pt x="73" y="84"/>
                  </a:cubicBezTo>
                  <a:cubicBezTo>
                    <a:pt x="81" y="69"/>
                    <a:pt x="81" y="69"/>
                    <a:pt x="81" y="69"/>
                  </a:cubicBezTo>
                  <a:cubicBezTo>
                    <a:pt x="95" y="69"/>
                    <a:pt x="95" y="69"/>
                    <a:pt x="95" y="69"/>
                  </a:cubicBezTo>
                  <a:cubicBezTo>
                    <a:pt x="97" y="69"/>
                    <a:pt x="98" y="70"/>
                    <a:pt x="97" y="72"/>
                  </a:cubicBezTo>
                  <a:cubicBezTo>
                    <a:pt x="72" y="126"/>
                    <a:pt x="72" y="126"/>
                    <a:pt x="72" y="126"/>
                  </a:cubicBezTo>
                  <a:cubicBezTo>
                    <a:pt x="44" y="126"/>
                    <a:pt x="44" y="126"/>
                    <a:pt x="44" y="126"/>
                  </a:cubicBezTo>
                  <a:cubicBezTo>
                    <a:pt x="44" y="137"/>
                    <a:pt x="44" y="137"/>
                    <a:pt x="44" y="137"/>
                  </a:cubicBezTo>
                  <a:cubicBezTo>
                    <a:pt x="75" y="137"/>
                    <a:pt x="75" y="137"/>
                    <a:pt x="75" y="137"/>
                  </a:cubicBezTo>
                  <a:cubicBezTo>
                    <a:pt x="77" y="137"/>
                    <a:pt x="80" y="135"/>
                    <a:pt x="81" y="134"/>
                  </a:cubicBezTo>
                  <a:cubicBezTo>
                    <a:pt x="95" y="112"/>
                    <a:pt x="95" y="112"/>
                    <a:pt x="95" y="112"/>
                  </a:cubicBezTo>
                  <a:cubicBezTo>
                    <a:pt x="114" y="166"/>
                    <a:pt x="114" y="166"/>
                    <a:pt x="114" y="166"/>
                  </a:cubicBezTo>
                  <a:cubicBezTo>
                    <a:pt x="125" y="166"/>
                    <a:pt x="125" y="166"/>
                    <a:pt x="125" y="166"/>
                  </a:cubicBezTo>
                  <a:cubicBezTo>
                    <a:pt x="109" y="104"/>
                    <a:pt x="109" y="104"/>
                    <a:pt x="109" y="104"/>
                  </a:cubicBezTo>
                  <a:cubicBezTo>
                    <a:pt x="109" y="102"/>
                    <a:pt x="109" y="99"/>
                    <a:pt x="110" y="97"/>
                  </a:cubicBezTo>
                  <a:cubicBezTo>
                    <a:pt x="118" y="78"/>
                    <a:pt x="118" y="78"/>
                    <a:pt x="118" y="78"/>
                  </a:cubicBezTo>
                  <a:cubicBezTo>
                    <a:pt x="127" y="93"/>
                    <a:pt x="127" y="93"/>
                    <a:pt x="127" y="93"/>
                  </a:cubicBezTo>
                  <a:cubicBezTo>
                    <a:pt x="128" y="95"/>
                    <a:pt x="130" y="96"/>
                    <a:pt x="132" y="96"/>
                  </a:cubicBezTo>
                  <a:cubicBezTo>
                    <a:pt x="148" y="96"/>
                    <a:pt x="148" y="96"/>
                    <a:pt x="14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grpSp>
      <p:grpSp>
        <p:nvGrpSpPr>
          <p:cNvPr id="390" name="Group 29">
            <a:extLst>
              <a:ext uri="{FF2B5EF4-FFF2-40B4-BE49-F238E27FC236}">
                <a16:creationId xmlns:a16="http://schemas.microsoft.com/office/drawing/2014/main" id="{BD85A1A3-321E-40D0-9329-595A7B230B07}"/>
              </a:ext>
            </a:extLst>
          </p:cNvPr>
          <p:cNvGrpSpPr/>
          <p:nvPr userDrawn="1"/>
        </p:nvGrpSpPr>
        <p:grpSpPr>
          <a:xfrm>
            <a:off x="7921659" y="3736162"/>
            <a:ext cx="1452563" cy="1447800"/>
            <a:chOff x="7724775" y="3786188"/>
            <a:chExt cx="1452563" cy="1447800"/>
          </a:xfrm>
        </p:grpSpPr>
        <p:sp>
          <p:nvSpPr>
            <p:cNvPr id="391" name="Oval 16">
              <a:extLst>
                <a:ext uri="{FF2B5EF4-FFF2-40B4-BE49-F238E27FC236}">
                  <a16:creationId xmlns:a16="http://schemas.microsoft.com/office/drawing/2014/main" id="{2E4BBA3E-E3AB-4236-ACCE-D7B995EACECE}"/>
                </a:ext>
              </a:extLst>
            </p:cNvPr>
            <p:cNvSpPr>
              <a:spLocks noChangeArrowheads="1"/>
            </p:cNvSpPr>
            <p:nvPr userDrawn="1"/>
          </p:nvSpPr>
          <p:spPr bwMode="auto">
            <a:xfrm>
              <a:off x="7724775" y="3786188"/>
              <a:ext cx="1452563" cy="1447800"/>
            </a:xfrm>
            <a:prstGeom prst="ellipse">
              <a:avLst/>
            </a:pr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92" name="Freeform 17">
              <a:extLst>
                <a:ext uri="{FF2B5EF4-FFF2-40B4-BE49-F238E27FC236}">
                  <a16:creationId xmlns:a16="http://schemas.microsoft.com/office/drawing/2014/main" id="{3670F56B-7843-4F10-ABB6-DE055A966F97}"/>
                </a:ext>
              </a:extLst>
            </p:cNvPr>
            <p:cNvSpPr>
              <a:spLocks noEditPoints="1"/>
            </p:cNvSpPr>
            <p:nvPr userDrawn="1"/>
          </p:nvSpPr>
          <p:spPr bwMode="auto">
            <a:xfrm>
              <a:off x="8201025" y="4281488"/>
              <a:ext cx="519113" cy="409575"/>
            </a:xfrm>
            <a:custGeom>
              <a:avLst/>
              <a:gdLst>
                <a:gd name="T0" fmla="*/ 36 w 109"/>
                <a:gd name="T1" fmla="*/ 28 h 86"/>
                <a:gd name="T2" fmla="*/ 13 w 109"/>
                <a:gd name="T3" fmla="*/ 28 h 86"/>
                <a:gd name="T4" fmla="*/ 27 w 109"/>
                <a:gd name="T5" fmla="*/ 72 h 86"/>
                <a:gd name="T6" fmla="*/ 36 w 109"/>
                <a:gd name="T7" fmla="*/ 54 h 86"/>
                <a:gd name="T8" fmla="*/ 37 w 109"/>
                <a:gd name="T9" fmla="*/ 54 h 86"/>
                <a:gd name="T10" fmla="*/ 38 w 109"/>
                <a:gd name="T11" fmla="*/ 43 h 86"/>
                <a:gd name="T12" fmla="*/ 11 w 109"/>
                <a:gd name="T13" fmla="*/ 43 h 86"/>
                <a:gd name="T14" fmla="*/ 5 w 109"/>
                <a:gd name="T15" fmla="*/ 47 h 86"/>
                <a:gd name="T16" fmla="*/ 0 w 109"/>
                <a:gd name="T17" fmla="*/ 72 h 86"/>
                <a:gd name="T18" fmla="*/ 10 w 109"/>
                <a:gd name="T19" fmla="*/ 61 h 86"/>
                <a:gd name="T20" fmla="*/ 13 w 109"/>
                <a:gd name="T21" fmla="*/ 72 h 86"/>
                <a:gd name="T22" fmla="*/ 81 w 109"/>
                <a:gd name="T23" fmla="*/ 17 h 86"/>
                <a:gd name="T24" fmla="*/ 81 w 109"/>
                <a:gd name="T25" fmla="*/ 40 h 86"/>
                <a:gd name="T26" fmla="*/ 81 w 109"/>
                <a:gd name="T27" fmla="*/ 17 h 86"/>
                <a:gd name="T28" fmla="*/ 99 w 109"/>
                <a:gd name="T29" fmla="*/ 43 h 86"/>
                <a:gd name="T30" fmla="*/ 68 w 109"/>
                <a:gd name="T31" fmla="*/ 43 h 86"/>
                <a:gd name="T32" fmla="*/ 61 w 109"/>
                <a:gd name="T33" fmla="*/ 54 h 86"/>
                <a:gd name="T34" fmla="*/ 72 w 109"/>
                <a:gd name="T35" fmla="*/ 54 h 86"/>
                <a:gd name="T36" fmla="*/ 80 w 109"/>
                <a:gd name="T37" fmla="*/ 72 h 86"/>
                <a:gd name="T38" fmla="*/ 96 w 109"/>
                <a:gd name="T39" fmla="*/ 61 h 86"/>
                <a:gd name="T40" fmla="*/ 100 w 109"/>
                <a:gd name="T41" fmla="*/ 72 h 86"/>
                <a:gd name="T42" fmla="*/ 104 w 109"/>
                <a:gd name="T43" fmla="*/ 47 h 86"/>
                <a:gd name="T44" fmla="*/ 53 w 109"/>
                <a:gd name="T45" fmla="*/ 54 h 86"/>
                <a:gd name="T46" fmla="*/ 53 w 109"/>
                <a:gd name="T47" fmla="*/ 31 h 86"/>
                <a:gd name="T48" fmla="*/ 71 w 109"/>
                <a:gd name="T49" fmla="*/ 86 h 86"/>
                <a:gd name="T50" fmla="*/ 75 w 109"/>
                <a:gd name="T51" fmla="*/ 61 h 86"/>
                <a:gd name="T52" fmla="*/ 69 w 109"/>
                <a:gd name="T53" fmla="*/ 57 h 86"/>
                <a:gd name="T54" fmla="*/ 39 w 109"/>
                <a:gd name="T55" fmla="*/ 57 h 86"/>
                <a:gd name="T56" fmla="*/ 37 w 109"/>
                <a:gd name="T57" fmla="*/ 57 h 86"/>
                <a:gd name="T58" fmla="*/ 33 w 109"/>
                <a:gd name="T59" fmla="*/ 61 h 86"/>
                <a:gd name="T60" fmla="*/ 37 w 109"/>
                <a:gd name="T61" fmla="*/ 86 h 86"/>
                <a:gd name="T62" fmla="*/ 41 w 109"/>
                <a:gd name="T63" fmla="*/ 75 h 86"/>
                <a:gd name="T64" fmla="*/ 67 w 109"/>
                <a:gd name="T65" fmla="*/ 86 h 86"/>
                <a:gd name="T66" fmla="*/ 70 w 109"/>
                <a:gd name="T67" fmla="*/ 75 h 86"/>
                <a:gd name="T68" fmla="*/ 53 w 109"/>
                <a:gd name="T69" fmla="*/ 0 h 86"/>
                <a:gd name="T70" fmla="*/ 53 w 109"/>
                <a:gd name="T71" fmla="*/ 23 h 86"/>
                <a:gd name="T72" fmla="*/ 53 w 109"/>
                <a:gd name="T7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 h="86">
                  <a:moveTo>
                    <a:pt x="25" y="17"/>
                  </a:moveTo>
                  <a:cubicBezTo>
                    <a:pt x="31" y="17"/>
                    <a:pt x="36" y="22"/>
                    <a:pt x="36" y="28"/>
                  </a:cubicBezTo>
                  <a:cubicBezTo>
                    <a:pt x="36" y="34"/>
                    <a:pt x="31" y="40"/>
                    <a:pt x="25" y="40"/>
                  </a:cubicBezTo>
                  <a:cubicBezTo>
                    <a:pt x="19" y="40"/>
                    <a:pt x="13" y="34"/>
                    <a:pt x="13" y="28"/>
                  </a:cubicBezTo>
                  <a:cubicBezTo>
                    <a:pt x="13" y="22"/>
                    <a:pt x="19" y="17"/>
                    <a:pt x="25" y="17"/>
                  </a:cubicBezTo>
                  <a:moveTo>
                    <a:pt x="27" y="72"/>
                  </a:moveTo>
                  <a:cubicBezTo>
                    <a:pt x="30" y="60"/>
                    <a:pt x="30" y="60"/>
                    <a:pt x="30" y="60"/>
                  </a:cubicBezTo>
                  <a:cubicBezTo>
                    <a:pt x="30" y="57"/>
                    <a:pt x="33" y="55"/>
                    <a:pt x="36" y="54"/>
                  </a:cubicBezTo>
                  <a:cubicBezTo>
                    <a:pt x="36" y="54"/>
                    <a:pt x="36" y="54"/>
                    <a:pt x="36" y="54"/>
                  </a:cubicBezTo>
                  <a:cubicBezTo>
                    <a:pt x="37" y="54"/>
                    <a:pt x="37" y="54"/>
                    <a:pt x="37" y="54"/>
                  </a:cubicBezTo>
                  <a:cubicBezTo>
                    <a:pt x="44" y="54"/>
                    <a:pt x="44" y="54"/>
                    <a:pt x="44" y="54"/>
                  </a:cubicBezTo>
                  <a:cubicBezTo>
                    <a:pt x="41" y="51"/>
                    <a:pt x="38" y="47"/>
                    <a:pt x="38" y="43"/>
                  </a:cubicBezTo>
                  <a:cubicBezTo>
                    <a:pt x="11" y="43"/>
                    <a:pt x="11" y="43"/>
                    <a:pt x="11" y="43"/>
                  </a:cubicBezTo>
                  <a:cubicBezTo>
                    <a:pt x="11" y="43"/>
                    <a:pt x="11" y="43"/>
                    <a:pt x="11" y="43"/>
                  </a:cubicBezTo>
                  <a:cubicBezTo>
                    <a:pt x="10" y="43"/>
                    <a:pt x="10" y="43"/>
                    <a:pt x="10" y="43"/>
                  </a:cubicBezTo>
                  <a:cubicBezTo>
                    <a:pt x="7" y="43"/>
                    <a:pt x="5" y="45"/>
                    <a:pt x="5" y="47"/>
                  </a:cubicBezTo>
                  <a:cubicBezTo>
                    <a:pt x="5" y="47"/>
                    <a:pt x="5" y="47"/>
                    <a:pt x="5" y="47"/>
                  </a:cubicBezTo>
                  <a:cubicBezTo>
                    <a:pt x="0" y="72"/>
                    <a:pt x="0" y="72"/>
                    <a:pt x="0" y="72"/>
                  </a:cubicBezTo>
                  <a:cubicBezTo>
                    <a:pt x="9" y="72"/>
                    <a:pt x="9" y="72"/>
                    <a:pt x="9" y="72"/>
                  </a:cubicBezTo>
                  <a:cubicBezTo>
                    <a:pt x="10" y="61"/>
                    <a:pt x="10" y="61"/>
                    <a:pt x="10" y="61"/>
                  </a:cubicBezTo>
                  <a:cubicBezTo>
                    <a:pt x="13" y="61"/>
                    <a:pt x="13" y="61"/>
                    <a:pt x="13" y="61"/>
                  </a:cubicBezTo>
                  <a:cubicBezTo>
                    <a:pt x="13" y="72"/>
                    <a:pt x="13" y="72"/>
                    <a:pt x="13" y="72"/>
                  </a:cubicBezTo>
                  <a:cubicBezTo>
                    <a:pt x="27" y="72"/>
                    <a:pt x="27" y="72"/>
                    <a:pt x="27" y="72"/>
                  </a:cubicBezTo>
                  <a:close/>
                  <a:moveTo>
                    <a:pt x="81" y="17"/>
                  </a:moveTo>
                  <a:cubicBezTo>
                    <a:pt x="75" y="17"/>
                    <a:pt x="70" y="22"/>
                    <a:pt x="70" y="28"/>
                  </a:cubicBezTo>
                  <a:cubicBezTo>
                    <a:pt x="70" y="34"/>
                    <a:pt x="75" y="40"/>
                    <a:pt x="81" y="40"/>
                  </a:cubicBezTo>
                  <a:cubicBezTo>
                    <a:pt x="88" y="40"/>
                    <a:pt x="93" y="34"/>
                    <a:pt x="93" y="28"/>
                  </a:cubicBezTo>
                  <a:cubicBezTo>
                    <a:pt x="93" y="22"/>
                    <a:pt x="88" y="17"/>
                    <a:pt x="81" y="17"/>
                  </a:cubicBezTo>
                  <a:moveTo>
                    <a:pt x="104" y="47"/>
                  </a:moveTo>
                  <a:cubicBezTo>
                    <a:pt x="103" y="45"/>
                    <a:pt x="101" y="43"/>
                    <a:pt x="99" y="43"/>
                  </a:cubicBezTo>
                  <a:cubicBezTo>
                    <a:pt x="68" y="43"/>
                    <a:pt x="68" y="43"/>
                    <a:pt x="68" y="43"/>
                  </a:cubicBezTo>
                  <a:cubicBezTo>
                    <a:pt x="68" y="43"/>
                    <a:pt x="68" y="43"/>
                    <a:pt x="68" y="43"/>
                  </a:cubicBezTo>
                  <a:cubicBezTo>
                    <a:pt x="67" y="43"/>
                    <a:pt x="67" y="43"/>
                    <a:pt x="67" y="43"/>
                  </a:cubicBezTo>
                  <a:cubicBezTo>
                    <a:pt x="67" y="47"/>
                    <a:pt x="65" y="51"/>
                    <a:pt x="61" y="54"/>
                  </a:cubicBezTo>
                  <a:cubicBezTo>
                    <a:pt x="72" y="54"/>
                    <a:pt x="72" y="54"/>
                    <a:pt x="72" y="54"/>
                  </a:cubicBezTo>
                  <a:cubicBezTo>
                    <a:pt x="72" y="54"/>
                    <a:pt x="72" y="54"/>
                    <a:pt x="72" y="54"/>
                  </a:cubicBezTo>
                  <a:cubicBezTo>
                    <a:pt x="75" y="55"/>
                    <a:pt x="77" y="57"/>
                    <a:pt x="78" y="60"/>
                  </a:cubicBezTo>
                  <a:cubicBezTo>
                    <a:pt x="80" y="72"/>
                    <a:pt x="80" y="72"/>
                    <a:pt x="80" y="72"/>
                  </a:cubicBezTo>
                  <a:cubicBezTo>
                    <a:pt x="96" y="72"/>
                    <a:pt x="96" y="72"/>
                    <a:pt x="96" y="72"/>
                  </a:cubicBezTo>
                  <a:cubicBezTo>
                    <a:pt x="96" y="61"/>
                    <a:pt x="96" y="61"/>
                    <a:pt x="96" y="61"/>
                  </a:cubicBezTo>
                  <a:cubicBezTo>
                    <a:pt x="99" y="61"/>
                    <a:pt x="99" y="61"/>
                    <a:pt x="99" y="61"/>
                  </a:cubicBezTo>
                  <a:cubicBezTo>
                    <a:pt x="100" y="72"/>
                    <a:pt x="100" y="72"/>
                    <a:pt x="100" y="72"/>
                  </a:cubicBezTo>
                  <a:cubicBezTo>
                    <a:pt x="109" y="72"/>
                    <a:pt x="109" y="72"/>
                    <a:pt x="109" y="72"/>
                  </a:cubicBezTo>
                  <a:lnTo>
                    <a:pt x="104" y="47"/>
                  </a:lnTo>
                  <a:close/>
                  <a:moveTo>
                    <a:pt x="41" y="42"/>
                  </a:moveTo>
                  <a:cubicBezTo>
                    <a:pt x="41" y="48"/>
                    <a:pt x="46" y="54"/>
                    <a:pt x="53" y="54"/>
                  </a:cubicBezTo>
                  <a:cubicBezTo>
                    <a:pt x="59" y="54"/>
                    <a:pt x="64" y="48"/>
                    <a:pt x="64" y="42"/>
                  </a:cubicBezTo>
                  <a:cubicBezTo>
                    <a:pt x="64" y="36"/>
                    <a:pt x="59" y="31"/>
                    <a:pt x="53" y="31"/>
                  </a:cubicBezTo>
                  <a:cubicBezTo>
                    <a:pt x="46" y="31"/>
                    <a:pt x="41" y="36"/>
                    <a:pt x="41" y="42"/>
                  </a:cubicBezTo>
                  <a:moveTo>
                    <a:pt x="71" y="86"/>
                  </a:moveTo>
                  <a:cubicBezTo>
                    <a:pt x="80" y="86"/>
                    <a:pt x="80" y="86"/>
                    <a:pt x="80" y="86"/>
                  </a:cubicBezTo>
                  <a:cubicBezTo>
                    <a:pt x="75" y="61"/>
                    <a:pt x="75" y="61"/>
                    <a:pt x="75" y="61"/>
                  </a:cubicBezTo>
                  <a:cubicBezTo>
                    <a:pt x="75" y="59"/>
                    <a:pt x="73" y="57"/>
                    <a:pt x="70" y="57"/>
                  </a:cubicBezTo>
                  <a:cubicBezTo>
                    <a:pt x="69" y="57"/>
                    <a:pt x="69" y="57"/>
                    <a:pt x="69" y="57"/>
                  </a:cubicBezTo>
                  <a:cubicBezTo>
                    <a:pt x="69" y="57"/>
                    <a:pt x="69" y="57"/>
                    <a:pt x="69" y="57"/>
                  </a:cubicBezTo>
                  <a:cubicBezTo>
                    <a:pt x="39" y="57"/>
                    <a:pt x="39" y="57"/>
                    <a:pt x="39" y="57"/>
                  </a:cubicBezTo>
                  <a:cubicBezTo>
                    <a:pt x="39" y="57"/>
                    <a:pt x="39" y="57"/>
                    <a:pt x="39" y="57"/>
                  </a:cubicBezTo>
                  <a:cubicBezTo>
                    <a:pt x="37" y="57"/>
                    <a:pt x="37" y="57"/>
                    <a:pt x="37" y="57"/>
                  </a:cubicBezTo>
                  <a:cubicBezTo>
                    <a:pt x="35" y="57"/>
                    <a:pt x="33" y="59"/>
                    <a:pt x="33" y="61"/>
                  </a:cubicBezTo>
                  <a:cubicBezTo>
                    <a:pt x="33" y="61"/>
                    <a:pt x="33" y="61"/>
                    <a:pt x="33" y="61"/>
                  </a:cubicBezTo>
                  <a:cubicBezTo>
                    <a:pt x="28" y="86"/>
                    <a:pt x="28" y="86"/>
                    <a:pt x="28" y="86"/>
                  </a:cubicBezTo>
                  <a:cubicBezTo>
                    <a:pt x="37" y="86"/>
                    <a:pt x="37" y="86"/>
                    <a:pt x="37" y="86"/>
                  </a:cubicBezTo>
                  <a:cubicBezTo>
                    <a:pt x="38" y="75"/>
                    <a:pt x="38" y="75"/>
                    <a:pt x="38" y="75"/>
                  </a:cubicBezTo>
                  <a:cubicBezTo>
                    <a:pt x="41" y="75"/>
                    <a:pt x="41" y="75"/>
                    <a:pt x="41" y="75"/>
                  </a:cubicBezTo>
                  <a:cubicBezTo>
                    <a:pt x="41" y="86"/>
                    <a:pt x="41" y="86"/>
                    <a:pt x="41" y="86"/>
                  </a:cubicBezTo>
                  <a:cubicBezTo>
                    <a:pt x="67" y="86"/>
                    <a:pt x="67" y="86"/>
                    <a:pt x="67" y="86"/>
                  </a:cubicBezTo>
                  <a:cubicBezTo>
                    <a:pt x="67" y="75"/>
                    <a:pt x="67" y="75"/>
                    <a:pt x="67" y="75"/>
                  </a:cubicBezTo>
                  <a:cubicBezTo>
                    <a:pt x="70" y="75"/>
                    <a:pt x="70" y="75"/>
                    <a:pt x="70" y="75"/>
                  </a:cubicBezTo>
                  <a:lnTo>
                    <a:pt x="71" y="86"/>
                  </a:lnTo>
                  <a:close/>
                  <a:moveTo>
                    <a:pt x="53" y="0"/>
                  </a:moveTo>
                  <a:cubicBezTo>
                    <a:pt x="46" y="0"/>
                    <a:pt x="41" y="5"/>
                    <a:pt x="41" y="12"/>
                  </a:cubicBezTo>
                  <a:cubicBezTo>
                    <a:pt x="41" y="18"/>
                    <a:pt x="46" y="23"/>
                    <a:pt x="53" y="23"/>
                  </a:cubicBezTo>
                  <a:cubicBezTo>
                    <a:pt x="59" y="23"/>
                    <a:pt x="64" y="18"/>
                    <a:pt x="64" y="12"/>
                  </a:cubicBezTo>
                  <a:cubicBezTo>
                    <a:pt x="64" y="5"/>
                    <a:pt x="59" y="0"/>
                    <a:pt x="5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93" name="Freeform 18">
              <a:extLst>
                <a:ext uri="{FF2B5EF4-FFF2-40B4-BE49-F238E27FC236}">
                  <a16:creationId xmlns:a16="http://schemas.microsoft.com/office/drawing/2014/main" id="{004B6848-5FBA-44E6-9978-924F517ACD4F}"/>
                </a:ext>
              </a:extLst>
            </p:cNvPr>
            <p:cNvSpPr>
              <a:spLocks/>
            </p:cNvSpPr>
            <p:nvPr userDrawn="1"/>
          </p:nvSpPr>
          <p:spPr bwMode="auto">
            <a:xfrm>
              <a:off x="8034338" y="4090988"/>
              <a:ext cx="257175" cy="252413"/>
            </a:xfrm>
            <a:custGeom>
              <a:avLst/>
              <a:gdLst>
                <a:gd name="T0" fmla="*/ 120 w 162"/>
                <a:gd name="T1" fmla="*/ 30 h 159"/>
                <a:gd name="T2" fmla="*/ 120 w 162"/>
                <a:gd name="T3" fmla="*/ 90 h 159"/>
                <a:gd name="T4" fmla="*/ 30 w 162"/>
                <a:gd name="T5" fmla="*/ 0 h 159"/>
                <a:gd name="T6" fmla="*/ 0 w 162"/>
                <a:gd name="T7" fmla="*/ 27 h 159"/>
                <a:gd name="T8" fmla="*/ 93 w 162"/>
                <a:gd name="T9" fmla="*/ 120 h 159"/>
                <a:gd name="T10" fmla="*/ 30 w 162"/>
                <a:gd name="T11" fmla="*/ 120 h 159"/>
                <a:gd name="T12" fmla="*/ 69 w 162"/>
                <a:gd name="T13" fmla="*/ 159 h 159"/>
                <a:gd name="T14" fmla="*/ 162 w 162"/>
                <a:gd name="T15" fmla="*/ 159 h 159"/>
                <a:gd name="T16" fmla="*/ 162 w 162"/>
                <a:gd name="T17" fmla="*/ 69 h 159"/>
                <a:gd name="T18" fmla="*/ 120 w 162"/>
                <a:gd name="T19"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59">
                  <a:moveTo>
                    <a:pt x="120" y="30"/>
                  </a:moveTo>
                  <a:lnTo>
                    <a:pt x="120" y="90"/>
                  </a:lnTo>
                  <a:lnTo>
                    <a:pt x="30" y="0"/>
                  </a:lnTo>
                  <a:lnTo>
                    <a:pt x="0" y="27"/>
                  </a:lnTo>
                  <a:lnTo>
                    <a:pt x="93" y="120"/>
                  </a:lnTo>
                  <a:lnTo>
                    <a:pt x="30" y="120"/>
                  </a:lnTo>
                  <a:lnTo>
                    <a:pt x="69" y="159"/>
                  </a:lnTo>
                  <a:lnTo>
                    <a:pt x="162" y="159"/>
                  </a:lnTo>
                  <a:lnTo>
                    <a:pt x="162" y="69"/>
                  </a:lnTo>
                  <a:lnTo>
                    <a:pt x="12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94" name="Freeform 19">
              <a:extLst>
                <a:ext uri="{FF2B5EF4-FFF2-40B4-BE49-F238E27FC236}">
                  <a16:creationId xmlns:a16="http://schemas.microsoft.com/office/drawing/2014/main" id="{0EE24D02-3C60-418D-8CB9-022892BF2D88}"/>
                </a:ext>
              </a:extLst>
            </p:cNvPr>
            <p:cNvSpPr>
              <a:spLocks/>
            </p:cNvSpPr>
            <p:nvPr userDrawn="1"/>
          </p:nvSpPr>
          <p:spPr bwMode="auto">
            <a:xfrm>
              <a:off x="8615363" y="4090988"/>
              <a:ext cx="252413" cy="252413"/>
            </a:xfrm>
            <a:custGeom>
              <a:avLst/>
              <a:gdLst>
                <a:gd name="T0" fmla="*/ 159 w 159"/>
                <a:gd name="T1" fmla="*/ 27 h 159"/>
                <a:gd name="T2" fmla="*/ 132 w 159"/>
                <a:gd name="T3" fmla="*/ 0 h 159"/>
                <a:gd name="T4" fmla="*/ 39 w 159"/>
                <a:gd name="T5" fmla="*/ 90 h 159"/>
                <a:gd name="T6" fmla="*/ 39 w 159"/>
                <a:gd name="T7" fmla="*/ 30 h 159"/>
                <a:gd name="T8" fmla="*/ 0 w 159"/>
                <a:gd name="T9" fmla="*/ 69 h 159"/>
                <a:gd name="T10" fmla="*/ 0 w 159"/>
                <a:gd name="T11" fmla="*/ 159 h 159"/>
                <a:gd name="T12" fmla="*/ 90 w 159"/>
                <a:gd name="T13" fmla="*/ 159 h 159"/>
                <a:gd name="T14" fmla="*/ 129 w 159"/>
                <a:gd name="T15" fmla="*/ 120 h 159"/>
                <a:gd name="T16" fmla="*/ 66 w 159"/>
                <a:gd name="T17" fmla="*/ 120 h 159"/>
                <a:gd name="T18" fmla="*/ 159 w 159"/>
                <a:gd name="T19" fmla="*/ 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159" y="27"/>
                  </a:moveTo>
                  <a:lnTo>
                    <a:pt x="132" y="0"/>
                  </a:lnTo>
                  <a:lnTo>
                    <a:pt x="39" y="90"/>
                  </a:lnTo>
                  <a:lnTo>
                    <a:pt x="39" y="30"/>
                  </a:lnTo>
                  <a:lnTo>
                    <a:pt x="0" y="69"/>
                  </a:lnTo>
                  <a:lnTo>
                    <a:pt x="0" y="159"/>
                  </a:lnTo>
                  <a:lnTo>
                    <a:pt x="90" y="159"/>
                  </a:lnTo>
                  <a:lnTo>
                    <a:pt x="129" y="120"/>
                  </a:lnTo>
                  <a:lnTo>
                    <a:pt x="66" y="120"/>
                  </a:lnTo>
                  <a:lnTo>
                    <a:pt x="159"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95" name="Freeform 20">
              <a:extLst>
                <a:ext uri="{FF2B5EF4-FFF2-40B4-BE49-F238E27FC236}">
                  <a16:creationId xmlns:a16="http://schemas.microsoft.com/office/drawing/2014/main" id="{2DA4E74B-2CA1-4F0E-B1AE-C1D90C4F7497}"/>
                </a:ext>
              </a:extLst>
            </p:cNvPr>
            <p:cNvSpPr>
              <a:spLocks/>
            </p:cNvSpPr>
            <p:nvPr userDrawn="1"/>
          </p:nvSpPr>
          <p:spPr bwMode="auto">
            <a:xfrm>
              <a:off x="8034338" y="4676776"/>
              <a:ext cx="257175" cy="252413"/>
            </a:xfrm>
            <a:custGeom>
              <a:avLst/>
              <a:gdLst>
                <a:gd name="T0" fmla="*/ 69 w 162"/>
                <a:gd name="T1" fmla="*/ 0 h 159"/>
                <a:gd name="T2" fmla="*/ 30 w 162"/>
                <a:gd name="T3" fmla="*/ 39 h 159"/>
                <a:gd name="T4" fmla="*/ 93 w 162"/>
                <a:gd name="T5" fmla="*/ 39 h 159"/>
                <a:gd name="T6" fmla="*/ 0 w 162"/>
                <a:gd name="T7" fmla="*/ 132 h 159"/>
                <a:gd name="T8" fmla="*/ 30 w 162"/>
                <a:gd name="T9" fmla="*/ 159 h 159"/>
                <a:gd name="T10" fmla="*/ 120 w 162"/>
                <a:gd name="T11" fmla="*/ 69 h 159"/>
                <a:gd name="T12" fmla="*/ 120 w 162"/>
                <a:gd name="T13" fmla="*/ 129 h 159"/>
                <a:gd name="T14" fmla="*/ 162 w 162"/>
                <a:gd name="T15" fmla="*/ 90 h 159"/>
                <a:gd name="T16" fmla="*/ 162 w 162"/>
                <a:gd name="T17" fmla="*/ 0 h 159"/>
                <a:gd name="T18" fmla="*/ 69 w 162"/>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59">
                  <a:moveTo>
                    <a:pt x="69" y="0"/>
                  </a:moveTo>
                  <a:lnTo>
                    <a:pt x="30" y="39"/>
                  </a:lnTo>
                  <a:lnTo>
                    <a:pt x="93" y="39"/>
                  </a:lnTo>
                  <a:lnTo>
                    <a:pt x="0" y="132"/>
                  </a:lnTo>
                  <a:lnTo>
                    <a:pt x="30" y="159"/>
                  </a:lnTo>
                  <a:lnTo>
                    <a:pt x="120" y="69"/>
                  </a:lnTo>
                  <a:lnTo>
                    <a:pt x="120" y="129"/>
                  </a:lnTo>
                  <a:lnTo>
                    <a:pt x="162" y="90"/>
                  </a:lnTo>
                  <a:lnTo>
                    <a:pt x="162" y="0"/>
                  </a:lnTo>
                  <a:lnTo>
                    <a:pt x="6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396" name="Freeform 21">
              <a:extLst>
                <a:ext uri="{FF2B5EF4-FFF2-40B4-BE49-F238E27FC236}">
                  <a16:creationId xmlns:a16="http://schemas.microsoft.com/office/drawing/2014/main" id="{7C625AB1-B201-429B-B79E-9EBE0446779E}"/>
                </a:ext>
              </a:extLst>
            </p:cNvPr>
            <p:cNvSpPr>
              <a:spLocks/>
            </p:cNvSpPr>
            <p:nvPr userDrawn="1"/>
          </p:nvSpPr>
          <p:spPr bwMode="auto">
            <a:xfrm>
              <a:off x="8615363" y="4676776"/>
              <a:ext cx="252413" cy="252413"/>
            </a:xfrm>
            <a:custGeom>
              <a:avLst/>
              <a:gdLst>
                <a:gd name="T0" fmla="*/ 159 w 159"/>
                <a:gd name="T1" fmla="*/ 132 h 159"/>
                <a:gd name="T2" fmla="*/ 66 w 159"/>
                <a:gd name="T3" fmla="*/ 39 h 159"/>
                <a:gd name="T4" fmla="*/ 129 w 159"/>
                <a:gd name="T5" fmla="*/ 39 h 159"/>
                <a:gd name="T6" fmla="*/ 90 w 159"/>
                <a:gd name="T7" fmla="*/ 0 h 159"/>
                <a:gd name="T8" fmla="*/ 0 w 159"/>
                <a:gd name="T9" fmla="*/ 0 h 159"/>
                <a:gd name="T10" fmla="*/ 0 w 159"/>
                <a:gd name="T11" fmla="*/ 90 h 159"/>
                <a:gd name="T12" fmla="*/ 39 w 159"/>
                <a:gd name="T13" fmla="*/ 129 h 159"/>
                <a:gd name="T14" fmla="*/ 39 w 159"/>
                <a:gd name="T15" fmla="*/ 69 h 159"/>
                <a:gd name="T16" fmla="*/ 132 w 159"/>
                <a:gd name="T17" fmla="*/ 159 h 159"/>
                <a:gd name="T18" fmla="*/ 159 w 159"/>
                <a:gd name="T19" fmla="*/ 13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159" y="132"/>
                  </a:moveTo>
                  <a:lnTo>
                    <a:pt x="66" y="39"/>
                  </a:lnTo>
                  <a:lnTo>
                    <a:pt x="129" y="39"/>
                  </a:lnTo>
                  <a:lnTo>
                    <a:pt x="90" y="0"/>
                  </a:lnTo>
                  <a:lnTo>
                    <a:pt x="0" y="0"/>
                  </a:lnTo>
                  <a:lnTo>
                    <a:pt x="0" y="90"/>
                  </a:lnTo>
                  <a:lnTo>
                    <a:pt x="39" y="129"/>
                  </a:lnTo>
                  <a:lnTo>
                    <a:pt x="39" y="69"/>
                  </a:lnTo>
                  <a:lnTo>
                    <a:pt x="132" y="159"/>
                  </a:lnTo>
                  <a:lnTo>
                    <a:pt x="159" y="1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grpSp>
      <p:grpSp>
        <p:nvGrpSpPr>
          <p:cNvPr id="397" name="Group 41">
            <a:extLst>
              <a:ext uri="{FF2B5EF4-FFF2-40B4-BE49-F238E27FC236}">
                <a16:creationId xmlns:a16="http://schemas.microsoft.com/office/drawing/2014/main" id="{CC4DFF07-9034-4245-A3A7-038B4C9EF86C}"/>
              </a:ext>
            </a:extLst>
          </p:cNvPr>
          <p:cNvGrpSpPr/>
          <p:nvPr userDrawn="1"/>
        </p:nvGrpSpPr>
        <p:grpSpPr>
          <a:xfrm>
            <a:off x="5774925" y="3663138"/>
            <a:ext cx="1595439" cy="1593849"/>
            <a:chOff x="5514975" y="3714751"/>
            <a:chExt cx="1595438" cy="1593850"/>
          </a:xfrm>
        </p:grpSpPr>
        <p:grpSp>
          <p:nvGrpSpPr>
            <p:cNvPr id="398" name="Group 42">
              <a:extLst>
                <a:ext uri="{FF2B5EF4-FFF2-40B4-BE49-F238E27FC236}">
                  <a16:creationId xmlns:a16="http://schemas.microsoft.com/office/drawing/2014/main" id="{99C9C38E-A27F-42C1-81C6-0C2305E9D89A}"/>
                </a:ext>
              </a:extLst>
            </p:cNvPr>
            <p:cNvGrpSpPr/>
            <p:nvPr userDrawn="1"/>
          </p:nvGrpSpPr>
          <p:grpSpPr>
            <a:xfrm>
              <a:off x="5581650" y="3786188"/>
              <a:ext cx="1447800" cy="1447800"/>
              <a:chOff x="5581650" y="3786188"/>
              <a:chExt cx="1447800" cy="1447800"/>
            </a:xfrm>
          </p:grpSpPr>
          <p:sp>
            <p:nvSpPr>
              <p:cNvPr id="400" name="Oval 26">
                <a:extLst>
                  <a:ext uri="{FF2B5EF4-FFF2-40B4-BE49-F238E27FC236}">
                    <a16:creationId xmlns:a16="http://schemas.microsoft.com/office/drawing/2014/main" id="{7121EBEE-FD11-48B2-B7C5-8DC4BA6D233E}"/>
                  </a:ext>
                </a:extLst>
              </p:cNvPr>
              <p:cNvSpPr>
                <a:spLocks noChangeArrowheads="1"/>
              </p:cNvSpPr>
              <p:nvPr userDrawn="1"/>
            </p:nvSpPr>
            <p:spPr bwMode="auto">
              <a:xfrm>
                <a:off x="5581650" y="3786188"/>
                <a:ext cx="1447800" cy="1447800"/>
              </a:xfrm>
              <a:prstGeom prst="ellipse">
                <a:avLst/>
              </a:prstGeom>
              <a:solidFill>
                <a:srgbClr val="75A8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401" name="Freeform 27">
                <a:extLst>
                  <a:ext uri="{FF2B5EF4-FFF2-40B4-BE49-F238E27FC236}">
                    <a16:creationId xmlns:a16="http://schemas.microsoft.com/office/drawing/2014/main" id="{4AE5FCA1-D127-482D-BFAE-FBDB6590B70C}"/>
                  </a:ext>
                </a:extLst>
              </p:cNvPr>
              <p:cNvSpPr>
                <a:spLocks noEditPoints="1"/>
              </p:cNvSpPr>
              <p:nvPr userDrawn="1"/>
            </p:nvSpPr>
            <p:spPr bwMode="auto">
              <a:xfrm>
                <a:off x="6219825" y="4214813"/>
                <a:ext cx="190500" cy="514350"/>
              </a:xfrm>
              <a:custGeom>
                <a:avLst/>
                <a:gdLst>
                  <a:gd name="T0" fmla="*/ 29 w 40"/>
                  <a:gd name="T1" fmla="*/ 20 h 108"/>
                  <a:gd name="T2" fmla="*/ 40 w 40"/>
                  <a:gd name="T3" fmla="*/ 31 h 108"/>
                  <a:gd name="T4" fmla="*/ 40 w 40"/>
                  <a:gd name="T5" fmla="*/ 58 h 108"/>
                  <a:gd name="T6" fmla="*/ 33 w 40"/>
                  <a:gd name="T7" fmla="*/ 58 h 108"/>
                  <a:gd name="T8" fmla="*/ 33 w 40"/>
                  <a:gd name="T9" fmla="*/ 33 h 108"/>
                  <a:gd name="T10" fmla="*/ 31 w 40"/>
                  <a:gd name="T11" fmla="*/ 33 h 108"/>
                  <a:gd name="T12" fmla="*/ 31 w 40"/>
                  <a:gd name="T13" fmla="*/ 101 h 108"/>
                  <a:gd name="T14" fmla="*/ 21 w 40"/>
                  <a:gd name="T15" fmla="*/ 101 h 108"/>
                  <a:gd name="T16" fmla="*/ 21 w 40"/>
                  <a:gd name="T17" fmla="*/ 62 h 108"/>
                  <a:gd name="T18" fmla="*/ 19 w 40"/>
                  <a:gd name="T19" fmla="*/ 62 h 108"/>
                  <a:gd name="T20" fmla="*/ 19 w 40"/>
                  <a:gd name="T21" fmla="*/ 101 h 108"/>
                  <a:gd name="T22" fmla="*/ 9 w 40"/>
                  <a:gd name="T23" fmla="*/ 101 h 108"/>
                  <a:gd name="T24" fmla="*/ 9 w 40"/>
                  <a:gd name="T25" fmla="*/ 33 h 108"/>
                  <a:gd name="T26" fmla="*/ 7 w 40"/>
                  <a:gd name="T27" fmla="*/ 33 h 108"/>
                  <a:gd name="T28" fmla="*/ 7 w 40"/>
                  <a:gd name="T29" fmla="*/ 58 h 108"/>
                  <a:gd name="T30" fmla="*/ 0 w 40"/>
                  <a:gd name="T31" fmla="*/ 58 h 108"/>
                  <a:gd name="T32" fmla="*/ 0 w 40"/>
                  <a:gd name="T33" fmla="*/ 31 h 108"/>
                  <a:gd name="T34" fmla="*/ 11 w 40"/>
                  <a:gd name="T35" fmla="*/ 20 h 108"/>
                  <a:gd name="T36" fmla="*/ 29 w 40"/>
                  <a:gd name="T37" fmla="*/ 20 h 108"/>
                  <a:gd name="T38" fmla="*/ 20 w 40"/>
                  <a:gd name="T39" fmla="*/ 0 h 108"/>
                  <a:gd name="T40" fmla="*/ 11 w 40"/>
                  <a:gd name="T41" fmla="*/ 9 h 108"/>
                  <a:gd name="T42" fmla="*/ 20 w 40"/>
                  <a:gd name="T43" fmla="*/ 17 h 108"/>
                  <a:gd name="T44" fmla="*/ 28 w 40"/>
                  <a:gd name="T45" fmla="*/ 9 h 108"/>
                  <a:gd name="T46" fmla="*/ 20 w 40"/>
                  <a:gd name="T4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08">
                    <a:moveTo>
                      <a:pt x="29" y="20"/>
                    </a:moveTo>
                    <a:cubicBezTo>
                      <a:pt x="36" y="20"/>
                      <a:pt x="40" y="25"/>
                      <a:pt x="40" y="31"/>
                    </a:cubicBezTo>
                    <a:cubicBezTo>
                      <a:pt x="40" y="58"/>
                      <a:pt x="40" y="58"/>
                      <a:pt x="40" y="58"/>
                    </a:cubicBezTo>
                    <a:cubicBezTo>
                      <a:pt x="40" y="63"/>
                      <a:pt x="33" y="63"/>
                      <a:pt x="33" y="58"/>
                    </a:cubicBezTo>
                    <a:cubicBezTo>
                      <a:pt x="33" y="33"/>
                      <a:pt x="33" y="33"/>
                      <a:pt x="33" y="33"/>
                    </a:cubicBezTo>
                    <a:cubicBezTo>
                      <a:pt x="31" y="33"/>
                      <a:pt x="31" y="33"/>
                      <a:pt x="31" y="33"/>
                    </a:cubicBezTo>
                    <a:cubicBezTo>
                      <a:pt x="31" y="101"/>
                      <a:pt x="31" y="101"/>
                      <a:pt x="31" y="101"/>
                    </a:cubicBezTo>
                    <a:cubicBezTo>
                      <a:pt x="31" y="108"/>
                      <a:pt x="21" y="108"/>
                      <a:pt x="21" y="101"/>
                    </a:cubicBezTo>
                    <a:cubicBezTo>
                      <a:pt x="21" y="62"/>
                      <a:pt x="21" y="62"/>
                      <a:pt x="21" y="62"/>
                    </a:cubicBezTo>
                    <a:cubicBezTo>
                      <a:pt x="19" y="62"/>
                      <a:pt x="19" y="62"/>
                      <a:pt x="19" y="62"/>
                    </a:cubicBezTo>
                    <a:cubicBezTo>
                      <a:pt x="19" y="101"/>
                      <a:pt x="19" y="101"/>
                      <a:pt x="19" y="101"/>
                    </a:cubicBezTo>
                    <a:cubicBezTo>
                      <a:pt x="19" y="108"/>
                      <a:pt x="9" y="108"/>
                      <a:pt x="9" y="101"/>
                    </a:cubicBezTo>
                    <a:cubicBezTo>
                      <a:pt x="9" y="33"/>
                      <a:pt x="9" y="33"/>
                      <a:pt x="9" y="33"/>
                    </a:cubicBezTo>
                    <a:cubicBezTo>
                      <a:pt x="7" y="33"/>
                      <a:pt x="7" y="33"/>
                      <a:pt x="7" y="33"/>
                    </a:cubicBezTo>
                    <a:cubicBezTo>
                      <a:pt x="7" y="58"/>
                      <a:pt x="7" y="58"/>
                      <a:pt x="7" y="58"/>
                    </a:cubicBezTo>
                    <a:cubicBezTo>
                      <a:pt x="7" y="63"/>
                      <a:pt x="0" y="63"/>
                      <a:pt x="0" y="58"/>
                    </a:cubicBezTo>
                    <a:cubicBezTo>
                      <a:pt x="0" y="31"/>
                      <a:pt x="0" y="31"/>
                      <a:pt x="0" y="31"/>
                    </a:cubicBezTo>
                    <a:cubicBezTo>
                      <a:pt x="0" y="25"/>
                      <a:pt x="5" y="20"/>
                      <a:pt x="11" y="20"/>
                    </a:cubicBezTo>
                    <a:cubicBezTo>
                      <a:pt x="29" y="20"/>
                      <a:pt x="29" y="20"/>
                      <a:pt x="29" y="20"/>
                    </a:cubicBezTo>
                    <a:moveTo>
                      <a:pt x="20" y="0"/>
                    </a:moveTo>
                    <a:cubicBezTo>
                      <a:pt x="15" y="0"/>
                      <a:pt x="11" y="4"/>
                      <a:pt x="11" y="9"/>
                    </a:cubicBezTo>
                    <a:cubicBezTo>
                      <a:pt x="11" y="13"/>
                      <a:pt x="15" y="17"/>
                      <a:pt x="20" y="17"/>
                    </a:cubicBezTo>
                    <a:cubicBezTo>
                      <a:pt x="25" y="17"/>
                      <a:pt x="28" y="13"/>
                      <a:pt x="28" y="9"/>
                    </a:cubicBezTo>
                    <a:cubicBezTo>
                      <a:pt x="28" y="4"/>
                      <a:pt x="25" y="0"/>
                      <a:pt x="2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402" name="Freeform 28">
                <a:extLst>
                  <a:ext uri="{FF2B5EF4-FFF2-40B4-BE49-F238E27FC236}">
                    <a16:creationId xmlns:a16="http://schemas.microsoft.com/office/drawing/2014/main" id="{DA12F534-E5C9-494F-A0AC-E3D7E37F0CCA}"/>
                  </a:ext>
                </a:extLst>
              </p:cNvPr>
              <p:cNvSpPr>
                <a:spLocks noEditPoints="1"/>
              </p:cNvSpPr>
              <p:nvPr userDrawn="1"/>
            </p:nvSpPr>
            <p:spPr bwMode="auto">
              <a:xfrm>
                <a:off x="6057900" y="4114801"/>
                <a:ext cx="514350" cy="747713"/>
              </a:xfrm>
              <a:custGeom>
                <a:avLst/>
                <a:gdLst>
                  <a:gd name="T0" fmla="*/ 30 w 324"/>
                  <a:gd name="T1" fmla="*/ 441 h 471"/>
                  <a:gd name="T2" fmla="*/ 294 w 324"/>
                  <a:gd name="T3" fmla="*/ 441 h 471"/>
                  <a:gd name="T4" fmla="*/ 294 w 324"/>
                  <a:gd name="T5" fmla="*/ 27 h 471"/>
                  <a:gd name="T6" fmla="*/ 30 w 324"/>
                  <a:gd name="T7" fmla="*/ 27 h 471"/>
                  <a:gd name="T8" fmla="*/ 30 w 324"/>
                  <a:gd name="T9" fmla="*/ 441 h 471"/>
                  <a:gd name="T10" fmla="*/ 324 w 324"/>
                  <a:gd name="T11" fmla="*/ 471 h 471"/>
                  <a:gd name="T12" fmla="*/ 0 w 324"/>
                  <a:gd name="T13" fmla="*/ 471 h 471"/>
                  <a:gd name="T14" fmla="*/ 0 w 324"/>
                  <a:gd name="T15" fmla="*/ 0 h 471"/>
                  <a:gd name="T16" fmla="*/ 324 w 324"/>
                  <a:gd name="T17" fmla="*/ 0 h 471"/>
                  <a:gd name="T18" fmla="*/ 324 w 324"/>
                  <a:gd name="T19" fmla="*/ 47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4" h="471">
                    <a:moveTo>
                      <a:pt x="30" y="441"/>
                    </a:moveTo>
                    <a:lnTo>
                      <a:pt x="294" y="441"/>
                    </a:lnTo>
                    <a:lnTo>
                      <a:pt x="294" y="27"/>
                    </a:lnTo>
                    <a:lnTo>
                      <a:pt x="30" y="27"/>
                    </a:lnTo>
                    <a:lnTo>
                      <a:pt x="30" y="441"/>
                    </a:lnTo>
                    <a:close/>
                    <a:moveTo>
                      <a:pt x="324" y="471"/>
                    </a:moveTo>
                    <a:lnTo>
                      <a:pt x="0" y="471"/>
                    </a:lnTo>
                    <a:lnTo>
                      <a:pt x="0" y="0"/>
                    </a:lnTo>
                    <a:lnTo>
                      <a:pt x="324" y="0"/>
                    </a:lnTo>
                    <a:lnTo>
                      <a:pt x="324"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403" name="Freeform 29">
                <a:extLst>
                  <a:ext uri="{FF2B5EF4-FFF2-40B4-BE49-F238E27FC236}">
                    <a16:creationId xmlns:a16="http://schemas.microsoft.com/office/drawing/2014/main" id="{BAF61C9F-BC7D-4354-A49E-C271C90E23A5}"/>
                  </a:ext>
                </a:extLst>
              </p:cNvPr>
              <p:cNvSpPr>
                <a:spLocks noEditPoints="1"/>
              </p:cNvSpPr>
              <p:nvPr userDrawn="1"/>
            </p:nvSpPr>
            <p:spPr bwMode="auto">
              <a:xfrm>
                <a:off x="6238875" y="3933826"/>
                <a:ext cx="147638" cy="142875"/>
              </a:xfrm>
              <a:custGeom>
                <a:avLst/>
                <a:gdLst>
                  <a:gd name="T0" fmla="*/ 16 w 31"/>
                  <a:gd name="T1" fmla="*/ 5 h 30"/>
                  <a:gd name="T2" fmla="*/ 5 w 31"/>
                  <a:gd name="T3" fmla="*/ 16 h 30"/>
                  <a:gd name="T4" fmla="*/ 8 w 31"/>
                  <a:gd name="T5" fmla="*/ 19 h 30"/>
                  <a:gd name="T6" fmla="*/ 14 w 31"/>
                  <a:gd name="T7" fmla="*/ 13 h 30"/>
                  <a:gd name="T8" fmla="*/ 14 w 31"/>
                  <a:gd name="T9" fmla="*/ 25 h 30"/>
                  <a:gd name="T10" fmla="*/ 18 w 31"/>
                  <a:gd name="T11" fmla="*/ 25 h 30"/>
                  <a:gd name="T12" fmla="*/ 18 w 31"/>
                  <a:gd name="T13" fmla="*/ 13 h 30"/>
                  <a:gd name="T14" fmla="*/ 23 w 31"/>
                  <a:gd name="T15" fmla="*/ 18 h 30"/>
                  <a:gd name="T16" fmla="*/ 26 w 31"/>
                  <a:gd name="T17" fmla="*/ 15 h 30"/>
                  <a:gd name="T18" fmla="*/ 16 w 31"/>
                  <a:gd name="T19" fmla="*/ 5 h 30"/>
                  <a:gd name="T20" fmla="*/ 16 w 31"/>
                  <a:gd name="T21" fmla="*/ 0 h 30"/>
                  <a:gd name="T22" fmla="*/ 31 w 31"/>
                  <a:gd name="T23" fmla="*/ 15 h 30"/>
                  <a:gd name="T24" fmla="*/ 16 w 31"/>
                  <a:gd name="T25" fmla="*/ 30 h 30"/>
                  <a:gd name="T26" fmla="*/ 0 w 31"/>
                  <a:gd name="T27" fmla="*/ 15 h 30"/>
                  <a:gd name="T28" fmla="*/ 16 w 31"/>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30">
                    <a:moveTo>
                      <a:pt x="16" y="5"/>
                    </a:moveTo>
                    <a:cubicBezTo>
                      <a:pt x="5" y="16"/>
                      <a:pt x="5" y="16"/>
                      <a:pt x="5" y="16"/>
                    </a:cubicBezTo>
                    <a:cubicBezTo>
                      <a:pt x="8" y="19"/>
                      <a:pt x="8" y="19"/>
                      <a:pt x="8" y="19"/>
                    </a:cubicBezTo>
                    <a:cubicBezTo>
                      <a:pt x="14" y="13"/>
                      <a:pt x="14" y="13"/>
                      <a:pt x="14" y="13"/>
                    </a:cubicBezTo>
                    <a:cubicBezTo>
                      <a:pt x="14" y="25"/>
                      <a:pt x="14" y="25"/>
                      <a:pt x="14" y="25"/>
                    </a:cubicBezTo>
                    <a:cubicBezTo>
                      <a:pt x="18" y="25"/>
                      <a:pt x="18" y="25"/>
                      <a:pt x="18" y="25"/>
                    </a:cubicBezTo>
                    <a:cubicBezTo>
                      <a:pt x="18" y="13"/>
                      <a:pt x="18" y="13"/>
                      <a:pt x="18" y="13"/>
                    </a:cubicBezTo>
                    <a:cubicBezTo>
                      <a:pt x="23" y="18"/>
                      <a:pt x="23" y="18"/>
                      <a:pt x="23" y="18"/>
                    </a:cubicBezTo>
                    <a:cubicBezTo>
                      <a:pt x="26" y="15"/>
                      <a:pt x="26" y="15"/>
                      <a:pt x="26" y="15"/>
                    </a:cubicBezTo>
                    <a:lnTo>
                      <a:pt x="16" y="5"/>
                    </a:lnTo>
                    <a:close/>
                    <a:moveTo>
                      <a:pt x="16" y="0"/>
                    </a:moveTo>
                    <a:cubicBezTo>
                      <a:pt x="24" y="0"/>
                      <a:pt x="31" y="7"/>
                      <a:pt x="31" y="15"/>
                    </a:cubicBezTo>
                    <a:cubicBezTo>
                      <a:pt x="31" y="24"/>
                      <a:pt x="24" y="30"/>
                      <a:pt x="16" y="30"/>
                    </a:cubicBezTo>
                    <a:cubicBezTo>
                      <a:pt x="7" y="30"/>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404" name="Freeform 30">
                <a:extLst>
                  <a:ext uri="{FF2B5EF4-FFF2-40B4-BE49-F238E27FC236}">
                    <a16:creationId xmlns:a16="http://schemas.microsoft.com/office/drawing/2014/main" id="{86DDBFC2-AEDB-4C11-BD1D-7C0AEA0CA016}"/>
                  </a:ext>
                </a:extLst>
              </p:cNvPr>
              <p:cNvSpPr>
                <a:spLocks noEditPoints="1"/>
              </p:cNvSpPr>
              <p:nvPr userDrawn="1"/>
            </p:nvSpPr>
            <p:spPr bwMode="auto">
              <a:xfrm>
                <a:off x="6238875" y="4891088"/>
                <a:ext cx="147638" cy="147638"/>
              </a:xfrm>
              <a:custGeom>
                <a:avLst/>
                <a:gdLst>
                  <a:gd name="T0" fmla="*/ 16 w 31"/>
                  <a:gd name="T1" fmla="*/ 26 h 31"/>
                  <a:gd name="T2" fmla="*/ 26 w 31"/>
                  <a:gd name="T3" fmla="*/ 15 h 31"/>
                  <a:gd name="T4" fmla="*/ 23 w 31"/>
                  <a:gd name="T5" fmla="*/ 12 h 31"/>
                  <a:gd name="T6" fmla="*/ 18 w 31"/>
                  <a:gd name="T7" fmla="*/ 18 h 31"/>
                  <a:gd name="T8" fmla="*/ 18 w 31"/>
                  <a:gd name="T9" fmla="*/ 6 h 31"/>
                  <a:gd name="T10" fmla="*/ 14 w 31"/>
                  <a:gd name="T11" fmla="*/ 6 h 31"/>
                  <a:gd name="T12" fmla="*/ 14 w 31"/>
                  <a:gd name="T13" fmla="*/ 18 h 31"/>
                  <a:gd name="T14" fmla="*/ 8 w 31"/>
                  <a:gd name="T15" fmla="*/ 12 h 31"/>
                  <a:gd name="T16" fmla="*/ 5 w 31"/>
                  <a:gd name="T17" fmla="*/ 15 h 31"/>
                  <a:gd name="T18" fmla="*/ 16 w 31"/>
                  <a:gd name="T19" fmla="*/ 26 h 31"/>
                  <a:gd name="T20" fmla="*/ 16 w 31"/>
                  <a:gd name="T21" fmla="*/ 31 h 31"/>
                  <a:gd name="T22" fmla="*/ 0 w 31"/>
                  <a:gd name="T23" fmla="*/ 16 h 31"/>
                  <a:gd name="T24" fmla="*/ 16 w 31"/>
                  <a:gd name="T25" fmla="*/ 0 h 31"/>
                  <a:gd name="T26" fmla="*/ 31 w 31"/>
                  <a:gd name="T27" fmla="*/ 16 h 31"/>
                  <a:gd name="T28" fmla="*/ 16 w 31"/>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31">
                    <a:moveTo>
                      <a:pt x="16" y="26"/>
                    </a:moveTo>
                    <a:cubicBezTo>
                      <a:pt x="26" y="15"/>
                      <a:pt x="26" y="15"/>
                      <a:pt x="26" y="15"/>
                    </a:cubicBezTo>
                    <a:cubicBezTo>
                      <a:pt x="23" y="12"/>
                      <a:pt x="23" y="12"/>
                      <a:pt x="23" y="12"/>
                    </a:cubicBezTo>
                    <a:cubicBezTo>
                      <a:pt x="18" y="18"/>
                      <a:pt x="18" y="18"/>
                      <a:pt x="18" y="18"/>
                    </a:cubicBezTo>
                    <a:cubicBezTo>
                      <a:pt x="18" y="6"/>
                      <a:pt x="18" y="6"/>
                      <a:pt x="18" y="6"/>
                    </a:cubicBezTo>
                    <a:cubicBezTo>
                      <a:pt x="14" y="6"/>
                      <a:pt x="14" y="6"/>
                      <a:pt x="14" y="6"/>
                    </a:cubicBezTo>
                    <a:cubicBezTo>
                      <a:pt x="14" y="18"/>
                      <a:pt x="14" y="18"/>
                      <a:pt x="14" y="18"/>
                    </a:cubicBezTo>
                    <a:cubicBezTo>
                      <a:pt x="8" y="12"/>
                      <a:pt x="8" y="12"/>
                      <a:pt x="8" y="12"/>
                    </a:cubicBezTo>
                    <a:cubicBezTo>
                      <a:pt x="5" y="15"/>
                      <a:pt x="5" y="15"/>
                      <a:pt x="5" y="15"/>
                    </a:cubicBezTo>
                    <a:lnTo>
                      <a:pt x="16" y="26"/>
                    </a:lnTo>
                    <a:close/>
                    <a:moveTo>
                      <a:pt x="16" y="31"/>
                    </a:moveTo>
                    <a:cubicBezTo>
                      <a:pt x="7" y="31"/>
                      <a:pt x="0" y="24"/>
                      <a:pt x="0" y="16"/>
                    </a:cubicBezTo>
                    <a:cubicBezTo>
                      <a:pt x="0" y="7"/>
                      <a:pt x="7" y="0"/>
                      <a:pt x="16" y="0"/>
                    </a:cubicBezTo>
                    <a:cubicBezTo>
                      <a:pt x="24" y="0"/>
                      <a:pt x="31" y="7"/>
                      <a:pt x="31" y="16"/>
                    </a:cubicBezTo>
                    <a:cubicBezTo>
                      <a:pt x="31" y="24"/>
                      <a:pt x="24" y="31"/>
                      <a:pt x="16"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grpSp>
        <p:sp>
          <p:nvSpPr>
            <p:cNvPr id="399" name="Freeform 31">
              <a:extLst>
                <a:ext uri="{FF2B5EF4-FFF2-40B4-BE49-F238E27FC236}">
                  <a16:creationId xmlns:a16="http://schemas.microsoft.com/office/drawing/2014/main" id="{0C093461-6228-4C51-9AD5-969D93F66BCE}"/>
                </a:ext>
              </a:extLst>
            </p:cNvPr>
            <p:cNvSpPr>
              <a:spLocks noEditPoints="1"/>
            </p:cNvSpPr>
            <p:nvPr userDrawn="1"/>
          </p:nvSpPr>
          <p:spPr bwMode="auto">
            <a:xfrm>
              <a:off x="5514975" y="3714751"/>
              <a:ext cx="1595438" cy="1593850"/>
            </a:xfrm>
            <a:custGeom>
              <a:avLst/>
              <a:gdLst>
                <a:gd name="T0" fmla="*/ 266 w 335"/>
                <a:gd name="T1" fmla="*/ 250 h 335"/>
                <a:gd name="T2" fmla="*/ 84 w 335"/>
                <a:gd name="T3" fmla="*/ 69 h 335"/>
                <a:gd name="T4" fmla="*/ 266 w 335"/>
                <a:gd name="T5" fmla="*/ 85 h 335"/>
                <a:gd name="T6" fmla="*/ 266 w 335"/>
                <a:gd name="T7" fmla="*/ 250 h 335"/>
                <a:gd name="T8" fmla="*/ 77 w 335"/>
                <a:gd name="T9" fmla="*/ 258 h 335"/>
                <a:gd name="T10" fmla="*/ 68 w 335"/>
                <a:gd name="T11" fmla="*/ 86 h 335"/>
                <a:gd name="T12" fmla="*/ 249 w 335"/>
                <a:gd name="T13" fmla="*/ 267 h 335"/>
                <a:gd name="T14" fmla="*/ 77 w 335"/>
                <a:gd name="T15" fmla="*/ 258 h 335"/>
                <a:gd name="T16" fmla="*/ 60 w 335"/>
                <a:gd name="T17" fmla="*/ 60 h 335"/>
                <a:gd name="T18" fmla="*/ 60 w 335"/>
                <a:gd name="T19" fmla="*/ 275 h 335"/>
                <a:gd name="T20" fmla="*/ 276 w 335"/>
                <a:gd name="T21" fmla="*/ 275 h 335"/>
                <a:gd name="T22" fmla="*/ 276 w 335"/>
                <a:gd name="T23" fmla="*/ 60 h 335"/>
                <a:gd name="T24" fmla="*/ 276 w 335"/>
                <a:gd name="T25" fmla="*/ 60 h 335"/>
                <a:gd name="T26" fmla="*/ 60 w 335"/>
                <a:gd name="T27" fmla="*/ 6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266" y="250"/>
                  </a:moveTo>
                  <a:cubicBezTo>
                    <a:pt x="84" y="69"/>
                    <a:pt x="84" y="69"/>
                    <a:pt x="84" y="69"/>
                  </a:cubicBezTo>
                  <a:cubicBezTo>
                    <a:pt x="139" y="24"/>
                    <a:pt x="220" y="30"/>
                    <a:pt x="266" y="85"/>
                  </a:cubicBezTo>
                  <a:cubicBezTo>
                    <a:pt x="306" y="132"/>
                    <a:pt x="306" y="202"/>
                    <a:pt x="266" y="250"/>
                  </a:cubicBezTo>
                  <a:close/>
                  <a:moveTo>
                    <a:pt x="77" y="258"/>
                  </a:moveTo>
                  <a:cubicBezTo>
                    <a:pt x="30" y="212"/>
                    <a:pt x="26" y="138"/>
                    <a:pt x="68" y="86"/>
                  </a:cubicBezTo>
                  <a:cubicBezTo>
                    <a:pt x="249" y="267"/>
                    <a:pt x="249" y="267"/>
                    <a:pt x="249" y="267"/>
                  </a:cubicBezTo>
                  <a:cubicBezTo>
                    <a:pt x="197" y="308"/>
                    <a:pt x="123" y="304"/>
                    <a:pt x="77" y="258"/>
                  </a:cubicBezTo>
                  <a:close/>
                  <a:moveTo>
                    <a:pt x="60" y="60"/>
                  </a:moveTo>
                  <a:cubicBezTo>
                    <a:pt x="0" y="119"/>
                    <a:pt x="0" y="216"/>
                    <a:pt x="60" y="275"/>
                  </a:cubicBezTo>
                  <a:cubicBezTo>
                    <a:pt x="119" y="335"/>
                    <a:pt x="216" y="335"/>
                    <a:pt x="276" y="275"/>
                  </a:cubicBezTo>
                  <a:cubicBezTo>
                    <a:pt x="335" y="216"/>
                    <a:pt x="335" y="119"/>
                    <a:pt x="276" y="60"/>
                  </a:cubicBezTo>
                  <a:cubicBezTo>
                    <a:pt x="276" y="60"/>
                    <a:pt x="276" y="60"/>
                    <a:pt x="276" y="60"/>
                  </a:cubicBezTo>
                  <a:cubicBezTo>
                    <a:pt x="216" y="0"/>
                    <a:pt x="119" y="0"/>
                    <a:pt x="60" y="60"/>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grpSp>
      <p:grpSp>
        <p:nvGrpSpPr>
          <p:cNvPr id="405" name="Group 36">
            <a:extLst>
              <a:ext uri="{FF2B5EF4-FFF2-40B4-BE49-F238E27FC236}">
                <a16:creationId xmlns:a16="http://schemas.microsoft.com/office/drawing/2014/main" id="{768323B7-3AB1-4359-B0B3-BFA4A2720DFF}"/>
              </a:ext>
            </a:extLst>
          </p:cNvPr>
          <p:cNvGrpSpPr/>
          <p:nvPr userDrawn="1"/>
        </p:nvGrpSpPr>
        <p:grpSpPr>
          <a:xfrm>
            <a:off x="9911044" y="3736162"/>
            <a:ext cx="1452563" cy="1447800"/>
            <a:chOff x="9896475" y="3786188"/>
            <a:chExt cx="1452563" cy="1447800"/>
          </a:xfrm>
        </p:grpSpPr>
        <p:sp>
          <p:nvSpPr>
            <p:cNvPr id="406" name="Oval 22">
              <a:extLst>
                <a:ext uri="{FF2B5EF4-FFF2-40B4-BE49-F238E27FC236}">
                  <a16:creationId xmlns:a16="http://schemas.microsoft.com/office/drawing/2014/main" id="{673000CF-9EA8-4ED7-9B12-1CD1D2742BA6}"/>
                </a:ext>
              </a:extLst>
            </p:cNvPr>
            <p:cNvSpPr>
              <a:spLocks noChangeArrowheads="1"/>
            </p:cNvSpPr>
            <p:nvPr userDrawn="1"/>
          </p:nvSpPr>
          <p:spPr bwMode="auto">
            <a:xfrm>
              <a:off x="9896475" y="3786188"/>
              <a:ext cx="1452563" cy="1447800"/>
            </a:xfrm>
            <a:prstGeom prst="ellipse">
              <a:avLst/>
            </a:prstGeom>
            <a:solidFill>
              <a:srgbClr val="75A8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407" name="Freeform 23">
              <a:extLst>
                <a:ext uri="{FF2B5EF4-FFF2-40B4-BE49-F238E27FC236}">
                  <a16:creationId xmlns:a16="http://schemas.microsoft.com/office/drawing/2014/main" id="{66E379D7-C115-4F01-8659-7424B012B146}"/>
                </a:ext>
              </a:extLst>
            </p:cNvPr>
            <p:cNvSpPr>
              <a:spLocks noEditPoints="1"/>
            </p:cNvSpPr>
            <p:nvPr userDrawn="1"/>
          </p:nvSpPr>
          <p:spPr bwMode="auto">
            <a:xfrm>
              <a:off x="10410825" y="3990976"/>
              <a:ext cx="581025" cy="1114425"/>
            </a:xfrm>
            <a:custGeom>
              <a:avLst/>
              <a:gdLst>
                <a:gd name="T0" fmla="*/ 85 w 122"/>
                <a:gd name="T1" fmla="*/ 80 h 234"/>
                <a:gd name="T2" fmla="*/ 79 w 122"/>
                <a:gd name="T3" fmla="*/ 154 h 234"/>
                <a:gd name="T4" fmla="*/ 72 w 122"/>
                <a:gd name="T5" fmla="*/ 148 h 234"/>
                <a:gd name="T6" fmla="*/ 70 w 122"/>
                <a:gd name="T7" fmla="*/ 83 h 234"/>
                <a:gd name="T8" fmla="*/ 69 w 122"/>
                <a:gd name="T9" fmla="*/ 123 h 234"/>
                <a:gd name="T10" fmla="*/ 69 w 122"/>
                <a:gd name="T11" fmla="*/ 158 h 234"/>
                <a:gd name="T12" fmla="*/ 69 w 122"/>
                <a:gd name="T13" fmla="*/ 225 h 234"/>
                <a:gd name="T14" fmla="*/ 56 w 122"/>
                <a:gd name="T15" fmla="*/ 234 h 234"/>
                <a:gd name="T16" fmla="*/ 47 w 122"/>
                <a:gd name="T17" fmla="*/ 170 h 234"/>
                <a:gd name="T18" fmla="*/ 47 w 122"/>
                <a:gd name="T19" fmla="*/ 142 h 234"/>
                <a:gd name="T20" fmla="*/ 38 w 122"/>
                <a:gd name="T21" fmla="*/ 143 h 234"/>
                <a:gd name="T22" fmla="*/ 38 w 122"/>
                <a:gd name="T23" fmla="*/ 169 h 234"/>
                <a:gd name="T24" fmla="*/ 29 w 122"/>
                <a:gd name="T25" fmla="*/ 234 h 234"/>
                <a:gd name="T26" fmla="*/ 17 w 122"/>
                <a:gd name="T27" fmla="*/ 225 h 234"/>
                <a:gd name="T28" fmla="*/ 17 w 122"/>
                <a:gd name="T29" fmla="*/ 158 h 234"/>
                <a:gd name="T30" fmla="*/ 17 w 122"/>
                <a:gd name="T31" fmla="*/ 147 h 234"/>
                <a:gd name="T32" fmla="*/ 15 w 122"/>
                <a:gd name="T33" fmla="*/ 83 h 234"/>
                <a:gd name="T34" fmla="*/ 13 w 122"/>
                <a:gd name="T35" fmla="*/ 148 h 234"/>
                <a:gd name="T36" fmla="*/ 7 w 122"/>
                <a:gd name="T37" fmla="*/ 154 h 234"/>
                <a:gd name="T38" fmla="*/ 0 w 122"/>
                <a:gd name="T39" fmla="*/ 148 h 234"/>
                <a:gd name="T40" fmla="*/ 24 w 122"/>
                <a:gd name="T41" fmla="*/ 56 h 234"/>
                <a:gd name="T42" fmla="*/ 27 w 122"/>
                <a:gd name="T43" fmla="*/ 56 h 234"/>
                <a:gd name="T44" fmla="*/ 58 w 122"/>
                <a:gd name="T45" fmla="*/ 56 h 234"/>
                <a:gd name="T46" fmla="*/ 19 w 122"/>
                <a:gd name="T47" fmla="*/ 27 h 234"/>
                <a:gd name="T48" fmla="*/ 66 w 122"/>
                <a:gd name="T49" fmla="*/ 27 h 234"/>
                <a:gd name="T50" fmla="*/ 20 w 122"/>
                <a:gd name="T51" fmla="*/ 24 h 234"/>
                <a:gd name="T52" fmla="*/ 102 w 122"/>
                <a:gd name="T53" fmla="*/ 32 h 234"/>
                <a:gd name="T54" fmla="*/ 98 w 122"/>
                <a:gd name="T55" fmla="*/ 36 h 234"/>
                <a:gd name="T56" fmla="*/ 102 w 122"/>
                <a:gd name="T57" fmla="*/ 32 h 234"/>
                <a:gd name="T58" fmla="*/ 99 w 122"/>
                <a:gd name="T59" fmla="*/ 29 h 234"/>
                <a:gd name="T60" fmla="*/ 102 w 122"/>
                <a:gd name="T61" fmla="*/ 17 h 234"/>
                <a:gd name="T62" fmla="*/ 98 w 122"/>
                <a:gd name="T63" fmla="*/ 9 h 234"/>
                <a:gd name="T64" fmla="*/ 114 w 122"/>
                <a:gd name="T65" fmla="*/ 8 h 234"/>
                <a:gd name="T66" fmla="*/ 90 w 122"/>
                <a:gd name="T67" fmla="*/ 40 h 234"/>
                <a:gd name="T68" fmla="*/ 82 w 122"/>
                <a:gd name="T69" fmla="*/ 33 h 234"/>
                <a:gd name="T70" fmla="*/ 114 w 122"/>
                <a:gd name="T71" fmla="*/ 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234">
                  <a:moveTo>
                    <a:pt x="62" y="56"/>
                  </a:moveTo>
                  <a:cubicBezTo>
                    <a:pt x="74" y="56"/>
                    <a:pt x="85" y="67"/>
                    <a:pt x="85" y="80"/>
                  </a:cubicBezTo>
                  <a:cubicBezTo>
                    <a:pt x="85" y="147"/>
                    <a:pt x="85" y="147"/>
                    <a:pt x="85" y="147"/>
                  </a:cubicBezTo>
                  <a:cubicBezTo>
                    <a:pt x="85" y="151"/>
                    <a:pt x="82" y="154"/>
                    <a:pt x="79" y="154"/>
                  </a:cubicBezTo>
                  <a:cubicBezTo>
                    <a:pt x="75" y="155"/>
                    <a:pt x="72" y="152"/>
                    <a:pt x="72" y="148"/>
                  </a:cubicBezTo>
                  <a:cubicBezTo>
                    <a:pt x="72" y="148"/>
                    <a:pt x="72" y="148"/>
                    <a:pt x="72" y="148"/>
                  </a:cubicBezTo>
                  <a:cubicBezTo>
                    <a:pt x="72" y="85"/>
                    <a:pt x="72" y="85"/>
                    <a:pt x="72" y="85"/>
                  </a:cubicBezTo>
                  <a:cubicBezTo>
                    <a:pt x="72" y="84"/>
                    <a:pt x="71" y="83"/>
                    <a:pt x="70" y="83"/>
                  </a:cubicBezTo>
                  <a:cubicBezTo>
                    <a:pt x="69" y="83"/>
                    <a:pt x="69" y="83"/>
                    <a:pt x="69" y="84"/>
                  </a:cubicBezTo>
                  <a:cubicBezTo>
                    <a:pt x="69" y="123"/>
                    <a:pt x="69" y="123"/>
                    <a:pt x="69" y="123"/>
                  </a:cubicBezTo>
                  <a:cubicBezTo>
                    <a:pt x="69" y="123"/>
                    <a:pt x="69" y="123"/>
                    <a:pt x="69" y="123"/>
                  </a:cubicBezTo>
                  <a:cubicBezTo>
                    <a:pt x="69" y="158"/>
                    <a:pt x="69" y="158"/>
                    <a:pt x="69" y="158"/>
                  </a:cubicBezTo>
                  <a:cubicBezTo>
                    <a:pt x="69" y="168"/>
                    <a:pt x="69" y="168"/>
                    <a:pt x="69" y="168"/>
                  </a:cubicBezTo>
                  <a:cubicBezTo>
                    <a:pt x="69" y="225"/>
                    <a:pt x="69" y="225"/>
                    <a:pt x="69" y="225"/>
                  </a:cubicBezTo>
                  <a:cubicBezTo>
                    <a:pt x="69" y="230"/>
                    <a:pt x="64" y="234"/>
                    <a:pt x="59" y="234"/>
                  </a:cubicBezTo>
                  <a:cubicBezTo>
                    <a:pt x="56" y="234"/>
                    <a:pt x="56" y="234"/>
                    <a:pt x="56" y="234"/>
                  </a:cubicBezTo>
                  <a:cubicBezTo>
                    <a:pt x="51" y="234"/>
                    <a:pt x="47" y="230"/>
                    <a:pt x="47" y="225"/>
                  </a:cubicBezTo>
                  <a:cubicBezTo>
                    <a:pt x="47" y="170"/>
                    <a:pt x="47" y="170"/>
                    <a:pt x="47" y="170"/>
                  </a:cubicBezTo>
                  <a:cubicBezTo>
                    <a:pt x="47" y="161"/>
                    <a:pt x="47" y="161"/>
                    <a:pt x="47" y="161"/>
                  </a:cubicBezTo>
                  <a:cubicBezTo>
                    <a:pt x="47" y="142"/>
                    <a:pt x="47" y="142"/>
                    <a:pt x="47" y="142"/>
                  </a:cubicBezTo>
                  <a:cubicBezTo>
                    <a:pt x="47" y="140"/>
                    <a:pt x="45" y="138"/>
                    <a:pt x="42" y="138"/>
                  </a:cubicBezTo>
                  <a:cubicBezTo>
                    <a:pt x="40" y="138"/>
                    <a:pt x="38" y="140"/>
                    <a:pt x="38" y="143"/>
                  </a:cubicBezTo>
                  <a:cubicBezTo>
                    <a:pt x="38" y="159"/>
                    <a:pt x="38" y="159"/>
                    <a:pt x="38" y="159"/>
                  </a:cubicBezTo>
                  <a:cubicBezTo>
                    <a:pt x="38" y="169"/>
                    <a:pt x="38" y="169"/>
                    <a:pt x="38" y="169"/>
                  </a:cubicBezTo>
                  <a:cubicBezTo>
                    <a:pt x="38" y="225"/>
                    <a:pt x="38" y="225"/>
                    <a:pt x="38" y="225"/>
                  </a:cubicBezTo>
                  <a:cubicBezTo>
                    <a:pt x="38" y="230"/>
                    <a:pt x="34" y="234"/>
                    <a:pt x="29" y="234"/>
                  </a:cubicBezTo>
                  <a:cubicBezTo>
                    <a:pt x="26" y="234"/>
                    <a:pt x="26" y="234"/>
                    <a:pt x="26" y="234"/>
                  </a:cubicBezTo>
                  <a:cubicBezTo>
                    <a:pt x="21" y="234"/>
                    <a:pt x="17" y="230"/>
                    <a:pt x="17" y="225"/>
                  </a:cubicBezTo>
                  <a:cubicBezTo>
                    <a:pt x="17" y="162"/>
                    <a:pt x="17" y="162"/>
                    <a:pt x="17" y="162"/>
                  </a:cubicBezTo>
                  <a:cubicBezTo>
                    <a:pt x="17" y="158"/>
                    <a:pt x="17" y="158"/>
                    <a:pt x="17" y="158"/>
                  </a:cubicBezTo>
                  <a:cubicBezTo>
                    <a:pt x="17" y="149"/>
                    <a:pt x="17" y="149"/>
                    <a:pt x="17" y="149"/>
                  </a:cubicBezTo>
                  <a:cubicBezTo>
                    <a:pt x="17" y="147"/>
                    <a:pt x="17" y="147"/>
                    <a:pt x="17" y="147"/>
                  </a:cubicBezTo>
                  <a:cubicBezTo>
                    <a:pt x="17" y="85"/>
                    <a:pt x="17" y="85"/>
                    <a:pt x="17" y="85"/>
                  </a:cubicBezTo>
                  <a:cubicBezTo>
                    <a:pt x="17" y="84"/>
                    <a:pt x="16" y="83"/>
                    <a:pt x="15" y="83"/>
                  </a:cubicBezTo>
                  <a:cubicBezTo>
                    <a:pt x="14" y="83"/>
                    <a:pt x="13" y="84"/>
                    <a:pt x="13" y="85"/>
                  </a:cubicBezTo>
                  <a:cubicBezTo>
                    <a:pt x="13" y="148"/>
                    <a:pt x="13" y="148"/>
                    <a:pt x="13" y="148"/>
                  </a:cubicBezTo>
                  <a:cubicBezTo>
                    <a:pt x="13" y="148"/>
                    <a:pt x="13" y="148"/>
                    <a:pt x="13" y="148"/>
                  </a:cubicBezTo>
                  <a:cubicBezTo>
                    <a:pt x="13" y="151"/>
                    <a:pt x="10" y="154"/>
                    <a:pt x="7" y="154"/>
                  </a:cubicBezTo>
                  <a:cubicBezTo>
                    <a:pt x="3" y="154"/>
                    <a:pt x="0" y="151"/>
                    <a:pt x="0" y="148"/>
                  </a:cubicBezTo>
                  <a:cubicBezTo>
                    <a:pt x="0" y="148"/>
                    <a:pt x="0" y="148"/>
                    <a:pt x="0" y="148"/>
                  </a:cubicBezTo>
                  <a:cubicBezTo>
                    <a:pt x="0" y="80"/>
                    <a:pt x="0" y="80"/>
                    <a:pt x="0" y="80"/>
                  </a:cubicBezTo>
                  <a:cubicBezTo>
                    <a:pt x="0" y="67"/>
                    <a:pt x="11" y="56"/>
                    <a:pt x="24" y="56"/>
                  </a:cubicBezTo>
                  <a:cubicBezTo>
                    <a:pt x="27" y="56"/>
                    <a:pt x="27" y="56"/>
                    <a:pt x="27" y="56"/>
                  </a:cubicBezTo>
                  <a:cubicBezTo>
                    <a:pt x="27" y="56"/>
                    <a:pt x="27" y="56"/>
                    <a:pt x="27" y="56"/>
                  </a:cubicBezTo>
                  <a:cubicBezTo>
                    <a:pt x="58" y="56"/>
                    <a:pt x="58" y="56"/>
                    <a:pt x="58" y="56"/>
                  </a:cubicBezTo>
                  <a:cubicBezTo>
                    <a:pt x="58" y="56"/>
                    <a:pt x="58" y="56"/>
                    <a:pt x="58" y="56"/>
                  </a:cubicBezTo>
                  <a:cubicBezTo>
                    <a:pt x="62" y="56"/>
                    <a:pt x="62" y="56"/>
                    <a:pt x="62" y="56"/>
                  </a:cubicBezTo>
                  <a:moveTo>
                    <a:pt x="19" y="27"/>
                  </a:moveTo>
                  <a:cubicBezTo>
                    <a:pt x="19" y="40"/>
                    <a:pt x="30" y="50"/>
                    <a:pt x="43" y="50"/>
                  </a:cubicBezTo>
                  <a:cubicBezTo>
                    <a:pt x="55" y="50"/>
                    <a:pt x="66" y="40"/>
                    <a:pt x="66" y="27"/>
                  </a:cubicBezTo>
                  <a:cubicBezTo>
                    <a:pt x="66" y="26"/>
                    <a:pt x="66" y="25"/>
                    <a:pt x="66" y="24"/>
                  </a:cubicBezTo>
                  <a:cubicBezTo>
                    <a:pt x="20" y="24"/>
                    <a:pt x="20" y="24"/>
                    <a:pt x="20" y="24"/>
                  </a:cubicBezTo>
                  <a:cubicBezTo>
                    <a:pt x="19" y="25"/>
                    <a:pt x="19" y="26"/>
                    <a:pt x="19" y="27"/>
                  </a:cubicBezTo>
                  <a:moveTo>
                    <a:pt x="102" y="32"/>
                  </a:moveTo>
                  <a:cubicBezTo>
                    <a:pt x="98" y="32"/>
                    <a:pt x="98" y="32"/>
                    <a:pt x="98" y="32"/>
                  </a:cubicBezTo>
                  <a:cubicBezTo>
                    <a:pt x="98" y="36"/>
                    <a:pt x="98" y="36"/>
                    <a:pt x="98" y="36"/>
                  </a:cubicBezTo>
                  <a:cubicBezTo>
                    <a:pt x="102" y="36"/>
                    <a:pt x="102" y="36"/>
                    <a:pt x="102" y="36"/>
                  </a:cubicBezTo>
                  <a:lnTo>
                    <a:pt x="102" y="32"/>
                  </a:lnTo>
                  <a:close/>
                  <a:moveTo>
                    <a:pt x="98" y="17"/>
                  </a:moveTo>
                  <a:cubicBezTo>
                    <a:pt x="99" y="29"/>
                    <a:pt x="99" y="29"/>
                    <a:pt x="99" y="29"/>
                  </a:cubicBezTo>
                  <a:cubicBezTo>
                    <a:pt x="101" y="29"/>
                    <a:pt x="101" y="29"/>
                    <a:pt x="101" y="29"/>
                  </a:cubicBezTo>
                  <a:cubicBezTo>
                    <a:pt x="102" y="17"/>
                    <a:pt x="102" y="17"/>
                    <a:pt x="102" y="17"/>
                  </a:cubicBezTo>
                  <a:cubicBezTo>
                    <a:pt x="102" y="9"/>
                    <a:pt x="102" y="9"/>
                    <a:pt x="102" y="9"/>
                  </a:cubicBezTo>
                  <a:cubicBezTo>
                    <a:pt x="98" y="9"/>
                    <a:pt x="98" y="9"/>
                    <a:pt x="98" y="9"/>
                  </a:cubicBezTo>
                  <a:lnTo>
                    <a:pt x="98" y="17"/>
                  </a:lnTo>
                  <a:close/>
                  <a:moveTo>
                    <a:pt x="114" y="8"/>
                  </a:moveTo>
                  <a:cubicBezTo>
                    <a:pt x="122" y="16"/>
                    <a:pt x="122" y="29"/>
                    <a:pt x="114" y="37"/>
                  </a:cubicBezTo>
                  <a:cubicBezTo>
                    <a:pt x="108" y="44"/>
                    <a:pt x="98" y="45"/>
                    <a:pt x="90" y="40"/>
                  </a:cubicBezTo>
                  <a:cubicBezTo>
                    <a:pt x="78" y="44"/>
                    <a:pt x="78" y="44"/>
                    <a:pt x="78" y="44"/>
                  </a:cubicBezTo>
                  <a:cubicBezTo>
                    <a:pt x="82" y="33"/>
                    <a:pt x="82" y="33"/>
                    <a:pt x="82" y="33"/>
                  </a:cubicBezTo>
                  <a:cubicBezTo>
                    <a:pt x="78" y="25"/>
                    <a:pt x="79" y="15"/>
                    <a:pt x="86" y="8"/>
                  </a:cubicBezTo>
                  <a:cubicBezTo>
                    <a:pt x="94" y="0"/>
                    <a:pt x="107" y="0"/>
                    <a:pt x="114"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408" name="Freeform 24">
              <a:extLst>
                <a:ext uri="{FF2B5EF4-FFF2-40B4-BE49-F238E27FC236}">
                  <a16:creationId xmlns:a16="http://schemas.microsoft.com/office/drawing/2014/main" id="{DD9CA93A-C9E7-4B93-A814-7201F0C7F25A}"/>
                </a:ext>
              </a:extLst>
            </p:cNvPr>
            <p:cNvSpPr>
              <a:spLocks noEditPoints="1"/>
            </p:cNvSpPr>
            <p:nvPr userDrawn="1"/>
          </p:nvSpPr>
          <p:spPr bwMode="auto">
            <a:xfrm>
              <a:off x="10477500" y="4252913"/>
              <a:ext cx="271463" cy="314325"/>
            </a:xfrm>
            <a:custGeom>
              <a:avLst/>
              <a:gdLst>
                <a:gd name="T0" fmla="*/ 27 w 57"/>
                <a:gd name="T1" fmla="*/ 42 h 66"/>
                <a:gd name="T2" fmla="*/ 27 w 57"/>
                <a:gd name="T3" fmla="*/ 46 h 66"/>
                <a:gd name="T4" fmla="*/ 27 w 57"/>
                <a:gd name="T5" fmla="*/ 59 h 66"/>
                <a:gd name="T6" fmla="*/ 0 w 57"/>
                <a:gd name="T7" fmla="*/ 60 h 66"/>
                <a:gd name="T8" fmla="*/ 0 w 57"/>
                <a:gd name="T9" fmla="*/ 56 h 66"/>
                <a:gd name="T10" fmla="*/ 0 w 57"/>
                <a:gd name="T11" fmla="*/ 46 h 66"/>
                <a:gd name="T12" fmla="*/ 10 w 57"/>
                <a:gd name="T13" fmla="*/ 42 h 66"/>
                <a:gd name="T14" fmla="*/ 14 w 57"/>
                <a:gd name="T15" fmla="*/ 1 h 66"/>
                <a:gd name="T16" fmla="*/ 16 w 57"/>
                <a:gd name="T17" fmla="*/ 1 h 66"/>
                <a:gd name="T18" fmla="*/ 17 w 57"/>
                <a:gd name="T19" fmla="*/ 1 h 66"/>
                <a:gd name="T20" fmla="*/ 27 w 57"/>
                <a:gd name="T21" fmla="*/ 33 h 66"/>
                <a:gd name="T22" fmla="*/ 11 w 57"/>
                <a:gd name="T23" fmla="*/ 39 h 66"/>
                <a:gd name="T24" fmla="*/ 9 w 57"/>
                <a:gd name="T25" fmla="*/ 1 h 66"/>
                <a:gd name="T26" fmla="*/ 1 w 57"/>
                <a:gd name="T27" fmla="*/ 33 h 66"/>
                <a:gd name="T28" fmla="*/ 0 w 57"/>
                <a:gd name="T29" fmla="*/ 34 h 66"/>
                <a:gd name="T30" fmla="*/ 10 w 57"/>
                <a:gd name="T31" fmla="*/ 40 h 66"/>
                <a:gd name="T32" fmla="*/ 0 w 57"/>
                <a:gd name="T33" fmla="*/ 65 h 66"/>
                <a:gd name="T34" fmla="*/ 27 w 57"/>
                <a:gd name="T35" fmla="*/ 66 h 66"/>
                <a:gd name="T36" fmla="*/ 0 w 57"/>
                <a:gd name="T37" fmla="*/ 62 h 66"/>
                <a:gd name="T38" fmla="*/ 57 w 57"/>
                <a:gd name="T39" fmla="*/ 33 h 66"/>
                <a:gd name="T40" fmla="*/ 48 w 57"/>
                <a:gd name="T41" fmla="*/ 25 h 66"/>
                <a:gd name="T42" fmla="*/ 46 w 57"/>
                <a:gd name="T43" fmla="*/ 1 h 66"/>
                <a:gd name="T44" fmla="*/ 47 w 57"/>
                <a:gd name="T45" fmla="*/ 40 h 66"/>
                <a:gd name="T46" fmla="*/ 57 w 57"/>
                <a:gd name="T47" fmla="*/ 34 h 66"/>
                <a:gd name="T48" fmla="*/ 43 w 57"/>
                <a:gd name="T49" fmla="*/ 39 h 66"/>
                <a:gd name="T50" fmla="*/ 42 w 57"/>
                <a:gd name="T51" fmla="*/ 1 h 66"/>
                <a:gd name="T52" fmla="*/ 40 w 57"/>
                <a:gd name="T53" fmla="*/ 1 h 66"/>
                <a:gd name="T54" fmla="*/ 30 w 57"/>
                <a:gd name="T55" fmla="*/ 43 h 66"/>
                <a:gd name="T56" fmla="*/ 30 w 57"/>
                <a:gd name="T57" fmla="*/ 46 h 66"/>
                <a:gd name="T58" fmla="*/ 30 w 57"/>
                <a:gd name="T59" fmla="*/ 56 h 66"/>
                <a:gd name="T60" fmla="*/ 30 w 57"/>
                <a:gd name="T61" fmla="*/ 60 h 66"/>
                <a:gd name="T62" fmla="*/ 57 w 57"/>
                <a:gd name="T63" fmla="*/ 59 h 66"/>
                <a:gd name="T64" fmla="*/ 57 w 57"/>
                <a:gd name="T65" fmla="*/ 46 h 66"/>
                <a:gd name="T66" fmla="*/ 57 w 57"/>
                <a:gd name="T67" fmla="*/ 42 h 66"/>
                <a:gd name="T68" fmla="*/ 43 w 57"/>
                <a:gd name="T69" fmla="*/ 39 h 66"/>
                <a:gd name="T70" fmla="*/ 56 w 57"/>
                <a:gd name="T71" fmla="*/ 66 h 66"/>
                <a:gd name="T72" fmla="*/ 57 w 57"/>
                <a:gd name="T73" fmla="*/ 62 h 66"/>
                <a:gd name="T74" fmla="*/ 30 w 57"/>
                <a:gd name="T7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66">
                  <a:moveTo>
                    <a:pt x="27" y="42"/>
                  </a:moveTo>
                  <a:cubicBezTo>
                    <a:pt x="27" y="42"/>
                    <a:pt x="27" y="42"/>
                    <a:pt x="27" y="42"/>
                  </a:cubicBezTo>
                  <a:cubicBezTo>
                    <a:pt x="27" y="46"/>
                    <a:pt x="27" y="46"/>
                    <a:pt x="27" y="46"/>
                  </a:cubicBezTo>
                  <a:cubicBezTo>
                    <a:pt x="27" y="46"/>
                    <a:pt x="27" y="46"/>
                    <a:pt x="27" y="46"/>
                  </a:cubicBezTo>
                  <a:cubicBezTo>
                    <a:pt x="27" y="56"/>
                    <a:pt x="27" y="56"/>
                    <a:pt x="27" y="56"/>
                  </a:cubicBezTo>
                  <a:cubicBezTo>
                    <a:pt x="27" y="59"/>
                    <a:pt x="27" y="59"/>
                    <a:pt x="27" y="59"/>
                  </a:cubicBezTo>
                  <a:cubicBezTo>
                    <a:pt x="27" y="60"/>
                    <a:pt x="27" y="60"/>
                    <a:pt x="27" y="60"/>
                  </a:cubicBezTo>
                  <a:cubicBezTo>
                    <a:pt x="0" y="60"/>
                    <a:pt x="0" y="60"/>
                    <a:pt x="0" y="60"/>
                  </a:cubicBezTo>
                  <a:cubicBezTo>
                    <a:pt x="0" y="59"/>
                    <a:pt x="0" y="59"/>
                    <a:pt x="0" y="59"/>
                  </a:cubicBezTo>
                  <a:cubicBezTo>
                    <a:pt x="0" y="56"/>
                    <a:pt x="0" y="56"/>
                    <a:pt x="0" y="56"/>
                  </a:cubicBezTo>
                  <a:cubicBezTo>
                    <a:pt x="0" y="46"/>
                    <a:pt x="0" y="46"/>
                    <a:pt x="0" y="46"/>
                  </a:cubicBezTo>
                  <a:cubicBezTo>
                    <a:pt x="0" y="46"/>
                    <a:pt x="0" y="46"/>
                    <a:pt x="0" y="46"/>
                  </a:cubicBezTo>
                  <a:cubicBezTo>
                    <a:pt x="0" y="42"/>
                    <a:pt x="0" y="42"/>
                    <a:pt x="0" y="42"/>
                  </a:cubicBezTo>
                  <a:cubicBezTo>
                    <a:pt x="10" y="42"/>
                    <a:pt x="10" y="42"/>
                    <a:pt x="10" y="42"/>
                  </a:cubicBezTo>
                  <a:cubicBezTo>
                    <a:pt x="12" y="42"/>
                    <a:pt x="14" y="41"/>
                    <a:pt x="14" y="39"/>
                  </a:cubicBezTo>
                  <a:cubicBezTo>
                    <a:pt x="14" y="1"/>
                    <a:pt x="14" y="1"/>
                    <a:pt x="14" y="1"/>
                  </a:cubicBezTo>
                  <a:cubicBezTo>
                    <a:pt x="15" y="1"/>
                    <a:pt x="15" y="1"/>
                    <a:pt x="15" y="1"/>
                  </a:cubicBezTo>
                  <a:cubicBezTo>
                    <a:pt x="16" y="0"/>
                    <a:pt x="16" y="1"/>
                    <a:pt x="16" y="1"/>
                  </a:cubicBezTo>
                  <a:cubicBezTo>
                    <a:pt x="17" y="1"/>
                    <a:pt x="17" y="1"/>
                    <a:pt x="17" y="1"/>
                  </a:cubicBezTo>
                  <a:cubicBezTo>
                    <a:pt x="17" y="1"/>
                    <a:pt x="17" y="1"/>
                    <a:pt x="17" y="1"/>
                  </a:cubicBezTo>
                  <a:cubicBezTo>
                    <a:pt x="17" y="1"/>
                    <a:pt x="17" y="1"/>
                    <a:pt x="17" y="1"/>
                  </a:cubicBezTo>
                  <a:cubicBezTo>
                    <a:pt x="27" y="33"/>
                    <a:pt x="27" y="33"/>
                    <a:pt x="27" y="33"/>
                  </a:cubicBezTo>
                  <a:lnTo>
                    <a:pt x="27" y="42"/>
                  </a:lnTo>
                  <a:close/>
                  <a:moveTo>
                    <a:pt x="11" y="39"/>
                  </a:moveTo>
                  <a:cubicBezTo>
                    <a:pt x="11" y="1"/>
                    <a:pt x="11" y="1"/>
                    <a:pt x="11" y="1"/>
                  </a:cubicBezTo>
                  <a:cubicBezTo>
                    <a:pt x="9" y="1"/>
                    <a:pt x="9" y="1"/>
                    <a:pt x="9" y="1"/>
                  </a:cubicBezTo>
                  <a:cubicBezTo>
                    <a:pt x="9" y="25"/>
                    <a:pt x="9" y="25"/>
                    <a:pt x="9" y="25"/>
                  </a:cubicBezTo>
                  <a:cubicBezTo>
                    <a:pt x="9" y="29"/>
                    <a:pt x="6" y="33"/>
                    <a:pt x="1" y="33"/>
                  </a:cubicBezTo>
                  <a:cubicBezTo>
                    <a:pt x="1" y="33"/>
                    <a:pt x="1" y="33"/>
                    <a:pt x="0" y="33"/>
                  </a:cubicBezTo>
                  <a:cubicBezTo>
                    <a:pt x="0" y="34"/>
                    <a:pt x="0" y="34"/>
                    <a:pt x="0" y="34"/>
                  </a:cubicBezTo>
                  <a:cubicBezTo>
                    <a:pt x="0" y="40"/>
                    <a:pt x="0" y="40"/>
                    <a:pt x="0" y="40"/>
                  </a:cubicBezTo>
                  <a:cubicBezTo>
                    <a:pt x="10" y="40"/>
                    <a:pt x="10" y="40"/>
                    <a:pt x="10" y="40"/>
                  </a:cubicBezTo>
                  <a:cubicBezTo>
                    <a:pt x="11" y="40"/>
                    <a:pt x="11" y="40"/>
                    <a:pt x="11" y="39"/>
                  </a:cubicBezTo>
                  <a:moveTo>
                    <a:pt x="0" y="65"/>
                  </a:moveTo>
                  <a:cubicBezTo>
                    <a:pt x="0" y="65"/>
                    <a:pt x="1" y="66"/>
                    <a:pt x="1" y="66"/>
                  </a:cubicBezTo>
                  <a:cubicBezTo>
                    <a:pt x="27" y="66"/>
                    <a:pt x="27" y="66"/>
                    <a:pt x="27" y="66"/>
                  </a:cubicBezTo>
                  <a:cubicBezTo>
                    <a:pt x="27" y="62"/>
                    <a:pt x="27" y="62"/>
                    <a:pt x="27" y="62"/>
                  </a:cubicBezTo>
                  <a:cubicBezTo>
                    <a:pt x="0" y="62"/>
                    <a:pt x="0" y="62"/>
                    <a:pt x="0" y="62"/>
                  </a:cubicBezTo>
                  <a:lnTo>
                    <a:pt x="0" y="65"/>
                  </a:lnTo>
                  <a:close/>
                  <a:moveTo>
                    <a:pt x="57" y="33"/>
                  </a:moveTo>
                  <a:cubicBezTo>
                    <a:pt x="56" y="33"/>
                    <a:pt x="56" y="33"/>
                    <a:pt x="56" y="33"/>
                  </a:cubicBezTo>
                  <a:cubicBezTo>
                    <a:pt x="51" y="33"/>
                    <a:pt x="48" y="29"/>
                    <a:pt x="48" y="25"/>
                  </a:cubicBezTo>
                  <a:cubicBezTo>
                    <a:pt x="48" y="1"/>
                    <a:pt x="48" y="1"/>
                    <a:pt x="48" y="1"/>
                  </a:cubicBezTo>
                  <a:cubicBezTo>
                    <a:pt x="46" y="1"/>
                    <a:pt x="46" y="1"/>
                    <a:pt x="46" y="1"/>
                  </a:cubicBezTo>
                  <a:cubicBezTo>
                    <a:pt x="46" y="39"/>
                    <a:pt x="46" y="39"/>
                    <a:pt x="46" y="39"/>
                  </a:cubicBezTo>
                  <a:cubicBezTo>
                    <a:pt x="46" y="40"/>
                    <a:pt x="46" y="40"/>
                    <a:pt x="47" y="40"/>
                  </a:cubicBezTo>
                  <a:cubicBezTo>
                    <a:pt x="57" y="40"/>
                    <a:pt x="57" y="40"/>
                    <a:pt x="57" y="40"/>
                  </a:cubicBezTo>
                  <a:cubicBezTo>
                    <a:pt x="57" y="34"/>
                    <a:pt x="57" y="34"/>
                    <a:pt x="57" y="34"/>
                  </a:cubicBezTo>
                  <a:cubicBezTo>
                    <a:pt x="57" y="34"/>
                    <a:pt x="57" y="34"/>
                    <a:pt x="57" y="33"/>
                  </a:cubicBezTo>
                  <a:moveTo>
                    <a:pt x="43" y="39"/>
                  </a:moveTo>
                  <a:cubicBezTo>
                    <a:pt x="43" y="1"/>
                    <a:pt x="43" y="1"/>
                    <a:pt x="43" y="1"/>
                  </a:cubicBezTo>
                  <a:cubicBezTo>
                    <a:pt x="42" y="1"/>
                    <a:pt x="42" y="1"/>
                    <a:pt x="42" y="1"/>
                  </a:cubicBezTo>
                  <a:cubicBezTo>
                    <a:pt x="41" y="0"/>
                    <a:pt x="41" y="1"/>
                    <a:pt x="41" y="1"/>
                  </a:cubicBezTo>
                  <a:cubicBezTo>
                    <a:pt x="40" y="1"/>
                    <a:pt x="40" y="1"/>
                    <a:pt x="40" y="1"/>
                  </a:cubicBezTo>
                  <a:cubicBezTo>
                    <a:pt x="30" y="33"/>
                    <a:pt x="30" y="33"/>
                    <a:pt x="30" y="33"/>
                  </a:cubicBezTo>
                  <a:cubicBezTo>
                    <a:pt x="30" y="43"/>
                    <a:pt x="30" y="43"/>
                    <a:pt x="30" y="43"/>
                  </a:cubicBezTo>
                  <a:cubicBezTo>
                    <a:pt x="30" y="43"/>
                    <a:pt x="30" y="43"/>
                    <a:pt x="30" y="43"/>
                  </a:cubicBezTo>
                  <a:cubicBezTo>
                    <a:pt x="30" y="46"/>
                    <a:pt x="30" y="46"/>
                    <a:pt x="30" y="46"/>
                  </a:cubicBezTo>
                  <a:cubicBezTo>
                    <a:pt x="30" y="46"/>
                    <a:pt x="30" y="46"/>
                    <a:pt x="30" y="46"/>
                  </a:cubicBezTo>
                  <a:cubicBezTo>
                    <a:pt x="30" y="56"/>
                    <a:pt x="30" y="56"/>
                    <a:pt x="30" y="56"/>
                  </a:cubicBezTo>
                  <a:cubicBezTo>
                    <a:pt x="30" y="59"/>
                    <a:pt x="30" y="59"/>
                    <a:pt x="30" y="59"/>
                  </a:cubicBezTo>
                  <a:cubicBezTo>
                    <a:pt x="30" y="60"/>
                    <a:pt x="30" y="60"/>
                    <a:pt x="30" y="60"/>
                  </a:cubicBezTo>
                  <a:cubicBezTo>
                    <a:pt x="57" y="60"/>
                    <a:pt x="57" y="60"/>
                    <a:pt x="57" y="60"/>
                  </a:cubicBezTo>
                  <a:cubicBezTo>
                    <a:pt x="57" y="59"/>
                    <a:pt x="57" y="59"/>
                    <a:pt x="57" y="59"/>
                  </a:cubicBezTo>
                  <a:cubicBezTo>
                    <a:pt x="57" y="56"/>
                    <a:pt x="57" y="56"/>
                    <a:pt x="57" y="56"/>
                  </a:cubicBezTo>
                  <a:cubicBezTo>
                    <a:pt x="57" y="46"/>
                    <a:pt x="57" y="46"/>
                    <a:pt x="57" y="46"/>
                  </a:cubicBezTo>
                  <a:cubicBezTo>
                    <a:pt x="57" y="46"/>
                    <a:pt x="57" y="46"/>
                    <a:pt x="57" y="46"/>
                  </a:cubicBezTo>
                  <a:cubicBezTo>
                    <a:pt x="57" y="42"/>
                    <a:pt x="57" y="42"/>
                    <a:pt x="57" y="42"/>
                  </a:cubicBezTo>
                  <a:cubicBezTo>
                    <a:pt x="47" y="42"/>
                    <a:pt x="47" y="42"/>
                    <a:pt x="47" y="42"/>
                  </a:cubicBezTo>
                  <a:cubicBezTo>
                    <a:pt x="45" y="42"/>
                    <a:pt x="43" y="41"/>
                    <a:pt x="43" y="39"/>
                  </a:cubicBezTo>
                  <a:moveTo>
                    <a:pt x="30" y="66"/>
                  </a:moveTo>
                  <a:cubicBezTo>
                    <a:pt x="56" y="66"/>
                    <a:pt x="56" y="66"/>
                    <a:pt x="56" y="66"/>
                  </a:cubicBezTo>
                  <a:cubicBezTo>
                    <a:pt x="56" y="66"/>
                    <a:pt x="57" y="65"/>
                    <a:pt x="57" y="65"/>
                  </a:cubicBezTo>
                  <a:cubicBezTo>
                    <a:pt x="57" y="62"/>
                    <a:pt x="57" y="62"/>
                    <a:pt x="57" y="62"/>
                  </a:cubicBezTo>
                  <a:cubicBezTo>
                    <a:pt x="30" y="62"/>
                    <a:pt x="30" y="62"/>
                    <a:pt x="30" y="62"/>
                  </a:cubicBezTo>
                  <a:lnTo>
                    <a:pt x="30" y="66"/>
                  </a:lnTo>
                  <a:close/>
                </a:path>
              </a:pathLst>
            </a:custGeom>
            <a:solidFill>
              <a:srgbClr val="0091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sp>
          <p:nvSpPr>
            <p:cNvPr id="409" name="Freeform 25">
              <a:extLst>
                <a:ext uri="{FF2B5EF4-FFF2-40B4-BE49-F238E27FC236}">
                  <a16:creationId xmlns:a16="http://schemas.microsoft.com/office/drawing/2014/main" id="{5409240D-708D-4818-9530-9144B8E4C0EA}"/>
                </a:ext>
              </a:extLst>
            </p:cNvPr>
            <p:cNvSpPr>
              <a:spLocks/>
            </p:cNvSpPr>
            <p:nvPr userDrawn="1"/>
          </p:nvSpPr>
          <p:spPr bwMode="auto">
            <a:xfrm>
              <a:off x="10472738" y="3962401"/>
              <a:ext cx="280988" cy="128588"/>
            </a:xfrm>
            <a:custGeom>
              <a:avLst/>
              <a:gdLst>
                <a:gd name="T0" fmla="*/ 2 w 59"/>
                <a:gd name="T1" fmla="*/ 27 h 27"/>
                <a:gd name="T2" fmla="*/ 2 w 59"/>
                <a:gd name="T3" fmla="*/ 27 h 27"/>
                <a:gd name="T4" fmla="*/ 3 w 59"/>
                <a:gd name="T5" fmla="*/ 27 h 27"/>
                <a:gd name="T6" fmla="*/ 56 w 59"/>
                <a:gd name="T7" fmla="*/ 27 h 27"/>
                <a:gd name="T8" fmla="*/ 57 w 59"/>
                <a:gd name="T9" fmla="*/ 27 h 27"/>
                <a:gd name="T10" fmla="*/ 57 w 59"/>
                <a:gd name="T11" fmla="*/ 27 h 27"/>
                <a:gd name="T12" fmla="*/ 59 w 59"/>
                <a:gd name="T13" fmla="*/ 24 h 27"/>
                <a:gd name="T14" fmla="*/ 56 w 59"/>
                <a:gd name="T15" fmla="*/ 22 h 27"/>
                <a:gd name="T16" fmla="*/ 56 w 59"/>
                <a:gd name="T17" fmla="*/ 22 h 27"/>
                <a:gd name="T18" fmla="*/ 41 w 59"/>
                <a:gd name="T19" fmla="*/ 2 h 27"/>
                <a:gd name="T20" fmla="*/ 41 w 59"/>
                <a:gd name="T21" fmla="*/ 3 h 27"/>
                <a:gd name="T22" fmla="*/ 38 w 59"/>
                <a:gd name="T23" fmla="*/ 6 h 27"/>
                <a:gd name="T24" fmla="*/ 35 w 59"/>
                <a:gd name="T25" fmla="*/ 3 h 27"/>
                <a:gd name="T26" fmla="*/ 35 w 59"/>
                <a:gd name="T27" fmla="*/ 0 h 27"/>
                <a:gd name="T28" fmla="*/ 32 w 59"/>
                <a:gd name="T29" fmla="*/ 0 h 27"/>
                <a:gd name="T30" fmla="*/ 32 w 59"/>
                <a:gd name="T31" fmla="*/ 2 h 27"/>
                <a:gd name="T32" fmla="*/ 30 w 59"/>
                <a:gd name="T33" fmla="*/ 5 h 27"/>
                <a:gd name="T34" fmla="*/ 27 w 59"/>
                <a:gd name="T35" fmla="*/ 2 h 27"/>
                <a:gd name="T36" fmla="*/ 27 w 59"/>
                <a:gd name="T37" fmla="*/ 0 h 27"/>
                <a:gd name="T38" fmla="*/ 23 w 59"/>
                <a:gd name="T39" fmla="*/ 1 h 27"/>
                <a:gd name="T40" fmla="*/ 23 w 59"/>
                <a:gd name="T41" fmla="*/ 3 h 27"/>
                <a:gd name="T42" fmla="*/ 21 w 59"/>
                <a:gd name="T43" fmla="*/ 6 h 27"/>
                <a:gd name="T44" fmla="*/ 18 w 59"/>
                <a:gd name="T45" fmla="*/ 3 h 27"/>
                <a:gd name="T46" fmla="*/ 18 w 59"/>
                <a:gd name="T47" fmla="*/ 3 h 27"/>
                <a:gd name="T48" fmla="*/ 3 w 59"/>
                <a:gd name="T49" fmla="*/ 22 h 27"/>
                <a:gd name="T50" fmla="*/ 3 w 59"/>
                <a:gd name="T51" fmla="*/ 22 h 27"/>
                <a:gd name="T52" fmla="*/ 0 w 59"/>
                <a:gd name="T53" fmla="*/ 24 h 27"/>
                <a:gd name="T54" fmla="*/ 2 w 59"/>
                <a:gd name="T5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 h="27">
                  <a:moveTo>
                    <a:pt x="2" y="27"/>
                  </a:moveTo>
                  <a:cubicBezTo>
                    <a:pt x="2" y="27"/>
                    <a:pt x="2" y="27"/>
                    <a:pt x="2" y="27"/>
                  </a:cubicBezTo>
                  <a:cubicBezTo>
                    <a:pt x="3" y="27"/>
                    <a:pt x="3" y="27"/>
                    <a:pt x="3" y="27"/>
                  </a:cubicBezTo>
                  <a:cubicBezTo>
                    <a:pt x="56" y="27"/>
                    <a:pt x="56" y="27"/>
                    <a:pt x="56" y="27"/>
                  </a:cubicBezTo>
                  <a:cubicBezTo>
                    <a:pt x="57" y="27"/>
                    <a:pt x="57" y="27"/>
                    <a:pt x="57" y="27"/>
                  </a:cubicBezTo>
                  <a:cubicBezTo>
                    <a:pt x="57" y="27"/>
                    <a:pt x="57" y="27"/>
                    <a:pt x="57" y="27"/>
                  </a:cubicBezTo>
                  <a:cubicBezTo>
                    <a:pt x="58" y="27"/>
                    <a:pt x="59" y="26"/>
                    <a:pt x="59" y="24"/>
                  </a:cubicBezTo>
                  <a:cubicBezTo>
                    <a:pt x="59" y="23"/>
                    <a:pt x="58" y="22"/>
                    <a:pt x="56" y="22"/>
                  </a:cubicBezTo>
                  <a:cubicBezTo>
                    <a:pt x="56" y="22"/>
                    <a:pt x="56" y="22"/>
                    <a:pt x="56" y="22"/>
                  </a:cubicBezTo>
                  <a:cubicBezTo>
                    <a:pt x="55" y="13"/>
                    <a:pt x="49" y="6"/>
                    <a:pt x="41" y="2"/>
                  </a:cubicBezTo>
                  <a:cubicBezTo>
                    <a:pt x="41" y="3"/>
                    <a:pt x="41" y="3"/>
                    <a:pt x="41" y="3"/>
                  </a:cubicBezTo>
                  <a:cubicBezTo>
                    <a:pt x="41" y="5"/>
                    <a:pt x="40" y="6"/>
                    <a:pt x="38" y="6"/>
                  </a:cubicBezTo>
                  <a:cubicBezTo>
                    <a:pt x="37" y="6"/>
                    <a:pt x="35" y="5"/>
                    <a:pt x="35" y="3"/>
                  </a:cubicBezTo>
                  <a:cubicBezTo>
                    <a:pt x="35" y="0"/>
                    <a:pt x="35" y="0"/>
                    <a:pt x="35" y="0"/>
                  </a:cubicBezTo>
                  <a:cubicBezTo>
                    <a:pt x="34" y="0"/>
                    <a:pt x="33" y="0"/>
                    <a:pt x="32" y="0"/>
                  </a:cubicBezTo>
                  <a:cubicBezTo>
                    <a:pt x="32" y="2"/>
                    <a:pt x="32" y="2"/>
                    <a:pt x="32" y="2"/>
                  </a:cubicBezTo>
                  <a:cubicBezTo>
                    <a:pt x="32" y="4"/>
                    <a:pt x="31" y="5"/>
                    <a:pt x="30" y="5"/>
                  </a:cubicBezTo>
                  <a:cubicBezTo>
                    <a:pt x="28" y="5"/>
                    <a:pt x="27" y="4"/>
                    <a:pt x="27" y="2"/>
                  </a:cubicBezTo>
                  <a:cubicBezTo>
                    <a:pt x="27" y="0"/>
                    <a:pt x="27" y="0"/>
                    <a:pt x="27" y="0"/>
                  </a:cubicBezTo>
                  <a:cubicBezTo>
                    <a:pt x="26" y="0"/>
                    <a:pt x="25" y="0"/>
                    <a:pt x="23" y="1"/>
                  </a:cubicBezTo>
                  <a:cubicBezTo>
                    <a:pt x="23" y="3"/>
                    <a:pt x="23" y="3"/>
                    <a:pt x="23" y="3"/>
                  </a:cubicBezTo>
                  <a:cubicBezTo>
                    <a:pt x="23" y="5"/>
                    <a:pt x="22" y="6"/>
                    <a:pt x="21" y="6"/>
                  </a:cubicBezTo>
                  <a:cubicBezTo>
                    <a:pt x="19" y="6"/>
                    <a:pt x="18" y="5"/>
                    <a:pt x="18" y="3"/>
                  </a:cubicBezTo>
                  <a:cubicBezTo>
                    <a:pt x="18" y="3"/>
                    <a:pt x="18" y="3"/>
                    <a:pt x="18" y="3"/>
                  </a:cubicBezTo>
                  <a:cubicBezTo>
                    <a:pt x="10" y="6"/>
                    <a:pt x="5" y="13"/>
                    <a:pt x="3" y="22"/>
                  </a:cubicBezTo>
                  <a:cubicBezTo>
                    <a:pt x="3" y="22"/>
                    <a:pt x="3" y="22"/>
                    <a:pt x="3" y="22"/>
                  </a:cubicBezTo>
                  <a:cubicBezTo>
                    <a:pt x="1" y="22"/>
                    <a:pt x="0" y="23"/>
                    <a:pt x="0" y="24"/>
                  </a:cubicBezTo>
                  <a:cubicBezTo>
                    <a:pt x="0" y="26"/>
                    <a:pt x="1" y="27"/>
                    <a:pt x="2" y="27"/>
                  </a:cubicBezTo>
                </a:path>
              </a:pathLst>
            </a:custGeom>
            <a:solidFill>
              <a:srgbClr val="0091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16" noProof="0" dirty="0"/>
            </a:p>
          </p:txBody>
        </p:sp>
      </p:grpSp>
    </p:spTree>
    <p:extLst>
      <p:ext uri="{BB962C8B-B14F-4D97-AF65-F5344CB8AC3E}">
        <p14:creationId xmlns:p14="http://schemas.microsoft.com/office/powerpoint/2010/main" val="312918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 moment of safety – DE">
    <p:bg>
      <p:bgPr>
        <a:solidFill>
          <a:schemeClr val="bg1"/>
        </a:solidFill>
        <a:effectLst/>
      </p:bgPr>
    </p:bg>
    <p:spTree>
      <p:nvGrpSpPr>
        <p:cNvPr id="1" name=""/>
        <p:cNvGrpSpPr/>
        <p:nvPr/>
      </p:nvGrpSpPr>
      <p:grpSpPr>
        <a:xfrm>
          <a:off x="0" y="0"/>
          <a:ext cx="0" cy="0"/>
          <a:chOff x="0" y="0"/>
          <a:chExt cx="0" cy="0"/>
        </a:xfrm>
      </p:grpSpPr>
      <p:sp>
        <p:nvSpPr>
          <p:cNvPr id="339" name="Vrije vorm 338">
            <a:extLst>
              <a:ext uri="{FF2B5EF4-FFF2-40B4-BE49-F238E27FC236}">
                <a16:creationId xmlns:a16="http://schemas.microsoft.com/office/drawing/2014/main" id="{1AE144A2-56E7-0847-BDB2-E98F69D93B18}"/>
              </a:ext>
            </a:extLst>
          </p:cNvPr>
          <p:cNvSpPr/>
          <p:nvPr userDrawn="1"/>
        </p:nvSpPr>
        <p:spPr>
          <a:xfrm>
            <a:off x="0" y="161"/>
            <a:ext cx="12192000" cy="6058829"/>
          </a:xfrm>
          <a:custGeom>
            <a:avLst/>
            <a:gdLst>
              <a:gd name="connsiteX0" fmla="*/ 0 w 12192000"/>
              <a:gd name="connsiteY0" fmla="*/ 0 h 6058829"/>
              <a:gd name="connsiteX1" fmla="*/ 12192000 w 12192000"/>
              <a:gd name="connsiteY1" fmla="*/ 0 h 6058829"/>
              <a:gd name="connsiteX2" fmla="*/ 12192000 w 12192000"/>
              <a:gd name="connsiteY2" fmla="*/ 5887378 h 6058829"/>
              <a:gd name="connsiteX3" fmla="*/ 11813856 w 12192000"/>
              <a:gd name="connsiteY3" fmla="*/ 6058829 h 6058829"/>
              <a:gd name="connsiteX4" fmla="*/ 0 w 12192000"/>
              <a:gd name="connsiteY4" fmla="*/ 6058829 h 6058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058829">
                <a:moveTo>
                  <a:pt x="0" y="0"/>
                </a:moveTo>
                <a:lnTo>
                  <a:pt x="12192000" y="0"/>
                </a:lnTo>
                <a:lnTo>
                  <a:pt x="12192000" y="5887378"/>
                </a:lnTo>
                <a:lnTo>
                  <a:pt x="11813856" y="6058829"/>
                </a:lnTo>
                <a:lnTo>
                  <a:pt x="0" y="6058829"/>
                </a:lnTo>
                <a:close/>
              </a:path>
            </a:pathLst>
          </a:custGeom>
          <a:solidFill>
            <a:srgbClr val="D2E6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noProof="0" dirty="0"/>
          </a:p>
        </p:txBody>
      </p:sp>
      <p:grpSp>
        <p:nvGrpSpPr>
          <p:cNvPr id="337" name="Groep 336">
            <a:extLst>
              <a:ext uri="{FF2B5EF4-FFF2-40B4-BE49-F238E27FC236}">
                <a16:creationId xmlns:a16="http://schemas.microsoft.com/office/drawing/2014/main" id="{272709AC-6499-5C4A-AE3C-EFC1261B8C09}"/>
              </a:ext>
            </a:extLst>
          </p:cNvPr>
          <p:cNvGrpSpPr/>
          <p:nvPr userDrawn="1"/>
        </p:nvGrpSpPr>
        <p:grpSpPr>
          <a:xfrm>
            <a:off x="329951" y="96343"/>
            <a:ext cx="11575154" cy="5826059"/>
            <a:chOff x="329951" y="96343"/>
            <a:chExt cx="11575154" cy="5826059"/>
          </a:xfrm>
        </p:grpSpPr>
        <p:sp>
          <p:nvSpPr>
            <p:cNvPr id="24" name="Rechthoek 23">
              <a:extLst>
                <a:ext uri="{FF2B5EF4-FFF2-40B4-BE49-F238E27FC236}">
                  <a16:creationId xmlns:a16="http://schemas.microsoft.com/office/drawing/2014/main" id="{163141D3-FC3C-F144-A4C0-F65A3B749D61}"/>
                </a:ext>
              </a:extLst>
            </p:cNvPr>
            <p:cNvSpPr/>
            <p:nvPr userDrawn="1"/>
          </p:nvSpPr>
          <p:spPr>
            <a:xfrm>
              <a:off x="329951"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5" name="Rechthoek 24">
              <a:extLst>
                <a:ext uri="{FF2B5EF4-FFF2-40B4-BE49-F238E27FC236}">
                  <a16:creationId xmlns:a16="http://schemas.microsoft.com/office/drawing/2014/main" id="{05E9D430-E98D-FB41-9DFC-5FA9AB34170C}"/>
                </a:ext>
              </a:extLst>
            </p:cNvPr>
            <p:cNvSpPr/>
            <p:nvPr userDrawn="1"/>
          </p:nvSpPr>
          <p:spPr>
            <a:xfrm>
              <a:off x="329951"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6" name="Rechthoek 25">
              <a:extLst>
                <a:ext uri="{FF2B5EF4-FFF2-40B4-BE49-F238E27FC236}">
                  <a16:creationId xmlns:a16="http://schemas.microsoft.com/office/drawing/2014/main" id="{F43ADCCE-3D24-A74A-BDDC-A4F065076A70}"/>
                </a:ext>
              </a:extLst>
            </p:cNvPr>
            <p:cNvSpPr/>
            <p:nvPr userDrawn="1"/>
          </p:nvSpPr>
          <p:spPr>
            <a:xfrm>
              <a:off x="285451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7" name="Rechthoek 26">
              <a:extLst>
                <a:ext uri="{FF2B5EF4-FFF2-40B4-BE49-F238E27FC236}">
                  <a16:creationId xmlns:a16="http://schemas.microsoft.com/office/drawing/2014/main" id="{903E1EBD-0C75-B346-8730-3536D7FD86BF}"/>
                </a:ext>
              </a:extLst>
            </p:cNvPr>
            <p:cNvSpPr/>
            <p:nvPr userDrawn="1"/>
          </p:nvSpPr>
          <p:spPr>
            <a:xfrm>
              <a:off x="321415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8" name="Rechthoek 27">
              <a:extLst>
                <a:ext uri="{FF2B5EF4-FFF2-40B4-BE49-F238E27FC236}">
                  <a16:creationId xmlns:a16="http://schemas.microsoft.com/office/drawing/2014/main" id="{D53F4434-4F41-084E-A279-66D06070700F}"/>
                </a:ext>
              </a:extLst>
            </p:cNvPr>
            <p:cNvSpPr/>
            <p:nvPr userDrawn="1"/>
          </p:nvSpPr>
          <p:spPr>
            <a:xfrm>
              <a:off x="249328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9" name="Rechthoek 28">
              <a:extLst>
                <a:ext uri="{FF2B5EF4-FFF2-40B4-BE49-F238E27FC236}">
                  <a16:creationId xmlns:a16="http://schemas.microsoft.com/office/drawing/2014/main" id="{D61B622F-A3D5-CE42-8EEA-870260BC91B1}"/>
                </a:ext>
              </a:extLst>
            </p:cNvPr>
            <p:cNvSpPr/>
            <p:nvPr userDrawn="1"/>
          </p:nvSpPr>
          <p:spPr>
            <a:xfrm>
              <a:off x="177082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0" name="Rechthoek 29">
              <a:extLst>
                <a:ext uri="{FF2B5EF4-FFF2-40B4-BE49-F238E27FC236}">
                  <a16:creationId xmlns:a16="http://schemas.microsoft.com/office/drawing/2014/main" id="{5852AF2F-9B57-D94E-A125-0D32A32C0A0D}"/>
                </a:ext>
              </a:extLst>
            </p:cNvPr>
            <p:cNvSpPr/>
            <p:nvPr userDrawn="1"/>
          </p:nvSpPr>
          <p:spPr>
            <a:xfrm>
              <a:off x="213205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1" name="Rechthoek 30">
              <a:extLst>
                <a:ext uri="{FF2B5EF4-FFF2-40B4-BE49-F238E27FC236}">
                  <a16:creationId xmlns:a16="http://schemas.microsoft.com/office/drawing/2014/main" id="{EF097089-294E-804A-A1FD-3BFEB104C364}"/>
                </a:ext>
              </a:extLst>
            </p:cNvPr>
            <p:cNvSpPr/>
            <p:nvPr userDrawn="1"/>
          </p:nvSpPr>
          <p:spPr>
            <a:xfrm>
              <a:off x="140958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2" name="Rechthoek 31">
              <a:extLst>
                <a:ext uri="{FF2B5EF4-FFF2-40B4-BE49-F238E27FC236}">
                  <a16:creationId xmlns:a16="http://schemas.microsoft.com/office/drawing/2014/main" id="{8A1BCE83-3631-FA47-8832-C881A56CA072}"/>
                </a:ext>
              </a:extLst>
            </p:cNvPr>
            <p:cNvSpPr/>
            <p:nvPr userDrawn="1"/>
          </p:nvSpPr>
          <p:spPr>
            <a:xfrm>
              <a:off x="69118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3" name="Rechthoek 32">
              <a:extLst>
                <a:ext uri="{FF2B5EF4-FFF2-40B4-BE49-F238E27FC236}">
                  <a16:creationId xmlns:a16="http://schemas.microsoft.com/office/drawing/2014/main" id="{867C3A7B-7D33-604C-9DAC-C110ABC7D460}"/>
                </a:ext>
              </a:extLst>
            </p:cNvPr>
            <p:cNvSpPr/>
            <p:nvPr userDrawn="1"/>
          </p:nvSpPr>
          <p:spPr>
            <a:xfrm>
              <a:off x="105241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4" name="Rechthoek 33">
              <a:extLst>
                <a:ext uri="{FF2B5EF4-FFF2-40B4-BE49-F238E27FC236}">
                  <a16:creationId xmlns:a16="http://schemas.microsoft.com/office/drawing/2014/main" id="{63A364C2-49CA-4242-AD34-F6B352289A7D}"/>
                </a:ext>
              </a:extLst>
            </p:cNvPr>
            <p:cNvSpPr/>
            <p:nvPr userDrawn="1"/>
          </p:nvSpPr>
          <p:spPr>
            <a:xfrm>
              <a:off x="32995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5" name="Rechthoek 34">
              <a:extLst>
                <a:ext uri="{FF2B5EF4-FFF2-40B4-BE49-F238E27FC236}">
                  <a16:creationId xmlns:a16="http://schemas.microsoft.com/office/drawing/2014/main" id="{0224041D-22CA-684D-9642-E5C38CB2C02F}"/>
                </a:ext>
              </a:extLst>
            </p:cNvPr>
            <p:cNvSpPr/>
            <p:nvPr userDrawn="1"/>
          </p:nvSpPr>
          <p:spPr>
            <a:xfrm>
              <a:off x="357406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6" name="Rechthoek 35">
              <a:extLst>
                <a:ext uri="{FF2B5EF4-FFF2-40B4-BE49-F238E27FC236}">
                  <a16:creationId xmlns:a16="http://schemas.microsoft.com/office/drawing/2014/main" id="{BC591C27-0F26-434F-9232-B3B49B6B602C}"/>
                </a:ext>
              </a:extLst>
            </p:cNvPr>
            <p:cNvSpPr/>
            <p:nvPr userDrawn="1"/>
          </p:nvSpPr>
          <p:spPr>
            <a:xfrm>
              <a:off x="393715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7" name="Rechthoek 36">
              <a:extLst>
                <a:ext uri="{FF2B5EF4-FFF2-40B4-BE49-F238E27FC236}">
                  <a16:creationId xmlns:a16="http://schemas.microsoft.com/office/drawing/2014/main" id="{685B2004-92A9-E147-873C-A793805A2B8F}"/>
                </a:ext>
              </a:extLst>
            </p:cNvPr>
            <p:cNvSpPr/>
            <p:nvPr userDrawn="1"/>
          </p:nvSpPr>
          <p:spPr>
            <a:xfrm>
              <a:off x="429706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8" name="Rechthoek 37">
              <a:extLst>
                <a:ext uri="{FF2B5EF4-FFF2-40B4-BE49-F238E27FC236}">
                  <a16:creationId xmlns:a16="http://schemas.microsoft.com/office/drawing/2014/main" id="{6F1825D7-BD95-C444-AF68-0564250C5D43}"/>
                </a:ext>
              </a:extLst>
            </p:cNvPr>
            <p:cNvSpPr/>
            <p:nvPr userDrawn="1"/>
          </p:nvSpPr>
          <p:spPr>
            <a:xfrm>
              <a:off x="465856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9" name="Rechthoek 38">
              <a:extLst>
                <a:ext uri="{FF2B5EF4-FFF2-40B4-BE49-F238E27FC236}">
                  <a16:creationId xmlns:a16="http://schemas.microsoft.com/office/drawing/2014/main" id="{8AAB4811-405B-0844-9130-D0653E27FCA6}"/>
                </a:ext>
              </a:extLst>
            </p:cNvPr>
            <p:cNvSpPr/>
            <p:nvPr userDrawn="1"/>
          </p:nvSpPr>
          <p:spPr>
            <a:xfrm>
              <a:off x="501847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0" name="Rechthoek 39">
              <a:extLst>
                <a:ext uri="{FF2B5EF4-FFF2-40B4-BE49-F238E27FC236}">
                  <a16:creationId xmlns:a16="http://schemas.microsoft.com/office/drawing/2014/main" id="{6AF8BD4E-36E4-834F-BD5F-637F301562AC}"/>
                </a:ext>
              </a:extLst>
            </p:cNvPr>
            <p:cNvSpPr/>
            <p:nvPr userDrawn="1"/>
          </p:nvSpPr>
          <p:spPr>
            <a:xfrm>
              <a:off x="537837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1" name="Rechthoek 40">
              <a:extLst>
                <a:ext uri="{FF2B5EF4-FFF2-40B4-BE49-F238E27FC236}">
                  <a16:creationId xmlns:a16="http://schemas.microsoft.com/office/drawing/2014/main" id="{D842C925-DA20-8741-9BFA-4C7DFB35671C}"/>
                </a:ext>
              </a:extLst>
            </p:cNvPr>
            <p:cNvSpPr/>
            <p:nvPr userDrawn="1"/>
          </p:nvSpPr>
          <p:spPr>
            <a:xfrm>
              <a:off x="573987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2" name="Rechthoek 41">
              <a:extLst>
                <a:ext uri="{FF2B5EF4-FFF2-40B4-BE49-F238E27FC236}">
                  <a16:creationId xmlns:a16="http://schemas.microsoft.com/office/drawing/2014/main" id="{867C1841-2F4E-5F4D-93E1-83BF35C4C13E}"/>
                </a:ext>
              </a:extLst>
            </p:cNvPr>
            <p:cNvSpPr/>
            <p:nvPr userDrawn="1"/>
          </p:nvSpPr>
          <p:spPr>
            <a:xfrm>
              <a:off x="329951"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3" name="Rechthoek 42">
              <a:extLst>
                <a:ext uri="{FF2B5EF4-FFF2-40B4-BE49-F238E27FC236}">
                  <a16:creationId xmlns:a16="http://schemas.microsoft.com/office/drawing/2014/main" id="{D36C9464-149E-E840-B37C-92654CB35B01}"/>
                </a:ext>
              </a:extLst>
            </p:cNvPr>
            <p:cNvSpPr/>
            <p:nvPr userDrawn="1"/>
          </p:nvSpPr>
          <p:spPr>
            <a:xfrm>
              <a:off x="329951"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4" name="Rechthoek 43">
              <a:extLst>
                <a:ext uri="{FF2B5EF4-FFF2-40B4-BE49-F238E27FC236}">
                  <a16:creationId xmlns:a16="http://schemas.microsoft.com/office/drawing/2014/main" id="{426BB2EC-7872-DA44-9B6C-E9AD2835B899}"/>
                </a:ext>
              </a:extLst>
            </p:cNvPr>
            <p:cNvSpPr/>
            <p:nvPr userDrawn="1"/>
          </p:nvSpPr>
          <p:spPr>
            <a:xfrm>
              <a:off x="329951"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5" name="Rechthoek 44">
              <a:extLst>
                <a:ext uri="{FF2B5EF4-FFF2-40B4-BE49-F238E27FC236}">
                  <a16:creationId xmlns:a16="http://schemas.microsoft.com/office/drawing/2014/main" id="{A0BBDBD8-78CC-D241-A158-3926BAD27960}"/>
                </a:ext>
              </a:extLst>
            </p:cNvPr>
            <p:cNvSpPr/>
            <p:nvPr userDrawn="1"/>
          </p:nvSpPr>
          <p:spPr>
            <a:xfrm>
              <a:off x="329951"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6" name="Rechthoek 45">
              <a:extLst>
                <a:ext uri="{FF2B5EF4-FFF2-40B4-BE49-F238E27FC236}">
                  <a16:creationId xmlns:a16="http://schemas.microsoft.com/office/drawing/2014/main" id="{18433956-D786-C341-9E57-72FC9F57C6CB}"/>
                </a:ext>
              </a:extLst>
            </p:cNvPr>
            <p:cNvSpPr/>
            <p:nvPr userDrawn="1"/>
          </p:nvSpPr>
          <p:spPr>
            <a:xfrm>
              <a:off x="329951"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7" name="Rechthoek 46">
              <a:extLst>
                <a:ext uri="{FF2B5EF4-FFF2-40B4-BE49-F238E27FC236}">
                  <a16:creationId xmlns:a16="http://schemas.microsoft.com/office/drawing/2014/main" id="{A5C6C6AC-A9F0-354A-B242-408E4A9E891F}"/>
                </a:ext>
              </a:extLst>
            </p:cNvPr>
            <p:cNvSpPr/>
            <p:nvPr userDrawn="1"/>
          </p:nvSpPr>
          <p:spPr>
            <a:xfrm>
              <a:off x="329951"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82" name="Rechthoek 81">
              <a:extLst>
                <a:ext uri="{FF2B5EF4-FFF2-40B4-BE49-F238E27FC236}">
                  <a16:creationId xmlns:a16="http://schemas.microsoft.com/office/drawing/2014/main" id="{E6A0644F-40C8-C14A-8169-F63419052086}"/>
                </a:ext>
              </a:extLst>
            </p:cNvPr>
            <p:cNvSpPr/>
            <p:nvPr userDrawn="1"/>
          </p:nvSpPr>
          <p:spPr>
            <a:xfrm>
              <a:off x="8965386"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83" name="Rechthoek 82">
              <a:extLst>
                <a:ext uri="{FF2B5EF4-FFF2-40B4-BE49-F238E27FC236}">
                  <a16:creationId xmlns:a16="http://schemas.microsoft.com/office/drawing/2014/main" id="{6E13F0F0-1723-CE42-B9CA-7376B55235B5}"/>
                </a:ext>
              </a:extLst>
            </p:cNvPr>
            <p:cNvSpPr/>
            <p:nvPr userDrawn="1"/>
          </p:nvSpPr>
          <p:spPr>
            <a:xfrm>
              <a:off x="9325025"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84" name="Rechthoek 83">
              <a:extLst>
                <a:ext uri="{FF2B5EF4-FFF2-40B4-BE49-F238E27FC236}">
                  <a16:creationId xmlns:a16="http://schemas.microsoft.com/office/drawing/2014/main" id="{DB586DA0-CEF5-8F45-BB2C-5864F673BF17}"/>
                </a:ext>
              </a:extLst>
            </p:cNvPr>
            <p:cNvSpPr/>
            <p:nvPr userDrawn="1"/>
          </p:nvSpPr>
          <p:spPr>
            <a:xfrm>
              <a:off x="8604154"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85" name="Rechthoek 84">
              <a:extLst>
                <a:ext uri="{FF2B5EF4-FFF2-40B4-BE49-F238E27FC236}">
                  <a16:creationId xmlns:a16="http://schemas.microsoft.com/office/drawing/2014/main" id="{78B2C762-C507-A44D-B3EC-38C7C6A42348}"/>
                </a:ext>
              </a:extLst>
            </p:cNvPr>
            <p:cNvSpPr/>
            <p:nvPr userDrawn="1"/>
          </p:nvSpPr>
          <p:spPr>
            <a:xfrm>
              <a:off x="7881689"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86" name="Rechthoek 85">
              <a:extLst>
                <a:ext uri="{FF2B5EF4-FFF2-40B4-BE49-F238E27FC236}">
                  <a16:creationId xmlns:a16="http://schemas.microsoft.com/office/drawing/2014/main" id="{ED92E93C-3E71-CC4C-A27A-CD4D73694C1B}"/>
                </a:ext>
              </a:extLst>
            </p:cNvPr>
            <p:cNvSpPr/>
            <p:nvPr userDrawn="1"/>
          </p:nvSpPr>
          <p:spPr>
            <a:xfrm>
              <a:off x="8242921"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87" name="Rechthoek 86">
              <a:extLst>
                <a:ext uri="{FF2B5EF4-FFF2-40B4-BE49-F238E27FC236}">
                  <a16:creationId xmlns:a16="http://schemas.microsoft.com/office/drawing/2014/main" id="{BB9F3F59-D62D-DC41-847E-0E14AAA27219}"/>
                </a:ext>
              </a:extLst>
            </p:cNvPr>
            <p:cNvSpPr/>
            <p:nvPr userDrawn="1"/>
          </p:nvSpPr>
          <p:spPr>
            <a:xfrm>
              <a:off x="752045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88" name="Rechthoek 87">
              <a:extLst>
                <a:ext uri="{FF2B5EF4-FFF2-40B4-BE49-F238E27FC236}">
                  <a16:creationId xmlns:a16="http://schemas.microsoft.com/office/drawing/2014/main" id="{12783E87-3F54-C64F-AF36-4A2C68FEE93F}"/>
                </a:ext>
              </a:extLst>
            </p:cNvPr>
            <p:cNvSpPr/>
            <p:nvPr userDrawn="1"/>
          </p:nvSpPr>
          <p:spPr>
            <a:xfrm>
              <a:off x="7163284"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89" name="Rechthoek 88">
              <a:extLst>
                <a:ext uri="{FF2B5EF4-FFF2-40B4-BE49-F238E27FC236}">
                  <a16:creationId xmlns:a16="http://schemas.microsoft.com/office/drawing/2014/main" id="{ED4B4EB4-0C4E-7641-B877-96DE17754862}"/>
                </a:ext>
              </a:extLst>
            </p:cNvPr>
            <p:cNvSpPr/>
            <p:nvPr userDrawn="1"/>
          </p:nvSpPr>
          <p:spPr>
            <a:xfrm>
              <a:off x="9684933"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0" name="Rechthoek 89">
              <a:extLst>
                <a:ext uri="{FF2B5EF4-FFF2-40B4-BE49-F238E27FC236}">
                  <a16:creationId xmlns:a16="http://schemas.microsoft.com/office/drawing/2014/main" id="{EDFDE497-8166-A04D-BEE1-86357DDA4B73}"/>
                </a:ext>
              </a:extLst>
            </p:cNvPr>
            <p:cNvSpPr/>
            <p:nvPr userDrawn="1"/>
          </p:nvSpPr>
          <p:spPr>
            <a:xfrm>
              <a:off x="10048025"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1" name="Rechthoek 90">
              <a:extLst>
                <a:ext uri="{FF2B5EF4-FFF2-40B4-BE49-F238E27FC236}">
                  <a16:creationId xmlns:a16="http://schemas.microsoft.com/office/drawing/2014/main" id="{DD9CE7CC-9025-3B4C-B6B4-A0370628439F}"/>
                </a:ext>
              </a:extLst>
            </p:cNvPr>
            <p:cNvSpPr/>
            <p:nvPr userDrawn="1"/>
          </p:nvSpPr>
          <p:spPr>
            <a:xfrm>
              <a:off x="10407932"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2" name="Rechthoek 91">
              <a:extLst>
                <a:ext uri="{FF2B5EF4-FFF2-40B4-BE49-F238E27FC236}">
                  <a16:creationId xmlns:a16="http://schemas.microsoft.com/office/drawing/2014/main" id="{20DFEA39-B3EE-E64F-B8F5-A7A8D8401FB3}"/>
                </a:ext>
              </a:extLst>
            </p:cNvPr>
            <p:cNvSpPr/>
            <p:nvPr userDrawn="1"/>
          </p:nvSpPr>
          <p:spPr>
            <a:xfrm>
              <a:off x="10769432"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3" name="Rechthoek 92">
              <a:extLst>
                <a:ext uri="{FF2B5EF4-FFF2-40B4-BE49-F238E27FC236}">
                  <a16:creationId xmlns:a16="http://schemas.microsoft.com/office/drawing/2014/main" id="{FE5804BC-0BB4-5A4D-97EE-8FF4CF75251C}"/>
                </a:ext>
              </a:extLst>
            </p:cNvPr>
            <p:cNvSpPr/>
            <p:nvPr userDrawn="1"/>
          </p:nvSpPr>
          <p:spPr>
            <a:xfrm>
              <a:off x="11129340"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4" name="Rechthoek 93">
              <a:extLst>
                <a:ext uri="{FF2B5EF4-FFF2-40B4-BE49-F238E27FC236}">
                  <a16:creationId xmlns:a16="http://schemas.microsoft.com/office/drawing/2014/main" id="{54C802C4-7D49-924E-B9C7-9BA936409D44}"/>
                </a:ext>
              </a:extLst>
            </p:cNvPr>
            <p:cNvSpPr/>
            <p:nvPr userDrawn="1"/>
          </p:nvSpPr>
          <p:spPr>
            <a:xfrm>
              <a:off x="1148924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5" name="Rechthoek 94">
              <a:extLst>
                <a:ext uri="{FF2B5EF4-FFF2-40B4-BE49-F238E27FC236}">
                  <a16:creationId xmlns:a16="http://schemas.microsoft.com/office/drawing/2014/main" id="{8AD57B08-85DD-F54A-AF03-D2959D4D09D5}"/>
                </a:ext>
              </a:extLst>
            </p:cNvPr>
            <p:cNvSpPr/>
            <p:nvPr userDrawn="1"/>
          </p:nvSpPr>
          <p:spPr>
            <a:xfrm>
              <a:off x="1185074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6" name="Rechthoek 95">
              <a:extLst>
                <a:ext uri="{FF2B5EF4-FFF2-40B4-BE49-F238E27FC236}">
                  <a16:creationId xmlns:a16="http://schemas.microsoft.com/office/drawing/2014/main" id="{603D261E-0CA4-6940-B826-ADA38969AB84}"/>
                </a:ext>
              </a:extLst>
            </p:cNvPr>
            <p:cNvSpPr/>
            <p:nvPr userDrawn="1"/>
          </p:nvSpPr>
          <p:spPr>
            <a:xfrm>
              <a:off x="8965386"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7" name="Rechthoek 96">
              <a:extLst>
                <a:ext uri="{FF2B5EF4-FFF2-40B4-BE49-F238E27FC236}">
                  <a16:creationId xmlns:a16="http://schemas.microsoft.com/office/drawing/2014/main" id="{D3566BFA-ABB5-CB42-A675-016C19699B28}"/>
                </a:ext>
              </a:extLst>
            </p:cNvPr>
            <p:cNvSpPr/>
            <p:nvPr userDrawn="1"/>
          </p:nvSpPr>
          <p:spPr>
            <a:xfrm>
              <a:off x="9325025"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8" name="Rechthoek 97">
              <a:extLst>
                <a:ext uri="{FF2B5EF4-FFF2-40B4-BE49-F238E27FC236}">
                  <a16:creationId xmlns:a16="http://schemas.microsoft.com/office/drawing/2014/main" id="{6A46C681-2FFA-7F47-9509-6B109917CA74}"/>
                </a:ext>
              </a:extLst>
            </p:cNvPr>
            <p:cNvSpPr/>
            <p:nvPr userDrawn="1"/>
          </p:nvSpPr>
          <p:spPr>
            <a:xfrm>
              <a:off x="8604154"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99" name="Rechthoek 98">
              <a:extLst>
                <a:ext uri="{FF2B5EF4-FFF2-40B4-BE49-F238E27FC236}">
                  <a16:creationId xmlns:a16="http://schemas.microsoft.com/office/drawing/2014/main" id="{CE01AD20-EAD5-244E-9FB4-3E964131472F}"/>
                </a:ext>
              </a:extLst>
            </p:cNvPr>
            <p:cNvSpPr/>
            <p:nvPr userDrawn="1"/>
          </p:nvSpPr>
          <p:spPr>
            <a:xfrm>
              <a:off x="7881689"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0" name="Rechthoek 99">
              <a:extLst>
                <a:ext uri="{FF2B5EF4-FFF2-40B4-BE49-F238E27FC236}">
                  <a16:creationId xmlns:a16="http://schemas.microsoft.com/office/drawing/2014/main" id="{72416B84-D4E9-EC47-9DAC-90AFD3D8B7A1}"/>
                </a:ext>
              </a:extLst>
            </p:cNvPr>
            <p:cNvSpPr/>
            <p:nvPr userDrawn="1"/>
          </p:nvSpPr>
          <p:spPr>
            <a:xfrm>
              <a:off x="8242921"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1" name="Rechthoek 100">
              <a:extLst>
                <a:ext uri="{FF2B5EF4-FFF2-40B4-BE49-F238E27FC236}">
                  <a16:creationId xmlns:a16="http://schemas.microsoft.com/office/drawing/2014/main" id="{7BF2F730-1518-E544-BA6F-3ED3B171C113}"/>
                </a:ext>
              </a:extLst>
            </p:cNvPr>
            <p:cNvSpPr/>
            <p:nvPr userDrawn="1"/>
          </p:nvSpPr>
          <p:spPr>
            <a:xfrm>
              <a:off x="752045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2" name="Rechthoek 101">
              <a:extLst>
                <a:ext uri="{FF2B5EF4-FFF2-40B4-BE49-F238E27FC236}">
                  <a16:creationId xmlns:a16="http://schemas.microsoft.com/office/drawing/2014/main" id="{2D7A400B-C2A5-C34A-9BC3-2279286DA92A}"/>
                </a:ext>
              </a:extLst>
            </p:cNvPr>
            <p:cNvSpPr/>
            <p:nvPr userDrawn="1"/>
          </p:nvSpPr>
          <p:spPr>
            <a:xfrm>
              <a:off x="7163284"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3" name="Rechthoek 102">
              <a:extLst>
                <a:ext uri="{FF2B5EF4-FFF2-40B4-BE49-F238E27FC236}">
                  <a16:creationId xmlns:a16="http://schemas.microsoft.com/office/drawing/2014/main" id="{12F8B4C0-A36A-6646-8298-1CB15F5F12B5}"/>
                </a:ext>
              </a:extLst>
            </p:cNvPr>
            <p:cNvSpPr/>
            <p:nvPr userDrawn="1"/>
          </p:nvSpPr>
          <p:spPr>
            <a:xfrm>
              <a:off x="9684933"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4" name="Rechthoek 103">
              <a:extLst>
                <a:ext uri="{FF2B5EF4-FFF2-40B4-BE49-F238E27FC236}">
                  <a16:creationId xmlns:a16="http://schemas.microsoft.com/office/drawing/2014/main" id="{811174C9-839E-BE43-9709-8739DC809FA4}"/>
                </a:ext>
              </a:extLst>
            </p:cNvPr>
            <p:cNvSpPr/>
            <p:nvPr userDrawn="1"/>
          </p:nvSpPr>
          <p:spPr>
            <a:xfrm>
              <a:off x="10048025"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5" name="Rechthoek 104">
              <a:extLst>
                <a:ext uri="{FF2B5EF4-FFF2-40B4-BE49-F238E27FC236}">
                  <a16:creationId xmlns:a16="http://schemas.microsoft.com/office/drawing/2014/main" id="{A71C28B0-AFC9-2E4D-B4C6-A9898B7FB23B}"/>
                </a:ext>
              </a:extLst>
            </p:cNvPr>
            <p:cNvSpPr/>
            <p:nvPr userDrawn="1"/>
          </p:nvSpPr>
          <p:spPr>
            <a:xfrm>
              <a:off x="10407932"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6" name="Rechthoek 105">
              <a:extLst>
                <a:ext uri="{FF2B5EF4-FFF2-40B4-BE49-F238E27FC236}">
                  <a16:creationId xmlns:a16="http://schemas.microsoft.com/office/drawing/2014/main" id="{59F783A9-873B-B944-8DC9-7BFA18B99C40}"/>
                </a:ext>
              </a:extLst>
            </p:cNvPr>
            <p:cNvSpPr/>
            <p:nvPr userDrawn="1"/>
          </p:nvSpPr>
          <p:spPr>
            <a:xfrm>
              <a:off x="10769432"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7" name="Rechthoek 106">
              <a:extLst>
                <a:ext uri="{FF2B5EF4-FFF2-40B4-BE49-F238E27FC236}">
                  <a16:creationId xmlns:a16="http://schemas.microsoft.com/office/drawing/2014/main" id="{79FC56FA-DAEC-BA46-8DA5-D155B6BFCFCA}"/>
                </a:ext>
              </a:extLst>
            </p:cNvPr>
            <p:cNvSpPr/>
            <p:nvPr userDrawn="1"/>
          </p:nvSpPr>
          <p:spPr>
            <a:xfrm>
              <a:off x="11129340"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8" name="Rechthoek 107">
              <a:extLst>
                <a:ext uri="{FF2B5EF4-FFF2-40B4-BE49-F238E27FC236}">
                  <a16:creationId xmlns:a16="http://schemas.microsoft.com/office/drawing/2014/main" id="{D9878764-2E23-E646-9713-0E464E1ADCCC}"/>
                </a:ext>
              </a:extLst>
            </p:cNvPr>
            <p:cNvSpPr/>
            <p:nvPr userDrawn="1"/>
          </p:nvSpPr>
          <p:spPr>
            <a:xfrm>
              <a:off x="1148924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09" name="Rechthoek 108">
              <a:extLst>
                <a:ext uri="{FF2B5EF4-FFF2-40B4-BE49-F238E27FC236}">
                  <a16:creationId xmlns:a16="http://schemas.microsoft.com/office/drawing/2014/main" id="{81DF3E2F-4F6A-A145-B9E2-1C9E8CF1FE19}"/>
                </a:ext>
              </a:extLst>
            </p:cNvPr>
            <p:cNvSpPr/>
            <p:nvPr userDrawn="1"/>
          </p:nvSpPr>
          <p:spPr>
            <a:xfrm>
              <a:off x="1185074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0" name="Rechthoek 109">
              <a:extLst>
                <a:ext uri="{FF2B5EF4-FFF2-40B4-BE49-F238E27FC236}">
                  <a16:creationId xmlns:a16="http://schemas.microsoft.com/office/drawing/2014/main" id="{204952F0-E1F4-134F-A479-5A1EBED97557}"/>
                </a:ext>
              </a:extLst>
            </p:cNvPr>
            <p:cNvSpPr/>
            <p:nvPr userDrawn="1"/>
          </p:nvSpPr>
          <p:spPr>
            <a:xfrm>
              <a:off x="896538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1" name="Rechthoek 110">
              <a:extLst>
                <a:ext uri="{FF2B5EF4-FFF2-40B4-BE49-F238E27FC236}">
                  <a16:creationId xmlns:a16="http://schemas.microsoft.com/office/drawing/2014/main" id="{D8BB9E83-4A91-7846-BEFA-476A8AE72C74}"/>
                </a:ext>
              </a:extLst>
            </p:cNvPr>
            <p:cNvSpPr/>
            <p:nvPr userDrawn="1"/>
          </p:nvSpPr>
          <p:spPr>
            <a:xfrm>
              <a:off x="932502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2" name="Rechthoek 111">
              <a:extLst>
                <a:ext uri="{FF2B5EF4-FFF2-40B4-BE49-F238E27FC236}">
                  <a16:creationId xmlns:a16="http://schemas.microsoft.com/office/drawing/2014/main" id="{5F8B08DB-F14E-3048-9E94-9DFF22887BFC}"/>
                </a:ext>
              </a:extLst>
            </p:cNvPr>
            <p:cNvSpPr/>
            <p:nvPr userDrawn="1"/>
          </p:nvSpPr>
          <p:spPr>
            <a:xfrm>
              <a:off x="860415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3" name="Rechthoek 112">
              <a:extLst>
                <a:ext uri="{FF2B5EF4-FFF2-40B4-BE49-F238E27FC236}">
                  <a16:creationId xmlns:a16="http://schemas.microsoft.com/office/drawing/2014/main" id="{0881A577-845D-124F-9D4B-B93D9E88BB8F}"/>
                </a:ext>
              </a:extLst>
            </p:cNvPr>
            <p:cNvSpPr/>
            <p:nvPr userDrawn="1"/>
          </p:nvSpPr>
          <p:spPr>
            <a:xfrm>
              <a:off x="7881689"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4" name="Rechthoek 113">
              <a:extLst>
                <a:ext uri="{FF2B5EF4-FFF2-40B4-BE49-F238E27FC236}">
                  <a16:creationId xmlns:a16="http://schemas.microsoft.com/office/drawing/2014/main" id="{9DBDB731-13C9-ED4C-AF1E-2602566EC156}"/>
                </a:ext>
              </a:extLst>
            </p:cNvPr>
            <p:cNvSpPr/>
            <p:nvPr userDrawn="1"/>
          </p:nvSpPr>
          <p:spPr>
            <a:xfrm>
              <a:off x="824292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5" name="Rechthoek 114">
              <a:extLst>
                <a:ext uri="{FF2B5EF4-FFF2-40B4-BE49-F238E27FC236}">
                  <a16:creationId xmlns:a16="http://schemas.microsoft.com/office/drawing/2014/main" id="{DE386F2E-8A42-5541-9342-576376B2F440}"/>
                </a:ext>
              </a:extLst>
            </p:cNvPr>
            <p:cNvSpPr/>
            <p:nvPr userDrawn="1"/>
          </p:nvSpPr>
          <p:spPr>
            <a:xfrm>
              <a:off x="752045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6" name="Rechthoek 115">
              <a:extLst>
                <a:ext uri="{FF2B5EF4-FFF2-40B4-BE49-F238E27FC236}">
                  <a16:creationId xmlns:a16="http://schemas.microsoft.com/office/drawing/2014/main" id="{D81E282B-0C98-4344-A639-BCE6C2AA1D4C}"/>
                </a:ext>
              </a:extLst>
            </p:cNvPr>
            <p:cNvSpPr/>
            <p:nvPr userDrawn="1"/>
          </p:nvSpPr>
          <p:spPr>
            <a:xfrm>
              <a:off x="680205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7" name="Rechthoek 116">
              <a:extLst>
                <a:ext uri="{FF2B5EF4-FFF2-40B4-BE49-F238E27FC236}">
                  <a16:creationId xmlns:a16="http://schemas.microsoft.com/office/drawing/2014/main" id="{DCBF5B49-9F84-A446-BE26-C5DC410A8605}"/>
                </a:ext>
              </a:extLst>
            </p:cNvPr>
            <p:cNvSpPr/>
            <p:nvPr userDrawn="1"/>
          </p:nvSpPr>
          <p:spPr>
            <a:xfrm>
              <a:off x="716328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8" name="Rechthoek 117">
              <a:extLst>
                <a:ext uri="{FF2B5EF4-FFF2-40B4-BE49-F238E27FC236}">
                  <a16:creationId xmlns:a16="http://schemas.microsoft.com/office/drawing/2014/main" id="{3A38DB5C-3B04-7B4E-881C-DBE9A7514D86}"/>
                </a:ext>
              </a:extLst>
            </p:cNvPr>
            <p:cNvSpPr/>
            <p:nvPr userDrawn="1"/>
          </p:nvSpPr>
          <p:spPr>
            <a:xfrm>
              <a:off x="644082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19" name="Rechthoek 118">
              <a:extLst>
                <a:ext uri="{FF2B5EF4-FFF2-40B4-BE49-F238E27FC236}">
                  <a16:creationId xmlns:a16="http://schemas.microsoft.com/office/drawing/2014/main" id="{47619A73-A93A-4D4B-9152-6DAD5347B744}"/>
                </a:ext>
              </a:extLst>
            </p:cNvPr>
            <p:cNvSpPr/>
            <p:nvPr userDrawn="1"/>
          </p:nvSpPr>
          <p:spPr>
            <a:xfrm>
              <a:off x="60836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0" name="Rechthoek 119">
              <a:extLst>
                <a:ext uri="{FF2B5EF4-FFF2-40B4-BE49-F238E27FC236}">
                  <a16:creationId xmlns:a16="http://schemas.microsoft.com/office/drawing/2014/main" id="{06E77A45-CC03-034A-B0EF-FF1E65BEDFB2}"/>
                </a:ext>
              </a:extLst>
            </p:cNvPr>
            <p:cNvSpPr/>
            <p:nvPr userDrawn="1"/>
          </p:nvSpPr>
          <p:spPr>
            <a:xfrm>
              <a:off x="968493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1" name="Rechthoek 120">
              <a:extLst>
                <a:ext uri="{FF2B5EF4-FFF2-40B4-BE49-F238E27FC236}">
                  <a16:creationId xmlns:a16="http://schemas.microsoft.com/office/drawing/2014/main" id="{7B40D71F-2F76-E248-8729-F65150474167}"/>
                </a:ext>
              </a:extLst>
            </p:cNvPr>
            <p:cNvSpPr/>
            <p:nvPr userDrawn="1"/>
          </p:nvSpPr>
          <p:spPr>
            <a:xfrm>
              <a:off x="1004802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2" name="Rechthoek 121">
              <a:extLst>
                <a:ext uri="{FF2B5EF4-FFF2-40B4-BE49-F238E27FC236}">
                  <a16:creationId xmlns:a16="http://schemas.microsoft.com/office/drawing/2014/main" id="{E6441020-C482-844D-9C02-CD69B3C5B168}"/>
                </a:ext>
              </a:extLst>
            </p:cNvPr>
            <p:cNvSpPr/>
            <p:nvPr userDrawn="1"/>
          </p:nvSpPr>
          <p:spPr>
            <a:xfrm>
              <a:off x="1040793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3" name="Rechthoek 122">
              <a:extLst>
                <a:ext uri="{FF2B5EF4-FFF2-40B4-BE49-F238E27FC236}">
                  <a16:creationId xmlns:a16="http://schemas.microsoft.com/office/drawing/2014/main" id="{D72AD4BD-048E-4B4B-BC87-48255EB6EE25}"/>
                </a:ext>
              </a:extLst>
            </p:cNvPr>
            <p:cNvSpPr/>
            <p:nvPr userDrawn="1"/>
          </p:nvSpPr>
          <p:spPr>
            <a:xfrm>
              <a:off x="1076943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4" name="Rechthoek 123">
              <a:extLst>
                <a:ext uri="{FF2B5EF4-FFF2-40B4-BE49-F238E27FC236}">
                  <a16:creationId xmlns:a16="http://schemas.microsoft.com/office/drawing/2014/main" id="{DDE0839B-508E-9445-8A44-9F6489377919}"/>
                </a:ext>
              </a:extLst>
            </p:cNvPr>
            <p:cNvSpPr/>
            <p:nvPr userDrawn="1"/>
          </p:nvSpPr>
          <p:spPr>
            <a:xfrm>
              <a:off x="1112934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5" name="Rechthoek 124">
              <a:extLst>
                <a:ext uri="{FF2B5EF4-FFF2-40B4-BE49-F238E27FC236}">
                  <a16:creationId xmlns:a16="http://schemas.microsoft.com/office/drawing/2014/main" id="{F9BC5FD0-87DE-FE4E-86EA-87399CC5F910}"/>
                </a:ext>
              </a:extLst>
            </p:cNvPr>
            <p:cNvSpPr/>
            <p:nvPr userDrawn="1"/>
          </p:nvSpPr>
          <p:spPr>
            <a:xfrm>
              <a:off x="114892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6" name="Rechthoek 125">
              <a:extLst>
                <a:ext uri="{FF2B5EF4-FFF2-40B4-BE49-F238E27FC236}">
                  <a16:creationId xmlns:a16="http://schemas.microsoft.com/office/drawing/2014/main" id="{64B37F64-86AA-E241-903E-2C9D1C3AE3CD}"/>
                </a:ext>
              </a:extLst>
            </p:cNvPr>
            <p:cNvSpPr/>
            <p:nvPr userDrawn="1"/>
          </p:nvSpPr>
          <p:spPr>
            <a:xfrm>
              <a:off x="118507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7" name="Rechthoek 126">
              <a:extLst>
                <a:ext uri="{FF2B5EF4-FFF2-40B4-BE49-F238E27FC236}">
                  <a16:creationId xmlns:a16="http://schemas.microsoft.com/office/drawing/2014/main" id="{D6F9C76D-913A-4F4D-BB1C-46334D7BC3C3}"/>
                </a:ext>
              </a:extLst>
            </p:cNvPr>
            <p:cNvSpPr/>
            <p:nvPr userDrawn="1"/>
          </p:nvSpPr>
          <p:spPr>
            <a:xfrm>
              <a:off x="8965386"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8" name="Rechthoek 127">
              <a:extLst>
                <a:ext uri="{FF2B5EF4-FFF2-40B4-BE49-F238E27FC236}">
                  <a16:creationId xmlns:a16="http://schemas.microsoft.com/office/drawing/2014/main" id="{423D77CD-4F96-AC4A-A8C1-D7F2B54ABBF8}"/>
                </a:ext>
              </a:extLst>
            </p:cNvPr>
            <p:cNvSpPr/>
            <p:nvPr userDrawn="1"/>
          </p:nvSpPr>
          <p:spPr>
            <a:xfrm>
              <a:off x="9325025"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29" name="Rechthoek 128">
              <a:extLst>
                <a:ext uri="{FF2B5EF4-FFF2-40B4-BE49-F238E27FC236}">
                  <a16:creationId xmlns:a16="http://schemas.microsoft.com/office/drawing/2014/main" id="{96CC7068-6254-C54A-BEB5-51C2A310CA50}"/>
                </a:ext>
              </a:extLst>
            </p:cNvPr>
            <p:cNvSpPr/>
            <p:nvPr userDrawn="1"/>
          </p:nvSpPr>
          <p:spPr>
            <a:xfrm>
              <a:off x="8604154"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0" name="Rechthoek 129">
              <a:extLst>
                <a:ext uri="{FF2B5EF4-FFF2-40B4-BE49-F238E27FC236}">
                  <a16:creationId xmlns:a16="http://schemas.microsoft.com/office/drawing/2014/main" id="{32C1DC85-D66B-5D41-AFB5-F18753916B11}"/>
                </a:ext>
              </a:extLst>
            </p:cNvPr>
            <p:cNvSpPr/>
            <p:nvPr userDrawn="1"/>
          </p:nvSpPr>
          <p:spPr>
            <a:xfrm>
              <a:off x="7881689"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1" name="Rechthoek 130">
              <a:extLst>
                <a:ext uri="{FF2B5EF4-FFF2-40B4-BE49-F238E27FC236}">
                  <a16:creationId xmlns:a16="http://schemas.microsoft.com/office/drawing/2014/main" id="{1B4F8D9A-4D4D-EC4C-9413-45DF214A0474}"/>
                </a:ext>
              </a:extLst>
            </p:cNvPr>
            <p:cNvSpPr/>
            <p:nvPr userDrawn="1"/>
          </p:nvSpPr>
          <p:spPr>
            <a:xfrm>
              <a:off x="8242921"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2" name="Rechthoek 131">
              <a:extLst>
                <a:ext uri="{FF2B5EF4-FFF2-40B4-BE49-F238E27FC236}">
                  <a16:creationId xmlns:a16="http://schemas.microsoft.com/office/drawing/2014/main" id="{4093579C-19A2-4E4D-A844-6277E22A9306}"/>
                </a:ext>
              </a:extLst>
            </p:cNvPr>
            <p:cNvSpPr/>
            <p:nvPr userDrawn="1"/>
          </p:nvSpPr>
          <p:spPr>
            <a:xfrm>
              <a:off x="752045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3" name="Rechthoek 132">
              <a:extLst>
                <a:ext uri="{FF2B5EF4-FFF2-40B4-BE49-F238E27FC236}">
                  <a16:creationId xmlns:a16="http://schemas.microsoft.com/office/drawing/2014/main" id="{97697038-67E8-6C48-AC78-8199E64F0973}"/>
                </a:ext>
              </a:extLst>
            </p:cNvPr>
            <p:cNvSpPr/>
            <p:nvPr userDrawn="1"/>
          </p:nvSpPr>
          <p:spPr>
            <a:xfrm>
              <a:off x="7163284"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4" name="Rechthoek 133">
              <a:extLst>
                <a:ext uri="{FF2B5EF4-FFF2-40B4-BE49-F238E27FC236}">
                  <a16:creationId xmlns:a16="http://schemas.microsoft.com/office/drawing/2014/main" id="{4E31C8D5-CD0A-A341-8CB5-FFAA2AC3496E}"/>
                </a:ext>
              </a:extLst>
            </p:cNvPr>
            <p:cNvSpPr/>
            <p:nvPr userDrawn="1"/>
          </p:nvSpPr>
          <p:spPr>
            <a:xfrm>
              <a:off x="9684933"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5" name="Rechthoek 134">
              <a:extLst>
                <a:ext uri="{FF2B5EF4-FFF2-40B4-BE49-F238E27FC236}">
                  <a16:creationId xmlns:a16="http://schemas.microsoft.com/office/drawing/2014/main" id="{9DBFF5BD-0B8A-8F46-BE32-EAC13F292926}"/>
                </a:ext>
              </a:extLst>
            </p:cNvPr>
            <p:cNvSpPr/>
            <p:nvPr userDrawn="1"/>
          </p:nvSpPr>
          <p:spPr>
            <a:xfrm>
              <a:off x="10048025"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6" name="Rechthoek 135">
              <a:extLst>
                <a:ext uri="{FF2B5EF4-FFF2-40B4-BE49-F238E27FC236}">
                  <a16:creationId xmlns:a16="http://schemas.microsoft.com/office/drawing/2014/main" id="{7FDAB8BF-00BA-E247-AD24-02A69165F7A4}"/>
                </a:ext>
              </a:extLst>
            </p:cNvPr>
            <p:cNvSpPr/>
            <p:nvPr userDrawn="1"/>
          </p:nvSpPr>
          <p:spPr>
            <a:xfrm>
              <a:off x="10407932"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7" name="Rechthoek 136">
              <a:extLst>
                <a:ext uri="{FF2B5EF4-FFF2-40B4-BE49-F238E27FC236}">
                  <a16:creationId xmlns:a16="http://schemas.microsoft.com/office/drawing/2014/main" id="{E24D2D81-467E-3C40-8336-19EB7407F0F4}"/>
                </a:ext>
              </a:extLst>
            </p:cNvPr>
            <p:cNvSpPr/>
            <p:nvPr userDrawn="1"/>
          </p:nvSpPr>
          <p:spPr>
            <a:xfrm>
              <a:off x="10769432"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8" name="Rechthoek 137">
              <a:extLst>
                <a:ext uri="{FF2B5EF4-FFF2-40B4-BE49-F238E27FC236}">
                  <a16:creationId xmlns:a16="http://schemas.microsoft.com/office/drawing/2014/main" id="{88F658E2-F364-AB4C-897E-6E8688BF6171}"/>
                </a:ext>
              </a:extLst>
            </p:cNvPr>
            <p:cNvSpPr/>
            <p:nvPr userDrawn="1"/>
          </p:nvSpPr>
          <p:spPr>
            <a:xfrm>
              <a:off x="11129340"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39" name="Rechthoek 138">
              <a:extLst>
                <a:ext uri="{FF2B5EF4-FFF2-40B4-BE49-F238E27FC236}">
                  <a16:creationId xmlns:a16="http://schemas.microsoft.com/office/drawing/2014/main" id="{7917C825-4BA2-D047-A360-6103ED076A1B}"/>
                </a:ext>
              </a:extLst>
            </p:cNvPr>
            <p:cNvSpPr/>
            <p:nvPr userDrawn="1"/>
          </p:nvSpPr>
          <p:spPr>
            <a:xfrm>
              <a:off x="1148924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0" name="Rechthoek 139">
              <a:extLst>
                <a:ext uri="{FF2B5EF4-FFF2-40B4-BE49-F238E27FC236}">
                  <a16:creationId xmlns:a16="http://schemas.microsoft.com/office/drawing/2014/main" id="{1B5BF9B8-8992-834E-8A1B-88D911FA0C4E}"/>
                </a:ext>
              </a:extLst>
            </p:cNvPr>
            <p:cNvSpPr/>
            <p:nvPr userDrawn="1"/>
          </p:nvSpPr>
          <p:spPr>
            <a:xfrm>
              <a:off x="1185074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1" name="Rechthoek 140">
              <a:extLst>
                <a:ext uri="{FF2B5EF4-FFF2-40B4-BE49-F238E27FC236}">
                  <a16:creationId xmlns:a16="http://schemas.microsoft.com/office/drawing/2014/main" id="{E811603B-4BAA-A245-9D33-2A3F0E035ACF}"/>
                </a:ext>
              </a:extLst>
            </p:cNvPr>
            <p:cNvSpPr/>
            <p:nvPr userDrawn="1"/>
          </p:nvSpPr>
          <p:spPr>
            <a:xfrm>
              <a:off x="8965386"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2" name="Rechthoek 141">
              <a:extLst>
                <a:ext uri="{FF2B5EF4-FFF2-40B4-BE49-F238E27FC236}">
                  <a16:creationId xmlns:a16="http://schemas.microsoft.com/office/drawing/2014/main" id="{A9C56408-DAAE-F14E-A958-914FC69E03D2}"/>
                </a:ext>
              </a:extLst>
            </p:cNvPr>
            <p:cNvSpPr/>
            <p:nvPr userDrawn="1"/>
          </p:nvSpPr>
          <p:spPr>
            <a:xfrm>
              <a:off x="9325025"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3" name="Rechthoek 142">
              <a:extLst>
                <a:ext uri="{FF2B5EF4-FFF2-40B4-BE49-F238E27FC236}">
                  <a16:creationId xmlns:a16="http://schemas.microsoft.com/office/drawing/2014/main" id="{3BB9DE46-6A30-7643-B62A-90D2B6661501}"/>
                </a:ext>
              </a:extLst>
            </p:cNvPr>
            <p:cNvSpPr/>
            <p:nvPr userDrawn="1"/>
          </p:nvSpPr>
          <p:spPr>
            <a:xfrm>
              <a:off x="8604154"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4" name="Rechthoek 143">
              <a:extLst>
                <a:ext uri="{FF2B5EF4-FFF2-40B4-BE49-F238E27FC236}">
                  <a16:creationId xmlns:a16="http://schemas.microsoft.com/office/drawing/2014/main" id="{BD1023B3-FA66-5A4B-9DC5-C70D27FB8073}"/>
                </a:ext>
              </a:extLst>
            </p:cNvPr>
            <p:cNvSpPr/>
            <p:nvPr userDrawn="1"/>
          </p:nvSpPr>
          <p:spPr>
            <a:xfrm>
              <a:off x="7881689"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5" name="Rechthoek 144">
              <a:extLst>
                <a:ext uri="{FF2B5EF4-FFF2-40B4-BE49-F238E27FC236}">
                  <a16:creationId xmlns:a16="http://schemas.microsoft.com/office/drawing/2014/main" id="{D5DD5257-A2F7-4F4D-AF92-7C22C2888562}"/>
                </a:ext>
              </a:extLst>
            </p:cNvPr>
            <p:cNvSpPr/>
            <p:nvPr userDrawn="1"/>
          </p:nvSpPr>
          <p:spPr>
            <a:xfrm>
              <a:off x="8242921"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6" name="Rechthoek 145">
              <a:extLst>
                <a:ext uri="{FF2B5EF4-FFF2-40B4-BE49-F238E27FC236}">
                  <a16:creationId xmlns:a16="http://schemas.microsoft.com/office/drawing/2014/main" id="{1E37FED7-16B9-6342-BFAB-FB9736D33C38}"/>
                </a:ext>
              </a:extLst>
            </p:cNvPr>
            <p:cNvSpPr/>
            <p:nvPr userDrawn="1"/>
          </p:nvSpPr>
          <p:spPr>
            <a:xfrm>
              <a:off x="752045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7" name="Rechthoek 146">
              <a:extLst>
                <a:ext uri="{FF2B5EF4-FFF2-40B4-BE49-F238E27FC236}">
                  <a16:creationId xmlns:a16="http://schemas.microsoft.com/office/drawing/2014/main" id="{7B6A5640-2096-E24F-903D-F5A702A35856}"/>
                </a:ext>
              </a:extLst>
            </p:cNvPr>
            <p:cNvSpPr/>
            <p:nvPr userDrawn="1"/>
          </p:nvSpPr>
          <p:spPr>
            <a:xfrm>
              <a:off x="7163284"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8" name="Rechthoek 147">
              <a:extLst>
                <a:ext uri="{FF2B5EF4-FFF2-40B4-BE49-F238E27FC236}">
                  <a16:creationId xmlns:a16="http://schemas.microsoft.com/office/drawing/2014/main" id="{4589485F-8807-4F43-AA6E-6F4798DC7EE1}"/>
                </a:ext>
              </a:extLst>
            </p:cNvPr>
            <p:cNvSpPr/>
            <p:nvPr userDrawn="1"/>
          </p:nvSpPr>
          <p:spPr>
            <a:xfrm>
              <a:off x="9684933"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49" name="Rechthoek 148">
              <a:extLst>
                <a:ext uri="{FF2B5EF4-FFF2-40B4-BE49-F238E27FC236}">
                  <a16:creationId xmlns:a16="http://schemas.microsoft.com/office/drawing/2014/main" id="{9EF48A83-6F18-C041-ABF1-81DB430C9503}"/>
                </a:ext>
              </a:extLst>
            </p:cNvPr>
            <p:cNvSpPr/>
            <p:nvPr userDrawn="1"/>
          </p:nvSpPr>
          <p:spPr>
            <a:xfrm>
              <a:off x="10048025"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0" name="Rechthoek 149">
              <a:extLst>
                <a:ext uri="{FF2B5EF4-FFF2-40B4-BE49-F238E27FC236}">
                  <a16:creationId xmlns:a16="http://schemas.microsoft.com/office/drawing/2014/main" id="{61B8F06D-B26D-DF4A-8B61-A2D5E04796D0}"/>
                </a:ext>
              </a:extLst>
            </p:cNvPr>
            <p:cNvSpPr/>
            <p:nvPr userDrawn="1"/>
          </p:nvSpPr>
          <p:spPr>
            <a:xfrm>
              <a:off x="10407932"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1" name="Rechthoek 150">
              <a:extLst>
                <a:ext uri="{FF2B5EF4-FFF2-40B4-BE49-F238E27FC236}">
                  <a16:creationId xmlns:a16="http://schemas.microsoft.com/office/drawing/2014/main" id="{C8894CC5-6D01-1A4C-AF84-F79660038E80}"/>
                </a:ext>
              </a:extLst>
            </p:cNvPr>
            <p:cNvSpPr/>
            <p:nvPr userDrawn="1"/>
          </p:nvSpPr>
          <p:spPr>
            <a:xfrm>
              <a:off x="10769432"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2" name="Rechthoek 151">
              <a:extLst>
                <a:ext uri="{FF2B5EF4-FFF2-40B4-BE49-F238E27FC236}">
                  <a16:creationId xmlns:a16="http://schemas.microsoft.com/office/drawing/2014/main" id="{30FEBBD9-5D50-024E-969F-79DAD9AB8273}"/>
                </a:ext>
              </a:extLst>
            </p:cNvPr>
            <p:cNvSpPr/>
            <p:nvPr userDrawn="1"/>
          </p:nvSpPr>
          <p:spPr>
            <a:xfrm>
              <a:off x="11129340"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3" name="Rechthoek 152">
              <a:extLst>
                <a:ext uri="{FF2B5EF4-FFF2-40B4-BE49-F238E27FC236}">
                  <a16:creationId xmlns:a16="http://schemas.microsoft.com/office/drawing/2014/main" id="{A422D123-1485-EA43-A23F-9CB5FFF1C00D}"/>
                </a:ext>
              </a:extLst>
            </p:cNvPr>
            <p:cNvSpPr/>
            <p:nvPr userDrawn="1"/>
          </p:nvSpPr>
          <p:spPr>
            <a:xfrm>
              <a:off x="1148924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4" name="Rechthoek 153">
              <a:extLst>
                <a:ext uri="{FF2B5EF4-FFF2-40B4-BE49-F238E27FC236}">
                  <a16:creationId xmlns:a16="http://schemas.microsoft.com/office/drawing/2014/main" id="{95EFBF2F-CEFC-DE44-AD24-2ECBC946E9A8}"/>
                </a:ext>
              </a:extLst>
            </p:cNvPr>
            <p:cNvSpPr/>
            <p:nvPr userDrawn="1"/>
          </p:nvSpPr>
          <p:spPr>
            <a:xfrm>
              <a:off x="1185074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5" name="Rechthoek 154">
              <a:extLst>
                <a:ext uri="{FF2B5EF4-FFF2-40B4-BE49-F238E27FC236}">
                  <a16:creationId xmlns:a16="http://schemas.microsoft.com/office/drawing/2014/main" id="{63ADA443-1F1F-D642-873C-643553071E32}"/>
                </a:ext>
              </a:extLst>
            </p:cNvPr>
            <p:cNvSpPr/>
            <p:nvPr userDrawn="1"/>
          </p:nvSpPr>
          <p:spPr>
            <a:xfrm>
              <a:off x="8965386"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6" name="Rechthoek 155">
              <a:extLst>
                <a:ext uri="{FF2B5EF4-FFF2-40B4-BE49-F238E27FC236}">
                  <a16:creationId xmlns:a16="http://schemas.microsoft.com/office/drawing/2014/main" id="{50844D2A-5574-1B44-B746-CBFFD612E1D7}"/>
                </a:ext>
              </a:extLst>
            </p:cNvPr>
            <p:cNvSpPr/>
            <p:nvPr userDrawn="1"/>
          </p:nvSpPr>
          <p:spPr>
            <a:xfrm>
              <a:off x="9325025"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7" name="Rechthoek 156">
              <a:extLst>
                <a:ext uri="{FF2B5EF4-FFF2-40B4-BE49-F238E27FC236}">
                  <a16:creationId xmlns:a16="http://schemas.microsoft.com/office/drawing/2014/main" id="{5E82C546-46D8-824A-BC0D-5453AFC47E68}"/>
                </a:ext>
              </a:extLst>
            </p:cNvPr>
            <p:cNvSpPr/>
            <p:nvPr userDrawn="1"/>
          </p:nvSpPr>
          <p:spPr>
            <a:xfrm>
              <a:off x="8604154"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8" name="Rechthoek 157">
              <a:extLst>
                <a:ext uri="{FF2B5EF4-FFF2-40B4-BE49-F238E27FC236}">
                  <a16:creationId xmlns:a16="http://schemas.microsoft.com/office/drawing/2014/main" id="{01D009C4-601B-0046-A3A6-22C2A946F161}"/>
                </a:ext>
              </a:extLst>
            </p:cNvPr>
            <p:cNvSpPr/>
            <p:nvPr userDrawn="1"/>
          </p:nvSpPr>
          <p:spPr>
            <a:xfrm>
              <a:off x="7881689"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59" name="Rechthoek 158">
              <a:extLst>
                <a:ext uri="{FF2B5EF4-FFF2-40B4-BE49-F238E27FC236}">
                  <a16:creationId xmlns:a16="http://schemas.microsoft.com/office/drawing/2014/main" id="{1CC9017D-DE66-E541-8436-078774EF22F0}"/>
                </a:ext>
              </a:extLst>
            </p:cNvPr>
            <p:cNvSpPr/>
            <p:nvPr userDrawn="1"/>
          </p:nvSpPr>
          <p:spPr>
            <a:xfrm>
              <a:off x="8242921"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0" name="Rechthoek 159">
              <a:extLst>
                <a:ext uri="{FF2B5EF4-FFF2-40B4-BE49-F238E27FC236}">
                  <a16:creationId xmlns:a16="http://schemas.microsoft.com/office/drawing/2014/main" id="{1380D20D-95D9-0242-ADD4-1AA84D062918}"/>
                </a:ext>
              </a:extLst>
            </p:cNvPr>
            <p:cNvSpPr/>
            <p:nvPr userDrawn="1"/>
          </p:nvSpPr>
          <p:spPr>
            <a:xfrm>
              <a:off x="752045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1" name="Rechthoek 160">
              <a:extLst>
                <a:ext uri="{FF2B5EF4-FFF2-40B4-BE49-F238E27FC236}">
                  <a16:creationId xmlns:a16="http://schemas.microsoft.com/office/drawing/2014/main" id="{A0C09487-6302-DE43-BADD-64000F0AA10C}"/>
                </a:ext>
              </a:extLst>
            </p:cNvPr>
            <p:cNvSpPr/>
            <p:nvPr userDrawn="1"/>
          </p:nvSpPr>
          <p:spPr>
            <a:xfrm>
              <a:off x="7163284"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2" name="Rechthoek 161">
              <a:extLst>
                <a:ext uri="{FF2B5EF4-FFF2-40B4-BE49-F238E27FC236}">
                  <a16:creationId xmlns:a16="http://schemas.microsoft.com/office/drawing/2014/main" id="{56F81E4A-18DD-254C-A153-5D0D2CC91F51}"/>
                </a:ext>
              </a:extLst>
            </p:cNvPr>
            <p:cNvSpPr/>
            <p:nvPr userDrawn="1"/>
          </p:nvSpPr>
          <p:spPr>
            <a:xfrm>
              <a:off x="9684933"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3" name="Rechthoek 162">
              <a:extLst>
                <a:ext uri="{FF2B5EF4-FFF2-40B4-BE49-F238E27FC236}">
                  <a16:creationId xmlns:a16="http://schemas.microsoft.com/office/drawing/2014/main" id="{C9C7AF16-57FE-5C4A-AD31-DE29BD8304A6}"/>
                </a:ext>
              </a:extLst>
            </p:cNvPr>
            <p:cNvSpPr/>
            <p:nvPr userDrawn="1"/>
          </p:nvSpPr>
          <p:spPr>
            <a:xfrm>
              <a:off x="10048025"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4" name="Rechthoek 163">
              <a:extLst>
                <a:ext uri="{FF2B5EF4-FFF2-40B4-BE49-F238E27FC236}">
                  <a16:creationId xmlns:a16="http://schemas.microsoft.com/office/drawing/2014/main" id="{9E8577D5-3A8D-6148-B60B-6ED3FF28DEB1}"/>
                </a:ext>
              </a:extLst>
            </p:cNvPr>
            <p:cNvSpPr/>
            <p:nvPr userDrawn="1"/>
          </p:nvSpPr>
          <p:spPr>
            <a:xfrm>
              <a:off x="10407932"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5" name="Rechthoek 164">
              <a:extLst>
                <a:ext uri="{FF2B5EF4-FFF2-40B4-BE49-F238E27FC236}">
                  <a16:creationId xmlns:a16="http://schemas.microsoft.com/office/drawing/2014/main" id="{582C01C4-49AB-9A46-977C-522A75A74089}"/>
                </a:ext>
              </a:extLst>
            </p:cNvPr>
            <p:cNvSpPr/>
            <p:nvPr userDrawn="1"/>
          </p:nvSpPr>
          <p:spPr>
            <a:xfrm>
              <a:off x="10769432"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6" name="Rechthoek 165">
              <a:extLst>
                <a:ext uri="{FF2B5EF4-FFF2-40B4-BE49-F238E27FC236}">
                  <a16:creationId xmlns:a16="http://schemas.microsoft.com/office/drawing/2014/main" id="{15041BB9-52FF-BF4C-85B9-C2E897B8D790}"/>
                </a:ext>
              </a:extLst>
            </p:cNvPr>
            <p:cNvSpPr/>
            <p:nvPr userDrawn="1"/>
          </p:nvSpPr>
          <p:spPr>
            <a:xfrm>
              <a:off x="11129340"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7" name="Rechthoek 166">
              <a:extLst>
                <a:ext uri="{FF2B5EF4-FFF2-40B4-BE49-F238E27FC236}">
                  <a16:creationId xmlns:a16="http://schemas.microsoft.com/office/drawing/2014/main" id="{897DDBC0-13A6-5142-A18E-2CC145F533EA}"/>
                </a:ext>
              </a:extLst>
            </p:cNvPr>
            <p:cNvSpPr/>
            <p:nvPr userDrawn="1"/>
          </p:nvSpPr>
          <p:spPr>
            <a:xfrm>
              <a:off x="1148924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8" name="Rechthoek 167">
              <a:extLst>
                <a:ext uri="{FF2B5EF4-FFF2-40B4-BE49-F238E27FC236}">
                  <a16:creationId xmlns:a16="http://schemas.microsoft.com/office/drawing/2014/main" id="{F6D9D06C-ED1A-0F40-B354-844F2EF16D42}"/>
                </a:ext>
              </a:extLst>
            </p:cNvPr>
            <p:cNvSpPr/>
            <p:nvPr userDrawn="1"/>
          </p:nvSpPr>
          <p:spPr>
            <a:xfrm>
              <a:off x="1185074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69" name="Rechthoek 168">
              <a:extLst>
                <a:ext uri="{FF2B5EF4-FFF2-40B4-BE49-F238E27FC236}">
                  <a16:creationId xmlns:a16="http://schemas.microsoft.com/office/drawing/2014/main" id="{7AE4E440-F399-EA4D-BC20-F1F54526137F}"/>
                </a:ext>
              </a:extLst>
            </p:cNvPr>
            <p:cNvSpPr/>
            <p:nvPr userDrawn="1"/>
          </p:nvSpPr>
          <p:spPr>
            <a:xfrm>
              <a:off x="8965386"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0" name="Rechthoek 169">
              <a:extLst>
                <a:ext uri="{FF2B5EF4-FFF2-40B4-BE49-F238E27FC236}">
                  <a16:creationId xmlns:a16="http://schemas.microsoft.com/office/drawing/2014/main" id="{490585D0-AE27-E640-BBD3-7F7ACE05D21E}"/>
                </a:ext>
              </a:extLst>
            </p:cNvPr>
            <p:cNvSpPr/>
            <p:nvPr userDrawn="1"/>
          </p:nvSpPr>
          <p:spPr>
            <a:xfrm>
              <a:off x="9325025"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1" name="Rechthoek 170">
              <a:extLst>
                <a:ext uri="{FF2B5EF4-FFF2-40B4-BE49-F238E27FC236}">
                  <a16:creationId xmlns:a16="http://schemas.microsoft.com/office/drawing/2014/main" id="{D358A2C9-B223-E941-9BD8-19F455BF8571}"/>
                </a:ext>
              </a:extLst>
            </p:cNvPr>
            <p:cNvSpPr/>
            <p:nvPr userDrawn="1"/>
          </p:nvSpPr>
          <p:spPr>
            <a:xfrm>
              <a:off x="8604154"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2" name="Rechthoek 171">
              <a:extLst>
                <a:ext uri="{FF2B5EF4-FFF2-40B4-BE49-F238E27FC236}">
                  <a16:creationId xmlns:a16="http://schemas.microsoft.com/office/drawing/2014/main" id="{3D353EB3-AE4C-F04D-8CB5-0F696B5082BC}"/>
                </a:ext>
              </a:extLst>
            </p:cNvPr>
            <p:cNvSpPr/>
            <p:nvPr userDrawn="1"/>
          </p:nvSpPr>
          <p:spPr>
            <a:xfrm>
              <a:off x="7881689"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3" name="Rechthoek 172">
              <a:extLst>
                <a:ext uri="{FF2B5EF4-FFF2-40B4-BE49-F238E27FC236}">
                  <a16:creationId xmlns:a16="http://schemas.microsoft.com/office/drawing/2014/main" id="{F960F58D-A105-2E46-9767-8B0999D65E5D}"/>
                </a:ext>
              </a:extLst>
            </p:cNvPr>
            <p:cNvSpPr/>
            <p:nvPr userDrawn="1"/>
          </p:nvSpPr>
          <p:spPr>
            <a:xfrm>
              <a:off x="8242921"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4" name="Rechthoek 173">
              <a:extLst>
                <a:ext uri="{FF2B5EF4-FFF2-40B4-BE49-F238E27FC236}">
                  <a16:creationId xmlns:a16="http://schemas.microsoft.com/office/drawing/2014/main" id="{4CBD20C8-C2F1-314B-B0DC-8EACA8165186}"/>
                </a:ext>
              </a:extLst>
            </p:cNvPr>
            <p:cNvSpPr/>
            <p:nvPr userDrawn="1"/>
          </p:nvSpPr>
          <p:spPr>
            <a:xfrm>
              <a:off x="752045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5" name="Rechthoek 174">
              <a:extLst>
                <a:ext uri="{FF2B5EF4-FFF2-40B4-BE49-F238E27FC236}">
                  <a16:creationId xmlns:a16="http://schemas.microsoft.com/office/drawing/2014/main" id="{A26F7A08-47F8-DC45-9C73-F08A20CA3E0E}"/>
                </a:ext>
              </a:extLst>
            </p:cNvPr>
            <p:cNvSpPr/>
            <p:nvPr userDrawn="1"/>
          </p:nvSpPr>
          <p:spPr>
            <a:xfrm>
              <a:off x="7163284"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6" name="Rechthoek 175">
              <a:extLst>
                <a:ext uri="{FF2B5EF4-FFF2-40B4-BE49-F238E27FC236}">
                  <a16:creationId xmlns:a16="http://schemas.microsoft.com/office/drawing/2014/main" id="{BF9EFF0A-4484-CF44-B146-B6508E3EF9F3}"/>
                </a:ext>
              </a:extLst>
            </p:cNvPr>
            <p:cNvSpPr/>
            <p:nvPr userDrawn="1"/>
          </p:nvSpPr>
          <p:spPr>
            <a:xfrm>
              <a:off x="9684933"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7" name="Rechthoek 176">
              <a:extLst>
                <a:ext uri="{FF2B5EF4-FFF2-40B4-BE49-F238E27FC236}">
                  <a16:creationId xmlns:a16="http://schemas.microsoft.com/office/drawing/2014/main" id="{11C39394-519D-F248-9C22-B15531B01C1D}"/>
                </a:ext>
              </a:extLst>
            </p:cNvPr>
            <p:cNvSpPr/>
            <p:nvPr userDrawn="1"/>
          </p:nvSpPr>
          <p:spPr>
            <a:xfrm>
              <a:off x="10048025"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8" name="Rechthoek 177">
              <a:extLst>
                <a:ext uri="{FF2B5EF4-FFF2-40B4-BE49-F238E27FC236}">
                  <a16:creationId xmlns:a16="http://schemas.microsoft.com/office/drawing/2014/main" id="{D39697CB-5C2E-0849-8A28-FF538B315DF7}"/>
                </a:ext>
              </a:extLst>
            </p:cNvPr>
            <p:cNvSpPr/>
            <p:nvPr userDrawn="1"/>
          </p:nvSpPr>
          <p:spPr>
            <a:xfrm>
              <a:off x="10407932"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79" name="Rechthoek 178">
              <a:extLst>
                <a:ext uri="{FF2B5EF4-FFF2-40B4-BE49-F238E27FC236}">
                  <a16:creationId xmlns:a16="http://schemas.microsoft.com/office/drawing/2014/main" id="{7E788494-2572-874C-8E51-0D43CFFF143E}"/>
                </a:ext>
              </a:extLst>
            </p:cNvPr>
            <p:cNvSpPr/>
            <p:nvPr userDrawn="1"/>
          </p:nvSpPr>
          <p:spPr>
            <a:xfrm>
              <a:off x="10769432"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0" name="Rechthoek 179">
              <a:extLst>
                <a:ext uri="{FF2B5EF4-FFF2-40B4-BE49-F238E27FC236}">
                  <a16:creationId xmlns:a16="http://schemas.microsoft.com/office/drawing/2014/main" id="{9A91AFA8-8607-2744-B27E-4969A146CAD5}"/>
                </a:ext>
              </a:extLst>
            </p:cNvPr>
            <p:cNvSpPr/>
            <p:nvPr userDrawn="1"/>
          </p:nvSpPr>
          <p:spPr>
            <a:xfrm>
              <a:off x="11129340"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1" name="Rechthoek 180">
              <a:extLst>
                <a:ext uri="{FF2B5EF4-FFF2-40B4-BE49-F238E27FC236}">
                  <a16:creationId xmlns:a16="http://schemas.microsoft.com/office/drawing/2014/main" id="{262CA04B-9859-A947-97F6-57D4B6BB1492}"/>
                </a:ext>
              </a:extLst>
            </p:cNvPr>
            <p:cNvSpPr/>
            <p:nvPr userDrawn="1"/>
          </p:nvSpPr>
          <p:spPr>
            <a:xfrm>
              <a:off x="1148924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2" name="Rechthoek 181">
              <a:extLst>
                <a:ext uri="{FF2B5EF4-FFF2-40B4-BE49-F238E27FC236}">
                  <a16:creationId xmlns:a16="http://schemas.microsoft.com/office/drawing/2014/main" id="{1361E52D-FF53-0942-9E77-A5F658BDEE28}"/>
                </a:ext>
              </a:extLst>
            </p:cNvPr>
            <p:cNvSpPr/>
            <p:nvPr userDrawn="1"/>
          </p:nvSpPr>
          <p:spPr>
            <a:xfrm>
              <a:off x="1185074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3" name="Rechthoek 182">
              <a:extLst>
                <a:ext uri="{FF2B5EF4-FFF2-40B4-BE49-F238E27FC236}">
                  <a16:creationId xmlns:a16="http://schemas.microsoft.com/office/drawing/2014/main" id="{05979C80-9EA0-CA41-95DF-D92AC70A6199}"/>
                </a:ext>
              </a:extLst>
            </p:cNvPr>
            <p:cNvSpPr/>
            <p:nvPr userDrawn="1"/>
          </p:nvSpPr>
          <p:spPr>
            <a:xfrm>
              <a:off x="8965386"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4" name="Rechthoek 183">
              <a:extLst>
                <a:ext uri="{FF2B5EF4-FFF2-40B4-BE49-F238E27FC236}">
                  <a16:creationId xmlns:a16="http://schemas.microsoft.com/office/drawing/2014/main" id="{672F8EFD-5596-8E42-B18E-B2622695555D}"/>
                </a:ext>
              </a:extLst>
            </p:cNvPr>
            <p:cNvSpPr/>
            <p:nvPr userDrawn="1"/>
          </p:nvSpPr>
          <p:spPr>
            <a:xfrm>
              <a:off x="9325025"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5" name="Rechthoek 184">
              <a:extLst>
                <a:ext uri="{FF2B5EF4-FFF2-40B4-BE49-F238E27FC236}">
                  <a16:creationId xmlns:a16="http://schemas.microsoft.com/office/drawing/2014/main" id="{F49DA6D9-9323-F543-908B-4983EA9E0CA2}"/>
                </a:ext>
              </a:extLst>
            </p:cNvPr>
            <p:cNvSpPr/>
            <p:nvPr userDrawn="1"/>
          </p:nvSpPr>
          <p:spPr>
            <a:xfrm>
              <a:off x="8604154"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6" name="Rechthoek 185">
              <a:extLst>
                <a:ext uri="{FF2B5EF4-FFF2-40B4-BE49-F238E27FC236}">
                  <a16:creationId xmlns:a16="http://schemas.microsoft.com/office/drawing/2014/main" id="{63CB7996-77B7-5E42-8E8A-7806BEA38860}"/>
                </a:ext>
              </a:extLst>
            </p:cNvPr>
            <p:cNvSpPr/>
            <p:nvPr userDrawn="1"/>
          </p:nvSpPr>
          <p:spPr>
            <a:xfrm>
              <a:off x="7881689"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7" name="Rechthoek 186">
              <a:extLst>
                <a:ext uri="{FF2B5EF4-FFF2-40B4-BE49-F238E27FC236}">
                  <a16:creationId xmlns:a16="http://schemas.microsoft.com/office/drawing/2014/main" id="{41CA0223-5596-1246-AF57-B05DB12110E5}"/>
                </a:ext>
              </a:extLst>
            </p:cNvPr>
            <p:cNvSpPr/>
            <p:nvPr userDrawn="1"/>
          </p:nvSpPr>
          <p:spPr>
            <a:xfrm>
              <a:off x="8242921"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8" name="Rechthoek 187">
              <a:extLst>
                <a:ext uri="{FF2B5EF4-FFF2-40B4-BE49-F238E27FC236}">
                  <a16:creationId xmlns:a16="http://schemas.microsoft.com/office/drawing/2014/main" id="{6862EF39-E48E-804C-9BFE-A46548056661}"/>
                </a:ext>
              </a:extLst>
            </p:cNvPr>
            <p:cNvSpPr/>
            <p:nvPr userDrawn="1"/>
          </p:nvSpPr>
          <p:spPr>
            <a:xfrm>
              <a:off x="752045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89" name="Rechthoek 188">
              <a:extLst>
                <a:ext uri="{FF2B5EF4-FFF2-40B4-BE49-F238E27FC236}">
                  <a16:creationId xmlns:a16="http://schemas.microsoft.com/office/drawing/2014/main" id="{25254F11-5B1F-7B43-B7AC-CEBB9E963B08}"/>
                </a:ext>
              </a:extLst>
            </p:cNvPr>
            <p:cNvSpPr/>
            <p:nvPr userDrawn="1"/>
          </p:nvSpPr>
          <p:spPr>
            <a:xfrm>
              <a:off x="7163284"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0" name="Rechthoek 189">
              <a:extLst>
                <a:ext uri="{FF2B5EF4-FFF2-40B4-BE49-F238E27FC236}">
                  <a16:creationId xmlns:a16="http://schemas.microsoft.com/office/drawing/2014/main" id="{ACD0CFA3-8726-DB42-AB35-8DE530E49736}"/>
                </a:ext>
              </a:extLst>
            </p:cNvPr>
            <p:cNvSpPr/>
            <p:nvPr userDrawn="1"/>
          </p:nvSpPr>
          <p:spPr>
            <a:xfrm>
              <a:off x="9684933"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1" name="Rechthoek 190">
              <a:extLst>
                <a:ext uri="{FF2B5EF4-FFF2-40B4-BE49-F238E27FC236}">
                  <a16:creationId xmlns:a16="http://schemas.microsoft.com/office/drawing/2014/main" id="{27FC9CFB-3A0C-E54C-8B44-F7477DC2251C}"/>
                </a:ext>
              </a:extLst>
            </p:cNvPr>
            <p:cNvSpPr/>
            <p:nvPr userDrawn="1"/>
          </p:nvSpPr>
          <p:spPr>
            <a:xfrm>
              <a:off x="10048025"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2" name="Rechthoek 191">
              <a:extLst>
                <a:ext uri="{FF2B5EF4-FFF2-40B4-BE49-F238E27FC236}">
                  <a16:creationId xmlns:a16="http://schemas.microsoft.com/office/drawing/2014/main" id="{23FE6C79-7E5A-1F41-ADC0-863C6E3144D8}"/>
                </a:ext>
              </a:extLst>
            </p:cNvPr>
            <p:cNvSpPr/>
            <p:nvPr userDrawn="1"/>
          </p:nvSpPr>
          <p:spPr>
            <a:xfrm>
              <a:off x="10407932"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3" name="Rechthoek 192">
              <a:extLst>
                <a:ext uri="{FF2B5EF4-FFF2-40B4-BE49-F238E27FC236}">
                  <a16:creationId xmlns:a16="http://schemas.microsoft.com/office/drawing/2014/main" id="{868BB43B-4C07-8440-BB73-FC5E16BE8941}"/>
                </a:ext>
              </a:extLst>
            </p:cNvPr>
            <p:cNvSpPr/>
            <p:nvPr userDrawn="1"/>
          </p:nvSpPr>
          <p:spPr>
            <a:xfrm>
              <a:off x="10769432"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4" name="Rechthoek 193">
              <a:extLst>
                <a:ext uri="{FF2B5EF4-FFF2-40B4-BE49-F238E27FC236}">
                  <a16:creationId xmlns:a16="http://schemas.microsoft.com/office/drawing/2014/main" id="{D76EE41B-D759-934F-8FEC-C6DC2535D77C}"/>
                </a:ext>
              </a:extLst>
            </p:cNvPr>
            <p:cNvSpPr/>
            <p:nvPr userDrawn="1"/>
          </p:nvSpPr>
          <p:spPr>
            <a:xfrm>
              <a:off x="11129340"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5" name="Rechthoek 194">
              <a:extLst>
                <a:ext uri="{FF2B5EF4-FFF2-40B4-BE49-F238E27FC236}">
                  <a16:creationId xmlns:a16="http://schemas.microsoft.com/office/drawing/2014/main" id="{CFDEBD3B-296F-6B47-B887-EA896F0564CF}"/>
                </a:ext>
              </a:extLst>
            </p:cNvPr>
            <p:cNvSpPr/>
            <p:nvPr userDrawn="1"/>
          </p:nvSpPr>
          <p:spPr>
            <a:xfrm>
              <a:off x="1148924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6" name="Rechthoek 195">
              <a:extLst>
                <a:ext uri="{FF2B5EF4-FFF2-40B4-BE49-F238E27FC236}">
                  <a16:creationId xmlns:a16="http://schemas.microsoft.com/office/drawing/2014/main" id="{11CA010E-E72A-D540-8C76-D844A95FFFB3}"/>
                </a:ext>
              </a:extLst>
            </p:cNvPr>
            <p:cNvSpPr/>
            <p:nvPr userDrawn="1"/>
          </p:nvSpPr>
          <p:spPr>
            <a:xfrm>
              <a:off x="1185074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7" name="Rechthoek 196">
              <a:extLst>
                <a:ext uri="{FF2B5EF4-FFF2-40B4-BE49-F238E27FC236}">
                  <a16:creationId xmlns:a16="http://schemas.microsoft.com/office/drawing/2014/main" id="{611A280D-4C7B-6F40-A05F-3B3F756691C8}"/>
                </a:ext>
              </a:extLst>
            </p:cNvPr>
            <p:cNvSpPr/>
            <p:nvPr userDrawn="1"/>
          </p:nvSpPr>
          <p:spPr>
            <a:xfrm>
              <a:off x="8965386"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8" name="Rechthoek 197">
              <a:extLst>
                <a:ext uri="{FF2B5EF4-FFF2-40B4-BE49-F238E27FC236}">
                  <a16:creationId xmlns:a16="http://schemas.microsoft.com/office/drawing/2014/main" id="{A88D7E01-4C53-5846-823F-4583486504FD}"/>
                </a:ext>
              </a:extLst>
            </p:cNvPr>
            <p:cNvSpPr/>
            <p:nvPr userDrawn="1"/>
          </p:nvSpPr>
          <p:spPr>
            <a:xfrm>
              <a:off x="9325025"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199" name="Rechthoek 198">
              <a:extLst>
                <a:ext uri="{FF2B5EF4-FFF2-40B4-BE49-F238E27FC236}">
                  <a16:creationId xmlns:a16="http://schemas.microsoft.com/office/drawing/2014/main" id="{E0FB05D6-2D23-6C4C-8AB7-FC6C23DA9F56}"/>
                </a:ext>
              </a:extLst>
            </p:cNvPr>
            <p:cNvSpPr/>
            <p:nvPr userDrawn="1"/>
          </p:nvSpPr>
          <p:spPr>
            <a:xfrm>
              <a:off x="8604154"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0" name="Rechthoek 199">
              <a:extLst>
                <a:ext uri="{FF2B5EF4-FFF2-40B4-BE49-F238E27FC236}">
                  <a16:creationId xmlns:a16="http://schemas.microsoft.com/office/drawing/2014/main" id="{F720C752-6BD5-C74C-84EE-CFF39FD96262}"/>
                </a:ext>
              </a:extLst>
            </p:cNvPr>
            <p:cNvSpPr/>
            <p:nvPr userDrawn="1"/>
          </p:nvSpPr>
          <p:spPr>
            <a:xfrm>
              <a:off x="7881689"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1" name="Rechthoek 200">
              <a:extLst>
                <a:ext uri="{FF2B5EF4-FFF2-40B4-BE49-F238E27FC236}">
                  <a16:creationId xmlns:a16="http://schemas.microsoft.com/office/drawing/2014/main" id="{832DBC2F-5668-1147-B076-8331BE6DA1C9}"/>
                </a:ext>
              </a:extLst>
            </p:cNvPr>
            <p:cNvSpPr/>
            <p:nvPr userDrawn="1"/>
          </p:nvSpPr>
          <p:spPr>
            <a:xfrm>
              <a:off x="8242921"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2" name="Rechthoek 201">
              <a:extLst>
                <a:ext uri="{FF2B5EF4-FFF2-40B4-BE49-F238E27FC236}">
                  <a16:creationId xmlns:a16="http://schemas.microsoft.com/office/drawing/2014/main" id="{37A2A709-7F55-A34C-852B-030FC9CE5DD2}"/>
                </a:ext>
              </a:extLst>
            </p:cNvPr>
            <p:cNvSpPr/>
            <p:nvPr userDrawn="1"/>
          </p:nvSpPr>
          <p:spPr>
            <a:xfrm>
              <a:off x="752045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3" name="Rechthoek 202">
              <a:extLst>
                <a:ext uri="{FF2B5EF4-FFF2-40B4-BE49-F238E27FC236}">
                  <a16:creationId xmlns:a16="http://schemas.microsoft.com/office/drawing/2014/main" id="{AC3EEDD0-A1D1-794E-A5D8-87A94BEFD875}"/>
                </a:ext>
              </a:extLst>
            </p:cNvPr>
            <p:cNvSpPr/>
            <p:nvPr userDrawn="1"/>
          </p:nvSpPr>
          <p:spPr>
            <a:xfrm>
              <a:off x="7163284"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4" name="Rechthoek 203">
              <a:extLst>
                <a:ext uri="{FF2B5EF4-FFF2-40B4-BE49-F238E27FC236}">
                  <a16:creationId xmlns:a16="http://schemas.microsoft.com/office/drawing/2014/main" id="{5CE8FBE2-5BD6-804D-AE15-67417D72062B}"/>
                </a:ext>
              </a:extLst>
            </p:cNvPr>
            <p:cNvSpPr/>
            <p:nvPr userDrawn="1"/>
          </p:nvSpPr>
          <p:spPr>
            <a:xfrm>
              <a:off x="9684933"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5" name="Rechthoek 204">
              <a:extLst>
                <a:ext uri="{FF2B5EF4-FFF2-40B4-BE49-F238E27FC236}">
                  <a16:creationId xmlns:a16="http://schemas.microsoft.com/office/drawing/2014/main" id="{D0841BEA-8DE7-8F45-BB30-FFC40F11CE74}"/>
                </a:ext>
              </a:extLst>
            </p:cNvPr>
            <p:cNvSpPr/>
            <p:nvPr userDrawn="1"/>
          </p:nvSpPr>
          <p:spPr>
            <a:xfrm>
              <a:off x="10048025"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6" name="Rechthoek 205">
              <a:extLst>
                <a:ext uri="{FF2B5EF4-FFF2-40B4-BE49-F238E27FC236}">
                  <a16:creationId xmlns:a16="http://schemas.microsoft.com/office/drawing/2014/main" id="{E5A894EF-A2C3-B841-8C6A-F4469FEE6078}"/>
                </a:ext>
              </a:extLst>
            </p:cNvPr>
            <p:cNvSpPr/>
            <p:nvPr userDrawn="1"/>
          </p:nvSpPr>
          <p:spPr>
            <a:xfrm>
              <a:off x="10407932"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7" name="Rechthoek 206">
              <a:extLst>
                <a:ext uri="{FF2B5EF4-FFF2-40B4-BE49-F238E27FC236}">
                  <a16:creationId xmlns:a16="http://schemas.microsoft.com/office/drawing/2014/main" id="{BB64406A-291A-6745-96CA-C4DDC2F2AAA5}"/>
                </a:ext>
              </a:extLst>
            </p:cNvPr>
            <p:cNvSpPr/>
            <p:nvPr userDrawn="1"/>
          </p:nvSpPr>
          <p:spPr>
            <a:xfrm>
              <a:off x="10769432"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8" name="Rechthoek 207">
              <a:extLst>
                <a:ext uri="{FF2B5EF4-FFF2-40B4-BE49-F238E27FC236}">
                  <a16:creationId xmlns:a16="http://schemas.microsoft.com/office/drawing/2014/main" id="{C277632B-6B32-074E-BE4E-0BCC5F6611B8}"/>
                </a:ext>
              </a:extLst>
            </p:cNvPr>
            <p:cNvSpPr/>
            <p:nvPr userDrawn="1"/>
          </p:nvSpPr>
          <p:spPr>
            <a:xfrm>
              <a:off x="11129340"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09" name="Rechthoek 208">
              <a:extLst>
                <a:ext uri="{FF2B5EF4-FFF2-40B4-BE49-F238E27FC236}">
                  <a16:creationId xmlns:a16="http://schemas.microsoft.com/office/drawing/2014/main" id="{9D120BC3-3AD0-3E40-B2A3-71EAD7D86C39}"/>
                </a:ext>
              </a:extLst>
            </p:cNvPr>
            <p:cNvSpPr/>
            <p:nvPr userDrawn="1"/>
          </p:nvSpPr>
          <p:spPr>
            <a:xfrm>
              <a:off x="1148924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0" name="Rechthoek 209">
              <a:extLst>
                <a:ext uri="{FF2B5EF4-FFF2-40B4-BE49-F238E27FC236}">
                  <a16:creationId xmlns:a16="http://schemas.microsoft.com/office/drawing/2014/main" id="{42BD8B2A-D880-9049-8430-E673177202F2}"/>
                </a:ext>
              </a:extLst>
            </p:cNvPr>
            <p:cNvSpPr/>
            <p:nvPr userDrawn="1"/>
          </p:nvSpPr>
          <p:spPr>
            <a:xfrm>
              <a:off x="1185074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1" name="Rechthoek 210">
              <a:extLst>
                <a:ext uri="{FF2B5EF4-FFF2-40B4-BE49-F238E27FC236}">
                  <a16:creationId xmlns:a16="http://schemas.microsoft.com/office/drawing/2014/main" id="{63C23E28-BF2A-0940-9514-5F95FC11FFC0}"/>
                </a:ext>
              </a:extLst>
            </p:cNvPr>
            <p:cNvSpPr/>
            <p:nvPr userDrawn="1"/>
          </p:nvSpPr>
          <p:spPr>
            <a:xfrm>
              <a:off x="329951" y="4068681"/>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2" name="Rechthoek 211">
              <a:extLst>
                <a:ext uri="{FF2B5EF4-FFF2-40B4-BE49-F238E27FC236}">
                  <a16:creationId xmlns:a16="http://schemas.microsoft.com/office/drawing/2014/main" id="{7AE4D547-9454-C449-91FB-A2251540A3DF}"/>
                </a:ext>
              </a:extLst>
            </p:cNvPr>
            <p:cNvSpPr/>
            <p:nvPr userDrawn="1"/>
          </p:nvSpPr>
          <p:spPr>
            <a:xfrm>
              <a:off x="329951" y="3705228"/>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3" name="Rechthoek 212">
              <a:extLst>
                <a:ext uri="{FF2B5EF4-FFF2-40B4-BE49-F238E27FC236}">
                  <a16:creationId xmlns:a16="http://schemas.microsoft.com/office/drawing/2014/main" id="{4129B9BC-D30D-A046-BAF8-17EFF18058C8}"/>
                </a:ext>
              </a:extLst>
            </p:cNvPr>
            <p:cNvSpPr/>
            <p:nvPr userDrawn="1"/>
          </p:nvSpPr>
          <p:spPr>
            <a:xfrm>
              <a:off x="329951"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4" name="Rechthoek 213">
              <a:extLst>
                <a:ext uri="{FF2B5EF4-FFF2-40B4-BE49-F238E27FC236}">
                  <a16:creationId xmlns:a16="http://schemas.microsoft.com/office/drawing/2014/main" id="{8000A5D1-CC96-F74B-BFAD-18F066354FC0}"/>
                </a:ext>
              </a:extLst>
            </p:cNvPr>
            <p:cNvSpPr/>
            <p:nvPr userDrawn="1"/>
          </p:nvSpPr>
          <p:spPr>
            <a:xfrm>
              <a:off x="329951" y="515008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5" name="Rechthoek 214">
              <a:extLst>
                <a:ext uri="{FF2B5EF4-FFF2-40B4-BE49-F238E27FC236}">
                  <a16:creationId xmlns:a16="http://schemas.microsoft.com/office/drawing/2014/main" id="{068CC09A-951B-C645-9EF1-AB7673088081}"/>
                </a:ext>
              </a:extLst>
            </p:cNvPr>
            <p:cNvSpPr/>
            <p:nvPr userDrawn="1"/>
          </p:nvSpPr>
          <p:spPr>
            <a:xfrm>
              <a:off x="329951" y="478663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6" name="Rechthoek 215">
              <a:extLst>
                <a:ext uri="{FF2B5EF4-FFF2-40B4-BE49-F238E27FC236}">
                  <a16:creationId xmlns:a16="http://schemas.microsoft.com/office/drawing/2014/main" id="{221FD207-FE10-FC43-A28C-F4A64543A33A}"/>
                </a:ext>
              </a:extLst>
            </p:cNvPr>
            <p:cNvSpPr/>
            <p:nvPr userDrawn="1"/>
          </p:nvSpPr>
          <p:spPr>
            <a:xfrm>
              <a:off x="329951" y="442647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7" name="Rechthoek 216">
              <a:extLst>
                <a:ext uri="{FF2B5EF4-FFF2-40B4-BE49-F238E27FC236}">
                  <a16:creationId xmlns:a16="http://schemas.microsoft.com/office/drawing/2014/main" id="{39C391D7-3435-E849-9AA4-2B94FD1C2A10}"/>
                </a:ext>
              </a:extLst>
            </p:cNvPr>
            <p:cNvSpPr/>
            <p:nvPr userDrawn="1"/>
          </p:nvSpPr>
          <p:spPr>
            <a:xfrm>
              <a:off x="329951" y="586804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8" name="Rechthoek 217">
              <a:extLst>
                <a:ext uri="{FF2B5EF4-FFF2-40B4-BE49-F238E27FC236}">
                  <a16:creationId xmlns:a16="http://schemas.microsoft.com/office/drawing/2014/main" id="{80336B4A-BC5E-B341-859F-21150D9EA431}"/>
                </a:ext>
              </a:extLst>
            </p:cNvPr>
            <p:cNvSpPr/>
            <p:nvPr userDrawn="1"/>
          </p:nvSpPr>
          <p:spPr>
            <a:xfrm>
              <a:off x="329951" y="550788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19" name="Rechthoek 218">
              <a:extLst>
                <a:ext uri="{FF2B5EF4-FFF2-40B4-BE49-F238E27FC236}">
                  <a16:creationId xmlns:a16="http://schemas.microsoft.com/office/drawing/2014/main" id="{C100B2F4-DF6F-3040-BD15-E3F157233F62}"/>
                </a:ext>
              </a:extLst>
            </p:cNvPr>
            <p:cNvSpPr/>
            <p:nvPr userDrawn="1"/>
          </p:nvSpPr>
          <p:spPr>
            <a:xfrm>
              <a:off x="11850747" y="4068681"/>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0" name="Rechthoek 219">
              <a:extLst>
                <a:ext uri="{FF2B5EF4-FFF2-40B4-BE49-F238E27FC236}">
                  <a16:creationId xmlns:a16="http://schemas.microsoft.com/office/drawing/2014/main" id="{C142FD20-21C5-4842-86AC-C2181494D833}"/>
                </a:ext>
              </a:extLst>
            </p:cNvPr>
            <p:cNvSpPr/>
            <p:nvPr userDrawn="1"/>
          </p:nvSpPr>
          <p:spPr>
            <a:xfrm>
              <a:off x="11850747" y="3705228"/>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1" name="Rechthoek 220">
              <a:extLst>
                <a:ext uri="{FF2B5EF4-FFF2-40B4-BE49-F238E27FC236}">
                  <a16:creationId xmlns:a16="http://schemas.microsoft.com/office/drawing/2014/main" id="{6BBEBA76-EBB1-7D40-BECE-326DD5FFDBBE}"/>
                </a:ext>
              </a:extLst>
            </p:cNvPr>
            <p:cNvSpPr/>
            <p:nvPr userDrawn="1"/>
          </p:nvSpPr>
          <p:spPr>
            <a:xfrm>
              <a:off x="8965386"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2" name="Rechthoek 221">
              <a:extLst>
                <a:ext uri="{FF2B5EF4-FFF2-40B4-BE49-F238E27FC236}">
                  <a16:creationId xmlns:a16="http://schemas.microsoft.com/office/drawing/2014/main" id="{390EC9D9-BFC0-1B4B-B22D-630CABE0A776}"/>
                </a:ext>
              </a:extLst>
            </p:cNvPr>
            <p:cNvSpPr/>
            <p:nvPr userDrawn="1"/>
          </p:nvSpPr>
          <p:spPr>
            <a:xfrm>
              <a:off x="9325025"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3" name="Rechthoek 222">
              <a:extLst>
                <a:ext uri="{FF2B5EF4-FFF2-40B4-BE49-F238E27FC236}">
                  <a16:creationId xmlns:a16="http://schemas.microsoft.com/office/drawing/2014/main" id="{F2580E9C-7F1C-7143-8185-9FDBCFFE2053}"/>
                </a:ext>
              </a:extLst>
            </p:cNvPr>
            <p:cNvSpPr/>
            <p:nvPr userDrawn="1"/>
          </p:nvSpPr>
          <p:spPr>
            <a:xfrm>
              <a:off x="8604154"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4" name="Rechthoek 223">
              <a:extLst>
                <a:ext uri="{FF2B5EF4-FFF2-40B4-BE49-F238E27FC236}">
                  <a16:creationId xmlns:a16="http://schemas.microsoft.com/office/drawing/2014/main" id="{40749918-C2FA-EA4B-8B1D-178F87A66B40}"/>
                </a:ext>
              </a:extLst>
            </p:cNvPr>
            <p:cNvSpPr/>
            <p:nvPr userDrawn="1"/>
          </p:nvSpPr>
          <p:spPr>
            <a:xfrm>
              <a:off x="7881689"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5" name="Rechthoek 224">
              <a:extLst>
                <a:ext uri="{FF2B5EF4-FFF2-40B4-BE49-F238E27FC236}">
                  <a16:creationId xmlns:a16="http://schemas.microsoft.com/office/drawing/2014/main" id="{B0CE4002-4053-1142-A33F-2004B01B03B3}"/>
                </a:ext>
              </a:extLst>
            </p:cNvPr>
            <p:cNvSpPr/>
            <p:nvPr userDrawn="1"/>
          </p:nvSpPr>
          <p:spPr>
            <a:xfrm>
              <a:off x="8242921"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6" name="Rechthoek 225">
              <a:extLst>
                <a:ext uri="{FF2B5EF4-FFF2-40B4-BE49-F238E27FC236}">
                  <a16:creationId xmlns:a16="http://schemas.microsoft.com/office/drawing/2014/main" id="{0C218EB2-4A88-5A49-B3AA-AA0B26592E2E}"/>
                </a:ext>
              </a:extLst>
            </p:cNvPr>
            <p:cNvSpPr/>
            <p:nvPr userDrawn="1"/>
          </p:nvSpPr>
          <p:spPr>
            <a:xfrm>
              <a:off x="752045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7" name="Rechthoek 226">
              <a:extLst>
                <a:ext uri="{FF2B5EF4-FFF2-40B4-BE49-F238E27FC236}">
                  <a16:creationId xmlns:a16="http://schemas.microsoft.com/office/drawing/2014/main" id="{1E9ABF66-0782-4A4B-8A8A-51545DEB317B}"/>
                </a:ext>
              </a:extLst>
            </p:cNvPr>
            <p:cNvSpPr/>
            <p:nvPr userDrawn="1"/>
          </p:nvSpPr>
          <p:spPr>
            <a:xfrm>
              <a:off x="7163284"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8" name="Rechthoek 227">
              <a:extLst>
                <a:ext uri="{FF2B5EF4-FFF2-40B4-BE49-F238E27FC236}">
                  <a16:creationId xmlns:a16="http://schemas.microsoft.com/office/drawing/2014/main" id="{DCB94A92-477E-F04E-9C41-AE775034B0C0}"/>
                </a:ext>
              </a:extLst>
            </p:cNvPr>
            <p:cNvSpPr/>
            <p:nvPr userDrawn="1"/>
          </p:nvSpPr>
          <p:spPr>
            <a:xfrm>
              <a:off x="9684933"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29" name="Rechthoek 228">
              <a:extLst>
                <a:ext uri="{FF2B5EF4-FFF2-40B4-BE49-F238E27FC236}">
                  <a16:creationId xmlns:a16="http://schemas.microsoft.com/office/drawing/2014/main" id="{7C82C1B4-1864-5248-8A1F-AF65828C0DEE}"/>
                </a:ext>
              </a:extLst>
            </p:cNvPr>
            <p:cNvSpPr/>
            <p:nvPr userDrawn="1"/>
          </p:nvSpPr>
          <p:spPr>
            <a:xfrm>
              <a:off x="10048025"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0" name="Rechthoek 229">
              <a:extLst>
                <a:ext uri="{FF2B5EF4-FFF2-40B4-BE49-F238E27FC236}">
                  <a16:creationId xmlns:a16="http://schemas.microsoft.com/office/drawing/2014/main" id="{C4E42661-C7E0-6142-A549-FB4CA09DFD35}"/>
                </a:ext>
              </a:extLst>
            </p:cNvPr>
            <p:cNvSpPr/>
            <p:nvPr userDrawn="1"/>
          </p:nvSpPr>
          <p:spPr>
            <a:xfrm>
              <a:off x="10407932"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1" name="Rechthoek 230">
              <a:extLst>
                <a:ext uri="{FF2B5EF4-FFF2-40B4-BE49-F238E27FC236}">
                  <a16:creationId xmlns:a16="http://schemas.microsoft.com/office/drawing/2014/main" id="{A867ABC2-D1C2-1A44-A851-A10AE32BC323}"/>
                </a:ext>
              </a:extLst>
            </p:cNvPr>
            <p:cNvSpPr/>
            <p:nvPr userDrawn="1"/>
          </p:nvSpPr>
          <p:spPr>
            <a:xfrm>
              <a:off x="10769432"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2" name="Rechthoek 231">
              <a:extLst>
                <a:ext uri="{FF2B5EF4-FFF2-40B4-BE49-F238E27FC236}">
                  <a16:creationId xmlns:a16="http://schemas.microsoft.com/office/drawing/2014/main" id="{218DD0C7-4642-8C49-9104-0C8908F22AC0}"/>
                </a:ext>
              </a:extLst>
            </p:cNvPr>
            <p:cNvSpPr/>
            <p:nvPr userDrawn="1"/>
          </p:nvSpPr>
          <p:spPr>
            <a:xfrm>
              <a:off x="11129340"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3" name="Rechthoek 232">
              <a:extLst>
                <a:ext uri="{FF2B5EF4-FFF2-40B4-BE49-F238E27FC236}">
                  <a16:creationId xmlns:a16="http://schemas.microsoft.com/office/drawing/2014/main" id="{ECF6F341-4C31-F34B-AD4B-8921C94E28E7}"/>
                </a:ext>
              </a:extLst>
            </p:cNvPr>
            <p:cNvSpPr/>
            <p:nvPr userDrawn="1"/>
          </p:nvSpPr>
          <p:spPr>
            <a:xfrm>
              <a:off x="1148924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4" name="Rechthoek 233">
              <a:extLst>
                <a:ext uri="{FF2B5EF4-FFF2-40B4-BE49-F238E27FC236}">
                  <a16:creationId xmlns:a16="http://schemas.microsoft.com/office/drawing/2014/main" id="{D155DAF5-E02E-854F-B639-F80C75286DA8}"/>
                </a:ext>
              </a:extLst>
            </p:cNvPr>
            <p:cNvSpPr/>
            <p:nvPr userDrawn="1"/>
          </p:nvSpPr>
          <p:spPr>
            <a:xfrm>
              <a:off x="1185074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5" name="Rechthoek 234">
              <a:extLst>
                <a:ext uri="{FF2B5EF4-FFF2-40B4-BE49-F238E27FC236}">
                  <a16:creationId xmlns:a16="http://schemas.microsoft.com/office/drawing/2014/main" id="{67EB18EA-8F75-314E-AB8C-69953FAA4662}"/>
                </a:ext>
              </a:extLst>
            </p:cNvPr>
            <p:cNvSpPr/>
            <p:nvPr userDrawn="1"/>
          </p:nvSpPr>
          <p:spPr>
            <a:xfrm>
              <a:off x="11850747" y="515008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6" name="Rechthoek 235">
              <a:extLst>
                <a:ext uri="{FF2B5EF4-FFF2-40B4-BE49-F238E27FC236}">
                  <a16:creationId xmlns:a16="http://schemas.microsoft.com/office/drawing/2014/main" id="{CE24762E-DB4D-C149-B013-C3DC524A2220}"/>
                </a:ext>
              </a:extLst>
            </p:cNvPr>
            <p:cNvSpPr/>
            <p:nvPr userDrawn="1"/>
          </p:nvSpPr>
          <p:spPr>
            <a:xfrm>
              <a:off x="11850747" y="478663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7" name="Rechthoek 236">
              <a:extLst>
                <a:ext uri="{FF2B5EF4-FFF2-40B4-BE49-F238E27FC236}">
                  <a16:creationId xmlns:a16="http://schemas.microsoft.com/office/drawing/2014/main" id="{1D78AC82-DA2B-A249-9186-EED1B20F06E8}"/>
                </a:ext>
              </a:extLst>
            </p:cNvPr>
            <p:cNvSpPr/>
            <p:nvPr userDrawn="1"/>
          </p:nvSpPr>
          <p:spPr>
            <a:xfrm>
              <a:off x="11850747" y="442647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8" name="Rechthoek 237">
              <a:extLst>
                <a:ext uri="{FF2B5EF4-FFF2-40B4-BE49-F238E27FC236}">
                  <a16:creationId xmlns:a16="http://schemas.microsoft.com/office/drawing/2014/main" id="{EC3EFAF2-38DB-2641-8B86-FBEDC1508BFC}"/>
                </a:ext>
              </a:extLst>
            </p:cNvPr>
            <p:cNvSpPr/>
            <p:nvPr userDrawn="1"/>
          </p:nvSpPr>
          <p:spPr>
            <a:xfrm>
              <a:off x="11850747" y="586804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39" name="Rechthoek 238">
              <a:extLst>
                <a:ext uri="{FF2B5EF4-FFF2-40B4-BE49-F238E27FC236}">
                  <a16:creationId xmlns:a16="http://schemas.microsoft.com/office/drawing/2014/main" id="{A6120113-A263-B647-9685-C8B1569917A1}"/>
                </a:ext>
              </a:extLst>
            </p:cNvPr>
            <p:cNvSpPr/>
            <p:nvPr userDrawn="1"/>
          </p:nvSpPr>
          <p:spPr>
            <a:xfrm>
              <a:off x="11850747" y="550788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grpSp>
      <p:cxnSp>
        <p:nvCxnSpPr>
          <p:cNvPr id="3" name="Rechte verbindingslijn 2">
            <a:extLst>
              <a:ext uri="{FF2B5EF4-FFF2-40B4-BE49-F238E27FC236}">
                <a16:creationId xmlns:a16="http://schemas.microsoft.com/office/drawing/2014/main" id="{FC1C4C89-F2EB-184A-A367-D71D2885D609}"/>
              </a:ext>
            </a:extLst>
          </p:cNvPr>
          <p:cNvCxnSpPr>
            <a:cxnSpLocks/>
          </p:cNvCxnSpPr>
          <p:nvPr userDrawn="1"/>
        </p:nvCxnSpPr>
        <p:spPr>
          <a:xfrm>
            <a:off x="0" y="123522"/>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Rechte verbindingslijn 286">
            <a:extLst>
              <a:ext uri="{FF2B5EF4-FFF2-40B4-BE49-F238E27FC236}">
                <a16:creationId xmlns:a16="http://schemas.microsoft.com/office/drawing/2014/main" id="{EA548EF4-A5E7-044C-B41D-A2BFC5DBD9F6}"/>
              </a:ext>
            </a:extLst>
          </p:cNvPr>
          <p:cNvCxnSpPr/>
          <p:nvPr userDrawn="1"/>
        </p:nvCxnSpPr>
        <p:spPr>
          <a:xfrm>
            <a:off x="0" y="48425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8" name="Rechte verbindingslijn 287">
            <a:extLst>
              <a:ext uri="{FF2B5EF4-FFF2-40B4-BE49-F238E27FC236}">
                <a16:creationId xmlns:a16="http://schemas.microsoft.com/office/drawing/2014/main" id="{176C7794-D454-C44D-8BBF-8DD01D8D87DA}"/>
              </a:ext>
            </a:extLst>
          </p:cNvPr>
          <p:cNvCxnSpPr/>
          <p:nvPr userDrawn="1"/>
        </p:nvCxnSpPr>
        <p:spPr>
          <a:xfrm>
            <a:off x="0" y="844984"/>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9" name="Rechte verbindingslijn 288">
            <a:extLst>
              <a:ext uri="{FF2B5EF4-FFF2-40B4-BE49-F238E27FC236}">
                <a16:creationId xmlns:a16="http://schemas.microsoft.com/office/drawing/2014/main" id="{52A11350-A6A3-7D43-BF28-8128697A10AC}"/>
              </a:ext>
            </a:extLst>
          </p:cNvPr>
          <p:cNvCxnSpPr/>
          <p:nvPr userDrawn="1"/>
        </p:nvCxnSpPr>
        <p:spPr>
          <a:xfrm>
            <a:off x="0" y="120571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0" name="Rechte verbindingslijn 289">
            <a:extLst>
              <a:ext uri="{FF2B5EF4-FFF2-40B4-BE49-F238E27FC236}">
                <a16:creationId xmlns:a16="http://schemas.microsoft.com/office/drawing/2014/main" id="{16E1826E-4AEE-1140-B5E6-20F9DC737437}"/>
              </a:ext>
            </a:extLst>
          </p:cNvPr>
          <p:cNvCxnSpPr/>
          <p:nvPr userDrawn="1"/>
        </p:nvCxnSpPr>
        <p:spPr>
          <a:xfrm>
            <a:off x="0" y="156644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1" name="Rechte verbindingslijn 290">
            <a:extLst>
              <a:ext uri="{FF2B5EF4-FFF2-40B4-BE49-F238E27FC236}">
                <a16:creationId xmlns:a16="http://schemas.microsoft.com/office/drawing/2014/main" id="{07A73483-FF5C-A24E-880B-EF9AC2931B17}"/>
              </a:ext>
            </a:extLst>
          </p:cNvPr>
          <p:cNvCxnSpPr/>
          <p:nvPr userDrawn="1"/>
        </p:nvCxnSpPr>
        <p:spPr>
          <a:xfrm>
            <a:off x="0" y="1927177"/>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2" name="Rechte verbindingslijn 291">
            <a:extLst>
              <a:ext uri="{FF2B5EF4-FFF2-40B4-BE49-F238E27FC236}">
                <a16:creationId xmlns:a16="http://schemas.microsoft.com/office/drawing/2014/main" id="{3D70DCCD-8511-ED43-8D0A-8BE1BF1844F4}"/>
              </a:ext>
            </a:extLst>
          </p:cNvPr>
          <p:cNvCxnSpPr/>
          <p:nvPr userDrawn="1"/>
        </p:nvCxnSpPr>
        <p:spPr>
          <a:xfrm>
            <a:off x="0" y="2287908"/>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3" name="Rechte verbindingslijn 292">
            <a:extLst>
              <a:ext uri="{FF2B5EF4-FFF2-40B4-BE49-F238E27FC236}">
                <a16:creationId xmlns:a16="http://schemas.microsoft.com/office/drawing/2014/main" id="{7908FA16-2E13-0442-AE93-F9FED0CCE5A7}"/>
              </a:ext>
            </a:extLst>
          </p:cNvPr>
          <p:cNvCxnSpPr/>
          <p:nvPr userDrawn="1"/>
        </p:nvCxnSpPr>
        <p:spPr>
          <a:xfrm>
            <a:off x="0" y="2648639"/>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4" name="Rechte verbindingslijn 293">
            <a:extLst>
              <a:ext uri="{FF2B5EF4-FFF2-40B4-BE49-F238E27FC236}">
                <a16:creationId xmlns:a16="http://schemas.microsoft.com/office/drawing/2014/main" id="{C91C00AD-466F-0C45-A173-372E4DE14AFB}"/>
              </a:ext>
            </a:extLst>
          </p:cNvPr>
          <p:cNvCxnSpPr/>
          <p:nvPr userDrawn="1"/>
        </p:nvCxnSpPr>
        <p:spPr>
          <a:xfrm>
            <a:off x="0" y="3009370"/>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5" name="Rechte verbindingslijn 294">
            <a:extLst>
              <a:ext uri="{FF2B5EF4-FFF2-40B4-BE49-F238E27FC236}">
                <a16:creationId xmlns:a16="http://schemas.microsoft.com/office/drawing/2014/main" id="{52A8C5D3-D35E-B34A-91E2-4B640C027FDA}"/>
              </a:ext>
            </a:extLst>
          </p:cNvPr>
          <p:cNvCxnSpPr/>
          <p:nvPr userDrawn="1"/>
        </p:nvCxnSpPr>
        <p:spPr>
          <a:xfrm>
            <a:off x="0" y="33701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7" name="Rechte verbindingslijn 296">
            <a:extLst>
              <a:ext uri="{FF2B5EF4-FFF2-40B4-BE49-F238E27FC236}">
                <a16:creationId xmlns:a16="http://schemas.microsoft.com/office/drawing/2014/main" id="{23607342-B411-C344-ADAB-BC4B77BBFCEC}"/>
              </a:ext>
            </a:extLst>
          </p:cNvPr>
          <p:cNvCxnSpPr/>
          <p:nvPr userDrawn="1"/>
        </p:nvCxnSpPr>
        <p:spPr>
          <a:xfrm>
            <a:off x="0" y="409156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8" name="Rechte verbindingslijn 297">
            <a:extLst>
              <a:ext uri="{FF2B5EF4-FFF2-40B4-BE49-F238E27FC236}">
                <a16:creationId xmlns:a16="http://schemas.microsoft.com/office/drawing/2014/main" id="{A2F6786E-C0EF-994A-9253-27CEF2051A82}"/>
              </a:ext>
            </a:extLst>
          </p:cNvPr>
          <p:cNvCxnSpPr/>
          <p:nvPr userDrawn="1"/>
        </p:nvCxnSpPr>
        <p:spPr>
          <a:xfrm>
            <a:off x="0" y="4452294"/>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9" name="Rechte verbindingslijn 298">
            <a:extLst>
              <a:ext uri="{FF2B5EF4-FFF2-40B4-BE49-F238E27FC236}">
                <a16:creationId xmlns:a16="http://schemas.microsoft.com/office/drawing/2014/main" id="{C7029F7F-9F94-9740-863D-9E52FDFC2663}"/>
              </a:ext>
            </a:extLst>
          </p:cNvPr>
          <p:cNvCxnSpPr/>
          <p:nvPr userDrawn="1"/>
        </p:nvCxnSpPr>
        <p:spPr>
          <a:xfrm>
            <a:off x="0" y="481302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0" name="Rechte verbindingslijn 299">
            <a:extLst>
              <a:ext uri="{FF2B5EF4-FFF2-40B4-BE49-F238E27FC236}">
                <a16:creationId xmlns:a16="http://schemas.microsoft.com/office/drawing/2014/main" id="{2FBD54ED-1929-434A-9398-4055F5F1C8F8}"/>
              </a:ext>
            </a:extLst>
          </p:cNvPr>
          <p:cNvCxnSpPr/>
          <p:nvPr userDrawn="1"/>
        </p:nvCxnSpPr>
        <p:spPr>
          <a:xfrm>
            <a:off x="0" y="517375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2" name="Rechte verbindingslijn 301">
            <a:extLst>
              <a:ext uri="{FF2B5EF4-FFF2-40B4-BE49-F238E27FC236}">
                <a16:creationId xmlns:a16="http://schemas.microsoft.com/office/drawing/2014/main" id="{0D62A316-6216-8247-8DE7-344C71F92CEA}"/>
              </a:ext>
            </a:extLst>
          </p:cNvPr>
          <p:cNvCxnSpPr>
            <a:cxnSpLocks/>
          </p:cNvCxnSpPr>
          <p:nvPr userDrawn="1"/>
        </p:nvCxnSpPr>
        <p:spPr>
          <a:xfrm>
            <a:off x="0" y="589522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3" name="Rechte verbindingslijn 302">
            <a:extLst>
              <a:ext uri="{FF2B5EF4-FFF2-40B4-BE49-F238E27FC236}">
                <a16:creationId xmlns:a16="http://schemas.microsoft.com/office/drawing/2014/main" id="{5375DFB1-E5F9-AC41-857C-595E358D7B3B}"/>
              </a:ext>
            </a:extLst>
          </p:cNvPr>
          <p:cNvCxnSpPr>
            <a:cxnSpLocks/>
          </p:cNvCxnSpPr>
          <p:nvPr userDrawn="1"/>
        </p:nvCxnSpPr>
        <p:spPr>
          <a:xfrm>
            <a:off x="35713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4" name="Rechte verbindingslijn 303">
            <a:extLst>
              <a:ext uri="{FF2B5EF4-FFF2-40B4-BE49-F238E27FC236}">
                <a16:creationId xmlns:a16="http://schemas.microsoft.com/office/drawing/2014/main" id="{CE0D2B8C-AFB7-9B4A-9A63-159D4F59CEC5}"/>
              </a:ext>
            </a:extLst>
          </p:cNvPr>
          <p:cNvCxnSpPr>
            <a:cxnSpLocks/>
          </p:cNvCxnSpPr>
          <p:nvPr userDrawn="1"/>
        </p:nvCxnSpPr>
        <p:spPr>
          <a:xfrm>
            <a:off x="71836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6" name="Rechte verbindingslijn 305">
            <a:extLst>
              <a:ext uri="{FF2B5EF4-FFF2-40B4-BE49-F238E27FC236}">
                <a16:creationId xmlns:a16="http://schemas.microsoft.com/office/drawing/2014/main" id="{06BE2066-4885-104B-943F-0A4AEB318276}"/>
              </a:ext>
            </a:extLst>
          </p:cNvPr>
          <p:cNvCxnSpPr>
            <a:cxnSpLocks/>
          </p:cNvCxnSpPr>
          <p:nvPr userDrawn="1"/>
        </p:nvCxnSpPr>
        <p:spPr>
          <a:xfrm>
            <a:off x="143676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7" name="Rechte verbindingslijn 306">
            <a:extLst>
              <a:ext uri="{FF2B5EF4-FFF2-40B4-BE49-F238E27FC236}">
                <a16:creationId xmlns:a16="http://schemas.microsoft.com/office/drawing/2014/main" id="{DF2A8E07-91EA-BA42-9ADA-5C2BC5F46821}"/>
              </a:ext>
            </a:extLst>
          </p:cNvPr>
          <p:cNvCxnSpPr>
            <a:cxnSpLocks/>
          </p:cNvCxnSpPr>
          <p:nvPr userDrawn="1"/>
        </p:nvCxnSpPr>
        <p:spPr>
          <a:xfrm>
            <a:off x="179799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8" name="Rechte verbindingslijn 307">
            <a:extLst>
              <a:ext uri="{FF2B5EF4-FFF2-40B4-BE49-F238E27FC236}">
                <a16:creationId xmlns:a16="http://schemas.microsoft.com/office/drawing/2014/main" id="{773FA7DF-637A-3944-93BE-6E7C1A162EFB}"/>
              </a:ext>
            </a:extLst>
          </p:cNvPr>
          <p:cNvCxnSpPr>
            <a:cxnSpLocks/>
          </p:cNvCxnSpPr>
          <p:nvPr userDrawn="1"/>
        </p:nvCxnSpPr>
        <p:spPr>
          <a:xfrm>
            <a:off x="215923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9" name="Rechte verbindingslijn 308">
            <a:extLst>
              <a:ext uri="{FF2B5EF4-FFF2-40B4-BE49-F238E27FC236}">
                <a16:creationId xmlns:a16="http://schemas.microsoft.com/office/drawing/2014/main" id="{A1EECD3E-1FDE-0E40-B120-599F65F6A613}"/>
              </a:ext>
            </a:extLst>
          </p:cNvPr>
          <p:cNvCxnSpPr>
            <a:cxnSpLocks/>
          </p:cNvCxnSpPr>
          <p:nvPr userDrawn="1"/>
        </p:nvCxnSpPr>
        <p:spPr>
          <a:xfrm>
            <a:off x="252046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0" name="Rechte verbindingslijn 309">
            <a:extLst>
              <a:ext uri="{FF2B5EF4-FFF2-40B4-BE49-F238E27FC236}">
                <a16:creationId xmlns:a16="http://schemas.microsoft.com/office/drawing/2014/main" id="{9D312BC6-6923-C84C-ADF0-23842727A099}"/>
              </a:ext>
            </a:extLst>
          </p:cNvPr>
          <p:cNvCxnSpPr>
            <a:cxnSpLocks/>
          </p:cNvCxnSpPr>
          <p:nvPr userDrawn="1"/>
        </p:nvCxnSpPr>
        <p:spPr>
          <a:xfrm>
            <a:off x="288169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2" name="Rechte verbindingslijn 311">
            <a:extLst>
              <a:ext uri="{FF2B5EF4-FFF2-40B4-BE49-F238E27FC236}">
                <a16:creationId xmlns:a16="http://schemas.microsoft.com/office/drawing/2014/main" id="{6BA109E6-B2C6-5D4C-964F-A81DCA918619}"/>
              </a:ext>
            </a:extLst>
          </p:cNvPr>
          <p:cNvCxnSpPr>
            <a:cxnSpLocks/>
          </p:cNvCxnSpPr>
          <p:nvPr userDrawn="1"/>
        </p:nvCxnSpPr>
        <p:spPr>
          <a:xfrm>
            <a:off x="360124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3" name="Rechte verbindingslijn 312">
            <a:extLst>
              <a:ext uri="{FF2B5EF4-FFF2-40B4-BE49-F238E27FC236}">
                <a16:creationId xmlns:a16="http://schemas.microsoft.com/office/drawing/2014/main" id="{28F56A07-73CD-794B-8651-F420EB4379D6}"/>
              </a:ext>
            </a:extLst>
          </p:cNvPr>
          <p:cNvCxnSpPr>
            <a:cxnSpLocks/>
          </p:cNvCxnSpPr>
          <p:nvPr userDrawn="1"/>
        </p:nvCxnSpPr>
        <p:spPr>
          <a:xfrm>
            <a:off x="396433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4" name="Rechte verbindingslijn 313">
            <a:extLst>
              <a:ext uri="{FF2B5EF4-FFF2-40B4-BE49-F238E27FC236}">
                <a16:creationId xmlns:a16="http://schemas.microsoft.com/office/drawing/2014/main" id="{79A941C0-BD0C-F449-BCF0-1E8BEAE7CB1C}"/>
              </a:ext>
            </a:extLst>
          </p:cNvPr>
          <p:cNvCxnSpPr>
            <a:cxnSpLocks/>
          </p:cNvCxnSpPr>
          <p:nvPr userDrawn="1"/>
        </p:nvCxnSpPr>
        <p:spPr>
          <a:xfrm>
            <a:off x="432424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5" name="Rechte verbindingslijn 314">
            <a:extLst>
              <a:ext uri="{FF2B5EF4-FFF2-40B4-BE49-F238E27FC236}">
                <a16:creationId xmlns:a16="http://schemas.microsoft.com/office/drawing/2014/main" id="{5BFBF68D-38A9-124D-95C9-FA82A27C7E21}"/>
              </a:ext>
            </a:extLst>
          </p:cNvPr>
          <p:cNvCxnSpPr>
            <a:cxnSpLocks/>
          </p:cNvCxnSpPr>
          <p:nvPr userDrawn="1"/>
        </p:nvCxnSpPr>
        <p:spPr>
          <a:xfrm>
            <a:off x="468574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6" name="Rechte verbindingslijn 315">
            <a:extLst>
              <a:ext uri="{FF2B5EF4-FFF2-40B4-BE49-F238E27FC236}">
                <a16:creationId xmlns:a16="http://schemas.microsoft.com/office/drawing/2014/main" id="{1162E74A-6454-D244-9A5A-D8A78CB42144}"/>
              </a:ext>
            </a:extLst>
          </p:cNvPr>
          <p:cNvCxnSpPr>
            <a:cxnSpLocks/>
          </p:cNvCxnSpPr>
          <p:nvPr userDrawn="1"/>
        </p:nvCxnSpPr>
        <p:spPr>
          <a:xfrm>
            <a:off x="504565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7" name="Rechte verbindingslijn 316">
            <a:extLst>
              <a:ext uri="{FF2B5EF4-FFF2-40B4-BE49-F238E27FC236}">
                <a16:creationId xmlns:a16="http://schemas.microsoft.com/office/drawing/2014/main" id="{249F44F6-BBA5-C94C-9C29-3533B1746269}"/>
              </a:ext>
            </a:extLst>
          </p:cNvPr>
          <p:cNvCxnSpPr>
            <a:cxnSpLocks/>
          </p:cNvCxnSpPr>
          <p:nvPr userDrawn="1"/>
        </p:nvCxnSpPr>
        <p:spPr>
          <a:xfrm>
            <a:off x="540555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8" name="Rechte verbindingslijn 317">
            <a:extLst>
              <a:ext uri="{FF2B5EF4-FFF2-40B4-BE49-F238E27FC236}">
                <a16:creationId xmlns:a16="http://schemas.microsoft.com/office/drawing/2014/main" id="{821C349D-A6AD-694C-B825-D2DE8169386E}"/>
              </a:ext>
            </a:extLst>
          </p:cNvPr>
          <p:cNvCxnSpPr>
            <a:cxnSpLocks/>
          </p:cNvCxnSpPr>
          <p:nvPr userDrawn="1"/>
        </p:nvCxnSpPr>
        <p:spPr>
          <a:xfrm>
            <a:off x="576705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9" name="Rechte verbindingslijn 318">
            <a:extLst>
              <a:ext uri="{FF2B5EF4-FFF2-40B4-BE49-F238E27FC236}">
                <a16:creationId xmlns:a16="http://schemas.microsoft.com/office/drawing/2014/main" id="{C96F41EE-41AC-7D43-A58A-2905EE8F58CB}"/>
              </a:ext>
            </a:extLst>
          </p:cNvPr>
          <p:cNvCxnSpPr>
            <a:cxnSpLocks/>
          </p:cNvCxnSpPr>
          <p:nvPr userDrawn="1"/>
        </p:nvCxnSpPr>
        <p:spPr>
          <a:xfrm>
            <a:off x="61108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0" name="Rechte verbindingslijn 319">
            <a:extLst>
              <a:ext uri="{FF2B5EF4-FFF2-40B4-BE49-F238E27FC236}">
                <a16:creationId xmlns:a16="http://schemas.microsoft.com/office/drawing/2014/main" id="{AFE07DEF-26B5-E945-8B07-0926E72AD034}"/>
              </a:ext>
            </a:extLst>
          </p:cNvPr>
          <p:cNvCxnSpPr>
            <a:cxnSpLocks/>
          </p:cNvCxnSpPr>
          <p:nvPr userDrawn="1"/>
        </p:nvCxnSpPr>
        <p:spPr>
          <a:xfrm>
            <a:off x="646799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1" name="Rechte verbindingslijn 320">
            <a:extLst>
              <a:ext uri="{FF2B5EF4-FFF2-40B4-BE49-F238E27FC236}">
                <a16:creationId xmlns:a16="http://schemas.microsoft.com/office/drawing/2014/main" id="{E72A3348-AF42-8E49-928C-F48BF5B34E9C}"/>
              </a:ext>
            </a:extLst>
          </p:cNvPr>
          <p:cNvCxnSpPr>
            <a:cxnSpLocks/>
          </p:cNvCxnSpPr>
          <p:nvPr userDrawn="1"/>
        </p:nvCxnSpPr>
        <p:spPr>
          <a:xfrm>
            <a:off x="682923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2" name="Rechte verbindingslijn 321">
            <a:extLst>
              <a:ext uri="{FF2B5EF4-FFF2-40B4-BE49-F238E27FC236}">
                <a16:creationId xmlns:a16="http://schemas.microsoft.com/office/drawing/2014/main" id="{66BE4BD5-4166-B940-BF9F-75DF4A7A6E48}"/>
              </a:ext>
            </a:extLst>
          </p:cNvPr>
          <p:cNvCxnSpPr>
            <a:cxnSpLocks/>
          </p:cNvCxnSpPr>
          <p:nvPr userDrawn="1"/>
        </p:nvCxnSpPr>
        <p:spPr>
          <a:xfrm>
            <a:off x="719046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3" name="Rechte verbindingslijn 322">
            <a:extLst>
              <a:ext uri="{FF2B5EF4-FFF2-40B4-BE49-F238E27FC236}">
                <a16:creationId xmlns:a16="http://schemas.microsoft.com/office/drawing/2014/main" id="{AB9826B0-EA82-974B-9561-FA08C841285E}"/>
              </a:ext>
            </a:extLst>
          </p:cNvPr>
          <p:cNvCxnSpPr>
            <a:cxnSpLocks/>
          </p:cNvCxnSpPr>
          <p:nvPr userDrawn="1"/>
        </p:nvCxnSpPr>
        <p:spPr>
          <a:xfrm>
            <a:off x="754763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4" name="Rechte verbindingslijn 323">
            <a:extLst>
              <a:ext uri="{FF2B5EF4-FFF2-40B4-BE49-F238E27FC236}">
                <a16:creationId xmlns:a16="http://schemas.microsoft.com/office/drawing/2014/main" id="{4CE27E73-0E17-CE4B-84DB-BC7EC5DDD743}"/>
              </a:ext>
            </a:extLst>
          </p:cNvPr>
          <p:cNvCxnSpPr>
            <a:cxnSpLocks/>
          </p:cNvCxnSpPr>
          <p:nvPr userDrawn="1"/>
        </p:nvCxnSpPr>
        <p:spPr>
          <a:xfrm>
            <a:off x="7908868"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5" name="Rechte verbindingslijn 324">
            <a:extLst>
              <a:ext uri="{FF2B5EF4-FFF2-40B4-BE49-F238E27FC236}">
                <a16:creationId xmlns:a16="http://schemas.microsoft.com/office/drawing/2014/main" id="{8197F9F6-7F80-A44D-8628-403C56C33385}"/>
              </a:ext>
            </a:extLst>
          </p:cNvPr>
          <p:cNvCxnSpPr>
            <a:cxnSpLocks/>
          </p:cNvCxnSpPr>
          <p:nvPr userDrawn="1"/>
        </p:nvCxnSpPr>
        <p:spPr>
          <a:xfrm>
            <a:off x="827010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6" name="Rechte verbindingslijn 325">
            <a:extLst>
              <a:ext uri="{FF2B5EF4-FFF2-40B4-BE49-F238E27FC236}">
                <a16:creationId xmlns:a16="http://schemas.microsoft.com/office/drawing/2014/main" id="{5C7816E2-8BD3-7644-8E43-ABE32197C4FD}"/>
              </a:ext>
            </a:extLst>
          </p:cNvPr>
          <p:cNvCxnSpPr>
            <a:cxnSpLocks/>
          </p:cNvCxnSpPr>
          <p:nvPr userDrawn="1"/>
        </p:nvCxnSpPr>
        <p:spPr>
          <a:xfrm>
            <a:off x="863133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7" name="Rechte verbindingslijn 326">
            <a:extLst>
              <a:ext uri="{FF2B5EF4-FFF2-40B4-BE49-F238E27FC236}">
                <a16:creationId xmlns:a16="http://schemas.microsoft.com/office/drawing/2014/main" id="{FEA4CC9D-DD6C-7548-86C1-20561E90E406}"/>
              </a:ext>
            </a:extLst>
          </p:cNvPr>
          <p:cNvCxnSpPr>
            <a:cxnSpLocks/>
          </p:cNvCxnSpPr>
          <p:nvPr userDrawn="1"/>
        </p:nvCxnSpPr>
        <p:spPr>
          <a:xfrm>
            <a:off x="899256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8" name="Rechte verbindingslijn 327">
            <a:extLst>
              <a:ext uri="{FF2B5EF4-FFF2-40B4-BE49-F238E27FC236}">
                <a16:creationId xmlns:a16="http://schemas.microsoft.com/office/drawing/2014/main" id="{09CD2479-6804-3943-AD48-1A9FC44AC96A}"/>
              </a:ext>
            </a:extLst>
          </p:cNvPr>
          <p:cNvCxnSpPr>
            <a:cxnSpLocks/>
          </p:cNvCxnSpPr>
          <p:nvPr userDrawn="1"/>
        </p:nvCxnSpPr>
        <p:spPr>
          <a:xfrm>
            <a:off x="935220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Rechte verbindingslijn 328">
            <a:extLst>
              <a:ext uri="{FF2B5EF4-FFF2-40B4-BE49-F238E27FC236}">
                <a16:creationId xmlns:a16="http://schemas.microsoft.com/office/drawing/2014/main" id="{E63323EC-60A4-E145-A997-E126CAD514E2}"/>
              </a:ext>
            </a:extLst>
          </p:cNvPr>
          <p:cNvCxnSpPr>
            <a:cxnSpLocks/>
          </p:cNvCxnSpPr>
          <p:nvPr userDrawn="1"/>
        </p:nvCxnSpPr>
        <p:spPr>
          <a:xfrm>
            <a:off x="971211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0" name="Rechte verbindingslijn 329">
            <a:extLst>
              <a:ext uri="{FF2B5EF4-FFF2-40B4-BE49-F238E27FC236}">
                <a16:creationId xmlns:a16="http://schemas.microsoft.com/office/drawing/2014/main" id="{45F6A9E1-EE02-044B-B406-74D2D8A5E8BC}"/>
              </a:ext>
            </a:extLst>
          </p:cNvPr>
          <p:cNvCxnSpPr>
            <a:cxnSpLocks/>
          </p:cNvCxnSpPr>
          <p:nvPr userDrawn="1"/>
        </p:nvCxnSpPr>
        <p:spPr>
          <a:xfrm>
            <a:off x="1007520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1" name="Rechte verbindingslijn 330">
            <a:extLst>
              <a:ext uri="{FF2B5EF4-FFF2-40B4-BE49-F238E27FC236}">
                <a16:creationId xmlns:a16="http://schemas.microsoft.com/office/drawing/2014/main" id="{475B3072-3E2A-784F-A803-8D74B13D18B1}"/>
              </a:ext>
            </a:extLst>
          </p:cNvPr>
          <p:cNvCxnSpPr>
            <a:cxnSpLocks/>
          </p:cNvCxnSpPr>
          <p:nvPr userDrawn="1"/>
        </p:nvCxnSpPr>
        <p:spPr>
          <a:xfrm>
            <a:off x="1040793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2" name="Rechte verbindingslijn 331">
            <a:extLst>
              <a:ext uri="{FF2B5EF4-FFF2-40B4-BE49-F238E27FC236}">
                <a16:creationId xmlns:a16="http://schemas.microsoft.com/office/drawing/2014/main" id="{B69833E8-3551-0549-A5A0-95E034C1B146}"/>
              </a:ext>
            </a:extLst>
          </p:cNvPr>
          <p:cNvCxnSpPr>
            <a:cxnSpLocks/>
          </p:cNvCxnSpPr>
          <p:nvPr userDrawn="1"/>
        </p:nvCxnSpPr>
        <p:spPr>
          <a:xfrm>
            <a:off x="1079661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3" name="Rechte verbindingslijn 332">
            <a:extLst>
              <a:ext uri="{FF2B5EF4-FFF2-40B4-BE49-F238E27FC236}">
                <a16:creationId xmlns:a16="http://schemas.microsoft.com/office/drawing/2014/main" id="{F0157305-6574-824A-AB73-2D3791459E27}"/>
              </a:ext>
            </a:extLst>
          </p:cNvPr>
          <p:cNvCxnSpPr>
            <a:cxnSpLocks/>
          </p:cNvCxnSpPr>
          <p:nvPr userDrawn="1"/>
        </p:nvCxnSpPr>
        <p:spPr>
          <a:xfrm>
            <a:off x="1115651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4" name="Rechte verbindingslijn 333">
            <a:extLst>
              <a:ext uri="{FF2B5EF4-FFF2-40B4-BE49-F238E27FC236}">
                <a16:creationId xmlns:a16="http://schemas.microsoft.com/office/drawing/2014/main" id="{A3A8467A-BFF6-7642-A1FB-A2995CDCD6A5}"/>
              </a:ext>
            </a:extLst>
          </p:cNvPr>
          <p:cNvCxnSpPr>
            <a:cxnSpLocks/>
          </p:cNvCxnSpPr>
          <p:nvPr userDrawn="1"/>
        </p:nvCxnSpPr>
        <p:spPr>
          <a:xfrm>
            <a:off x="115164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5" name="Rechte verbindingslijn 334">
            <a:extLst>
              <a:ext uri="{FF2B5EF4-FFF2-40B4-BE49-F238E27FC236}">
                <a16:creationId xmlns:a16="http://schemas.microsoft.com/office/drawing/2014/main" id="{76C12D7D-1FCF-7142-83C1-1A5DFF936737}"/>
              </a:ext>
            </a:extLst>
          </p:cNvPr>
          <p:cNvCxnSpPr>
            <a:cxnSpLocks/>
          </p:cNvCxnSpPr>
          <p:nvPr userDrawn="1"/>
        </p:nvCxnSpPr>
        <p:spPr>
          <a:xfrm>
            <a:off x="118779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jdelijke aanduiding voor datum 3">
            <a:extLst>
              <a:ext uri="{FF2B5EF4-FFF2-40B4-BE49-F238E27FC236}">
                <a16:creationId xmlns:a16="http://schemas.microsoft.com/office/drawing/2014/main" id="{146B7EFA-5249-014A-9A6E-4C9BABB52DA9}"/>
              </a:ext>
            </a:extLst>
          </p:cNvPr>
          <p:cNvSpPr>
            <a:spLocks noGrp="1"/>
          </p:cNvSpPr>
          <p:nvPr userDrawn="1">
            <p:ph type="dt" sz="half" idx="10"/>
          </p:nvPr>
        </p:nvSpPr>
        <p:spPr>
          <a:xfrm>
            <a:off x="1347597" y="6378834"/>
            <a:ext cx="1528579" cy="365125"/>
          </a:xfrm>
          <a:prstGeom prst="rect">
            <a:avLst/>
          </a:prstGeom>
        </p:spPr>
        <p:txBody>
          <a:bodyPr/>
          <a:lstStyle/>
          <a:p>
            <a:fld id="{75D07219-65F8-444A-8FBC-191AC755DB7E}" type="datetime4">
              <a:rPr lang="en-GB" noProof="0" smtClean="0"/>
              <a:t>23 January 2025</a:t>
            </a:fld>
            <a:endParaRPr lang="de-DE"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userDrawn="1">
            <p:ph type="ftr" sz="quarter" idx="11"/>
          </p:nvPr>
        </p:nvSpPr>
        <p:spPr>
          <a:xfrm>
            <a:off x="3151752" y="6378834"/>
            <a:ext cx="4616234" cy="365125"/>
          </a:xfrm>
          <a:prstGeom prst="rect">
            <a:avLst/>
          </a:prstGeom>
        </p:spPr>
        <p:txBody>
          <a:bodyPr/>
          <a:lstStyle>
            <a:lvl1pPr>
              <a:defRPr b="1" i="0">
                <a:latin typeface="Arial" panose="020B0604020202020204" pitchFamily="34" charset="0"/>
                <a:cs typeface="Arial" panose="020B0604020202020204" pitchFamily="34" charset="0"/>
              </a:defRPr>
            </a:lvl1pPr>
          </a:lstStyle>
          <a:p>
            <a:r>
              <a:rPr lang="de-DE" noProof="0"/>
              <a:t>Confidentiality</a:t>
            </a:r>
            <a:endParaRPr lang="de-DE"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userDrawn="1">
            <p:ph type="sldNum" sz="quarter" idx="12"/>
          </p:nvPr>
        </p:nvSpPr>
        <p:spPr>
          <a:xfrm>
            <a:off x="454699" y="6378834"/>
            <a:ext cx="514165" cy="365125"/>
          </a:xfrm>
          <a:prstGeom prst="rect">
            <a:avLst/>
          </a:prstGeom>
        </p:spPr>
        <p:txBody>
          <a:bodyPr/>
          <a:lstStyle/>
          <a:p>
            <a:fld id="{3B0AF0F1-83F4-0746-A551-EEC1F1FEC0BD}" type="slidenum">
              <a:rPr lang="de-DE" noProof="0" smtClean="0"/>
              <a:t>‹Nr.›</a:t>
            </a:fld>
            <a:endParaRPr lang="de-DE" noProof="0" dirty="0"/>
          </a:p>
        </p:txBody>
      </p:sp>
      <p:grpSp>
        <p:nvGrpSpPr>
          <p:cNvPr id="11" name="Groep 10">
            <a:extLst>
              <a:ext uri="{FF2B5EF4-FFF2-40B4-BE49-F238E27FC236}">
                <a16:creationId xmlns:a16="http://schemas.microsoft.com/office/drawing/2014/main" id="{9EE19687-E547-8748-804B-91DC58EE1A7D}"/>
              </a:ext>
            </a:extLst>
          </p:cNvPr>
          <p:cNvGrpSpPr/>
          <p:nvPr userDrawn="1"/>
        </p:nvGrpSpPr>
        <p:grpSpPr>
          <a:xfrm>
            <a:off x="2879001" y="4391006"/>
            <a:ext cx="7088912" cy="138113"/>
            <a:chOff x="2879001" y="4391006"/>
            <a:chExt cx="7088912" cy="138113"/>
          </a:xfrm>
        </p:grpSpPr>
        <p:sp>
          <p:nvSpPr>
            <p:cNvPr id="340" name="Line 5">
              <a:extLst>
                <a:ext uri="{FF2B5EF4-FFF2-40B4-BE49-F238E27FC236}">
                  <a16:creationId xmlns:a16="http://schemas.microsoft.com/office/drawing/2014/main" id="{12E6AB72-FC33-A043-A2DF-73AA53231B72}"/>
                </a:ext>
              </a:extLst>
            </p:cNvPr>
            <p:cNvSpPr>
              <a:spLocks noChangeShapeType="1"/>
            </p:cNvSpPr>
            <p:nvPr userDrawn="1"/>
          </p:nvSpPr>
          <p:spPr bwMode="auto">
            <a:xfrm>
              <a:off x="2879001" y="4460062"/>
              <a:ext cx="7088912" cy="0"/>
            </a:xfrm>
            <a:prstGeom prst="line">
              <a:avLst/>
            </a:prstGeom>
            <a:noFill/>
            <a:ln w="19050" cap="flat">
              <a:solidFill>
                <a:srgbClr val="33A92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41" name="Freeform 6">
              <a:extLst>
                <a:ext uri="{FF2B5EF4-FFF2-40B4-BE49-F238E27FC236}">
                  <a16:creationId xmlns:a16="http://schemas.microsoft.com/office/drawing/2014/main" id="{6E57EB53-E772-A040-A925-67CA62235194}"/>
                </a:ext>
              </a:extLst>
            </p:cNvPr>
            <p:cNvSpPr>
              <a:spLocks/>
            </p:cNvSpPr>
            <p:nvPr userDrawn="1"/>
          </p:nvSpPr>
          <p:spPr bwMode="auto">
            <a:xfrm>
              <a:off x="5468436" y="4391006"/>
              <a:ext cx="71438" cy="138113"/>
            </a:xfrm>
            <a:custGeom>
              <a:avLst/>
              <a:gdLst>
                <a:gd name="T0" fmla="*/ 0 w 45"/>
                <a:gd name="T1" fmla="*/ 87 h 87"/>
                <a:gd name="T2" fmla="*/ 45 w 45"/>
                <a:gd name="T3" fmla="*/ 42 h 87"/>
                <a:gd name="T4" fmla="*/ 0 w 45"/>
                <a:gd name="T5" fmla="*/ 0 h 87"/>
                <a:gd name="T6" fmla="*/ 0 w 45"/>
                <a:gd name="T7" fmla="*/ 87 h 87"/>
              </a:gdLst>
              <a:ahLst/>
              <a:cxnLst>
                <a:cxn ang="0">
                  <a:pos x="T0" y="T1"/>
                </a:cxn>
                <a:cxn ang="0">
                  <a:pos x="T2" y="T3"/>
                </a:cxn>
                <a:cxn ang="0">
                  <a:pos x="T4" y="T5"/>
                </a:cxn>
                <a:cxn ang="0">
                  <a:pos x="T6" y="T7"/>
                </a:cxn>
              </a:cxnLst>
              <a:rect l="0" t="0" r="r" b="b"/>
              <a:pathLst>
                <a:path w="45" h="87">
                  <a:moveTo>
                    <a:pt x="0" y="87"/>
                  </a:moveTo>
                  <a:lnTo>
                    <a:pt x="45"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42" name="Freeform 8">
              <a:extLst>
                <a:ext uri="{FF2B5EF4-FFF2-40B4-BE49-F238E27FC236}">
                  <a16:creationId xmlns:a16="http://schemas.microsoft.com/office/drawing/2014/main" id="{7B684CB9-62B7-3843-8B37-799FD700A612}"/>
                </a:ext>
              </a:extLst>
            </p:cNvPr>
            <p:cNvSpPr>
              <a:spLocks/>
            </p:cNvSpPr>
            <p:nvPr userDrawn="1"/>
          </p:nvSpPr>
          <p:spPr bwMode="auto">
            <a:xfrm>
              <a:off x="7605415" y="4391006"/>
              <a:ext cx="66675" cy="138113"/>
            </a:xfrm>
            <a:custGeom>
              <a:avLst/>
              <a:gdLst>
                <a:gd name="T0" fmla="*/ 0 w 42"/>
                <a:gd name="T1" fmla="*/ 87 h 87"/>
                <a:gd name="T2" fmla="*/ 42 w 42"/>
                <a:gd name="T3" fmla="*/ 42 h 87"/>
                <a:gd name="T4" fmla="*/ 0 w 42"/>
                <a:gd name="T5" fmla="*/ 0 h 87"/>
                <a:gd name="T6" fmla="*/ 0 w 42"/>
                <a:gd name="T7" fmla="*/ 87 h 87"/>
              </a:gdLst>
              <a:ahLst/>
              <a:cxnLst>
                <a:cxn ang="0">
                  <a:pos x="T0" y="T1"/>
                </a:cxn>
                <a:cxn ang="0">
                  <a:pos x="T2" y="T3"/>
                </a:cxn>
                <a:cxn ang="0">
                  <a:pos x="T4" y="T5"/>
                </a:cxn>
                <a:cxn ang="0">
                  <a:pos x="T6" y="T7"/>
                </a:cxn>
              </a:cxnLst>
              <a:rect l="0" t="0" r="r" b="b"/>
              <a:pathLst>
                <a:path w="42" h="87">
                  <a:moveTo>
                    <a:pt x="0" y="87"/>
                  </a:moveTo>
                  <a:lnTo>
                    <a:pt x="42"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43" name="Freeform 10">
              <a:extLst>
                <a:ext uri="{FF2B5EF4-FFF2-40B4-BE49-F238E27FC236}">
                  <a16:creationId xmlns:a16="http://schemas.microsoft.com/office/drawing/2014/main" id="{11CDDEF5-2FDA-4C4A-8529-C0E9031CA333}"/>
                </a:ext>
              </a:extLst>
            </p:cNvPr>
            <p:cNvSpPr>
              <a:spLocks/>
            </p:cNvSpPr>
            <p:nvPr userDrawn="1"/>
          </p:nvSpPr>
          <p:spPr bwMode="auto">
            <a:xfrm>
              <a:off x="9594755" y="4391006"/>
              <a:ext cx="66675" cy="138113"/>
            </a:xfrm>
            <a:custGeom>
              <a:avLst/>
              <a:gdLst>
                <a:gd name="T0" fmla="*/ 0 w 42"/>
                <a:gd name="T1" fmla="*/ 87 h 87"/>
                <a:gd name="T2" fmla="*/ 42 w 42"/>
                <a:gd name="T3" fmla="*/ 42 h 87"/>
                <a:gd name="T4" fmla="*/ 0 w 42"/>
                <a:gd name="T5" fmla="*/ 0 h 87"/>
                <a:gd name="T6" fmla="*/ 0 w 42"/>
                <a:gd name="T7" fmla="*/ 87 h 87"/>
              </a:gdLst>
              <a:ahLst/>
              <a:cxnLst>
                <a:cxn ang="0">
                  <a:pos x="T0" y="T1"/>
                </a:cxn>
                <a:cxn ang="0">
                  <a:pos x="T2" y="T3"/>
                </a:cxn>
                <a:cxn ang="0">
                  <a:pos x="T4" y="T5"/>
                </a:cxn>
                <a:cxn ang="0">
                  <a:pos x="T6" y="T7"/>
                </a:cxn>
              </a:cxnLst>
              <a:rect l="0" t="0" r="r" b="b"/>
              <a:pathLst>
                <a:path w="42" h="87">
                  <a:moveTo>
                    <a:pt x="0" y="87"/>
                  </a:moveTo>
                  <a:lnTo>
                    <a:pt x="42"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44" name="Freeform 12">
              <a:extLst>
                <a:ext uri="{FF2B5EF4-FFF2-40B4-BE49-F238E27FC236}">
                  <a16:creationId xmlns:a16="http://schemas.microsoft.com/office/drawing/2014/main" id="{0C507F2F-C813-2C41-9CCA-2FE6290DF173}"/>
                </a:ext>
              </a:extLst>
            </p:cNvPr>
            <p:cNvSpPr>
              <a:spLocks/>
            </p:cNvSpPr>
            <p:nvPr userDrawn="1"/>
          </p:nvSpPr>
          <p:spPr bwMode="auto">
            <a:xfrm>
              <a:off x="3479097" y="4391006"/>
              <a:ext cx="71438" cy="138113"/>
            </a:xfrm>
            <a:custGeom>
              <a:avLst/>
              <a:gdLst>
                <a:gd name="T0" fmla="*/ 0 w 45"/>
                <a:gd name="T1" fmla="*/ 87 h 87"/>
                <a:gd name="T2" fmla="*/ 45 w 45"/>
                <a:gd name="T3" fmla="*/ 45 h 87"/>
                <a:gd name="T4" fmla="*/ 0 w 45"/>
                <a:gd name="T5" fmla="*/ 0 h 87"/>
                <a:gd name="T6" fmla="*/ 0 w 45"/>
                <a:gd name="T7" fmla="*/ 87 h 87"/>
              </a:gdLst>
              <a:ahLst/>
              <a:cxnLst>
                <a:cxn ang="0">
                  <a:pos x="T0" y="T1"/>
                </a:cxn>
                <a:cxn ang="0">
                  <a:pos x="T2" y="T3"/>
                </a:cxn>
                <a:cxn ang="0">
                  <a:pos x="T4" y="T5"/>
                </a:cxn>
                <a:cxn ang="0">
                  <a:pos x="T6" y="T7"/>
                </a:cxn>
              </a:cxnLst>
              <a:rect l="0" t="0" r="r" b="b"/>
              <a:pathLst>
                <a:path w="45" h="87">
                  <a:moveTo>
                    <a:pt x="0" y="87"/>
                  </a:moveTo>
                  <a:lnTo>
                    <a:pt x="45" y="45"/>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grpSp>
      <p:sp>
        <p:nvSpPr>
          <p:cNvPr id="371" name="Vrije vorm 370">
            <a:extLst>
              <a:ext uri="{FF2B5EF4-FFF2-40B4-BE49-F238E27FC236}">
                <a16:creationId xmlns:a16="http://schemas.microsoft.com/office/drawing/2014/main" id="{DB5AA652-02A0-5E4A-86E7-8B8D98D516AB}"/>
              </a:ext>
            </a:extLst>
          </p:cNvPr>
          <p:cNvSpPr/>
          <p:nvPr userDrawn="1"/>
        </p:nvSpPr>
        <p:spPr>
          <a:xfrm>
            <a:off x="1079816" y="3732144"/>
            <a:ext cx="2159928" cy="1802182"/>
          </a:xfrm>
          <a:custGeom>
            <a:avLst/>
            <a:gdLst>
              <a:gd name="connsiteX0" fmla="*/ 0 w 2164230"/>
              <a:gd name="connsiteY0" fmla="*/ 0 h 1807700"/>
              <a:gd name="connsiteX1" fmla="*/ 2164230 w 2164230"/>
              <a:gd name="connsiteY1" fmla="*/ 0 h 1807700"/>
              <a:gd name="connsiteX2" fmla="*/ 2164230 w 2164230"/>
              <a:gd name="connsiteY2" fmla="*/ 1686494 h 1807700"/>
              <a:gd name="connsiteX3" fmla="*/ 1896904 w 2164230"/>
              <a:gd name="connsiteY3" fmla="*/ 1807700 h 1807700"/>
              <a:gd name="connsiteX4" fmla="*/ 0 w 2164230"/>
              <a:gd name="connsiteY4" fmla="*/ 1807700 h 180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230" h="1807700">
                <a:moveTo>
                  <a:pt x="0" y="0"/>
                </a:moveTo>
                <a:lnTo>
                  <a:pt x="2164230" y="0"/>
                </a:lnTo>
                <a:lnTo>
                  <a:pt x="2164230" y="1686494"/>
                </a:lnTo>
                <a:lnTo>
                  <a:pt x="1896904" y="1807700"/>
                </a:lnTo>
                <a:lnTo>
                  <a:pt x="0" y="1807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72000" bIns="72000" rtlCol="0" anchor="t">
            <a:noAutofit/>
          </a:bodyPr>
          <a:lstStyle/>
          <a:p>
            <a:pPr marL="0" marR="0" lvl="0" indent="0" algn="l" defTabSz="914130" rtl="0" eaLnBrk="1" fontAlgn="auto" latinLnBrk="0" hangingPunct="1">
              <a:lnSpc>
                <a:spcPct val="90000"/>
              </a:lnSpc>
              <a:spcBef>
                <a:spcPts val="0"/>
              </a:spcBef>
              <a:spcAft>
                <a:spcPts val="0"/>
              </a:spcAft>
              <a:buClrTx/>
              <a:buSzTx/>
              <a:buFontTx/>
              <a:buNone/>
              <a:tabLst/>
              <a:defRPr/>
            </a:pPr>
            <a:r>
              <a:rPr lang="de-DE" sz="1600" b="1" kern="1200" noProof="0" dirty="0">
                <a:solidFill>
                  <a:schemeClr val="bg1"/>
                </a:solidFill>
                <a:effectLst/>
                <a:latin typeface="+mn-lt"/>
                <a:ea typeface="+mn-ea"/>
                <a:cs typeface="+mn-cs"/>
              </a:rPr>
              <a:t>Im Falle einer Evakuierung der Räumlichkeiten möchten wir auf folgende Sicherheitsmaßnahmen hinweisen</a:t>
            </a:r>
            <a:endParaRPr lang="de-DE" sz="1600" kern="1200" noProof="0" dirty="0">
              <a:solidFill>
                <a:schemeClr val="bg1"/>
              </a:solidFill>
              <a:effectLst/>
              <a:latin typeface="+mn-lt"/>
              <a:ea typeface="+mn-ea"/>
              <a:cs typeface="+mn-cs"/>
            </a:endParaRPr>
          </a:p>
        </p:txBody>
      </p:sp>
      <p:pic>
        <p:nvPicPr>
          <p:cNvPr id="345" name="Afbeelding 344">
            <a:extLst>
              <a:ext uri="{FF2B5EF4-FFF2-40B4-BE49-F238E27FC236}">
                <a16:creationId xmlns:a16="http://schemas.microsoft.com/office/drawing/2014/main" id="{D70C0E20-B96C-4E32-A151-EB6788A80F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279" y="6471518"/>
            <a:ext cx="952619" cy="179756"/>
          </a:xfrm>
          <a:prstGeom prst="rect">
            <a:avLst/>
          </a:prstGeom>
        </p:spPr>
      </p:pic>
      <p:cxnSp>
        <p:nvCxnSpPr>
          <p:cNvPr id="296" name="Rechte verbindingslijn 295">
            <a:extLst>
              <a:ext uri="{FF2B5EF4-FFF2-40B4-BE49-F238E27FC236}">
                <a16:creationId xmlns:a16="http://schemas.microsoft.com/office/drawing/2014/main" id="{8BB947D5-AE51-7746-B2F4-F1F4FFFAA7BF}"/>
              </a:ext>
            </a:extLst>
          </p:cNvPr>
          <p:cNvCxnSpPr/>
          <p:nvPr userDrawn="1"/>
        </p:nvCxnSpPr>
        <p:spPr>
          <a:xfrm>
            <a:off x="0" y="3730832"/>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5" name="Rechte verbindingslijn 304">
            <a:extLst>
              <a:ext uri="{FF2B5EF4-FFF2-40B4-BE49-F238E27FC236}">
                <a16:creationId xmlns:a16="http://schemas.microsoft.com/office/drawing/2014/main" id="{10761261-35E9-794C-B0B5-12E18DC19DA2}"/>
              </a:ext>
            </a:extLst>
          </p:cNvPr>
          <p:cNvCxnSpPr>
            <a:cxnSpLocks/>
          </p:cNvCxnSpPr>
          <p:nvPr userDrawn="1"/>
        </p:nvCxnSpPr>
        <p:spPr>
          <a:xfrm>
            <a:off x="107959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1" name="Rechte verbindingslijn 310">
            <a:extLst>
              <a:ext uri="{FF2B5EF4-FFF2-40B4-BE49-F238E27FC236}">
                <a16:creationId xmlns:a16="http://schemas.microsoft.com/office/drawing/2014/main" id="{12651B24-6705-D341-BBA7-F43A18341824}"/>
              </a:ext>
            </a:extLst>
          </p:cNvPr>
          <p:cNvCxnSpPr>
            <a:cxnSpLocks/>
          </p:cNvCxnSpPr>
          <p:nvPr userDrawn="1"/>
        </p:nvCxnSpPr>
        <p:spPr>
          <a:xfrm>
            <a:off x="324133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1" name="Rechte verbindingslijn 300">
            <a:extLst>
              <a:ext uri="{FF2B5EF4-FFF2-40B4-BE49-F238E27FC236}">
                <a16:creationId xmlns:a16="http://schemas.microsoft.com/office/drawing/2014/main" id="{92D92F0F-B1EF-8147-A39A-E2AEC194B929}"/>
              </a:ext>
            </a:extLst>
          </p:cNvPr>
          <p:cNvCxnSpPr/>
          <p:nvPr userDrawn="1"/>
        </p:nvCxnSpPr>
        <p:spPr>
          <a:xfrm>
            <a:off x="0" y="5534487"/>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49" name="Freeform 17">
            <a:extLst>
              <a:ext uri="{FF2B5EF4-FFF2-40B4-BE49-F238E27FC236}">
                <a16:creationId xmlns:a16="http://schemas.microsoft.com/office/drawing/2014/main" id="{88BC5723-B860-5B41-82FD-0BF37801A62E}"/>
              </a:ext>
            </a:extLst>
          </p:cNvPr>
          <p:cNvSpPr>
            <a:spLocks/>
          </p:cNvSpPr>
          <p:nvPr userDrawn="1"/>
        </p:nvSpPr>
        <p:spPr bwMode="auto">
          <a:xfrm>
            <a:off x="1079619" y="484866"/>
            <a:ext cx="5751927" cy="2888974"/>
          </a:xfrm>
          <a:custGeom>
            <a:avLst/>
            <a:gdLst>
              <a:gd name="connsiteX0" fmla="*/ 0 w 5751926"/>
              <a:gd name="connsiteY0" fmla="*/ 0 h 2884784"/>
              <a:gd name="connsiteX1" fmla="*/ 1145894 w 5751926"/>
              <a:gd name="connsiteY1" fmla="*/ 0 h 2884784"/>
              <a:gd name="connsiteX2" fmla="*/ 4606032 w 5751926"/>
              <a:gd name="connsiteY2" fmla="*/ 0 h 2884784"/>
              <a:gd name="connsiteX3" fmla="*/ 5751926 w 5751926"/>
              <a:gd name="connsiteY3" fmla="*/ 0 h 2884784"/>
              <a:gd name="connsiteX4" fmla="*/ 5751926 w 5751926"/>
              <a:gd name="connsiteY4" fmla="*/ 2644834 h 2884784"/>
              <a:gd name="connsiteX5" fmla="*/ 5279643 w 5751926"/>
              <a:gd name="connsiteY5" fmla="*/ 2880976 h 2884784"/>
              <a:gd name="connsiteX6" fmla="*/ 1145894 w 5751926"/>
              <a:gd name="connsiteY6" fmla="*/ 2884784 h 2884784"/>
              <a:gd name="connsiteX7" fmla="*/ 1145894 w 5751926"/>
              <a:gd name="connsiteY7" fmla="*/ 2883728 h 2884784"/>
              <a:gd name="connsiteX8" fmla="*/ 0 w 5751926"/>
              <a:gd name="connsiteY8" fmla="*/ 2884784 h 28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1926" h="2884784">
                <a:moveTo>
                  <a:pt x="0" y="0"/>
                </a:moveTo>
                <a:lnTo>
                  <a:pt x="1145894" y="0"/>
                </a:lnTo>
                <a:lnTo>
                  <a:pt x="4606032" y="0"/>
                </a:lnTo>
                <a:lnTo>
                  <a:pt x="5751926" y="0"/>
                </a:lnTo>
                <a:lnTo>
                  <a:pt x="5751926" y="2644834"/>
                </a:lnTo>
                <a:lnTo>
                  <a:pt x="5279643" y="2880976"/>
                </a:lnTo>
                <a:lnTo>
                  <a:pt x="1145894" y="2884784"/>
                </a:lnTo>
                <a:lnTo>
                  <a:pt x="1145894" y="2883728"/>
                </a:lnTo>
                <a:lnTo>
                  <a:pt x="0" y="2884784"/>
                </a:lnTo>
                <a:close/>
              </a:path>
            </a:pathLst>
          </a:custGeom>
          <a:solidFill>
            <a:schemeClr val="bg1"/>
          </a:solidFill>
          <a:ln>
            <a:noFill/>
          </a:ln>
        </p:spPr>
        <p:txBody>
          <a:bodyPr vert="horz" wrap="square" lIns="216000" tIns="216000" rIns="900000" bIns="215951" numCol="1" anchor="t" anchorCtr="0" compatLnSpc="1">
            <a:prstTxWarp prst="textNoShape">
              <a:avLst/>
            </a:prstTxWarp>
            <a:noAutofit/>
          </a:bodyPr>
          <a:lstStyle/>
          <a:p>
            <a:pPr rtl="0">
              <a:lnSpc>
                <a:spcPct val="100000"/>
              </a:lnSpc>
              <a:spcBef>
                <a:spcPts val="0"/>
              </a:spcBef>
              <a:spcAft>
                <a:spcPts val="0"/>
              </a:spcAft>
            </a:pPr>
            <a:r>
              <a:rPr lang="de-DE" sz="3000" b="1" i="0" u="none" strike="noStrike" kern="1200" baseline="0" noProof="0" dirty="0">
                <a:solidFill>
                  <a:schemeClr val="tx1"/>
                </a:solidFill>
                <a:latin typeface="Arial" panose="020B0604020202020204" pitchFamily="34" charset="0"/>
              </a:rPr>
              <a:t>A </a:t>
            </a:r>
            <a:r>
              <a:rPr lang="de-DE" sz="3000" b="1" i="0" u="none" strike="noStrike" kern="1200" baseline="0" noProof="0" dirty="0" err="1">
                <a:solidFill>
                  <a:schemeClr val="tx1"/>
                </a:solidFill>
                <a:latin typeface="Arial" panose="020B0604020202020204" pitchFamily="34" charset="0"/>
              </a:rPr>
              <a:t>moment</a:t>
            </a:r>
            <a:r>
              <a:rPr lang="de-DE" sz="3000" b="1" i="0" u="none" strike="noStrike" kern="1200" baseline="0" noProof="0" dirty="0">
                <a:solidFill>
                  <a:schemeClr val="tx1"/>
                </a:solidFill>
                <a:latin typeface="Arial" panose="020B0604020202020204" pitchFamily="34" charset="0"/>
              </a:rPr>
              <a:t> </a:t>
            </a:r>
            <a:r>
              <a:rPr lang="de-DE" sz="3000" b="1" i="0" u="none" strike="noStrike" kern="1200" baseline="0" noProof="0" dirty="0" err="1">
                <a:solidFill>
                  <a:schemeClr val="tx1"/>
                </a:solidFill>
                <a:latin typeface="Arial" panose="020B0604020202020204" pitchFamily="34" charset="0"/>
              </a:rPr>
              <a:t>for</a:t>
            </a:r>
            <a:r>
              <a:rPr lang="de-DE" sz="3000" b="1" i="0" u="none" strike="noStrike" kern="1200" baseline="0" noProof="0" dirty="0">
                <a:solidFill>
                  <a:schemeClr val="tx1"/>
                </a:solidFill>
                <a:latin typeface="Arial" panose="020B0604020202020204" pitchFamily="34" charset="0"/>
              </a:rPr>
              <a:t> </a:t>
            </a:r>
            <a:r>
              <a:rPr lang="de-DE" sz="3000" b="1" i="0" u="none" strike="noStrike" kern="1200" baseline="0" noProof="0" dirty="0" err="1">
                <a:solidFill>
                  <a:schemeClr val="tx1"/>
                </a:solidFill>
                <a:latin typeface="Arial" panose="020B0604020202020204" pitchFamily="34" charset="0"/>
              </a:rPr>
              <a:t>safety</a:t>
            </a:r>
            <a:endParaRPr lang="de-DE" sz="3000" b="0" i="0" u="none" strike="noStrike" kern="1200" baseline="0" noProof="0" dirty="0">
              <a:solidFill>
                <a:schemeClr val="tx1"/>
              </a:solidFill>
              <a:latin typeface="Arial" panose="020B0604020202020204" pitchFamily="34" charset="0"/>
            </a:endParaRPr>
          </a:p>
          <a:p>
            <a:pPr rtl="0">
              <a:lnSpc>
                <a:spcPct val="100000"/>
              </a:lnSpc>
              <a:spcBef>
                <a:spcPts val="0"/>
              </a:spcBef>
              <a:spcAft>
                <a:spcPts val="0"/>
              </a:spcAft>
            </a:pPr>
            <a:endParaRPr lang="de-DE" sz="2000" b="0" i="0" u="none" strike="noStrike" kern="1200" baseline="0" noProof="0" dirty="0">
              <a:solidFill>
                <a:schemeClr val="tx1"/>
              </a:solidFill>
              <a:latin typeface="Arial" panose="020B0604020202020204" pitchFamily="34" charset="0"/>
            </a:endParaRPr>
          </a:p>
          <a:p>
            <a:pPr rtl="0"/>
            <a:r>
              <a:rPr lang="de-DE" sz="2000" b="0" i="0" u="none" strike="noStrike" kern="1200" baseline="0" noProof="0" dirty="0">
                <a:solidFill>
                  <a:schemeClr val="tx2"/>
                </a:solidFill>
                <a:latin typeface="Arial" panose="020B0604020202020204" pitchFamily="34" charset="0"/>
              </a:rPr>
              <a:t>Gemeinsam sorgen wir für ein sicheres Arbeitsumfeld, in dem wir aus Fehlern lernen und der Austausch von Ideen, Bedenken und Fragen eine Selbstverständlichkeit ist.</a:t>
            </a:r>
          </a:p>
        </p:txBody>
      </p:sp>
      <p:grpSp>
        <p:nvGrpSpPr>
          <p:cNvPr id="387" name="Group 25">
            <a:extLst>
              <a:ext uri="{FF2B5EF4-FFF2-40B4-BE49-F238E27FC236}">
                <a16:creationId xmlns:a16="http://schemas.microsoft.com/office/drawing/2014/main" id="{0D1D0535-6B1A-435D-B3E3-E37CA3E551B3}"/>
              </a:ext>
            </a:extLst>
          </p:cNvPr>
          <p:cNvGrpSpPr/>
          <p:nvPr userDrawn="1"/>
        </p:nvGrpSpPr>
        <p:grpSpPr>
          <a:xfrm>
            <a:off x="3784713" y="3736162"/>
            <a:ext cx="1447799" cy="1447800"/>
            <a:chOff x="3409950" y="3786188"/>
            <a:chExt cx="1447800" cy="1447800"/>
          </a:xfrm>
        </p:grpSpPr>
        <p:sp>
          <p:nvSpPr>
            <p:cNvPr id="388" name="Oval 14">
              <a:extLst>
                <a:ext uri="{FF2B5EF4-FFF2-40B4-BE49-F238E27FC236}">
                  <a16:creationId xmlns:a16="http://schemas.microsoft.com/office/drawing/2014/main" id="{A42FE03A-D911-4FBC-867A-8B48E8FA2155}"/>
                </a:ext>
              </a:extLst>
            </p:cNvPr>
            <p:cNvSpPr>
              <a:spLocks noChangeArrowheads="1"/>
            </p:cNvSpPr>
            <p:nvPr userDrawn="1"/>
          </p:nvSpPr>
          <p:spPr bwMode="auto">
            <a:xfrm>
              <a:off x="3409950" y="3786188"/>
              <a:ext cx="1447800" cy="1447800"/>
            </a:xfrm>
            <a:prstGeom prst="ellipse">
              <a:avLst/>
            </a:pr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89" name="Freeform 15">
              <a:extLst>
                <a:ext uri="{FF2B5EF4-FFF2-40B4-BE49-F238E27FC236}">
                  <a16:creationId xmlns:a16="http://schemas.microsoft.com/office/drawing/2014/main" id="{D6D280A7-1AC0-4C65-9DE1-EB680DBC7E58}"/>
                </a:ext>
              </a:extLst>
            </p:cNvPr>
            <p:cNvSpPr>
              <a:spLocks/>
            </p:cNvSpPr>
            <p:nvPr userDrawn="1"/>
          </p:nvSpPr>
          <p:spPr bwMode="auto">
            <a:xfrm>
              <a:off x="3738563" y="4114801"/>
              <a:ext cx="790575" cy="790575"/>
            </a:xfrm>
            <a:custGeom>
              <a:avLst/>
              <a:gdLst>
                <a:gd name="T0" fmla="*/ 148 w 166"/>
                <a:gd name="T1" fmla="*/ 96 h 166"/>
                <a:gd name="T2" fmla="*/ 148 w 166"/>
                <a:gd name="T3" fmla="*/ 166 h 166"/>
                <a:gd name="T4" fmla="*/ 166 w 166"/>
                <a:gd name="T5" fmla="*/ 166 h 166"/>
                <a:gd name="T6" fmla="*/ 166 w 166"/>
                <a:gd name="T7" fmla="*/ 0 h 166"/>
                <a:gd name="T8" fmla="*/ 0 w 166"/>
                <a:gd name="T9" fmla="*/ 0 h 166"/>
                <a:gd name="T10" fmla="*/ 0 w 166"/>
                <a:gd name="T11" fmla="*/ 166 h 166"/>
                <a:gd name="T12" fmla="*/ 58 w 166"/>
                <a:gd name="T13" fmla="*/ 166 h 166"/>
                <a:gd name="T14" fmla="*/ 58 w 166"/>
                <a:gd name="T15" fmla="*/ 142 h 166"/>
                <a:gd name="T16" fmla="*/ 39 w 166"/>
                <a:gd name="T17" fmla="*/ 142 h 166"/>
                <a:gd name="T18" fmla="*/ 39 w 166"/>
                <a:gd name="T19" fmla="*/ 121 h 166"/>
                <a:gd name="T20" fmla="*/ 58 w 166"/>
                <a:gd name="T21" fmla="*/ 121 h 166"/>
                <a:gd name="T22" fmla="*/ 58 w 166"/>
                <a:gd name="T23" fmla="*/ 15 h 166"/>
                <a:gd name="T24" fmla="*/ 148 w 166"/>
                <a:gd name="T25" fmla="*/ 15 h 166"/>
                <a:gd name="T26" fmla="*/ 148 w 166"/>
                <a:gd name="T27" fmla="*/ 86 h 166"/>
                <a:gd name="T28" fmla="*/ 135 w 166"/>
                <a:gd name="T29" fmla="*/ 86 h 166"/>
                <a:gd name="T30" fmla="*/ 122 w 166"/>
                <a:gd name="T31" fmla="*/ 64 h 166"/>
                <a:gd name="T32" fmla="*/ 124 w 166"/>
                <a:gd name="T33" fmla="*/ 58 h 166"/>
                <a:gd name="T34" fmla="*/ 124 w 166"/>
                <a:gd name="T35" fmla="*/ 58 h 166"/>
                <a:gd name="T36" fmla="*/ 134 w 166"/>
                <a:gd name="T37" fmla="*/ 49 h 166"/>
                <a:gd name="T38" fmla="*/ 126 w 166"/>
                <a:gd name="T39" fmla="*/ 33 h 166"/>
                <a:gd name="T40" fmla="*/ 110 w 166"/>
                <a:gd name="T41" fmla="*/ 41 h 166"/>
                <a:gd name="T42" fmla="*/ 113 w 166"/>
                <a:gd name="T43" fmla="*/ 53 h 166"/>
                <a:gd name="T44" fmla="*/ 113 w 166"/>
                <a:gd name="T45" fmla="*/ 53 h 166"/>
                <a:gd name="T46" fmla="*/ 114 w 166"/>
                <a:gd name="T47" fmla="*/ 57 h 166"/>
                <a:gd name="T48" fmla="*/ 111 w 166"/>
                <a:gd name="T49" fmla="*/ 58 h 166"/>
                <a:gd name="T50" fmla="*/ 80 w 166"/>
                <a:gd name="T51" fmla="*/ 58 h 166"/>
                <a:gd name="T52" fmla="*/ 75 w 166"/>
                <a:gd name="T53" fmla="*/ 62 h 166"/>
                <a:gd name="T54" fmla="*/ 64 w 166"/>
                <a:gd name="T55" fmla="*/ 84 h 166"/>
                <a:gd name="T56" fmla="*/ 73 w 166"/>
                <a:gd name="T57" fmla="*/ 84 h 166"/>
                <a:gd name="T58" fmla="*/ 81 w 166"/>
                <a:gd name="T59" fmla="*/ 69 h 166"/>
                <a:gd name="T60" fmla="*/ 95 w 166"/>
                <a:gd name="T61" fmla="*/ 69 h 166"/>
                <a:gd name="T62" fmla="*/ 97 w 166"/>
                <a:gd name="T63" fmla="*/ 72 h 166"/>
                <a:gd name="T64" fmla="*/ 72 w 166"/>
                <a:gd name="T65" fmla="*/ 126 h 166"/>
                <a:gd name="T66" fmla="*/ 44 w 166"/>
                <a:gd name="T67" fmla="*/ 126 h 166"/>
                <a:gd name="T68" fmla="*/ 44 w 166"/>
                <a:gd name="T69" fmla="*/ 137 h 166"/>
                <a:gd name="T70" fmla="*/ 75 w 166"/>
                <a:gd name="T71" fmla="*/ 137 h 166"/>
                <a:gd name="T72" fmla="*/ 81 w 166"/>
                <a:gd name="T73" fmla="*/ 134 h 166"/>
                <a:gd name="T74" fmla="*/ 95 w 166"/>
                <a:gd name="T75" fmla="*/ 112 h 166"/>
                <a:gd name="T76" fmla="*/ 114 w 166"/>
                <a:gd name="T77" fmla="*/ 166 h 166"/>
                <a:gd name="T78" fmla="*/ 125 w 166"/>
                <a:gd name="T79" fmla="*/ 166 h 166"/>
                <a:gd name="T80" fmla="*/ 109 w 166"/>
                <a:gd name="T81" fmla="*/ 104 h 166"/>
                <a:gd name="T82" fmla="*/ 110 w 166"/>
                <a:gd name="T83" fmla="*/ 97 h 166"/>
                <a:gd name="T84" fmla="*/ 118 w 166"/>
                <a:gd name="T85" fmla="*/ 78 h 166"/>
                <a:gd name="T86" fmla="*/ 127 w 166"/>
                <a:gd name="T87" fmla="*/ 93 h 166"/>
                <a:gd name="T88" fmla="*/ 132 w 166"/>
                <a:gd name="T89" fmla="*/ 96 h 166"/>
                <a:gd name="T90" fmla="*/ 148 w 166"/>
                <a:gd name="T91" fmla="*/ 9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66">
                  <a:moveTo>
                    <a:pt x="148" y="96"/>
                  </a:moveTo>
                  <a:cubicBezTo>
                    <a:pt x="148" y="166"/>
                    <a:pt x="148" y="166"/>
                    <a:pt x="148" y="166"/>
                  </a:cubicBezTo>
                  <a:cubicBezTo>
                    <a:pt x="166" y="166"/>
                    <a:pt x="166" y="166"/>
                    <a:pt x="166" y="166"/>
                  </a:cubicBezTo>
                  <a:cubicBezTo>
                    <a:pt x="166" y="0"/>
                    <a:pt x="166" y="0"/>
                    <a:pt x="166" y="0"/>
                  </a:cubicBezTo>
                  <a:cubicBezTo>
                    <a:pt x="0" y="0"/>
                    <a:pt x="0" y="0"/>
                    <a:pt x="0" y="0"/>
                  </a:cubicBezTo>
                  <a:cubicBezTo>
                    <a:pt x="0" y="166"/>
                    <a:pt x="0" y="166"/>
                    <a:pt x="0" y="166"/>
                  </a:cubicBezTo>
                  <a:cubicBezTo>
                    <a:pt x="58" y="166"/>
                    <a:pt x="58" y="166"/>
                    <a:pt x="58" y="166"/>
                  </a:cubicBezTo>
                  <a:cubicBezTo>
                    <a:pt x="58" y="142"/>
                    <a:pt x="58" y="142"/>
                    <a:pt x="58" y="142"/>
                  </a:cubicBezTo>
                  <a:cubicBezTo>
                    <a:pt x="39" y="142"/>
                    <a:pt x="39" y="142"/>
                    <a:pt x="39" y="142"/>
                  </a:cubicBezTo>
                  <a:cubicBezTo>
                    <a:pt x="39" y="121"/>
                    <a:pt x="39" y="121"/>
                    <a:pt x="39" y="121"/>
                  </a:cubicBezTo>
                  <a:cubicBezTo>
                    <a:pt x="58" y="121"/>
                    <a:pt x="58" y="121"/>
                    <a:pt x="58" y="121"/>
                  </a:cubicBezTo>
                  <a:cubicBezTo>
                    <a:pt x="58" y="15"/>
                    <a:pt x="58" y="15"/>
                    <a:pt x="58" y="15"/>
                  </a:cubicBezTo>
                  <a:cubicBezTo>
                    <a:pt x="148" y="15"/>
                    <a:pt x="148" y="15"/>
                    <a:pt x="148" y="15"/>
                  </a:cubicBezTo>
                  <a:cubicBezTo>
                    <a:pt x="148" y="86"/>
                    <a:pt x="148" y="86"/>
                    <a:pt x="148" y="86"/>
                  </a:cubicBezTo>
                  <a:cubicBezTo>
                    <a:pt x="135" y="86"/>
                    <a:pt x="135" y="86"/>
                    <a:pt x="135" y="86"/>
                  </a:cubicBezTo>
                  <a:cubicBezTo>
                    <a:pt x="135" y="86"/>
                    <a:pt x="124" y="67"/>
                    <a:pt x="122" y="64"/>
                  </a:cubicBezTo>
                  <a:cubicBezTo>
                    <a:pt x="120" y="60"/>
                    <a:pt x="122" y="58"/>
                    <a:pt x="124" y="58"/>
                  </a:cubicBezTo>
                  <a:cubicBezTo>
                    <a:pt x="124" y="58"/>
                    <a:pt x="124" y="58"/>
                    <a:pt x="124" y="58"/>
                  </a:cubicBezTo>
                  <a:cubicBezTo>
                    <a:pt x="129" y="57"/>
                    <a:pt x="133" y="54"/>
                    <a:pt x="134" y="49"/>
                  </a:cubicBezTo>
                  <a:cubicBezTo>
                    <a:pt x="136" y="43"/>
                    <a:pt x="133" y="35"/>
                    <a:pt x="126" y="33"/>
                  </a:cubicBezTo>
                  <a:cubicBezTo>
                    <a:pt x="120" y="31"/>
                    <a:pt x="112" y="34"/>
                    <a:pt x="110" y="41"/>
                  </a:cubicBezTo>
                  <a:cubicBezTo>
                    <a:pt x="109" y="45"/>
                    <a:pt x="110" y="50"/>
                    <a:pt x="113" y="53"/>
                  </a:cubicBezTo>
                  <a:cubicBezTo>
                    <a:pt x="113" y="53"/>
                    <a:pt x="113" y="53"/>
                    <a:pt x="113" y="53"/>
                  </a:cubicBezTo>
                  <a:cubicBezTo>
                    <a:pt x="113" y="54"/>
                    <a:pt x="114" y="55"/>
                    <a:pt x="114" y="57"/>
                  </a:cubicBezTo>
                  <a:cubicBezTo>
                    <a:pt x="114" y="58"/>
                    <a:pt x="113" y="58"/>
                    <a:pt x="111" y="58"/>
                  </a:cubicBezTo>
                  <a:cubicBezTo>
                    <a:pt x="80" y="58"/>
                    <a:pt x="80" y="58"/>
                    <a:pt x="80" y="58"/>
                  </a:cubicBezTo>
                  <a:cubicBezTo>
                    <a:pt x="78" y="58"/>
                    <a:pt x="75" y="60"/>
                    <a:pt x="75" y="62"/>
                  </a:cubicBezTo>
                  <a:cubicBezTo>
                    <a:pt x="64" y="84"/>
                    <a:pt x="64" y="84"/>
                    <a:pt x="64" y="84"/>
                  </a:cubicBezTo>
                  <a:cubicBezTo>
                    <a:pt x="73" y="84"/>
                    <a:pt x="73" y="84"/>
                    <a:pt x="73" y="84"/>
                  </a:cubicBezTo>
                  <a:cubicBezTo>
                    <a:pt x="81" y="69"/>
                    <a:pt x="81" y="69"/>
                    <a:pt x="81" y="69"/>
                  </a:cubicBezTo>
                  <a:cubicBezTo>
                    <a:pt x="95" y="69"/>
                    <a:pt x="95" y="69"/>
                    <a:pt x="95" y="69"/>
                  </a:cubicBezTo>
                  <a:cubicBezTo>
                    <a:pt x="97" y="69"/>
                    <a:pt x="98" y="70"/>
                    <a:pt x="97" y="72"/>
                  </a:cubicBezTo>
                  <a:cubicBezTo>
                    <a:pt x="72" y="126"/>
                    <a:pt x="72" y="126"/>
                    <a:pt x="72" y="126"/>
                  </a:cubicBezTo>
                  <a:cubicBezTo>
                    <a:pt x="44" y="126"/>
                    <a:pt x="44" y="126"/>
                    <a:pt x="44" y="126"/>
                  </a:cubicBezTo>
                  <a:cubicBezTo>
                    <a:pt x="44" y="137"/>
                    <a:pt x="44" y="137"/>
                    <a:pt x="44" y="137"/>
                  </a:cubicBezTo>
                  <a:cubicBezTo>
                    <a:pt x="75" y="137"/>
                    <a:pt x="75" y="137"/>
                    <a:pt x="75" y="137"/>
                  </a:cubicBezTo>
                  <a:cubicBezTo>
                    <a:pt x="77" y="137"/>
                    <a:pt x="80" y="135"/>
                    <a:pt x="81" y="134"/>
                  </a:cubicBezTo>
                  <a:cubicBezTo>
                    <a:pt x="95" y="112"/>
                    <a:pt x="95" y="112"/>
                    <a:pt x="95" y="112"/>
                  </a:cubicBezTo>
                  <a:cubicBezTo>
                    <a:pt x="114" y="166"/>
                    <a:pt x="114" y="166"/>
                    <a:pt x="114" y="166"/>
                  </a:cubicBezTo>
                  <a:cubicBezTo>
                    <a:pt x="125" y="166"/>
                    <a:pt x="125" y="166"/>
                    <a:pt x="125" y="166"/>
                  </a:cubicBezTo>
                  <a:cubicBezTo>
                    <a:pt x="109" y="104"/>
                    <a:pt x="109" y="104"/>
                    <a:pt x="109" y="104"/>
                  </a:cubicBezTo>
                  <a:cubicBezTo>
                    <a:pt x="109" y="102"/>
                    <a:pt x="109" y="99"/>
                    <a:pt x="110" y="97"/>
                  </a:cubicBezTo>
                  <a:cubicBezTo>
                    <a:pt x="118" y="78"/>
                    <a:pt x="118" y="78"/>
                    <a:pt x="118" y="78"/>
                  </a:cubicBezTo>
                  <a:cubicBezTo>
                    <a:pt x="127" y="93"/>
                    <a:pt x="127" y="93"/>
                    <a:pt x="127" y="93"/>
                  </a:cubicBezTo>
                  <a:cubicBezTo>
                    <a:pt x="128" y="95"/>
                    <a:pt x="130" y="96"/>
                    <a:pt x="132" y="96"/>
                  </a:cubicBezTo>
                  <a:cubicBezTo>
                    <a:pt x="148" y="96"/>
                    <a:pt x="148" y="96"/>
                    <a:pt x="14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grpSp>
      <p:grpSp>
        <p:nvGrpSpPr>
          <p:cNvPr id="390" name="Group 29">
            <a:extLst>
              <a:ext uri="{FF2B5EF4-FFF2-40B4-BE49-F238E27FC236}">
                <a16:creationId xmlns:a16="http://schemas.microsoft.com/office/drawing/2014/main" id="{BD85A1A3-321E-40D0-9329-595A7B230B07}"/>
              </a:ext>
            </a:extLst>
          </p:cNvPr>
          <p:cNvGrpSpPr/>
          <p:nvPr userDrawn="1"/>
        </p:nvGrpSpPr>
        <p:grpSpPr>
          <a:xfrm>
            <a:off x="7921659" y="3736162"/>
            <a:ext cx="1452563" cy="1447800"/>
            <a:chOff x="7724775" y="3786188"/>
            <a:chExt cx="1452563" cy="1447800"/>
          </a:xfrm>
        </p:grpSpPr>
        <p:sp>
          <p:nvSpPr>
            <p:cNvPr id="391" name="Oval 16">
              <a:extLst>
                <a:ext uri="{FF2B5EF4-FFF2-40B4-BE49-F238E27FC236}">
                  <a16:creationId xmlns:a16="http://schemas.microsoft.com/office/drawing/2014/main" id="{2E4BBA3E-E3AB-4236-ACCE-D7B995EACECE}"/>
                </a:ext>
              </a:extLst>
            </p:cNvPr>
            <p:cNvSpPr>
              <a:spLocks noChangeArrowheads="1"/>
            </p:cNvSpPr>
            <p:nvPr userDrawn="1"/>
          </p:nvSpPr>
          <p:spPr bwMode="auto">
            <a:xfrm>
              <a:off x="7724775" y="3786188"/>
              <a:ext cx="1452563" cy="1447800"/>
            </a:xfrm>
            <a:prstGeom prst="ellipse">
              <a:avLst/>
            </a:pr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92" name="Freeform 17">
              <a:extLst>
                <a:ext uri="{FF2B5EF4-FFF2-40B4-BE49-F238E27FC236}">
                  <a16:creationId xmlns:a16="http://schemas.microsoft.com/office/drawing/2014/main" id="{3670F56B-7843-4F10-ABB6-DE055A966F97}"/>
                </a:ext>
              </a:extLst>
            </p:cNvPr>
            <p:cNvSpPr>
              <a:spLocks noEditPoints="1"/>
            </p:cNvSpPr>
            <p:nvPr userDrawn="1"/>
          </p:nvSpPr>
          <p:spPr bwMode="auto">
            <a:xfrm>
              <a:off x="8201025" y="4281488"/>
              <a:ext cx="519113" cy="409575"/>
            </a:xfrm>
            <a:custGeom>
              <a:avLst/>
              <a:gdLst>
                <a:gd name="T0" fmla="*/ 36 w 109"/>
                <a:gd name="T1" fmla="*/ 28 h 86"/>
                <a:gd name="T2" fmla="*/ 13 w 109"/>
                <a:gd name="T3" fmla="*/ 28 h 86"/>
                <a:gd name="T4" fmla="*/ 27 w 109"/>
                <a:gd name="T5" fmla="*/ 72 h 86"/>
                <a:gd name="T6" fmla="*/ 36 w 109"/>
                <a:gd name="T7" fmla="*/ 54 h 86"/>
                <a:gd name="T8" fmla="*/ 37 w 109"/>
                <a:gd name="T9" fmla="*/ 54 h 86"/>
                <a:gd name="T10" fmla="*/ 38 w 109"/>
                <a:gd name="T11" fmla="*/ 43 h 86"/>
                <a:gd name="T12" fmla="*/ 11 w 109"/>
                <a:gd name="T13" fmla="*/ 43 h 86"/>
                <a:gd name="T14" fmla="*/ 5 w 109"/>
                <a:gd name="T15" fmla="*/ 47 h 86"/>
                <a:gd name="T16" fmla="*/ 0 w 109"/>
                <a:gd name="T17" fmla="*/ 72 h 86"/>
                <a:gd name="T18" fmla="*/ 10 w 109"/>
                <a:gd name="T19" fmla="*/ 61 h 86"/>
                <a:gd name="T20" fmla="*/ 13 w 109"/>
                <a:gd name="T21" fmla="*/ 72 h 86"/>
                <a:gd name="T22" fmla="*/ 81 w 109"/>
                <a:gd name="T23" fmla="*/ 17 h 86"/>
                <a:gd name="T24" fmla="*/ 81 w 109"/>
                <a:gd name="T25" fmla="*/ 40 h 86"/>
                <a:gd name="T26" fmla="*/ 81 w 109"/>
                <a:gd name="T27" fmla="*/ 17 h 86"/>
                <a:gd name="T28" fmla="*/ 99 w 109"/>
                <a:gd name="T29" fmla="*/ 43 h 86"/>
                <a:gd name="T30" fmla="*/ 68 w 109"/>
                <a:gd name="T31" fmla="*/ 43 h 86"/>
                <a:gd name="T32" fmla="*/ 61 w 109"/>
                <a:gd name="T33" fmla="*/ 54 h 86"/>
                <a:gd name="T34" fmla="*/ 72 w 109"/>
                <a:gd name="T35" fmla="*/ 54 h 86"/>
                <a:gd name="T36" fmla="*/ 80 w 109"/>
                <a:gd name="T37" fmla="*/ 72 h 86"/>
                <a:gd name="T38" fmla="*/ 96 w 109"/>
                <a:gd name="T39" fmla="*/ 61 h 86"/>
                <a:gd name="T40" fmla="*/ 100 w 109"/>
                <a:gd name="T41" fmla="*/ 72 h 86"/>
                <a:gd name="T42" fmla="*/ 104 w 109"/>
                <a:gd name="T43" fmla="*/ 47 h 86"/>
                <a:gd name="T44" fmla="*/ 53 w 109"/>
                <a:gd name="T45" fmla="*/ 54 h 86"/>
                <a:gd name="T46" fmla="*/ 53 w 109"/>
                <a:gd name="T47" fmla="*/ 31 h 86"/>
                <a:gd name="T48" fmla="*/ 71 w 109"/>
                <a:gd name="T49" fmla="*/ 86 h 86"/>
                <a:gd name="T50" fmla="*/ 75 w 109"/>
                <a:gd name="T51" fmla="*/ 61 h 86"/>
                <a:gd name="T52" fmla="*/ 69 w 109"/>
                <a:gd name="T53" fmla="*/ 57 h 86"/>
                <a:gd name="T54" fmla="*/ 39 w 109"/>
                <a:gd name="T55" fmla="*/ 57 h 86"/>
                <a:gd name="T56" fmla="*/ 37 w 109"/>
                <a:gd name="T57" fmla="*/ 57 h 86"/>
                <a:gd name="T58" fmla="*/ 33 w 109"/>
                <a:gd name="T59" fmla="*/ 61 h 86"/>
                <a:gd name="T60" fmla="*/ 37 w 109"/>
                <a:gd name="T61" fmla="*/ 86 h 86"/>
                <a:gd name="T62" fmla="*/ 41 w 109"/>
                <a:gd name="T63" fmla="*/ 75 h 86"/>
                <a:gd name="T64" fmla="*/ 67 w 109"/>
                <a:gd name="T65" fmla="*/ 86 h 86"/>
                <a:gd name="T66" fmla="*/ 70 w 109"/>
                <a:gd name="T67" fmla="*/ 75 h 86"/>
                <a:gd name="T68" fmla="*/ 53 w 109"/>
                <a:gd name="T69" fmla="*/ 0 h 86"/>
                <a:gd name="T70" fmla="*/ 53 w 109"/>
                <a:gd name="T71" fmla="*/ 23 h 86"/>
                <a:gd name="T72" fmla="*/ 53 w 109"/>
                <a:gd name="T7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 h="86">
                  <a:moveTo>
                    <a:pt x="25" y="17"/>
                  </a:moveTo>
                  <a:cubicBezTo>
                    <a:pt x="31" y="17"/>
                    <a:pt x="36" y="22"/>
                    <a:pt x="36" y="28"/>
                  </a:cubicBezTo>
                  <a:cubicBezTo>
                    <a:pt x="36" y="34"/>
                    <a:pt x="31" y="40"/>
                    <a:pt x="25" y="40"/>
                  </a:cubicBezTo>
                  <a:cubicBezTo>
                    <a:pt x="19" y="40"/>
                    <a:pt x="13" y="34"/>
                    <a:pt x="13" y="28"/>
                  </a:cubicBezTo>
                  <a:cubicBezTo>
                    <a:pt x="13" y="22"/>
                    <a:pt x="19" y="17"/>
                    <a:pt x="25" y="17"/>
                  </a:cubicBezTo>
                  <a:moveTo>
                    <a:pt x="27" y="72"/>
                  </a:moveTo>
                  <a:cubicBezTo>
                    <a:pt x="30" y="60"/>
                    <a:pt x="30" y="60"/>
                    <a:pt x="30" y="60"/>
                  </a:cubicBezTo>
                  <a:cubicBezTo>
                    <a:pt x="30" y="57"/>
                    <a:pt x="33" y="55"/>
                    <a:pt x="36" y="54"/>
                  </a:cubicBezTo>
                  <a:cubicBezTo>
                    <a:pt x="36" y="54"/>
                    <a:pt x="36" y="54"/>
                    <a:pt x="36" y="54"/>
                  </a:cubicBezTo>
                  <a:cubicBezTo>
                    <a:pt x="37" y="54"/>
                    <a:pt x="37" y="54"/>
                    <a:pt x="37" y="54"/>
                  </a:cubicBezTo>
                  <a:cubicBezTo>
                    <a:pt x="44" y="54"/>
                    <a:pt x="44" y="54"/>
                    <a:pt x="44" y="54"/>
                  </a:cubicBezTo>
                  <a:cubicBezTo>
                    <a:pt x="41" y="51"/>
                    <a:pt x="38" y="47"/>
                    <a:pt x="38" y="43"/>
                  </a:cubicBezTo>
                  <a:cubicBezTo>
                    <a:pt x="11" y="43"/>
                    <a:pt x="11" y="43"/>
                    <a:pt x="11" y="43"/>
                  </a:cubicBezTo>
                  <a:cubicBezTo>
                    <a:pt x="11" y="43"/>
                    <a:pt x="11" y="43"/>
                    <a:pt x="11" y="43"/>
                  </a:cubicBezTo>
                  <a:cubicBezTo>
                    <a:pt x="10" y="43"/>
                    <a:pt x="10" y="43"/>
                    <a:pt x="10" y="43"/>
                  </a:cubicBezTo>
                  <a:cubicBezTo>
                    <a:pt x="7" y="43"/>
                    <a:pt x="5" y="45"/>
                    <a:pt x="5" y="47"/>
                  </a:cubicBezTo>
                  <a:cubicBezTo>
                    <a:pt x="5" y="47"/>
                    <a:pt x="5" y="47"/>
                    <a:pt x="5" y="47"/>
                  </a:cubicBezTo>
                  <a:cubicBezTo>
                    <a:pt x="0" y="72"/>
                    <a:pt x="0" y="72"/>
                    <a:pt x="0" y="72"/>
                  </a:cubicBezTo>
                  <a:cubicBezTo>
                    <a:pt x="9" y="72"/>
                    <a:pt x="9" y="72"/>
                    <a:pt x="9" y="72"/>
                  </a:cubicBezTo>
                  <a:cubicBezTo>
                    <a:pt x="10" y="61"/>
                    <a:pt x="10" y="61"/>
                    <a:pt x="10" y="61"/>
                  </a:cubicBezTo>
                  <a:cubicBezTo>
                    <a:pt x="13" y="61"/>
                    <a:pt x="13" y="61"/>
                    <a:pt x="13" y="61"/>
                  </a:cubicBezTo>
                  <a:cubicBezTo>
                    <a:pt x="13" y="72"/>
                    <a:pt x="13" y="72"/>
                    <a:pt x="13" y="72"/>
                  </a:cubicBezTo>
                  <a:cubicBezTo>
                    <a:pt x="27" y="72"/>
                    <a:pt x="27" y="72"/>
                    <a:pt x="27" y="72"/>
                  </a:cubicBezTo>
                  <a:close/>
                  <a:moveTo>
                    <a:pt x="81" y="17"/>
                  </a:moveTo>
                  <a:cubicBezTo>
                    <a:pt x="75" y="17"/>
                    <a:pt x="70" y="22"/>
                    <a:pt x="70" y="28"/>
                  </a:cubicBezTo>
                  <a:cubicBezTo>
                    <a:pt x="70" y="34"/>
                    <a:pt x="75" y="40"/>
                    <a:pt x="81" y="40"/>
                  </a:cubicBezTo>
                  <a:cubicBezTo>
                    <a:pt x="88" y="40"/>
                    <a:pt x="93" y="34"/>
                    <a:pt x="93" y="28"/>
                  </a:cubicBezTo>
                  <a:cubicBezTo>
                    <a:pt x="93" y="22"/>
                    <a:pt x="88" y="17"/>
                    <a:pt x="81" y="17"/>
                  </a:cubicBezTo>
                  <a:moveTo>
                    <a:pt x="104" y="47"/>
                  </a:moveTo>
                  <a:cubicBezTo>
                    <a:pt x="103" y="45"/>
                    <a:pt x="101" y="43"/>
                    <a:pt x="99" y="43"/>
                  </a:cubicBezTo>
                  <a:cubicBezTo>
                    <a:pt x="68" y="43"/>
                    <a:pt x="68" y="43"/>
                    <a:pt x="68" y="43"/>
                  </a:cubicBezTo>
                  <a:cubicBezTo>
                    <a:pt x="68" y="43"/>
                    <a:pt x="68" y="43"/>
                    <a:pt x="68" y="43"/>
                  </a:cubicBezTo>
                  <a:cubicBezTo>
                    <a:pt x="67" y="43"/>
                    <a:pt x="67" y="43"/>
                    <a:pt x="67" y="43"/>
                  </a:cubicBezTo>
                  <a:cubicBezTo>
                    <a:pt x="67" y="47"/>
                    <a:pt x="65" y="51"/>
                    <a:pt x="61" y="54"/>
                  </a:cubicBezTo>
                  <a:cubicBezTo>
                    <a:pt x="72" y="54"/>
                    <a:pt x="72" y="54"/>
                    <a:pt x="72" y="54"/>
                  </a:cubicBezTo>
                  <a:cubicBezTo>
                    <a:pt x="72" y="54"/>
                    <a:pt x="72" y="54"/>
                    <a:pt x="72" y="54"/>
                  </a:cubicBezTo>
                  <a:cubicBezTo>
                    <a:pt x="75" y="55"/>
                    <a:pt x="77" y="57"/>
                    <a:pt x="78" y="60"/>
                  </a:cubicBezTo>
                  <a:cubicBezTo>
                    <a:pt x="80" y="72"/>
                    <a:pt x="80" y="72"/>
                    <a:pt x="80" y="72"/>
                  </a:cubicBezTo>
                  <a:cubicBezTo>
                    <a:pt x="96" y="72"/>
                    <a:pt x="96" y="72"/>
                    <a:pt x="96" y="72"/>
                  </a:cubicBezTo>
                  <a:cubicBezTo>
                    <a:pt x="96" y="61"/>
                    <a:pt x="96" y="61"/>
                    <a:pt x="96" y="61"/>
                  </a:cubicBezTo>
                  <a:cubicBezTo>
                    <a:pt x="99" y="61"/>
                    <a:pt x="99" y="61"/>
                    <a:pt x="99" y="61"/>
                  </a:cubicBezTo>
                  <a:cubicBezTo>
                    <a:pt x="100" y="72"/>
                    <a:pt x="100" y="72"/>
                    <a:pt x="100" y="72"/>
                  </a:cubicBezTo>
                  <a:cubicBezTo>
                    <a:pt x="109" y="72"/>
                    <a:pt x="109" y="72"/>
                    <a:pt x="109" y="72"/>
                  </a:cubicBezTo>
                  <a:lnTo>
                    <a:pt x="104" y="47"/>
                  </a:lnTo>
                  <a:close/>
                  <a:moveTo>
                    <a:pt x="41" y="42"/>
                  </a:moveTo>
                  <a:cubicBezTo>
                    <a:pt x="41" y="48"/>
                    <a:pt x="46" y="54"/>
                    <a:pt x="53" y="54"/>
                  </a:cubicBezTo>
                  <a:cubicBezTo>
                    <a:pt x="59" y="54"/>
                    <a:pt x="64" y="48"/>
                    <a:pt x="64" y="42"/>
                  </a:cubicBezTo>
                  <a:cubicBezTo>
                    <a:pt x="64" y="36"/>
                    <a:pt x="59" y="31"/>
                    <a:pt x="53" y="31"/>
                  </a:cubicBezTo>
                  <a:cubicBezTo>
                    <a:pt x="46" y="31"/>
                    <a:pt x="41" y="36"/>
                    <a:pt x="41" y="42"/>
                  </a:cubicBezTo>
                  <a:moveTo>
                    <a:pt x="71" y="86"/>
                  </a:moveTo>
                  <a:cubicBezTo>
                    <a:pt x="80" y="86"/>
                    <a:pt x="80" y="86"/>
                    <a:pt x="80" y="86"/>
                  </a:cubicBezTo>
                  <a:cubicBezTo>
                    <a:pt x="75" y="61"/>
                    <a:pt x="75" y="61"/>
                    <a:pt x="75" y="61"/>
                  </a:cubicBezTo>
                  <a:cubicBezTo>
                    <a:pt x="75" y="59"/>
                    <a:pt x="73" y="57"/>
                    <a:pt x="70" y="57"/>
                  </a:cubicBezTo>
                  <a:cubicBezTo>
                    <a:pt x="69" y="57"/>
                    <a:pt x="69" y="57"/>
                    <a:pt x="69" y="57"/>
                  </a:cubicBezTo>
                  <a:cubicBezTo>
                    <a:pt x="69" y="57"/>
                    <a:pt x="69" y="57"/>
                    <a:pt x="69" y="57"/>
                  </a:cubicBezTo>
                  <a:cubicBezTo>
                    <a:pt x="39" y="57"/>
                    <a:pt x="39" y="57"/>
                    <a:pt x="39" y="57"/>
                  </a:cubicBezTo>
                  <a:cubicBezTo>
                    <a:pt x="39" y="57"/>
                    <a:pt x="39" y="57"/>
                    <a:pt x="39" y="57"/>
                  </a:cubicBezTo>
                  <a:cubicBezTo>
                    <a:pt x="37" y="57"/>
                    <a:pt x="37" y="57"/>
                    <a:pt x="37" y="57"/>
                  </a:cubicBezTo>
                  <a:cubicBezTo>
                    <a:pt x="35" y="57"/>
                    <a:pt x="33" y="59"/>
                    <a:pt x="33" y="61"/>
                  </a:cubicBezTo>
                  <a:cubicBezTo>
                    <a:pt x="33" y="61"/>
                    <a:pt x="33" y="61"/>
                    <a:pt x="33" y="61"/>
                  </a:cubicBezTo>
                  <a:cubicBezTo>
                    <a:pt x="28" y="86"/>
                    <a:pt x="28" y="86"/>
                    <a:pt x="28" y="86"/>
                  </a:cubicBezTo>
                  <a:cubicBezTo>
                    <a:pt x="37" y="86"/>
                    <a:pt x="37" y="86"/>
                    <a:pt x="37" y="86"/>
                  </a:cubicBezTo>
                  <a:cubicBezTo>
                    <a:pt x="38" y="75"/>
                    <a:pt x="38" y="75"/>
                    <a:pt x="38" y="75"/>
                  </a:cubicBezTo>
                  <a:cubicBezTo>
                    <a:pt x="41" y="75"/>
                    <a:pt x="41" y="75"/>
                    <a:pt x="41" y="75"/>
                  </a:cubicBezTo>
                  <a:cubicBezTo>
                    <a:pt x="41" y="86"/>
                    <a:pt x="41" y="86"/>
                    <a:pt x="41" y="86"/>
                  </a:cubicBezTo>
                  <a:cubicBezTo>
                    <a:pt x="67" y="86"/>
                    <a:pt x="67" y="86"/>
                    <a:pt x="67" y="86"/>
                  </a:cubicBezTo>
                  <a:cubicBezTo>
                    <a:pt x="67" y="75"/>
                    <a:pt x="67" y="75"/>
                    <a:pt x="67" y="75"/>
                  </a:cubicBezTo>
                  <a:cubicBezTo>
                    <a:pt x="70" y="75"/>
                    <a:pt x="70" y="75"/>
                    <a:pt x="70" y="75"/>
                  </a:cubicBezTo>
                  <a:lnTo>
                    <a:pt x="71" y="86"/>
                  </a:lnTo>
                  <a:close/>
                  <a:moveTo>
                    <a:pt x="53" y="0"/>
                  </a:moveTo>
                  <a:cubicBezTo>
                    <a:pt x="46" y="0"/>
                    <a:pt x="41" y="5"/>
                    <a:pt x="41" y="12"/>
                  </a:cubicBezTo>
                  <a:cubicBezTo>
                    <a:pt x="41" y="18"/>
                    <a:pt x="46" y="23"/>
                    <a:pt x="53" y="23"/>
                  </a:cubicBezTo>
                  <a:cubicBezTo>
                    <a:pt x="59" y="23"/>
                    <a:pt x="64" y="18"/>
                    <a:pt x="64" y="12"/>
                  </a:cubicBezTo>
                  <a:cubicBezTo>
                    <a:pt x="64" y="5"/>
                    <a:pt x="59" y="0"/>
                    <a:pt x="5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93" name="Freeform 18">
              <a:extLst>
                <a:ext uri="{FF2B5EF4-FFF2-40B4-BE49-F238E27FC236}">
                  <a16:creationId xmlns:a16="http://schemas.microsoft.com/office/drawing/2014/main" id="{004B6848-5FBA-44E6-9978-924F517ACD4F}"/>
                </a:ext>
              </a:extLst>
            </p:cNvPr>
            <p:cNvSpPr>
              <a:spLocks/>
            </p:cNvSpPr>
            <p:nvPr userDrawn="1"/>
          </p:nvSpPr>
          <p:spPr bwMode="auto">
            <a:xfrm>
              <a:off x="8034338" y="4090988"/>
              <a:ext cx="257175" cy="252413"/>
            </a:xfrm>
            <a:custGeom>
              <a:avLst/>
              <a:gdLst>
                <a:gd name="T0" fmla="*/ 120 w 162"/>
                <a:gd name="T1" fmla="*/ 30 h 159"/>
                <a:gd name="T2" fmla="*/ 120 w 162"/>
                <a:gd name="T3" fmla="*/ 90 h 159"/>
                <a:gd name="T4" fmla="*/ 30 w 162"/>
                <a:gd name="T5" fmla="*/ 0 h 159"/>
                <a:gd name="T6" fmla="*/ 0 w 162"/>
                <a:gd name="T7" fmla="*/ 27 h 159"/>
                <a:gd name="T8" fmla="*/ 93 w 162"/>
                <a:gd name="T9" fmla="*/ 120 h 159"/>
                <a:gd name="T10" fmla="*/ 30 w 162"/>
                <a:gd name="T11" fmla="*/ 120 h 159"/>
                <a:gd name="T12" fmla="*/ 69 w 162"/>
                <a:gd name="T13" fmla="*/ 159 h 159"/>
                <a:gd name="T14" fmla="*/ 162 w 162"/>
                <a:gd name="T15" fmla="*/ 159 h 159"/>
                <a:gd name="T16" fmla="*/ 162 w 162"/>
                <a:gd name="T17" fmla="*/ 69 h 159"/>
                <a:gd name="T18" fmla="*/ 120 w 162"/>
                <a:gd name="T19"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59">
                  <a:moveTo>
                    <a:pt x="120" y="30"/>
                  </a:moveTo>
                  <a:lnTo>
                    <a:pt x="120" y="90"/>
                  </a:lnTo>
                  <a:lnTo>
                    <a:pt x="30" y="0"/>
                  </a:lnTo>
                  <a:lnTo>
                    <a:pt x="0" y="27"/>
                  </a:lnTo>
                  <a:lnTo>
                    <a:pt x="93" y="120"/>
                  </a:lnTo>
                  <a:lnTo>
                    <a:pt x="30" y="120"/>
                  </a:lnTo>
                  <a:lnTo>
                    <a:pt x="69" y="159"/>
                  </a:lnTo>
                  <a:lnTo>
                    <a:pt x="162" y="159"/>
                  </a:lnTo>
                  <a:lnTo>
                    <a:pt x="162" y="69"/>
                  </a:lnTo>
                  <a:lnTo>
                    <a:pt x="12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94" name="Freeform 19">
              <a:extLst>
                <a:ext uri="{FF2B5EF4-FFF2-40B4-BE49-F238E27FC236}">
                  <a16:creationId xmlns:a16="http://schemas.microsoft.com/office/drawing/2014/main" id="{0EE24D02-3C60-418D-8CB9-022892BF2D88}"/>
                </a:ext>
              </a:extLst>
            </p:cNvPr>
            <p:cNvSpPr>
              <a:spLocks/>
            </p:cNvSpPr>
            <p:nvPr userDrawn="1"/>
          </p:nvSpPr>
          <p:spPr bwMode="auto">
            <a:xfrm>
              <a:off x="8615363" y="4090988"/>
              <a:ext cx="252413" cy="252413"/>
            </a:xfrm>
            <a:custGeom>
              <a:avLst/>
              <a:gdLst>
                <a:gd name="T0" fmla="*/ 159 w 159"/>
                <a:gd name="T1" fmla="*/ 27 h 159"/>
                <a:gd name="T2" fmla="*/ 132 w 159"/>
                <a:gd name="T3" fmla="*/ 0 h 159"/>
                <a:gd name="T4" fmla="*/ 39 w 159"/>
                <a:gd name="T5" fmla="*/ 90 h 159"/>
                <a:gd name="T6" fmla="*/ 39 w 159"/>
                <a:gd name="T7" fmla="*/ 30 h 159"/>
                <a:gd name="T8" fmla="*/ 0 w 159"/>
                <a:gd name="T9" fmla="*/ 69 h 159"/>
                <a:gd name="T10" fmla="*/ 0 w 159"/>
                <a:gd name="T11" fmla="*/ 159 h 159"/>
                <a:gd name="T12" fmla="*/ 90 w 159"/>
                <a:gd name="T13" fmla="*/ 159 h 159"/>
                <a:gd name="T14" fmla="*/ 129 w 159"/>
                <a:gd name="T15" fmla="*/ 120 h 159"/>
                <a:gd name="T16" fmla="*/ 66 w 159"/>
                <a:gd name="T17" fmla="*/ 120 h 159"/>
                <a:gd name="T18" fmla="*/ 159 w 159"/>
                <a:gd name="T19" fmla="*/ 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159" y="27"/>
                  </a:moveTo>
                  <a:lnTo>
                    <a:pt x="132" y="0"/>
                  </a:lnTo>
                  <a:lnTo>
                    <a:pt x="39" y="90"/>
                  </a:lnTo>
                  <a:lnTo>
                    <a:pt x="39" y="30"/>
                  </a:lnTo>
                  <a:lnTo>
                    <a:pt x="0" y="69"/>
                  </a:lnTo>
                  <a:lnTo>
                    <a:pt x="0" y="159"/>
                  </a:lnTo>
                  <a:lnTo>
                    <a:pt x="90" y="159"/>
                  </a:lnTo>
                  <a:lnTo>
                    <a:pt x="129" y="120"/>
                  </a:lnTo>
                  <a:lnTo>
                    <a:pt x="66" y="120"/>
                  </a:lnTo>
                  <a:lnTo>
                    <a:pt x="159"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95" name="Freeform 20">
              <a:extLst>
                <a:ext uri="{FF2B5EF4-FFF2-40B4-BE49-F238E27FC236}">
                  <a16:creationId xmlns:a16="http://schemas.microsoft.com/office/drawing/2014/main" id="{2DA4E74B-2CA1-4F0E-B1AE-C1D90C4F7497}"/>
                </a:ext>
              </a:extLst>
            </p:cNvPr>
            <p:cNvSpPr>
              <a:spLocks/>
            </p:cNvSpPr>
            <p:nvPr userDrawn="1"/>
          </p:nvSpPr>
          <p:spPr bwMode="auto">
            <a:xfrm>
              <a:off x="8034338" y="4676776"/>
              <a:ext cx="257175" cy="252413"/>
            </a:xfrm>
            <a:custGeom>
              <a:avLst/>
              <a:gdLst>
                <a:gd name="T0" fmla="*/ 69 w 162"/>
                <a:gd name="T1" fmla="*/ 0 h 159"/>
                <a:gd name="T2" fmla="*/ 30 w 162"/>
                <a:gd name="T3" fmla="*/ 39 h 159"/>
                <a:gd name="T4" fmla="*/ 93 w 162"/>
                <a:gd name="T5" fmla="*/ 39 h 159"/>
                <a:gd name="T6" fmla="*/ 0 w 162"/>
                <a:gd name="T7" fmla="*/ 132 h 159"/>
                <a:gd name="T8" fmla="*/ 30 w 162"/>
                <a:gd name="T9" fmla="*/ 159 h 159"/>
                <a:gd name="T10" fmla="*/ 120 w 162"/>
                <a:gd name="T11" fmla="*/ 69 h 159"/>
                <a:gd name="T12" fmla="*/ 120 w 162"/>
                <a:gd name="T13" fmla="*/ 129 h 159"/>
                <a:gd name="T14" fmla="*/ 162 w 162"/>
                <a:gd name="T15" fmla="*/ 90 h 159"/>
                <a:gd name="T16" fmla="*/ 162 w 162"/>
                <a:gd name="T17" fmla="*/ 0 h 159"/>
                <a:gd name="T18" fmla="*/ 69 w 162"/>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59">
                  <a:moveTo>
                    <a:pt x="69" y="0"/>
                  </a:moveTo>
                  <a:lnTo>
                    <a:pt x="30" y="39"/>
                  </a:lnTo>
                  <a:lnTo>
                    <a:pt x="93" y="39"/>
                  </a:lnTo>
                  <a:lnTo>
                    <a:pt x="0" y="132"/>
                  </a:lnTo>
                  <a:lnTo>
                    <a:pt x="30" y="159"/>
                  </a:lnTo>
                  <a:lnTo>
                    <a:pt x="120" y="69"/>
                  </a:lnTo>
                  <a:lnTo>
                    <a:pt x="120" y="129"/>
                  </a:lnTo>
                  <a:lnTo>
                    <a:pt x="162" y="90"/>
                  </a:lnTo>
                  <a:lnTo>
                    <a:pt x="162" y="0"/>
                  </a:lnTo>
                  <a:lnTo>
                    <a:pt x="6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396" name="Freeform 21">
              <a:extLst>
                <a:ext uri="{FF2B5EF4-FFF2-40B4-BE49-F238E27FC236}">
                  <a16:creationId xmlns:a16="http://schemas.microsoft.com/office/drawing/2014/main" id="{7C625AB1-B201-429B-B79E-9EBE0446779E}"/>
                </a:ext>
              </a:extLst>
            </p:cNvPr>
            <p:cNvSpPr>
              <a:spLocks/>
            </p:cNvSpPr>
            <p:nvPr userDrawn="1"/>
          </p:nvSpPr>
          <p:spPr bwMode="auto">
            <a:xfrm>
              <a:off x="8615363" y="4676776"/>
              <a:ext cx="252413" cy="252413"/>
            </a:xfrm>
            <a:custGeom>
              <a:avLst/>
              <a:gdLst>
                <a:gd name="T0" fmla="*/ 159 w 159"/>
                <a:gd name="T1" fmla="*/ 132 h 159"/>
                <a:gd name="T2" fmla="*/ 66 w 159"/>
                <a:gd name="T3" fmla="*/ 39 h 159"/>
                <a:gd name="T4" fmla="*/ 129 w 159"/>
                <a:gd name="T5" fmla="*/ 39 h 159"/>
                <a:gd name="T6" fmla="*/ 90 w 159"/>
                <a:gd name="T7" fmla="*/ 0 h 159"/>
                <a:gd name="T8" fmla="*/ 0 w 159"/>
                <a:gd name="T9" fmla="*/ 0 h 159"/>
                <a:gd name="T10" fmla="*/ 0 w 159"/>
                <a:gd name="T11" fmla="*/ 90 h 159"/>
                <a:gd name="T12" fmla="*/ 39 w 159"/>
                <a:gd name="T13" fmla="*/ 129 h 159"/>
                <a:gd name="T14" fmla="*/ 39 w 159"/>
                <a:gd name="T15" fmla="*/ 69 h 159"/>
                <a:gd name="T16" fmla="*/ 132 w 159"/>
                <a:gd name="T17" fmla="*/ 159 h 159"/>
                <a:gd name="T18" fmla="*/ 159 w 159"/>
                <a:gd name="T19" fmla="*/ 13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159" y="132"/>
                  </a:moveTo>
                  <a:lnTo>
                    <a:pt x="66" y="39"/>
                  </a:lnTo>
                  <a:lnTo>
                    <a:pt x="129" y="39"/>
                  </a:lnTo>
                  <a:lnTo>
                    <a:pt x="90" y="0"/>
                  </a:lnTo>
                  <a:lnTo>
                    <a:pt x="0" y="0"/>
                  </a:lnTo>
                  <a:lnTo>
                    <a:pt x="0" y="90"/>
                  </a:lnTo>
                  <a:lnTo>
                    <a:pt x="39" y="129"/>
                  </a:lnTo>
                  <a:lnTo>
                    <a:pt x="39" y="69"/>
                  </a:lnTo>
                  <a:lnTo>
                    <a:pt x="132" y="159"/>
                  </a:lnTo>
                  <a:lnTo>
                    <a:pt x="159" y="1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grpSp>
      <p:grpSp>
        <p:nvGrpSpPr>
          <p:cNvPr id="397" name="Group 41">
            <a:extLst>
              <a:ext uri="{FF2B5EF4-FFF2-40B4-BE49-F238E27FC236}">
                <a16:creationId xmlns:a16="http://schemas.microsoft.com/office/drawing/2014/main" id="{CC4DFF07-9034-4245-A3A7-038B4C9EF86C}"/>
              </a:ext>
            </a:extLst>
          </p:cNvPr>
          <p:cNvGrpSpPr/>
          <p:nvPr userDrawn="1"/>
        </p:nvGrpSpPr>
        <p:grpSpPr>
          <a:xfrm>
            <a:off x="5774925" y="3663138"/>
            <a:ext cx="1595439" cy="1593849"/>
            <a:chOff x="5514975" y="3714751"/>
            <a:chExt cx="1595438" cy="1593850"/>
          </a:xfrm>
        </p:grpSpPr>
        <p:grpSp>
          <p:nvGrpSpPr>
            <p:cNvPr id="398" name="Group 42">
              <a:extLst>
                <a:ext uri="{FF2B5EF4-FFF2-40B4-BE49-F238E27FC236}">
                  <a16:creationId xmlns:a16="http://schemas.microsoft.com/office/drawing/2014/main" id="{99C9C38E-A27F-42C1-81C6-0C2305E9D89A}"/>
                </a:ext>
              </a:extLst>
            </p:cNvPr>
            <p:cNvGrpSpPr/>
            <p:nvPr userDrawn="1"/>
          </p:nvGrpSpPr>
          <p:grpSpPr>
            <a:xfrm>
              <a:off x="5581650" y="3786188"/>
              <a:ext cx="1447800" cy="1447800"/>
              <a:chOff x="5581650" y="3786188"/>
              <a:chExt cx="1447800" cy="1447800"/>
            </a:xfrm>
          </p:grpSpPr>
          <p:sp>
            <p:nvSpPr>
              <p:cNvPr id="400" name="Oval 26">
                <a:extLst>
                  <a:ext uri="{FF2B5EF4-FFF2-40B4-BE49-F238E27FC236}">
                    <a16:creationId xmlns:a16="http://schemas.microsoft.com/office/drawing/2014/main" id="{7121EBEE-FD11-48B2-B7C5-8DC4BA6D233E}"/>
                  </a:ext>
                </a:extLst>
              </p:cNvPr>
              <p:cNvSpPr>
                <a:spLocks noChangeArrowheads="1"/>
              </p:cNvSpPr>
              <p:nvPr userDrawn="1"/>
            </p:nvSpPr>
            <p:spPr bwMode="auto">
              <a:xfrm>
                <a:off x="5581650" y="3786188"/>
                <a:ext cx="1447800" cy="1447800"/>
              </a:xfrm>
              <a:prstGeom prst="ellipse">
                <a:avLst/>
              </a:prstGeom>
              <a:solidFill>
                <a:srgbClr val="75A8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401" name="Freeform 27">
                <a:extLst>
                  <a:ext uri="{FF2B5EF4-FFF2-40B4-BE49-F238E27FC236}">
                    <a16:creationId xmlns:a16="http://schemas.microsoft.com/office/drawing/2014/main" id="{4AE5FCA1-D127-482D-BFAE-FBDB6590B70C}"/>
                  </a:ext>
                </a:extLst>
              </p:cNvPr>
              <p:cNvSpPr>
                <a:spLocks noEditPoints="1"/>
              </p:cNvSpPr>
              <p:nvPr userDrawn="1"/>
            </p:nvSpPr>
            <p:spPr bwMode="auto">
              <a:xfrm>
                <a:off x="6219825" y="4214813"/>
                <a:ext cx="190500" cy="514350"/>
              </a:xfrm>
              <a:custGeom>
                <a:avLst/>
                <a:gdLst>
                  <a:gd name="T0" fmla="*/ 29 w 40"/>
                  <a:gd name="T1" fmla="*/ 20 h 108"/>
                  <a:gd name="T2" fmla="*/ 40 w 40"/>
                  <a:gd name="T3" fmla="*/ 31 h 108"/>
                  <a:gd name="T4" fmla="*/ 40 w 40"/>
                  <a:gd name="T5" fmla="*/ 58 h 108"/>
                  <a:gd name="T6" fmla="*/ 33 w 40"/>
                  <a:gd name="T7" fmla="*/ 58 h 108"/>
                  <a:gd name="T8" fmla="*/ 33 w 40"/>
                  <a:gd name="T9" fmla="*/ 33 h 108"/>
                  <a:gd name="T10" fmla="*/ 31 w 40"/>
                  <a:gd name="T11" fmla="*/ 33 h 108"/>
                  <a:gd name="T12" fmla="*/ 31 w 40"/>
                  <a:gd name="T13" fmla="*/ 101 h 108"/>
                  <a:gd name="T14" fmla="*/ 21 w 40"/>
                  <a:gd name="T15" fmla="*/ 101 h 108"/>
                  <a:gd name="T16" fmla="*/ 21 w 40"/>
                  <a:gd name="T17" fmla="*/ 62 h 108"/>
                  <a:gd name="T18" fmla="*/ 19 w 40"/>
                  <a:gd name="T19" fmla="*/ 62 h 108"/>
                  <a:gd name="T20" fmla="*/ 19 w 40"/>
                  <a:gd name="T21" fmla="*/ 101 h 108"/>
                  <a:gd name="T22" fmla="*/ 9 w 40"/>
                  <a:gd name="T23" fmla="*/ 101 h 108"/>
                  <a:gd name="T24" fmla="*/ 9 w 40"/>
                  <a:gd name="T25" fmla="*/ 33 h 108"/>
                  <a:gd name="T26" fmla="*/ 7 w 40"/>
                  <a:gd name="T27" fmla="*/ 33 h 108"/>
                  <a:gd name="T28" fmla="*/ 7 w 40"/>
                  <a:gd name="T29" fmla="*/ 58 h 108"/>
                  <a:gd name="T30" fmla="*/ 0 w 40"/>
                  <a:gd name="T31" fmla="*/ 58 h 108"/>
                  <a:gd name="T32" fmla="*/ 0 w 40"/>
                  <a:gd name="T33" fmla="*/ 31 h 108"/>
                  <a:gd name="T34" fmla="*/ 11 w 40"/>
                  <a:gd name="T35" fmla="*/ 20 h 108"/>
                  <a:gd name="T36" fmla="*/ 29 w 40"/>
                  <a:gd name="T37" fmla="*/ 20 h 108"/>
                  <a:gd name="T38" fmla="*/ 20 w 40"/>
                  <a:gd name="T39" fmla="*/ 0 h 108"/>
                  <a:gd name="T40" fmla="*/ 11 w 40"/>
                  <a:gd name="T41" fmla="*/ 9 h 108"/>
                  <a:gd name="T42" fmla="*/ 20 w 40"/>
                  <a:gd name="T43" fmla="*/ 17 h 108"/>
                  <a:gd name="T44" fmla="*/ 28 w 40"/>
                  <a:gd name="T45" fmla="*/ 9 h 108"/>
                  <a:gd name="T46" fmla="*/ 20 w 40"/>
                  <a:gd name="T4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08">
                    <a:moveTo>
                      <a:pt x="29" y="20"/>
                    </a:moveTo>
                    <a:cubicBezTo>
                      <a:pt x="36" y="20"/>
                      <a:pt x="40" y="25"/>
                      <a:pt x="40" y="31"/>
                    </a:cubicBezTo>
                    <a:cubicBezTo>
                      <a:pt x="40" y="58"/>
                      <a:pt x="40" y="58"/>
                      <a:pt x="40" y="58"/>
                    </a:cubicBezTo>
                    <a:cubicBezTo>
                      <a:pt x="40" y="63"/>
                      <a:pt x="33" y="63"/>
                      <a:pt x="33" y="58"/>
                    </a:cubicBezTo>
                    <a:cubicBezTo>
                      <a:pt x="33" y="33"/>
                      <a:pt x="33" y="33"/>
                      <a:pt x="33" y="33"/>
                    </a:cubicBezTo>
                    <a:cubicBezTo>
                      <a:pt x="31" y="33"/>
                      <a:pt x="31" y="33"/>
                      <a:pt x="31" y="33"/>
                    </a:cubicBezTo>
                    <a:cubicBezTo>
                      <a:pt x="31" y="101"/>
                      <a:pt x="31" y="101"/>
                      <a:pt x="31" y="101"/>
                    </a:cubicBezTo>
                    <a:cubicBezTo>
                      <a:pt x="31" y="108"/>
                      <a:pt x="21" y="108"/>
                      <a:pt x="21" y="101"/>
                    </a:cubicBezTo>
                    <a:cubicBezTo>
                      <a:pt x="21" y="62"/>
                      <a:pt x="21" y="62"/>
                      <a:pt x="21" y="62"/>
                    </a:cubicBezTo>
                    <a:cubicBezTo>
                      <a:pt x="19" y="62"/>
                      <a:pt x="19" y="62"/>
                      <a:pt x="19" y="62"/>
                    </a:cubicBezTo>
                    <a:cubicBezTo>
                      <a:pt x="19" y="101"/>
                      <a:pt x="19" y="101"/>
                      <a:pt x="19" y="101"/>
                    </a:cubicBezTo>
                    <a:cubicBezTo>
                      <a:pt x="19" y="108"/>
                      <a:pt x="9" y="108"/>
                      <a:pt x="9" y="101"/>
                    </a:cubicBezTo>
                    <a:cubicBezTo>
                      <a:pt x="9" y="33"/>
                      <a:pt x="9" y="33"/>
                      <a:pt x="9" y="33"/>
                    </a:cubicBezTo>
                    <a:cubicBezTo>
                      <a:pt x="7" y="33"/>
                      <a:pt x="7" y="33"/>
                      <a:pt x="7" y="33"/>
                    </a:cubicBezTo>
                    <a:cubicBezTo>
                      <a:pt x="7" y="58"/>
                      <a:pt x="7" y="58"/>
                      <a:pt x="7" y="58"/>
                    </a:cubicBezTo>
                    <a:cubicBezTo>
                      <a:pt x="7" y="63"/>
                      <a:pt x="0" y="63"/>
                      <a:pt x="0" y="58"/>
                    </a:cubicBezTo>
                    <a:cubicBezTo>
                      <a:pt x="0" y="31"/>
                      <a:pt x="0" y="31"/>
                      <a:pt x="0" y="31"/>
                    </a:cubicBezTo>
                    <a:cubicBezTo>
                      <a:pt x="0" y="25"/>
                      <a:pt x="5" y="20"/>
                      <a:pt x="11" y="20"/>
                    </a:cubicBezTo>
                    <a:cubicBezTo>
                      <a:pt x="29" y="20"/>
                      <a:pt x="29" y="20"/>
                      <a:pt x="29" y="20"/>
                    </a:cubicBezTo>
                    <a:moveTo>
                      <a:pt x="20" y="0"/>
                    </a:moveTo>
                    <a:cubicBezTo>
                      <a:pt x="15" y="0"/>
                      <a:pt x="11" y="4"/>
                      <a:pt x="11" y="9"/>
                    </a:cubicBezTo>
                    <a:cubicBezTo>
                      <a:pt x="11" y="13"/>
                      <a:pt x="15" y="17"/>
                      <a:pt x="20" y="17"/>
                    </a:cubicBezTo>
                    <a:cubicBezTo>
                      <a:pt x="25" y="17"/>
                      <a:pt x="28" y="13"/>
                      <a:pt x="28" y="9"/>
                    </a:cubicBezTo>
                    <a:cubicBezTo>
                      <a:pt x="28" y="4"/>
                      <a:pt x="25" y="0"/>
                      <a:pt x="2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402" name="Freeform 28">
                <a:extLst>
                  <a:ext uri="{FF2B5EF4-FFF2-40B4-BE49-F238E27FC236}">
                    <a16:creationId xmlns:a16="http://schemas.microsoft.com/office/drawing/2014/main" id="{DA12F534-E5C9-494F-A0AC-E3D7E37F0CCA}"/>
                  </a:ext>
                </a:extLst>
              </p:cNvPr>
              <p:cNvSpPr>
                <a:spLocks noEditPoints="1"/>
              </p:cNvSpPr>
              <p:nvPr userDrawn="1"/>
            </p:nvSpPr>
            <p:spPr bwMode="auto">
              <a:xfrm>
                <a:off x="6057900" y="4114801"/>
                <a:ext cx="514350" cy="747713"/>
              </a:xfrm>
              <a:custGeom>
                <a:avLst/>
                <a:gdLst>
                  <a:gd name="T0" fmla="*/ 30 w 324"/>
                  <a:gd name="T1" fmla="*/ 441 h 471"/>
                  <a:gd name="T2" fmla="*/ 294 w 324"/>
                  <a:gd name="T3" fmla="*/ 441 h 471"/>
                  <a:gd name="T4" fmla="*/ 294 w 324"/>
                  <a:gd name="T5" fmla="*/ 27 h 471"/>
                  <a:gd name="T6" fmla="*/ 30 w 324"/>
                  <a:gd name="T7" fmla="*/ 27 h 471"/>
                  <a:gd name="T8" fmla="*/ 30 w 324"/>
                  <a:gd name="T9" fmla="*/ 441 h 471"/>
                  <a:gd name="T10" fmla="*/ 324 w 324"/>
                  <a:gd name="T11" fmla="*/ 471 h 471"/>
                  <a:gd name="T12" fmla="*/ 0 w 324"/>
                  <a:gd name="T13" fmla="*/ 471 h 471"/>
                  <a:gd name="T14" fmla="*/ 0 w 324"/>
                  <a:gd name="T15" fmla="*/ 0 h 471"/>
                  <a:gd name="T16" fmla="*/ 324 w 324"/>
                  <a:gd name="T17" fmla="*/ 0 h 471"/>
                  <a:gd name="T18" fmla="*/ 324 w 324"/>
                  <a:gd name="T19" fmla="*/ 47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4" h="471">
                    <a:moveTo>
                      <a:pt x="30" y="441"/>
                    </a:moveTo>
                    <a:lnTo>
                      <a:pt x="294" y="441"/>
                    </a:lnTo>
                    <a:lnTo>
                      <a:pt x="294" y="27"/>
                    </a:lnTo>
                    <a:lnTo>
                      <a:pt x="30" y="27"/>
                    </a:lnTo>
                    <a:lnTo>
                      <a:pt x="30" y="441"/>
                    </a:lnTo>
                    <a:close/>
                    <a:moveTo>
                      <a:pt x="324" y="471"/>
                    </a:moveTo>
                    <a:lnTo>
                      <a:pt x="0" y="471"/>
                    </a:lnTo>
                    <a:lnTo>
                      <a:pt x="0" y="0"/>
                    </a:lnTo>
                    <a:lnTo>
                      <a:pt x="324" y="0"/>
                    </a:lnTo>
                    <a:lnTo>
                      <a:pt x="324"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403" name="Freeform 29">
                <a:extLst>
                  <a:ext uri="{FF2B5EF4-FFF2-40B4-BE49-F238E27FC236}">
                    <a16:creationId xmlns:a16="http://schemas.microsoft.com/office/drawing/2014/main" id="{BAF61C9F-BC7D-4354-A49E-C271C90E23A5}"/>
                  </a:ext>
                </a:extLst>
              </p:cNvPr>
              <p:cNvSpPr>
                <a:spLocks noEditPoints="1"/>
              </p:cNvSpPr>
              <p:nvPr userDrawn="1"/>
            </p:nvSpPr>
            <p:spPr bwMode="auto">
              <a:xfrm>
                <a:off x="6238875" y="3933826"/>
                <a:ext cx="147638" cy="142875"/>
              </a:xfrm>
              <a:custGeom>
                <a:avLst/>
                <a:gdLst>
                  <a:gd name="T0" fmla="*/ 16 w 31"/>
                  <a:gd name="T1" fmla="*/ 5 h 30"/>
                  <a:gd name="T2" fmla="*/ 5 w 31"/>
                  <a:gd name="T3" fmla="*/ 16 h 30"/>
                  <a:gd name="T4" fmla="*/ 8 w 31"/>
                  <a:gd name="T5" fmla="*/ 19 h 30"/>
                  <a:gd name="T6" fmla="*/ 14 w 31"/>
                  <a:gd name="T7" fmla="*/ 13 h 30"/>
                  <a:gd name="T8" fmla="*/ 14 w 31"/>
                  <a:gd name="T9" fmla="*/ 25 h 30"/>
                  <a:gd name="T10" fmla="*/ 18 w 31"/>
                  <a:gd name="T11" fmla="*/ 25 h 30"/>
                  <a:gd name="T12" fmla="*/ 18 w 31"/>
                  <a:gd name="T13" fmla="*/ 13 h 30"/>
                  <a:gd name="T14" fmla="*/ 23 w 31"/>
                  <a:gd name="T15" fmla="*/ 18 h 30"/>
                  <a:gd name="T16" fmla="*/ 26 w 31"/>
                  <a:gd name="T17" fmla="*/ 15 h 30"/>
                  <a:gd name="T18" fmla="*/ 16 w 31"/>
                  <a:gd name="T19" fmla="*/ 5 h 30"/>
                  <a:gd name="T20" fmla="*/ 16 w 31"/>
                  <a:gd name="T21" fmla="*/ 0 h 30"/>
                  <a:gd name="T22" fmla="*/ 31 w 31"/>
                  <a:gd name="T23" fmla="*/ 15 h 30"/>
                  <a:gd name="T24" fmla="*/ 16 w 31"/>
                  <a:gd name="T25" fmla="*/ 30 h 30"/>
                  <a:gd name="T26" fmla="*/ 0 w 31"/>
                  <a:gd name="T27" fmla="*/ 15 h 30"/>
                  <a:gd name="T28" fmla="*/ 16 w 31"/>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30">
                    <a:moveTo>
                      <a:pt x="16" y="5"/>
                    </a:moveTo>
                    <a:cubicBezTo>
                      <a:pt x="5" y="16"/>
                      <a:pt x="5" y="16"/>
                      <a:pt x="5" y="16"/>
                    </a:cubicBezTo>
                    <a:cubicBezTo>
                      <a:pt x="8" y="19"/>
                      <a:pt x="8" y="19"/>
                      <a:pt x="8" y="19"/>
                    </a:cubicBezTo>
                    <a:cubicBezTo>
                      <a:pt x="14" y="13"/>
                      <a:pt x="14" y="13"/>
                      <a:pt x="14" y="13"/>
                    </a:cubicBezTo>
                    <a:cubicBezTo>
                      <a:pt x="14" y="25"/>
                      <a:pt x="14" y="25"/>
                      <a:pt x="14" y="25"/>
                    </a:cubicBezTo>
                    <a:cubicBezTo>
                      <a:pt x="18" y="25"/>
                      <a:pt x="18" y="25"/>
                      <a:pt x="18" y="25"/>
                    </a:cubicBezTo>
                    <a:cubicBezTo>
                      <a:pt x="18" y="13"/>
                      <a:pt x="18" y="13"/>
                      <a:pt x="18" y="13"/>
                    </a:cubicBezTo>
                    <a:cubicBezTo>
                      <a:pt x="23" y="18"/>
                      <a:pt x="23" y="18"/>
                      <a:pt x="23" y="18"/>
                    </a:cubicBezTo>
                    <a:cubicBezTo>
                      <a:pt x="26" y="15"/>
                      <a:pt x="26" y="15"/>
                      <a:pt x="26" y="15"/>
                    </a:cubicBezTo>
                    <a:lnTo>
                      <a:pt x="16" y="5"/>
                    </a:lnTo>
                    <a:close/>
                    <a:moveTo>
                      <a:pt x="16" y="0"/>
                    </a:moveTo>
                    <a:cubicBezTo>
                      <a:pt x="24" y="0"/>
                      <a:pt x="31" y="7"/>
                      <a:pt x="31" y="15"/>
                    </a:cubicBezTo>
                    <a:cubicBezTo>
                      <a:pt x="31" y="24"/>
                      <a:pt x="24" y="30"/>
                      <a:pt x="16" y="30"/>
                    </a:cubicBezTo>
                    <a:cubicBezTo>
                      <a:pt x="7" y="30"/>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404" name="Freeform 30">
                <a:extLst>
                  <a:ext uri="{FF2B5EF4-FFF2-40B4-BE49-F238E27FC236}">
                    <a16:creationId xmlns:a16="http://schemas.microsoft.com/office/drawing/2014/main" id="{86DDBFC2-AEDB-4C11-BD1D-7C0AEA0CA016}"/>
                  </a:ext>
                </a:extLst>
              </p:cNvPr>
              <p:cNvSpPr>
                <a:spLocks noEditPoints="1"/>
              </p:cNvSpPr>
              <p:nvPr userDrawn="1"/>
            </p:nvSpPr>
            <p:spPr bwMode="auto">
              <a:xfrm>
                <a:off x="6238875" y="4891088"/>
                <a:ext cx="147638" cy="147638"/>
              </a:xfrm>
              <a:custGeom>
                <a:avLst/>
                <a:gdLst>
                  <a:gd name="T0" fmla="*/ 16 w 31"/>
                  <a:gd name="T1" fmla="*/ 26 h 31"/>
                  <a:gd name="T2" fmla="*/ 26 w 31"/>
                  <a:gd name="T3" fmla="*/ 15 h 31"/>
                  <a:gd name="T4" fmla="*/ 23 w 31"/>
                  <a:gd name="T5" fmla="*/ 12 h 31"/>
                  <a:gd name="T6" fmla="*/ 18 w 31"/>
                  <a:gd name="T7" fmla="*/ 18 h 31"/>
                  <a:gd name="T8" fmla="*/ 18 w 31"/>
                  <a:gd name="T9" fmla="*/ 6 h 31"/>
                  <a:gd name="T10" fmla="*/ 14 w 31"/>
                  <a:gd name="T11" fmla="*/ 6 h 31"/>
                  <a:gd name="T12" fmla="*/ 14 w 31"/>
                  <a:gd name="T13" fmla="*/ 18 h 31"/>
                  <a:gd name="T14" fmla="*/ 8 w 31"/>
                  <a:gd name="T15" fmla="*/ 12 h 31"/>
                  <a:gd name="T16" fmla="*/ 5 w 31"/>
                  <a:gd name="T17" fmla="*/ 15 h 31"/>
                  <a:gd name="T18" fmla="*/ 16 w 31"/>
                  <a:gd name="T19" fmla="*/ 26 h 31"/>
                  <a:gd name="T20" fmla="*/ 16 w 31"/>
                  <a:gd name="T21" fmla="*/ 31 h 31"/>
                  <a:gd name="T22" fmla="*/ 0 w 31"/>
                  <a:gd name="T23" fmla="*/ 16 h 31"/>
                  <a:gd name="T24" fmla="*/ 16 w 31"/>
                  <a:gd name="T25" fmla="*/ 0 h 31"/>
                  <a:gd name="T26" fmla="*/ 31 w 31"/>
                  <a:gd name="T27" fmla="*/ 16 h 31"/>
                  <a:gd name="T28" fmla="*/ 16 w 31"/>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31">
                    <a:moveTo>
                      <a:pt x="16" y="26"/>
                    </a:moveTo>
                    <a:cubicBezTo>
                      <a:pt x="26" y="15"/>
                      <a:pt x="26" y="15"/>
                      <a:pt x="26" y="15"/>
                    </a:cubicBezTo>
                    <a:cubicBezTo>
                      <a:pt x="23" y="12"/>
                      <a:pt x="23" y="12"/>
                      <a:pt x="23" y="12"/>
                    </a:cubicBezTo>
                    <a:cubicBezTo>
                      <a:pt x="18" y="18"/>
                      <a:pt x="18" y="18"/>
                      <a:pt x="18" y="18"/>
                    </a:cubicBezTo>
                    <a:cubicBezTo>
                      <a:pt x="18" y="6"/>
                      <a:pt x="18" y="6"/>
                      <a:pt x="18" y="6"/>
                    </a:cubicBezTo>
                    <a:cubicBezTo>
                      <a:pt x="14" y="6"/>
                      <a:pt x="14" y="6"/>
                      <a:pt x="14" y="6"/>
                    </a:cubicBezTo>
                    <a:cubicBezTo>
                      <a:pt x="14" y="18"/>
                      <a:pt x="14" y="18"/>
                      <a:pt x="14" y="18"/>
                    </a:cubicBezTo>
                    <a:cubicBezTo>
                      <a:pt x="8" y="12"/>
                      <a:pt x="8" y="12"/>
                      <a:pt x="8" y="12"/>
                    </a:cubicBezTo>
                    <a:cubicBezTo>
                      <a:pt x="5" y="15"/>
                      <a:pt x="5" y="15"/>
                      <a:pt x="5" y="15"/>
                    </a:cubicBezTo>
                    <a:lnTo>
                      <a:pt x="16" y="26"/>
                    </a:lnTo>
                    <a:close/>
                    <a:moveTo>
                      <a:pt x="16" y="31"/>
                    </a:moveTo>
                    <a:cubicBezTo>
                      <a:pt x="7" y="31"/>
                      <a:pt x="0" y="24"/>
                      <a:pt x="0" y="16"/>
                    </a:cubicBezTo>
                    <a:cubicBezTo>
                      <a:pt x="0" y="7"/>
                      <a:pt x="7" y="0"/>
                      <a:pt x="16" y="0"/>
                    </a:cubicBezTo>
                    <a:cubicBezTo>
                      <a:pt x="24" y="0"/>
                      <a:pt x="31" y="7"/>
                      <a:pt x="31" y="16"/>
                    </a:cubicBezTo>
                    <a:cubicBezTo>
                      <a:pt x="31" y="24"/>
                      <a:pt x="24" y="31"/>
                      <a:pt x="16"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grpSp>
        <p:sp>
          <p:nvSpPr>
            <p:cNvPr id="399" name="Freeform 31">
              <a:extLst>
                <a:ext uri="{FF2B5EF4-FFF2-40B4-BE49-F238E27FC236}">
                  <a16:creationId xmlns:a16="http://schemas.microsoft.com/office/drawing/2014/main" id="{0C093461-6228-4C51-9AD5-969D93F66BCE}"/>
                </a:ext>
              </a:extLst>
            </p:cNvPr>
            <p:cNvSpPr>
              <a:spLocks noEditPoints="1"/>
            </p:cNvSpPr>
            <p:nvPr userDrawn="1"/>
          </p:nvSpPr>
          <p:spPr bwMode="auto">
            <a:xfrm>
              <a:off x="5514975" y="3714751"/>
              <a:ext cx="1595438" cy="1593850"/>
            </a:xfrm>
            <a:custGeom>
              <a:avLst/>
              <a:gdLst>
                <a:gd name="T0" fmla="*/ 266 w 335"/>
                <a:gd name="T1" fmla="*/ 250 h 335"/>
                <a:gd name="T2" fmla="*/ 84 w 335"/>
                <a:gd name="T3" fmla="*/ 69 h 335"/>
                <a:gd name="T4" fmla="*/ 266 w 335"/>
                <a:gd name="T5" fmla="*/ 85 h 335"/>
                <a:gd name="T6" fmla="*/ 266 w 335"/>
                <a:gd name="T7" fmla="*/ 250 h 335"/>
                <a:gd name="T8" fmla="*/ 77 w 335"/>
                <a:gd name="T9" fmla="*/ 258 h 335"/>
                <a:gd name="T10" fmla="*/ 68 w 335"/>
                <a:gd name="T11" fmla="*/ 86 h 335"/>
                <a:gd name="T12" fmla="*/ 249 w 335"/>
                <a:gd name="T13" fmla="*/ 267 h 335"/>
                <a:gd name="T14" fmla="*/ 77 w 335"/>
                <a:gd name="T15" fmla="*/ 258 h 335"/>
                <a:gd name="T16" fmla="*/ 60 w 335"/>
                <a:gd name="T17" fmla="*/ 60 h 335"/>
                <a:gd name="T18" fmla="*/ 60 w 335"/>
                <a:gd name="T19" fmla="*/ 275 h 335"/>
                <a:gd name="T20" fmla="*/ 276 w 335"/>
                <a:gd name="T21" fmla="*/ 275 h 335"/>
                <a:gd name="T22" fmla="*/ 276 w 335"/>
                <a:gd name="T23" fmla="*/ 60 h 335"/>
                <a:gd name="T24" fmla="*/ 276 w 335"/>
                <a:gd name="T25" fmla="*/ 60 h 335"/>
                <a:gd name="T26" fmla="*/ 60 w 335"/>
                <a:gd name="T27" fmla="*/ 6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266" y="250"/>
                  </a:moveTo>
                  <a:cubicBezTo>
                    <a:pt x="84" y="69"/>
                    <a:pt x="84" y="69"/>
                    <a:pt x="84" y="69"/>
                  </a:cubicBezTo>
                  <a:cubicBezTo>
                    <a:pt x="139" y="24"/>
                    <a:pt x="220" y="30"/>
                    <a:pt x="266" y="85"/>
                  </a:cubicBezTo>
                  <a:cubicBezTo>
                    <a:pt x="306" y="132"/>
                    <a:pt x="306" y="202"/>
                    <a:pt x="266" y="250"/>
                  </a:cubicBezTo>
                  <a:close/>
                  <a:moveTo>
                    <a:pt x="77" y="258"/>
                  </a:moveTo>
                  <a:cubicBezTo>
                    <a:pt x="30" y="212"/>
                    <a:pt x="26" y="138"/>
                    <a:pt x="68" y="86"/>
                  </a:cubicBezTo>
                  <a:cubicBezTo>
                    <a:pt x="249" y="267"/>
                    <a:pt x="249" y="267"/>
                    <a:pt x="249" y="267"/>
                  </a:cubicBezTo>
                  <a:cubicBezTo>
                    <a:pt x="197" y="308"/>
                    <a:pt x="123" y="304"/>
                    <a:pt x="77" y="258"/>
                  </a:cubicBezTo>
                  <a:close/>
                  <a:moveTo>
                    <a:pt x="60" y="60"/>
                  </a:moveTo>
                  <a:cubicBezTo>
                    <a:pt x="0" y="119"/>
                    <a:pt x="0" y="216"/>
                    <a:pt x="60" y="275"/>
                  </a:cubicBezTo>
                  <a:cubicBezTo>
                    <a:pt x="119" y="335"/>
                    <a:pt x="216" y="335"/>
                    <a:pt x="276" y="275"/>
                  </a:cubicBezTo>
                  <a:cubicBezTo>
                    <a:pt x="335" y="216"/>
                    <a:pt x="335" y="119"/>
                    <a:pt x="276" y="60"/>
                  </a:cubicBezTo>
                  <a:cubicBezTo>
                    <a:pt x="276" y="60"/>
                    <a:pt x="276" y="60"/>
                    <a:pt x="276" y="60"/>
                  </a:cubicBezTo>
                  <a:cubicBezTo>
                    <a:pt x="216" y="0"/>
                    <a:pt x="119" y="0"/>
                    <a:pt x="60" y="60"/>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grpSp>
      <p:grpSp>
        <p:nvGrpSpPr>
          <p:cNvPr id="405" name="Group 36">
            <a:extLst>
              <a:ext uri="{FF2B5EF4-FFF2-40B4-BE49-F238E27FC236}">
                <a16:creationId xmlns:a16="http://schemas.microsoft.com/office/drawing/2014/main" id="{768323B7-3AB1-4359-B0B3-BFA4A2720DFF}"/>
              </a:ext>
            </a:extLst>
          </p:cNvPr>
          <p:cNvGrpSpPr/>
          <p:nvPr userDrawn="1"/>
        </p:nvGrpSpPr>
        <p:grpSpPr>
          <a:xfrm>
            <a:off x="9911044" y="3736162"/>
            <a:ext cx="1452563" cy="1447800"/>
            <a:chOff x="9896475" y="3786188"/>
            <a:chExt cx="1452563" cy="1447800"/>
          </a:xfrm>
        </p:grpSpPr>
        <p:sp>
          <p:nvSpPr>
            <p:cNvPr id="406" name="Oval 22">
              <a:extLst>
                <a:ext uri="{FF2B5EF4-FFF2-40B4-BE49-F238E27FC236}">
                  <a16:creationId xmlns:a16="http://schemas.microsoft.com/office/drawing/2014/main" id="{673000CF-9EA8-4ED7-9B12-1CD1D2742BA6}"/>
                </a:ext>
              </a:extLst>
            </p:cNvPr>
            <p:cNvSpPr>
              <a:spLocks noChangeArrowheads="1"/>
            </p:cNvSpPr>
            <p:nvPr userDrawn="1"/>
          </p:nvSpPr>
          <p:spPr bwMode="auto">
            <a:xfrm>
              <a:off x="9896475" y="3786188"/>
              <a:ext cx="1452563" cy="1447800"/>
            </a:xfrm>
            <a:prstGeom prst="ellipse">
              <a:avLst/>
            </a:prstGeom>
            <a:solidFill>
              <a:srgbClr val="75A8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407" name="Freeform 23">
              <a:extLst>
                <a:ext uri="{FF2B5EF4-FFF2-40B4-BE49-F238E27FC236}">
                  <a16:creationId xmlns:a16="http://schemas.microsoft.com/office/drawing/2014/main" id="{66E379D7-C115-4F01-8659-7424B012B146}"/>
                </a:ext>
              </a:extLst>
            </p:cNvPr>
            <p:cNvSpPr>
              <a:spLocks noEditPoints="1"/>
            </p:cNvSpPr>
            <p:nvPr userDrawn="1"/>
          </p:nvSpPr>
          <p:spPr bwMode="auto">
            <a:xfrm>
              <a:off x="10410825" y="3990976"/>
              <a:ext cx="581025" cy="1114425"/>
            </a:xfrm>
            <a:custGeom>
              <a:avLst/>
              <a:gdLst>
                <a:gd name="T0" fmla="*/ 85 w 122"/>
                <a:gd name="T1" fmla="*/ 80 h 234"/>
                <a:gd name="T2" fmla="*/ 79 w 122"/>
                <a:gd name="T3" fmla="*/ 154 h 234"/>
                <a:gd name="T4" fmla="*/ 72 w 122"/>
                <a:gd name="T5" fmla="*/ 148 h 234"/>
                <a:gd name="T6" fmla="*/ 70 w 122"/>
                <a:gd name="T7" fmla="*/ 83 h 234"/>
                <a:gd name="T8" fmla="*/ 69 w 122"/>
                <a:gd name="T9" fmla="*/ 123 h 234"/>
                <a:gd name="T10" fmla="*/ 69 w 122"/>
                <a:gd name="T11" fmla="*/ 158 h 234"/>
                <a:gd name="T12" fmla="*/ 69 w 122"/>
                <a:gd name="T13" fmla="*/ 225 h 234"/>
                <a:gd name="T14" fmla="*/ 56 w 122"/>
                <a:gd name="T15" fmla="*/ 234 h 234"/>
                <a:gd name="T16" fmla="*/ 47 w 122"/>
                <a:gd name="T17" fmla="*/ 170 h 234"/>
                <a:gd name="T18" fmla="*/ 47 w 122"/>
                <a:gd name="T19" fmla="*/ 142 h 234"/>
                <a:gd name="T20" fmla="*/ 38 w 122"/>
                <a:gd name="T21" fmla="*/ 143 h 234"/>
                <a:gd name="T22" fmla="*/ 38 w 122"/>
                <a:gd name="T23" fmla="*/ 169 h 234"/>
                <a:gd name="T24" fmla="*/ 29 w 122"/>
                <a:gd name="T25" fmla="*/ 234 h 234"/>
                <a:gd name="T26" fmla="*/ 17 w 122"/>
                <a:gd name="T27" fmla="*/ 225 h 234"/>
                <a:gd name="T28" fmla="*/ 17 w 122"/>
                <a:gd name="T29" fmla="*/ 158 h 234"/>
                <a:gd name="T30" fmla="*/ 17 w 122"/>
                <a:gd name="T31" fmla="*/ 147 h 234"/>
                <a:gd name="T32" fmla="*/ 15 w 122"/>
                <a:gd name="T33" fmla="*/ 83 h 234"/>
                <a:gd name="T34" fmla="*/ 13 w 122"/>
                <a:gd name="T35" fmla="*/ 148 h 234"/>
                <a:gd name="T36" fmla="*/ 7 w 122"/>
                <a:gd name="T37" fmla="*/ 154 h 234"/>
                <a:gd name="T38" fmla="*/ 0 w 122"/>
                <a:gd name="T39" fmla="*/ 148 h 234"/>
                <a:gd name="T40" fmla="*/ 24 w 122"/>
                <a:gd name="T41" fmla="*/ 56 h 234"/>
                <a:gd name="T42" fmla="*/ 27 w 122"/>
                <a:gd name="T43" fmla="*/ 56 h 234"/>
                <a:gd name="T44" fmla="*/ 58 w 122"/>
                <a:gd name="T45" fmla="*/ 56 h 234"/>
                <a:gd name="T46" fmla="*/ 19 w 122"/>
                <a:gd name="T47" fmla="*/ 27 h 234"/>
                <a:gd name="T48" fmla="*/ 66 w 122"/>
                <a:gd name="T49" fmla="*/ 27 h 234"/>
                <a:gd name="T50" fmla="*/ 20 w 122"/>
                <a:gd name="T51" fmla="*/ 24 h 234"/>
                <a:gd name="T52" fmla="*/ 102 w 122"/>
                <a:gd name="T53" fmla="*/ 32 h 234"/>
                <a:gd name="T54" fmla="*/ 98 w 122"/>
                <a:gd name="T55" fmla="*/ 36 h 234"/>
                <a:gd name="T56" fmla="*/ 102 w 122"/>
                <a:gd name="T57" fmla="*/ 32 h 234"/>
                <a:gd name="T58" fmla="*/ 99 w 122"/>
                <a:gd name="T59" fmla="*/ 29 h 234"/>
                <a:gd name="T60" fmla="*/ 102 w 122"/>
                <a:gd name="T61" fmla="*/ 17 h 234"/>
                <a:gd name="T62" fmla="*/ 98 w 122"/>
                <a:gd name="T63" fmla="*/ 9 h 234"/>
                <a:gd name="T64" fmla="*/ 114 w 122"/>
                <a:gd name="T65" fmla="*/ 8 h 234"/>
                <a:gd name="T66" fmla="*/ 90 w 122"/>
                <a:gd name="T67" fmla="*/ 40 h 234"/>
                <a:gd name="T68" fmla="*/ 82 w 122"/>
                <a:gd name="T69" fmla="*/ 33 h 234"/>
                <a:gd name="T70" fmla="*/ 114 w 122"/>
                <a:gd name="T71" fmla="*/ 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234">
                  <a:moveTo>
                    <a:pt x="62" y="56"/>
                  </a:moveTo>
                  <a:cubicBezTo>
                    <a:pt x="74" y="56"/>
                    <a:pt x="85" y="67"/>
                    <a:pt x="85" y="80"/>
                  </a:cubicBezTo>
                  <a:cubicBezTo>
                    <a:pt x="85" y="147"/>
                    <a:pt x="85" y="147"/>
                    <a:pt x="85" y="147"/>
                  </a:cubicBezTo>
                  <a:cubicBezTo>
                    <a:pt x="85" y="151"/>
                    <a:pt x="82" y="154"/>
                    <a:pt x="79" y="154"/>
                  </a:cubicBezTo>
                  <a:cubicBezTo>
                    <a:pt x="75" y="155"/>
                    <a:pt x="72" y="152"/>
                    <a:pt x="72" y="148"/>
                  </a:cubicBezTo>
                  <a:cubicBezTo>
                    <a:pt x="72" y="148"/>
                    <a:pt x="72" y="148"/>
                    <a:pt x="72" y="148"/>
                  </a:cubicBezTo>
                  <a:cubicBezTo>
                    <a:pt x="72" y="85"/>
                    <a:pt x="72" y="85"/>
                    <a:pt x="72" y="85"/>
                  </a:cubicBezTo>
                  <a:cubicBezTo>
                    <a:pt x="72" y="84"/>
                    <a:pt x="71" y="83"/>
                    <a:pt x="70" y="83"/>
                  </a:cubicBezTo>
                  <a:cubicBezTo>
                    <a:pt x="69" y="83"/>
                    <a:pt x="69" y="83"/>
                    <a:pt x="69" y="84"/>
                  </a:cubicBezTo>
                  <a:cubicBezTo>
                    <a:pt x="69" y="123"/>
                    <a:pt x="69" y="123"/>
                    <a:pt x="69" y="123"/>
                  </a:cubicBezTo>
                  <a:cubicBezTo>
                    <a:pt x="69" y="123"/>
                    <a:pt x="69" y="123"/>
                    <a:pt x="69" y="123"/>
                  </a:cubicBezTo>
                  <a:cubicBezTo>
                    <a:pt x="69" y="158"/>
                    <a:pt x="69" y="158"/>
                    <a:pt x="69" y="158"/>
                  </a:cubicBezTo>
                  <a:cubicBezTo>
                    <a:pt x="69" y="168"/>
                    <a:pt x="69" y="168"/>
                    <a:pt x="69" y="168"/>
                  </a:cubicBezTo>
                  <a:cubicBezTo>
                    <a:pt x="69" y="225"/>
                    <a:pt x="69" y="225"/>
                    <a:pt x="69" y="225"/>
                  </a:cubicBezTo>
                  <a:cubicBezTo>
                    <a:pt x="69" y="230"/>
                    <a:pt x="64" y="234"/>
                    <a:pt x="59" y="234"/>
                  </a:cubicBezTo>
                  <a:cubicBezTo>
                    <a:pt x="56" y="234"/>
                    <a:pt x="56" y="234"/>
                    <a:pt x="56" y="234"/>
                  </a:cubicBezTo>
                  <a:cubicBezTo>
                    <a:pt x="51" y="234"/>
                    <a:pt x="47" y="230"/>
                    <a:pt x="47" y="225"/>
                  </a:cubicBezTo>
                  <a:cubicBezTo>
                    <a:pt x="47" y="170"/>
                    <a:pt x="47" y="170"/>
                    <a:pt x="47" y="170"/>
                  </a:cubicBezTo>
                  <a:cubicBezTo>
                    <a:pt x="47" y="161"/>
                    <a:pt x="47" y="161"/>
                    <a:pt x="47" y="161"/>
                  </a:cubicBezTo>
                  <a:cubicBezTo>
                    <a:pt x="47" y="142"/>
                    <a:pt x="47" y="142"/>
                    <a:pt x="47" y="142"/>
                  </a:cubicBezTo>
                  <a:cubicBezTo>
                    <a:pt x="47" y="140"/>
                    <a:pt x="45" y="138"/>
                    <a:pt x="42" y="138"/>
                  </a:cubicBezTo>
                  <a:cubicBezTo>
                    <a:pt x="40" y="138"/>
                    <a:pt x="38" y="140"/>
                    <a:pt x="38" y="143"/>
                  </a:cubicBezTo>
                  <a:cubicBezTo>
                    <a:pt x="38" y="159"/>
                    <a:pt x="38" y="159"/>
                    <a:pt x="38" y="159"/>
                  </a:cubicBezTo>
                  <a:cubicBezTo>
                    <a:pt x="38" y="169"/>
                    <a:pt x="38" y="169"/>
                    <a:pt x="38" y="169"/>
                  </a:cubicBezTo>
                  <a:cubicBezTo>
                    <a:pt x="38" y="225"/>
                    <a:pt x="38" y="225"/>
                    <a:pt x="38" y="225"/>
                  </a:cubicBezTo>
                  <a:cubicBezTo>
                    <a:pt x="38" y="230"/>
                    <a:pt x="34" y="234"/>
                    <a:pt x="29" y="234"/>
                  </a:cubicBezTo>
                  <a:cubicBezTo>
                    <a:pt x="26" y="234"/>
                    <a:pt x="26" y="234"/>
                    <a:pt x="26" y="234"/>
                  </a:cubicBezTo>
                  <a:cubicBezTo>
                    <a:pt x="21" y="234"/>
                    <a:pt x="17" y="230"/>
                    <a:pt x="17" y="225"/>
                  </a:cubicBezTo>
                  <a:cubicBezTo>
                    <a:pt x="17" y="162"/>
                    <a:pt x="17" y="162"/>
                    <a:pt x="17" y="162"/>
                  </a:cubicBezTo>
                  <a:cubicBezTo>
                    <a:pt x="17" y="158"/>
                    <a:pt x="17" y="158"/>
                    <a:pt x="17" y="158"/>
                  </a:cubicBezTo>
                  <a:cubicBezTo>
                    <a:pt x="17" y="149"/>
                    <a:pt x="17" y="149"/>
                    <a:pt x="17" y="149"/>
                  </a:cubicBezTo>
                  <a:cubicBezTo>
                    <a:pt x="17" y="147"/>
                    <a:pt x="17" y="147"/>
                    <a:pt x="17" y="147"/>
                  </a:cubicBezTo>
                  <a:cubicBezTo>
                    <a:pt x="17" y="85"/>
                    <a:pt x="17" y="85"/>
                    <a:pt x="17" y="85"/>
                  </a:cubicBezTo>
                  <a:cubicBezTo>
                    <a:pt x="17" y="84"/>
                    <a:pt x="16" y="83"/>
                    <a:pt x="15" y="83"/>
                  </a:cubicBezTo>
                  <a:cubicBezTo>
                    <a:pt x="14" y="83"/>
                    <a:pt x="13" y="84"/>
                    <a:pt x="13" y="85"/>
                  </a:cubicBezTo>
                  <a:cubicBezTo>
                    <a:pt x="13" y="148"/>
                    <a:pt x="13" y="148"/>
                    <a:pt x="13" y="148"/>
                  </a:cubicBezTo>
                  <a:cubicBezTo>
                    <a:pt x="13" y="148"/>
                    <a:pt x="13" y="148"/>
                    <a:pt x="13" y="148"/>
                  </a:cubicBezTo>
                  <a:cubicBezTo>
                    <a:pt x="13" y="151"/>
                    <a:pt x="10" y="154"/>
                    <a:pt x="7" y="154"/>
                  </a:cubicBezTo>
                  <a:cubicBezTo>
                    <a:pt x="3" y="154"/>
                    <a:pt x="0" y="151"/>
                    <a:pt x="0" y="148"/>
                  </a:cubicBezTo>
                  <a:cubicBezTo>
                    <a:pt x="0" y="148"/>
                    <a:pt x="0" y="148"/>
                    <a:pt x="0" y="148"/>
                  </a:cubicBezTo>
                  <a:cubicBezTo>
                    <a:pt x="0" y="80"/>
                    <a:pt x="0" y="80"/>
                    <a:pt x="0" y="80"/>
                  </a:cubicBezTo>
                  <a:cubicBezTo>
                    <a:pt x="0" y="67"/>
                    <a:pt x="11" y="56"/>
                    <a:pt x="24" y="56"/>
                  </a:cubicBezTo>
                  <a:cubicBezTo>
                    <a:pt x="27" y="56"/>
                    <a:pt x="27" y="56"/>
                    <a:pt x="27" y="56"/>
                  </a:cubicBezTo>
                  <a:cubicBezTo>
                    <a:pt x="27" y="56"/>
                    <a:pt x="27" y="56"/>
                    <a:pt x="27" y="56"/>
                  </a:cubicBezTo>
                  <a:cubicBezTo>
                    <a:pt x="58" y="56"/>
                    <a:pt x="58" y="56"/>
                    <a:pt x="58" y="56"/>
                  </a:cubicBezTo>
                  <a:cubicBezTo>
                    <a:pt x="58" y="56"/>
                    <a:pt x="58" y="56"/>
                    <a:pt x="58" y="56"/>
                  </a:cubicBezTo>
                  <a:cubicBezTo>
                    <a:pt x="62" y="56"/>
                    <a:pt x="62" y="56"/>
                    <a:pt x="62" y="56"/>
                  </a:cubicBezTo>
                  <a:moveTo>
                    <a:pt x="19" y="27"/>
                  </a:moveTo>
                  <a:cubicBezTo>
                    <a:pt x="19" y="40"/>
                    <a:pt x="30" y="50"/>
                    <a:pt x="43" y="50"/>
                  </a:cubicBezTo>
                  <a:cubicBezTo>
                    <a:pt x="55" y="50"/>
                    <a:pt x="66" y="40"/>
                    <a:pt x="66" y="27"/>
                  </a:cubicBezTo>
                  <a:cubicBezTo>
                    <a:pt x="66" y="26"/>
                    <a:pt x="66" y="25"/>
                    <a:pt x="66" y="24"/>
                  </a:cubicBezTo>
                  <a:cubicBezTo>
                    <a:pt x="20" y="24"/>
                    <a:pt x="20" y="24"/>
                    <a:pt x="20" y="24"/>
                  </a:cubicBezTo>
                  <a:cubicBezTo>
                    <a:pt x="19" y="25"/>
                    <a:pt x="19" y="26"/>
                    <a:pt x="19" y="27"/>
                  </a:cubicBezTo>
                  <a:moveTo>
                    <a:pt x="102" y="32"/>
                  </a:moveTo>
                  <a:cubicBezTo>
                    <a:pt x="98" y="32"/>
                    <a:pt x="98" y="32"/>
                    <a:pt x="98" y="32"/>
                  </a:cubicBezTo>
                  <a:cubicBezTo>
                    <a:pt x="98" y="36"/>
                    <a:pt x="98" y="36"/>
                    <a:pt x="98" y="36"/>
                  </a:cubicBezTo>
                  <a:cubicBezTo>
                    <a:pt x="102" y="36"/>
                    <a:pt x="102" y="36"/>
                    <a:pt x="102" y="36"/>
                  </a:cubicBezTo>
                  <a:lnTo>
                    <a:pt x="102" y="32"/>
                  </a:lnTo>
                  <a:close/>
                  <a:moveTo>
                    <a:pt x="98" y="17"/>
                  </a:moveTo>
                  <a:cubicBezTo>
                    <a:pt x="99" y="29"/>
                    <a:pt x="99" y="29"/>
                    <a:pt x="99" y="29"/>
                  </a:cubicBezTo>
                  <a:cubicBezTo>
                    <a:pt x="101" y="29"/>
                    <a:pt x="101" y="29"/>
                    <a:pt x="101" y="29"/>
                  </a:cubicBezTo>
                  <a:cubicBezTo>
                    <a:pt x="102" y="17"/>
                    <a:pt x="102" y="17"/>
                    <a:pt x="102" y="17"/>
                  </a:cubicBezTo>
                  <a:cubicBezTo>
                    <a:pt x="102" y="9"/>
                    <a:pt x="102" y="9"/>
                    <a:pt x="102" y="9"/>
                  </a:cubicBezTo>
                  <a:cubicBezTo>
                    <a:pt x="98" y="9"/>
                    <a:pt x="98" y="9"/>
                    <a:pt x="98" y="9"/>
                  </a:cubicBezTo>
                  <a:lnTo>
                    <a:pt x="98" y="17"/>
                  </a:lnTo>
                  <a:close/>
                  <a:moveTo>
                    <a:pt x="114" y="8"/>
                  </a:moveTo>
                  <a:cubicBezTo>
                    <a:pt x="122" y="16"/>
                    <a:pt x="122" y="29"/>
                    <a:pt x="114" y="37"/>
                  </a:cubicBezTo>
                  <a:cubicBezTo>
                    <a:pt x="108" y="44"/>
                    <a:pt x="98" y="45"/>
                    <a:pt x="90" y="40"/>
                  </a:cubicBezTo>
                  <a:cubicBezTo>
                    <a:pt x="78" y="44"/>
                    <a:pt x="78" y="44"/>
                    <a:pt x="78" y="44"/>
                  </a:cubicBezTo>
                  <a:cubicBezTo>
                    <a:pt x="82" y="33"/>
                    <a:pt x="82" y="33"/>
                    <a:pt x="82" y="33"/>
                  </a:cubicBezTo>
                  <a:cubicBezTo>
                    <a:pt x="78" y="25"/>
                    <a:pt x="79" y="15"/>
                    <a:pt x="86" y="8"/>
                  </a:cubicBezTo>
                  <a:cubicBezTo>
                    <a:pt x="94" y="0"/>
                    <a:pt x="107" y="0"/>
                    <a:pt x="114"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408" name="Freeform 24">
              <a:extLst>
                <a:ext uri="{FF2B5EF4-FFF2-40B4-BE49-F238E27FC236}">
                  <a16:creationId xmlns:a16="http://schemas.microsoft.com/office/drawing/2014/main" id="{DD9CA93A-C9E7-4B93-A814-7201F0C7F25A}"/>
                </a:ext>
              </a:extLst>
            </p:cNvPr>
            <p:cNvSpPr>
              <a:spLocks noEditPoints="1"/>
            </p:cNvSpPr>
            <p:nvPr userDrawn="1"/>
          </p:nvSpPr>
          <p:spPr bwMode="auto">
            <a:xfrm>
              <a:off x="10477500" y="4252913"/>
              <a:ext cx="271463" cy="314325"/>
            </a:xfrm>
            <a:custGeom>
              <a:avLst/>
              <a:gdLst>
                <a:gd name="T0" fmla="*/ 27 w 57"/>
                <a:gd name="T1" fmla="*/ 42 h 66"/>
                <a:gd name="T2" fmla="*/ 27 w 57"/>
                <a:gd name="T3" fmla="*/ 46 h 66"/>
                <a:gd name="T4" fmla="*/ 27 w 57"/>
                <a:gd name="T5" fmla="*/ 59 h 66"/>
                <a:gd name="T6" fmla="*/ 0 w 57"/>
                <a:gd name="T7" fmla="*/ 60 h 66"/>
                <a:gd name="T8" fmla="*/ 0 w 57"/>
                <a:gd name="T9" fmla="*/ 56 h 66"/>
                <a:gd name="T10" fmla="*/ 0 w 57"/>
                <a:gd name="T11" fmla="*/ 46 h 66"/>
                <a:gd name="T12" fmla="*/ 10 w 57"/>
                <a:gd name="T13" fmla="*/ 42 h 66"/>
                <a:gd name="T14" fmla="*/ 14 w 57"/>
                <a:gd name="T15" fmla="*/ 1 h 66"/>
                <a:gd name="T16" fmla="*/ 16 w 57"/>
                <a:gd name="T17" fmla="*/ 1 h 66"/>
                <a:gd name="T18" fmla="*/ 17 w 57"/>
                <a:gd name="T19" fmla="*/ 1 h 66"/>
                <a:gd name="T20" fmla="*/ 27 w 57"/>
                <a:gd name="T21" fmla="*/ 33 h 66"/>
                <a:gd name="T22" fmla="*/ 11 w 57"/>
                <a:gd name="T23" fmla="*/ 39 h 66"/>
                <a:gd name="T24" fmla="*/ 9 w 57"/>
                <a:gd name="T25" fmla="*/ 1 h 66"/>
                <a:gd name="T26" fmla="*/ 1 w 57"/>
                <a:gd name="T27" fmla="*/ 33 h 66"/>
                <a:gd name="T28" fmla="*/ 0 w 57"/>
                <a:gd name="T29" fmla="*/ 34 h 66"/>
                <a:gd name="T30" fmla="*/ 10 w 57"/>
                <a:gd name="T31" fmla="*/ 40 h 66"/>
                <a:gd name="T32" fmla="*/ 0 w 57"/>
                <a:gd name="T33" fmla="*/ 65 h 66"/>
                <a:gd name="T34" fmla="*/ 27 w 57"/>
                <a:gd name="T35" fmla="*/ 66 h 66"/>
                <a:gd name="T36" fmla="*/ 0 w 57"/>
                <a:gd name="T37" fmla="*/ 62 h 66"/>
                <a:gd name="T38" fmla="*/ 57 w 57"/>
                <a:gd name="T39" fmla="*/ 33 h 66"/>
                <a:gd name="T40" fmla="*/ 48 w 57"/>
                <a:gd name="T41" fmla="*/ 25 h 66"/>
                <a:gd name="T42" fmla="*/ 46 w 57"/>
                <a:gd name="T43" fmla="*/ 1 h 66"/>
                <a:gd name="T44" fmla="*/ 47 w 57"/>
                <a:gd name="T45" fmla="*/ 40 h 66"/>
                <a:gd name="T46" fmla="*/ 57 w 57"/>
                <a:gd name="T47" fmla="*/ 34 h 66"/>
                <a:gd name="T48" fmla="*/ 43 w 57"/>
                <a:gd name="T49" fmla="*/ 39 h 66"/>
                <a:gd name="T50" fmla="*/ 42 w 57"/>
                <a:gd name="T51" fmla="*/ 1 h 66"/>
                <a:gd name="T52" fmla="*/ 40 w 57"/>
                <a:gd name="T53" fmla="*/ 1 h 66"/>
                <a:gd name="T54" fmla="*/ 30 w 57"/>
                <a:gd name="T55" fmla="*/ 43 h 66"/>
                <a:gd name="T56" fmla="*/ 30 w 57"/>
                <a:gd name="T57" fmla="*/ 46 h 66"/>
                <a:gd name="T58" fmla="*/ 30 w 57"/>
                <a:gd name="T59" fmla="*/ 56 h 66"/>
                <a:gd name="T60" fmla="*/ 30 w 57"/>
                <a:gd name="T61" fmla="*/ 60 h 66"/>
                <a:gd name="T62" fmla="*/ 57 w 57"/>
                <a:gd name="T63" fmla="*/ 59 h 66"/>
                <a:gd name="T64" fmla="*/ 57 w 57"/>
                <a:gd name="T65" fmla="*/ 46 h 66"/>
                <a:gd name="T66" fmla="*/ 57 w 57"/>
                <a:gd name="T67" fmla="*/ 42 h 66"/>
                <a:gd name="T68" fmla="*/ 43 w 57"/>
                <a:gd name="T69" fmla="*/ 39 h 66"/>
                <a:gd name="T70" fmla="*/ 56 w 57"/>
                <a:gd name="T71" fmla="*/ 66 h 66"/>
                <a:gd name="T72" fmla="*/ 57 w 57"/>
                <a:gd name="T73" fmla="*/ 62 h 66"/>
                <a:gd name="T74" fmla="*/ 30 w 57"/>
                <a:gd name="T7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66">
                  <a:moveTo>
                    <a:pt x="27" y="42"/>
                  </a:moveTo>
                  <a:cubicBezTo>
                    <a:pt x="27" y="42"/>
                    <a:pt x="27" y="42"/>
                    <a:pt x="27" y="42"/>
                  </a:cubicBezTo>
                  <a:cubicBezTo>
                    <a:pt x="27" y="46"/>
                    <a:pt x="27" y="46"/>
                    <a:pt x="27" y="46"/>
                  </a:cubicBezTo>
                  <a:cubicBezTo>
                    <a:pt x="27" y="46"/>
                    <a:pt x="27" y="46"/>
                    <a:pt x="27" y="46"/>
                  </a:cubicBezTo>
                  <a:cubicBezTo>
                    <a:pt x="27" y="56"/>
                    <a:pt x="27" y="56"/>
                    <a:pt x="27" y="56"/>
                  </a:cubicBezTo>
                  <a:cubicBezTo>
                    <a:pt x="27" y="59"/>
                    <a:pt x="27" y="59"/>
                    <a:pt x="27" y="59"/>
                  </a:cubicBezTo>
                  <a:cubicBezTo>
                    <a:pt x="27" y="60"/>
                    <a:pt x="27" y="60"/>
                    <a:pt x="27" y="60"/>
                  </a:cubicBezTo>
                  <a:cubicBezTo>
                    <a:pt x="0" y="60"/>
                    <a:pt x="0" y="60"/>
                    <a:pt x="0" y="60"/>
                  </a:cubicBezTo>
                  <a:cubicBezTo>
                    <a:pt x="0" y="59"/>
                    <a:pt x="0" y="59"/>
                    <a:pt x="0" y="59"/>
                  </a:cubicBezTo>
                  <a:cubicBezTo>
                    <a:pt x="0" y="56"/>
                    <a:pt x="0" y="56"/>
                    <a:pt x="0" y="56"/>
                  </a:cubicBezTo>
                  <a:cubicBezTo>
                    <a:pt x="0" y="46"/>
                    <a:pt x="0" y="46"/>
                    <a:pt x="0" y="46"/>
                  </a:cubicBezTo>
                  <a:cubicBezTo>
                    <a:pt x="0" y="46"/>
                    <a:pt x="0" y="46"/>
                    <a:pt x="0" y="46"/>
                  </a:cubicBezTo>
                  <a:cubicBezTo>
                    <a:pt x="0" y="42"/>
                    <a:pt x="0" y="42"/>
                    <a:pt x="0" y="42"/>
                  </a:cubicBezTo>
                  <a:cubicBezTo>
                    <a:pt x="10" y="42"/>
                    <a:pt x="10" y="42"/>
                    <a:pt x="10" y="42"/>
                  </a:cubicBezTo>
                  <a:cubicBezTo>
                    <a:pt x="12" y="42"/>
                    <a:pt x="14" y="41"/>
                    <a:pt x="14" y="39"/>
                  </a:cubicBezTo>
                  <a:cubicBezTo>
                    <a:pt x="14" y="1"/>
                    <a:pt x="14" y="1"/>
                    <a:pt x="14" y="1"/>
                  </a:cubicBezTo>
                  <a:cubicBezTo>
                    <a:pt x="15" y="1"/>
                    <a:pt x="15" y="1"/>
                    <a:pt x="15" y="1"/>
                  </a:cubicBezTo>
                  <a:cubicBezTo>
                    <a:pt x="16" y="0"/>
                    <a:pt x="16" y="1"/>
                    <a:pt x="16" y="1"/>
                  </a:cubicBezTo>
                  <a:cubicBezTo>
                    <a:pt x="17" y="1"/>
                    <a:pt x="17" y="1"/>
                    <a:pt x="17" y="1"/>
                  </a:cubicBezTo>
                  <a:cubicBezTo>
                    <a:pt x="17" y="1"/>
                    <a:pt x="17" y="1"/>
                    <a:pt x="17" y="1"/>
                  </a:cubicBezTo>
                  <a:cubicBezTo>
                    <a:pt x="17" y="1"/>
                    <a:pt x="17" y="1"/>
                    <a:pt x="17" y="1"/>
                  </a:cubicBezTo>
                  <a:cubicBezTo>
                    <a:pt x="27" y="33"/>
                    <a:pt x="27" y="33"/>
                    <a:pt x="27" y="33"/>
                  </a:cubicBezTo>
                  <a:lnTo>
                    <a:pt x="27" y="42"/>
                  </a:lnTo>
                  <a:close/>
                  <a:moveTo>
                    <a:pt x="11" y="39"/>
                  </a:moveTo>
                  <a:cubicBezTo>
                    <a:pt x="11" y="1"/>
                    <a:pt x="11" y="1"/>
                    <a:pt x="11" y="1"/>
                  </a:cubicBezTo>
                  <a:cubicBezTo>
                    <a:pt x="9" y="1"/>
                    <a:pt x="9" y="1"/>
                    <a:pt x="9" y="1"/>
                  </a:cubicBezTo>
                  <a:cubicBezTo>
                    <a:pt x="9" y="25"/>
                    <a:pt x="9" y="25"/>
                    <a:pt x="9" y="25"/>
                  </a:cubicBezTo>
                  <a:cubicBezTo>
                    <a:pt x="9" y="29"/>
                    <a:pt x="6" y="33"/>
                    <a:pt x="1" y="33"/>
                  </a:cubicBezTo>
                  <a:cubicBezTo>
                    <a:pt x="1" y="33"/>
                    <a:pt x="1" y="33"/>
                    <a:pt x="0" y="33"/>
                  </a:cubicBezTo>
                  <a:cubicBezTo>
                    <a:pt x="0" y="34"/>
                    <a:pt x="0" y="34"/>
                    <a:pt x="0" y="34"/>
                  </a:cubicBezTo>
                  <a:cubicBezTo>
                    <a:pt x="0" y="40"/>
                    <a:pt x="0" y="40"/>
                    <a:pt x="0" y="40"/>
                  </a:cubicBezTo>
                  <a:cubicBezTo>
                    <a:pt x="10" y="40"/>
                    <a:pt x="10" y="40"/>
                    <a:pt x="10" y="40"/>
                  </a:cubicBezTo>
                  <a:cubicBezTo>
                    <a:pt x="11" y="40"/>
                    <a:pt x="11" y="40"/>
                    <a:pt x="11" y="39"/>
                  </a:cubicBezTo>
                  <a:moveTo>
                    <a:pt x="0" y="65"/>
                  </a:moveTo>
                  <a:cubicBezTo>
                    <a:pt x="0" y="65"/>
                    <a:pt x="1" y="66"/>
                    <a:pt x="1" y="66"/>
                  </a:cubicBezTo>
                  <a:cubicBezTo>
                    <a:pt x="27" y="66"/>
                    <a:pt x="27" y="66"/>
                    <a:pt x="27" y="66"/>
                  </a:cubicBezTo>
                  <a:cubicBezTo>
                    <a:pt x="27" y="62"/>
                    <a:pt x="27" y="62"/>
                    <a:pt x="27" y="62"/>
                  </a:cubicBezTo>
                  <a:cubicBezTo>
                    <a:pt x="0" y="62"/>
                    <a:pt x="0" y="62"/>
                    <a:pt x="0" y="62"/>
                  </a:cubicBezTo>
                  <a:lnTo>
                    <a:pt x="0" y="65"/>
                  </a:lnTo>
                  <a:close/>
                  <a:moveTo>
                    <a:pt x="57" y="33"/>
                  </a:moveTo>
                  <a:cubicBezTo>
                    <a:pt x="56" y="33"/>
                    <a:pt x="56" y="33"/>
                    <a:pt x="56" y="33"/>
                  </a:cubicBezTo>
                  <a:cubicBezTo>
                    <a:pt x="51" y="33"/>
                    <a:pt x="48" y="29"/>
                    <a:pt x="48" y="25"/>
                  </a:cubicBezTo>
                  <a:cubicBezTo>
                    <a:pt x="48" y="1"/>
                    <a:pt x="48" y="1"/>
                    <a:pt x="48" y="1"/>
                  </a:cubicBezTo>
                  <a:cubicBezTo>
                    <a:pt x="46" y="1"/>
                    <a:pt x="46" y="1"/>
                    <a:pt x="46" y="1"/>
                  </a:cubicBezTo>
                  <a:cubicBezTo>
                    <a:pt x="46" y="39"/>
                    <a:pt x="46" y="39"/>
                    <a:pt x="46" y="39"/>
                  </a:cubicBezTo>
                  <a:cubicBezTo>
                    <a:pt x="46" y="40"/>
                    <a:pt x="46" y="40"/>
                    <a:pt x="47" y="40"/>
                  </a:cubicBezTo>
                  <a:cubicBezTo>
                    <a:pt x="57" y="40"/>
                    <a:pt x="57" y="40"/>
                    <a:pt x="57" y="40"/>
                  </a:cubicBezTo>
                  <a:cubicBezTo>
                    <a:pt x="57" y="34"/>
                    <a:pt x="57" y="34"/>
                    <a:pt x="57" y="34"/>
                  </a:cubicBezTo>
                  <a:cubicBezTo>
                    <a:pt x="57" y="34"/>
                    <a:pt x="57" y="34"/>
                    <a:pt x="57" y="33"/>
                  </a:cubicBezTo>
                  <a:moveTo>
                    <a:pt x="43" y="39"/>
                  </a:moveTo>
                  <a:cubicBezTo>
                    <a:pt x="43" y="1"/>
                    <a:pt x="43" y="1"/>
                    <a:pt x="43" y="1"/>
                  </a:cubicBezTo>
                  <a:cubicBezTo>
                    <a:pt x="42" y="1"/>
                    <a:pt x="42" y="1"/>
                    <a:pt x="42" y="1"/>
                  </a:cubicBezTo>
                  <a:cubicBezTo>
                    <a:pt x="41" y="0"/>
                    <a:pt x="41" y="1"/>
                    <a:pt x="41" y="1"/>
                  </a:cubicBezTo>
                  <a:cubicBezTo>
                    <a:pt x="40" y="1"/>
                    <a:pt x="40" y="1"/>
                    <a:pt x="40" y="1"/>
                  </a:cubicBezTo>
                  <a:cubicBezTo>
                    <a:pt x="30" y="33"/>
                    <a:pt x="30" y="33"/>
                    <a:pt x="30" y="33"/>
                  </a:cubicBezTo>
                  <a:cubicBezTo>
                    <a:pt x="30" y="43"/>
                    <a:pt x="30" y="43"/>
                    <a:pt x="30" y="43"/>
                  </a:cubicBezTo>
                  <a:cubicBezTo>
                    <a:pt x="30" y="43"/>
                    <a:pt x="30" y="43"/>
                    <a:pt x="30" y="43"/>
                  </a:cubicBezTo>
                  <a:cubicBezTo>
                    <a:pt x="30" y="46"/>
                    <a:pt x="30" y="46"/>
                    <a:pt x="30" y="46"/>
                  </a:cubicBezTo>
                  <a:cubicBezTo>
                    <a:pt x="30" y="46"/>
                    <a:pt x="30" y="46"/>
                    <a:pt x="30" y="46"/>
                  </a:cubicBezTo>
                  <a:cubicBezTo>
                    <a:pt x="30" y="56"/>
                    <a:pt x="30" y="56"/>
                    <a:pt x="30" y="56"/>
                  </a:cubicBezTo>
                  <a:cubicBezTo>
                    <a:pt x="30" y="59"/>
                    <a:pt x="30" y="59"/>
                    <a:pt x="30" y="59"/>
                  </a:cubicBezTo>
                  <a:cubicBezTo>
                    <a:pt x="30" y="60"/>
                    <a:pt x="30" y="60"/>
                    <a:pt x="30" y="60"/>
                  </a:cubicBezTo>
                  <a:cubicBezTo>
                    <a:pt x="57" y="60"/>
                    <a:pt x="57" y="60"/>
                    <a:pt x="57" y="60"/>
                  </a:cubicBezTo>
                  <a:cubicBezTo>
                    <a:pt x="57" y="59"/>
                    <a:pt x="57" y="59"/>
                    <a:pt x="57" y="59"/>
                  </a:cubicBezTo>
                  <a:cubicBezTo>
                    <a:pt x="57" y="56"/>
                    <a:pt x="57" y="56"/>
                    <a:pt x="57" y="56"/>
                  </a:cubicBezTo>
                  <a:cubicBezTo>
                    <a:pt x="57" y="46"/>
                    <a:pt x="57" y="46"/>
                    <a:pt x="57" y="46"/>
                  </a:cubicBezTo>
                  <a:cubicBezTo>
                    <a:pt x="57" y="46"/>
                    <a:pt x="57" y="46"/>
                    <a:pt x="57" y="46"/>
                  </a:cubicBezTo>
                  <a:cubicBezTo>
                    <a:pt x="57" y="42"/>
                    <a:pt x="57" y="42"/>
                    <a:pt x="57" y="42"/>
                  </a:cubicBezTo>
                  <a:cubicBezTo>
                    <a:pt x="47" y="42"/>
                    <a:pt x="47" y="42"/>
                    <a:pt x="47" y="42"/>
                  </a:cubicBezTo>
                  <a:cubicBezTo>
                    <a:pt x="45" y="42"/>
                    <a:pt x="43" y="41"/>
                    <a:pt x="43" y="39"/>
                  </a:cubicBezTo>
                  <a:moveTo>
                    <a:pt x="30" y="66"/>
                  </a:moveTo>
                  <a:cubicBezTo>
                    <a:pt x="56" y="66"/>
                    <a:pt x="56" y="66"/>
                    <a:pt x="56" y="66"/>
                  </a:cubicBezTo>
                  <a:cubicBezTo>
                    <a:pt x="56" y="66"/>
                    <a:pt x="57" y="65"/>
                    <a:pt x="57" y="65"/>
                  </a:cubicBezTo>
                  <a:cubicBezTo>
                    <a:pt x="57" y="62"/>
                    <a:pt x="57" y="62"/>
                    <a:pt x="57" y="62"/>
                  </a:cubicBezTo>
                  <a:cubicBezTo>
                    <a:pt x="30" y="62"/>
                    <a:pt x="30" y="62"/>
                    <a:pt x="30" y="62"/>
                  </a:cubicBezTo>
                  <a:lnTo>
                    <a:pt x="30" y="66"/>
                  </a:lnTo>
                  <a:close/>
                </a:path>
              </a:pathLst>
            </a:custGeom>
            <a:solidFill>
              <a:srgbClr val="0091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sp>
          <p:nvSpPr>
            <p:cNvPr id="409" name="Freeform 25">
              <a:extLst>
                <a:ext uri="{FF2B5EF4-FFF2-40B4-BE49-F238E27FC236}">
                  <a16:creationId xmlns:a16="http://schemas.microsoft.com/office/drawing/2014/main" id="{5409240D-708D-4818-9530-9144B8E4C0EA}"/>
                </a:ext>
              </a:extLst>
            </p:cNvPr>
            <p:cNvSpPr>
              <a:spLocks/>
            </p:cNvSpPr>
            <p:nvPr userDrawn="1"/>
          </p:nvSpPr>
          <p:spPr bwMode="auto">
            <a:xfrm>
              <a:off x="10472738" y="3962401"/>
              <a:ext cx="280988" cy="128588"/>
            </a:xfrm>
            <a:custGeom>
              <a:avLst/>
              <a:gdLst>
                <a:gd name="T0" fmla="*/ 2 w 59"/>
                <a:gd name="T1" fmla="*/ 27 h 27"/>
                <a:gd name="T2" fmla="*/ 2 w 59"/>
                <a:gd name="T3" fmla="*/ 27 h 27"/>
                <a:gd name="T4" fmla="*/ 3 w 59"/>
                <a:gd name="T5" fmla="*/ 27 h 27"/>
                <a:gd name="T6" fmla="*/ 56 w 59"/>
                <a:gd name="T7" fmla="*/ 27 h 27"/>
                <a:gd name="T8" fmla="*/ 57 w 59"/>
                <a:gd name="T9" fmla="*/ 27 h 27"/>
                <a:gd name="T10" fmla="*/ 57 w 59"/>
                <a:gd name="T11" fmla="*/ 27 h 27"/>
                <a:gd name="T12" fmla="*/ 59 w 59"/>
                <a:gd name="T13" fmla="*/ 24 h 27"/>
                <a:gd name="T14" fmla="*/ 56 w 59"/>
                <a:gd name="T15" fmla="*/ 22 h 27"/>
                <a:gd name="T16" fmla="*/ 56 w 59"/>
                <a:gd name="T17" fmla="*/ 22 h 27"/>
                <a:gd name="T18" fmla="*/ 41 w 59"/>
                <a:gd name="T19" fmla="*/ 2 h 27"/>
                <a:gd name="T20" fmla="*/ 41 w 59"/>
                <a:gd name="T21" fmla="*/ 3 h 27"/>
                <a:gd name="T22" fmla="*/ 38 w 59"/>
                <a:gd name="T23" fmla="*/ 6 h 27"/>
                <a:gd name="T24" fmla="*/ 35 w 59"/>
                <a:gd name="T25" fmla="*/ 3 h 27"/>
                <a:gd name="T26" fmla="*/ 35 w 59"/>
                <a:gd name="T27" fmla="*/ 0 h 27"/>
                <a:gd name="T28" fmla="*/ 32 w 59"/>
                <a:gd name="T29" fmla="*/ 0 h 27"/>
                <a:gd name="T30" fmla="*/ 32 w 59"/>
                <a:gd name="T31" fmla="*/ 2 h 27"/>
                <a:gd name="T32" fmla="*/ 30 w 59"/>
                <a:gd name="T33" fmla="*/ 5 h 27"/>
                <a:gd name="T34" fmla="*/ 27 w 59"/>
                <a:gd name="T35" fmla="*/ 2 h 27"/>
                <a:gd name="T36" fmla="*/ 27 w 59"/>
                <a:gd name="T37" fmla="*/ 0 h 27"/>
                <a:gd name="T38" fmla="*/ 23 w 59"/>
                <a:gd name="T39" fmla="*/ 1 h 27"/>
                <a:gd name="T40" fmla="*/ 23 w 59"/>
                <a:gd name="T41" fmla="*/ 3 h 27"/>
                <a:gd name="T42" fmla="*/ 21 w 59"/>
                <a:gd name="T43" fmla="*/ 6 h 27"/>
                <a:gd name="T44" fmla="*/ 18 w 59"/>
                <a:gd name="T45" fmla="*/ 3 h 27"/>
                <a:gd name="T46" fmla="*/ 18 w 59"/>
                <a:gd name="T47" fmla="*/ 3 h 27"/>
                <a:gd name="T48" fmla="*/ 3 w 59"/>
                <a:gd name="T49" fmla="*/ 22 h 27"/>
                <a:gd name="T50" fmla="*/ 3 w 59"/>
                <a:gd name="T51" fmla="*/ 22 h 27"/>
                <a:gd name="T52" fmla="*/ 0 w 59"/>
                <a:gd name="T53" fmla="*/ 24 h 27"/>
                <a:gd name="T54" fmla="*/ 2 w 59"/>
                <a:gd name="T5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 h="27">
                  <a:moveTo>
                    <a:pt x="2" y="27"/>
                  </a:moveTo>
                  <a:cubicBezTo>
                    <a:pt x="2" y="27"/>
                    <a:pt x="2" y="27"/>
                    <a:pt x="2" y="27"/>
                  </a:cubicBezTo>
                  <a:cubicBezTo>
                    <a:pt x="3" y="27"/>
                    <a:pt x="3" y="27"/>
                    <a:pt x="3" y="27"/>
                  </a:cubicBezTo>
                  <a:cubicBezTo>
                    <a:pt x="56" y="27"/>
                    <a:pt x="56" y="27"/>
                    <a:pt x="56" y="27"/>
                  </a:cubicBezTo>
                  <a:cubicBezTo>
                    <a:pt x="57" y="27"/>
                    <a:pt x="57" y="27"/>
                    <a:pt x="57" y="27"/>
                  </a:cubicBezTo>
                  <a:cubicBezTo>
                    <a:pt x="57" y="27"/>
                    <a:pt x="57" y="27"/>
                    <a:pt x="57" y="27"/>
                  </a:cubicBezTo>
                  <a:cubicBezTo>
                    <a:pt x="58" y="27"/>
                    <a:pt x="59" y="26"/>
                    <a:pt x="59" y="24"/>
                  </a:cubicBezTo>
                  <a:cubicBezTo>
                    <a:pt x="59" y="23"/>
                    <a:pt x="58" y="22"/>
                    <a:pt x="56" y="22"/>
                  </a:cubicBezTo>
                  <a:cubicBezTo>
                    <a:pt x="56" y="22"/>
                    <a:pt x="56" y="22"/>
                    <a:pt x="56" y="22"/>
                  </a:cubicBezTo>
                  <a:cubicBezTo>
                    <a:pt x="55" y="13"/>
                    <a:pt x="49" y="6"/>
                    <a:pt x="41" y="2"/>
                  </a:cubicBezTo>
                  <a:cubicBezTo>
                    <a:pt x="41" y="3"/>
                    <a:pt x="41" y="3"/>
                    <a:pt x="41" y="3"/>
                  </a:cubicBezTo>
                  <a:cubicBezTo>
                    <a:pt x="41" y="5"/>
                    <a:pt x="40" y="6"/>
                    <a:pt x="38" y="6"/>
                  </a:cubicBezTo>
                  <a:cubicBezTo>
                    <a:pt x="37" y="6"/>
                    <a:pt x="35" y="5"/>
                    <a:pt x="35" y="3"/>
                  </a:cubicBezTo>
                  <a:cubicBezTo>
                    <a:pt x="35" y="0"/>
                    <a:pt x="35" y="0"/>
                    <a:pt x="35" y="0"/>
                  </a:cubicBezTo>
                  <a:cubicBezTo>
                    <a:pt x="34" y="0"/>
                    <a:pt x="33" y="0"/>
                    <a:pt x="32" y="0"/>
                  </a:cubicBezTo>
                  <a:cubicBezTo>
                    <a:pt x="32" y="2"/>
                    <a:pt x="32" y="2"/>
                    <a:pt x="32" y="2"/>
                  </a:cubicBezTo>
                  <a:cubicBezTo>
                    <a:pt x="32" y="4"/>
                    <a:pt x="31" y="5"/>
                    <a:pt x="30" y="5"/>
                  </a:cubicBezTo>
                  <a:cubicBezTo>
                    <a:pt x="28" y="5"/>
                    <a:pt x="27" y="4"/>
                    <a:pt x="27" y="2"/>
                  </a:cubicBezTo>
                  <a:cubicBezTo>
                    <a:pt x="27" y="0"/>
                    <a:pt x="27" y="0"/>
                    <a:pt x="27" y="0"/>
                  </a:cubicBezTo>
                  <a:cubicBezTo>
                    <a:pt x="26" y="0"/>
                    <a:pt x="25" y="0"/>
                    <a:pt x="23" y="1"/>
                  </a:cubicBezTo>
                  <a:cubicBezTo>
                    <a:pt x="23" y="3"/>
                    <a:pt x="23" y="3"/>
                    <a:pt x="23" y="3"/>
                  </a:cubicBezTo>
                  <a:cubicBezTo>
                    <a:pt x="23" y="5"/>
                    <a:pt x="22" y="6"/>
                    <a:pt x="21" y="6"/>
                  </a:cubicBezTo>
                  <a:cubicBezTo>
                    <a:pt x="19" y="6"/>
                    <a:pt x="18" y="5"/>
                    <a:pt x="18" y="3"/>
                  </a:cubicBezTo>
                  <a:cubicBezTo>
                    <a:pt x="18" y="3"/>
                    <a:pt x="18" y="3"/>
                    <a:pt x="18" y="3"/>
                  </a:cubicBezTo>
                  <a:cubicBezTo>
                    <a:pt x="10" y="6"/>
                    <a:pt x="5" y="13"/>
                    <a:pt x="3" y="22"/>
                  </a:cubicBezTo>
                  <a:cubicBezTo>
                    <a:pt x="3" y="22"/>
                    <a:pt x="3" y="22"/>
                    <a:pt x="3" y="22"/>
                  </a:cubicBezTo>
                  <a:cubicBezTo>
                    <a:pt x="1" y="22"/>
                    <a:pt x="0" y="23"/>
                    <a:pt x="0" y="24"/>
                  </a:cubicBezTo>
                  <a:cubicBezTo>
                    <a:pt x="0" y="26"/>
                    <a:pt x="1" y="27"/>
                    <a:pt x="2" y="27"/>
                  </a:cubicBezTo>
                </a:path>
              </a:pathLst>
            </a:custGeom>
            <a:solidFill>
              <a:srgbClr val="0091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116" noProof="0" dirty="0"/>
            </a:p>
          </p:txBody>
        </p:sp>
      </p:grpSp>
      <p:sp>
        <p:nvSpPr>
          <p:cNvPr id="348" name="TextBox 11">
            <a:extLst>
              <a:ext uri="{FF2B5EF4-FFF2-40B4-BE49-F238E27FC236}">
                <a16:creationId xmlns:a16="http://schemas.microsoft.com/office/drawing/2014/main" id="{03E44688-07AC-409B-BB3A-F3CC66806537}"/>
              </a:ext>
            </a:extLst>
          </p:cNvPr>
          <p:cNvSpPr txBox="1"/>
          <p:nvPr userDrawn="1"/>
        </p:nvSpPr>
        <p:spPr>
          <a:xfrm>
            <a:off x="3612500" y="5150070"/>
            <a:ext cx="1792224" cy="792001"/>
          </a:xfrm>
          <a:prstGeom prst="rect">
            <a:avLst/>
          </a:prstGeom>
          <a:noFill/>
        </p:spPr>
        <p:txBody>
          <a:bodyPr wrap="square" lIns="35992" tIns="89980" rIns="35992" bIns="89980" rtlCol="0" anchor="t">
            <a:noAutofit/>
          </a:bodyPr>
          <a:lstStyle/>
          <a:p>
            <a:pPr algn="ctr"/>
            <a:r>
              <a:rPr lang="de-DE" sz="1200" b="1" kern="1200" noProof="0" dirty="0">
                <a:solidFill>
                  <a:schemeClr val="tx2"/>
                </a:solidFill>
                <a:effectLst/>
                <a:latin typeface="+mn-lt"/>
                <a:ea typeface="+mn-ea"/>
                <a:cs typeface="+mn-cs"/>
              </a:rPr>
              <a:t>Benutzen Sie </a:t>
            </a:r>
            <a:br>
              <a:rPr lang="de-DE" sz="1200" b="1" kern="1200" noProof="0" dirty="0">
                <a:solidFill>
                  <a:schemeClr val="tx2"/>
                </a:solidFill>
                <a:effectLst/>
                <a:latin typeface="+mn-lt"/>
                <a:ea typeface="+mn-ea"/>
                <a:cs typeface="+mn-cs"/>
              </a:rPr>
            </a:br>
            <a:r>
              <a:rPr lang="de-DE" sz="1200" b="1" kern="1200" noProof="0" dirty="0">
                <a:solidFill>
                  <a:schemeClr val="tx2"/>
                </a:solidFill>
                <a:effectLst/>
                <a:latin typeface="+mn-lt"/>
                <a:ea typeface="+mn-ea"/>
                <a:cs typeface="+mn-cs"/>
              </a:rPr>
              <a:t>die angegebenen Fluchtwege</a:t>
            </a:r>
            <a:endParaRPr lang="de-DE" sz="1200" kern="1200" noProof="0" dirty="0">
              <a:solidFill>
                <a:schemeClr val="tx2"/>
              </a:solidFill>
              <a:effectLst/>
              <a:latin typeface="+mn-lt"/>
              <a:ea typeface="+mn-ea"/>
              <a:cs typeface="+mn-cs"/>
            </a:endParaRPr>
          </a:p>
        </p:txBody>
      </p:sp>
      <p:sp>
        <p:nvSpPr>
          <p:cNvPr id="349" name="TextBox 12">
            <a:extLst>
              <a:ext uri="{FF2B5EF4-FFF2-40B4-BE49-F238E27FC236}">
                <a16:creationId xmlns:a16="http://schemas.microsoft.com/office/drawing/2014/main" id="{B9AA4105-7FFB-4EF3-B880-0EC14537970E}"/>
              </a:ext>
            </a:extLst>
          </p:cNvPr>
          <p:cNvSpPr txBox="1"/>
          <p:nvPr userDrawn="1"/>
        </p:nvSpPr>
        <p:spPr>
          <a:xfrm>
            <a:off x="5676532" y="5150070"/>
            <a:ext cx="1792224" cy="792001"/>
          </a:xfrm>
          <a:prstGeom prst="rect">
            <a:avLst/>
          </a:prstGeom>
          <a:noFill/>
        </p:spPr>
        <p:txBody>
          <a:bodyPr wrap="square" lIns="35992" tIns="89980" rIns="35992" bIns="89980" rtlCol="0" anchor="t">
            <a:noAutofit/>
          </a:bodyPr>
          <a:lstStyle/>
          <a:p>
            <a:pPr algn="ctr"/>
            <a:r>
              <a:rPr lang="de-DE" sz="1200" b="1" kern="1200" noProof="0" dirty="0">
                <a:solidFill>
                  <a:schemeClr val="tx2"/>
                </a:solidFill>
                <a:effectLst/>
                <a:latin typeface="+mn-lt"/>
                <a:ea typeface="+mn-ea"/>
                <a:cs typeface="+mn-cs"/>
              </a:rPr>
              <a:t>Benutzen Sie </a:t>
            </a:r>
            <a:br>
              <a:rPr lang="de-DE" sz="1200" b="1" kern="1200" noProof="0" dirty="0">
                <a:solidFill>
                  <a:schemeClr val="tx2"/>
                </a:solidFill>
                <a:effectLst/>
                <a:latin typeface="+mn-lt"/>
                <a:ea typeface="+mn-ea"/>
                <a:cs typeface="+mn-cs"/>
              </a:rPr>
            </a:br>
            <a:r>
              <a:rPr lang="de-DE" sz="1200" b="1" kern="1200" noProof="0" dirty="0">
                <a:solidFill>
                  <a:schemeClr val="tx2"/>
                </a:solidFill>
                <a:effectLst/>
                <a:latin typeface="+mn-lt"/>
                <a:ea typeface="+mn-ea"/>
                <a:cs typeface="+mn-cs"/>
              </a:rPr>
              <a:t>nicht den Aufzug </a:t>
            </a:r>
            <a:br>
              <a:rPr lang="de-DE" sz="1200" b="1" kern="1200" noProof="0" dirty="0">
                <a:solidFill>
                  <a:schemeClr val="tx2"/>
                </a:solidFill>
                <a:effectLst/>
                <a:latin typeface="+mn-lt"/>
                <a:ea typeface="+mn-ea"/>
                <a:cs typeface="+mn-cs"/>
              </a:rPr>
            </a:br>
            <a:r>
              <a:rPr lang="de-DE" sz="1200" b="1" kern="1200" noProof="0" dirty="0">
                <a:solidFill>
                  <a:schemeClr val="tx2"/>
                </a:solidFill>
                <a:effectLst/>
                <a:latin typeface="+mn-lt"/>
                <a:ea typeface="+mn-ea"/>
                <a:cs typeface="+mn-cs"/>
              </a:rPr>
              <a:t>sondern die Treppe</a:t>
            </a:r>
            <a:endParaRPr lang="de-DE" sz="1200" kern="1200" noProof="0" dirty="0">
              <a:solidFill>
                <a:schemeClr val="tx2"/>
              </a:solidFill>
              <a:effectLst/>
              <a:latin typeface="+mn-lt"/>
              <a:ea typeface="+mn-ea"/>
              <a:cs typeface="+mn-cs"/>
            </a:endParaRPr>
          </a:p>
        </p:txBody>
      </p:sp>
      <p:sp>
        <p:nvSpPr>
          <p:cNvPr id="350" name="TextBox 14">
            <a:extLst>
              <a:ext uri="{FF2B5EF4-FFF2-40B4-BE49-F238E27FC236}">
                <a16:creationId xmlns:a16="http://schemas.microsoft.com/office/drawing/2014/main" id="{94391310-9716-477E-A14B-21214FFD381E}"/>
              </a:ext>
            </a:extLst>
          </p:cNvPr>
          <p:cNvSpPr txBox="1"/>
          <p:nvPr userDrawn="1"/>
        </p:nvSpPr>
        <p:spPr>
          <a:xfrm>
            <a:off x="7762400" y="5150070"/>
            <a:ext cx="1792224" cy="792001"/>
          </a:xfrm>
          <a:prstGeom prst="rect">
            <a:avLst/>
          </a:prstGeom>
          <a:noFill/>
        </p:spPr>
        <p:txBody>
          <a:bodyPr wrap="square" lIns="35992" tIns="89980" rIns="35992" bIns="89980" rtlCol="0" anchor="t">
            <a:noAutofit/>
          </a:bodyPr>
          <a:lstStyle/>
          <a:p>
            <a:pPr algn="ctr"/>
            <a:r>
              <a:rPr lang="de-DE" sz="1200" b="1" kern="1200" noProof="0" dirty="0">
                <a:solidFill>
                  <a:schemeClr val="tx2"/>
                </a:solidFill>
                <a:effectLst/>
                <a:latin typeface="+mn-lt"/>
                <a:ea typeface="+mn-ea"/>
                <a:cs typeface="+mn-cs"/>
              </a:rPr>
              <a:t>Begeben Sie </a:t>
            </a:r>
            <a:br>
              <a:rPr lang="de-DE" sz="1200" b="1" kern="1200" noProof="0" dirty="0">
                <a:solidFill>
                  <a:schemeClr val="tx2"/>
                </a:solidFill>
                <a:effectLst/>
                <a:latin typeface="+mn-lt"/>
                <a:ea typeface="+mn-ea"/>
                <a:cs typeface="+mn-cs"/>
              </a:rPr>
            </a:br>
            <a:r>
              <a:rPr lang="de-DE" sz="1200" b="1" kern="1200" noProof="0" dirty="0">
                <a:solidFill>
                  <a:schemeClr val="tx2"/>
                </a:solidFill>
                <a:effectLst/>
                <a:latin typeface="+mn-lt"/>
                <a:ea typeface="+mn-ea"/>
                <a:cs typeface="+mn-cs"/>
              </a:rPr>
              <a:t>sich zum Sammelplatz</a:t>
            </a:r>
            <a:endParaRPr lang="de-DE" sz="1200" kern="1200" noProof="0" dirty="0">
              <a:solidFill>
                <a:schemeClr val="tx2"/>
              </a:solidFill>
              <a:effectLst/>
              <a:latin typeface="+mn-lt"/>
              <a:ea typeface="+mn-ea"/>
              <a:cs typeface="+mn-cs"/>
            </a:endParaRPr>
          </a:p>
        </p:txBody>
      </p:sp>
      <p:sp>
        <p:nvSpPr>
          <p:cNvPr id="351" name="TextBox 16">
            <a:extLst>
              <a:ext uri="{FF2B5EF4-FFF2-40B4-BE49-F238E27FC236}">
                <a16:creationId xmlns:a16="http://schemas.microsoft.com/office/drawing/2014/main" id="{7DDE961D-C3CD-48E3-BE01-C9A41896769B}"/>
              </a:ext>
            </a:extLst>
          </p:cNvPr>
          <p:cNvSpPr txBox="1"/>
          <p:nvPr userDrawn="1"/>
        </p:nvSpPr>
        <p:spPr>
          <a:xfrm>
            <a:off x="9741213" y="5149425"/>
            <a:ext cx="1792224" cy="792001"/>
          </a:xfrm>
          <a:prstGeom prst="rect">
            <a:avLst/>
          </a:prstGeom>
          <a:noFill/>
        </p:spPr>
        <p:txBody>
          <a:bodyPr wrap="square" lIns="35992" tIns="89980" rIns="35992" bIns="89980" rtlCol="0" anchor="t">
            <a:noAutofit/>
          </a:bodyPr>
          <a:lstStyle/>
          <a:p>
            <a:pPr algn="ctr"/>
            <a:r>
              <a:rPr lang="de-DE" sz="1200" b="1" kern="1200" noProof="0" dirty="0">
                <a:solidFill>
                  <a:schemeClr val="tx2"/>
                </a:solidFill>
                <a:effectLst/>
                <a:latin typeface="+mn-lt"/>
                <a:ea typeface="+mn-ea"/>
                <a:cs typeface="+mn-cs"/>
              </a:rPr>
              <a:t>Befolgen Sie die </a:t>
            </a:r>
            <a:br>
              <a:rPr lang="de-DE" sz="1200" b="1" kern="1200" noProof="0" dirty="0">
                <a:solidFill>
                  <a:schemeClr val="tx2"/>
                </a:solidFill>
                <a:effectLst/>
                <a:latin typeface="+mn-lt"/>
                <a:ea typeface="+mn-ea"/>
                <a:cs typeface="+mn-cs"/>
              </a:rPr>
            </a:br>
            <a:r>
              <a:rPr lang="de-DE" sz="1200" b="1" kern="1200" noProof="0" dirty="0">
                <a:solidFill>
                  <a:schemeClr val="tx2"/>
                </a:solidFill>
                <a:effectLst/>
                <a:latin typeface="+mn-lt"/>
                <a:ea typeface="+mn-ea"/>
                <a:cs typeface="+mn-cs"/>
              </a:rPr>
              <a:t>Anweisungen der betrieblichen Evakuierungshelfer</a:t>
            </a:r>
            <a:endParaRPr lang="de-DE" sz="1200" kern="1200" noProof="0" dirty="0">
              <a:solidFill>
                <a:schemeClr val="tx2"/>
              </a:solidFill>
              <a:effectLst/>
              <a:latin typeface="+mn-lt"/>
              <a:ea typeface="+mn-ea"/>
              <a:cs typeface="+mn-cs"/>
            </a:endParaRPr>
          </a:p>
        </p:txBody>
      </p:sp>
    </p:spTree>
    <p:extLst>
      <p:ext uri="{BB962C8B-B14F-4D97-AF65-F5344CB8AC3E}">
        <p14:creationId xmlns:p14="http://schemas.microsoft.com/office/powerpoint/2010/main" val="27653154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 moment of safety – NL">
    <p:bg>
      <p:bgPr>
        <a:solidFill>
          <a:schemeClr val="bg1"/>
        </a:solidFill>
        <a:effectLst/>
      </p:bgPr>
    </p:bg>
    <p:spTree>
      <p:nvGrpSpPr>
        <p:cNvPr id="1" name=""/>
        <p:cNvGrpSpPr/>
        <p:nvPr/>
      </p:nvGrpSpPr>
      <p:grpSpPr>
        <a:xfrm>
          <a:off x="0" y="0"/>
          <a:ext cx="0" cy="0"/>
          <a:chOff x="0" y="0"/>
          <a:chExt cx="0" cy="0"/>
        </a:xfrm>
      </p:grpSpPr>
      <p:sp>
        <p:nvSpPr>
          <p:cNvPr id="339" name="Vrije vorm 338">
            <a:extLst>
              <a:ext uri="{FF2B5EF4-FFF2-40B4-BE49-F238E27FC236}">
                <a16:creationId xmlns:a16="http://schemas.microsoft.com/office/drawing/2014/main" id="{1AE144A2-56E7-0847-BDB2-E98F69D93B18}"/>
              </a:ext>
            </a:extLst>
          </p:cNvPr>
          <p:cNvSpPr/>
          <p:nvPr userDrawn="1"/>
        </p:nvSpPr>
        <p:spPr>
          <a:xfrm>
            <a:off x="0" y="161"/>
            <a:ext cx="12192000" cy="6058829"/>
          </a:xfrm>
          <a:custGeom>
            <a:avLst/>
            <a:gdLst>
              <a:gd name="connsiteX0" fmla="*/ 0 w 12192000"/>
              <a:gd name="connsiteY0" fmla="*/ 0 h 6058829"/>
              <a:gd name="connsiteX1" fmla="*/ 12192000 w 12192000"/>
              <a:gd name="connsiteY1" fmla="*/ 0 h 6058829"/>
              <a:gd name="connsiteX2" fmla="*/ 12192000 w 12192000"/>
              <a:gd name="connsiteY2" fmla="*/ 5887378 h 6058829"/>
              <a:gd name="connsiteX3" fmla="*/ 11813856 w 12192000"/>
              <a:gd name="connsiteY3" fmla="*/ 6058829 h 6058829"/>
              <a:gd name="connsiteX4" fmla="*/ 0 w 12192000"/>
              <a:gd name="connsiteY4" fmla="*/ 6058829 h 6058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058829">
                <a:moveTo>
                  <a:pt x="0" y="0"/>
                </a:moveTo>
                <a:lnTo>
                  <a:pt x="12192000" y="0"/>
                </a:lnTo>
                <a:lnTo>
                  <a:pt x="12192000" y="5887378"/>
                </a:lnTo>
                <a:lnTo>
                  <a:pt x="11813856" y="6058829"/>
                </a:lnTo>
                <a:lnTo>
                  <a:pt x="0" y="6058829"/>
                </a:lnTo>
                <a:close/>
              </a:path>
            </a:pathLst>
          </a:custGeom>
          <a:solidFill>
            <a:srgbClr val="D2E6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noProof="0" dirty="0"/>
          </a:p>
        </p:txBody>
      </p:sp>
      <p:grpSp>
        <p:nvGrpSpPr>
          <p:cNvPr id="337" name="Groep 336">
            <a:extLst>
              <a:ext uri="{FF2B5EF4-FFF2-40B4-BE49-F238E27FC236}">
                <a16:creationId xmlns:a16="http://schemas.microsoft.com/office/drawing/2014/main" id="{272709AC-6499-5C4A-AE3C-EFC1261B8C09}"/>
              </a:ext>
            </a:extLst>
          </p:cNvPr>
          <p:cNvGrpSpPr/>
          <p:nvPr userDrawn="1"/>
        </p:nvGrpSpPr>
        <p:grpSpPr>
          <a:xfrm>
            <a:off x="329951" y="96343"/>
            <a:ext cx="11575154" cy="5826059"/>
            <a:chOff x="329951" y="96343"/>
            <a:chExt cx="11575154" cy="5826059"/>
          </a:xfrm>
        </p:grpSpPr>
        <p:sp>
          <p:nvSpPr>
            <p:cNvPr id="24" name="Rechthoek 23">
              <a:extLst>
                <a:ext uri="{FF2B5EF4-FFF2-40B4-BE49-F238E27FC236}">
                  <a16:creationId xmlns:a16="http://schemas.microsoft.com/office/drawing/2014/main" id="{163141D3-FC3C-F144-A4C0-F65A3B749D61}"/>
                </a:ext>
              </a:extLst>
            </p:cNvPr>
            <p:cNvSpPr/>
            <p:nvPr userDrawn="1"/>
          </p:nvSpPr>
          <p:spPr>
            <a:xfrm>
              <a:off x="329951"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5" name="Rechthoek 24">
              <a:extLst>
                <a:ext uri="{FF2B5EF4-FFF2-40B4-BE49-F238E27FC236}">
                  <a16:creationId xmlns:a16="http://schemas.microsoft.com/office/drawing/2014/main" id="{05E9D430-E98D-FB41-9DFC-5FA9AB34170C}"/>
                </a:ext>
              </a:extLst>
            </p:cNvPr>
            <p:cNvSpPr/>
            <p:nvPr userDrawn="1"/>
          </p:nvSpPr>
          <p:spPr>
            <a:xfrm>
              <a:off x="329951"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6" name="Rechthoek 25">
              <a:extLst>
                <a:ext uri="{FF2B5EF4-FFF2-40B4-BE49-F238E27FC236}">
                  <a16:creationId xmlns:a16="http://schemas.microsoft.com/office/drawing/2014/main" id="{F43ADCCE-3D24-A74A-BDDC-A4F065076A70}"/>
                </a:ext>
              </a:extLst>
            </p:cNvPr>
            <p:cNvSpPr/>
            <p:nvPr userDrawn="1"/>
          </p:nvSpPr>
          <p:spPr>
            <a:xfrm>
              <a:off x="285451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7" name="Rechthoek 26">
              <a:extLst>
                <a:ext uri="{FF2B5EF4-FFF2-40B4-BE49-F238E27FC236}">
                  <a16:creationId xmlns:a16="http://schemas.microsoft.com/office/drawing/2014/main" id="{903E1EBD-0C75-B346-8730-3536D7FD86BF}"/>
                </a:ext>
              </a:extLst>
            </p:cNvPr>
            <p:cNvSpPr/>
            <p:nvPr userDrawn="1"/>
          </p:nvSpPr>
          <p:spPr>
            <a:xfrm>
              <a:off x="321415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8" name="Rechthoek 27">
              <a:extLst>
                <a:ext uri="{FF2B5EF4-FFF2-40B4-BE49-F238E27FC236}">
                  <a16:creationId xmlns:a16="http://schemas.microsoft.com/office/drawing/2014/main" id="{D53F4434-4F41-084E-A279-66D06070700F}"/>
                </a:ext>
              </a:extLst>
            </p:cNvPr>
            <p:cNvSpPr/>
            <p:nvPr userDrawn="1"/>
          </p:nvSpPr>
          <p:spPr>
            <a:xfrm>
              <a:off x="249328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9" name="Rechthoek 28">
              <a:extLst>
                <a:ext uri="{FF2B5EF4-FFF2-40B4-BE49-F238E27FC236}">
                  <a16:creationId xmlns:a16="http://schemas.microsoft.com/office/drawing/2014/main" id="{D61B622F-A3D5-CE42-8EEA-870260BC91B1}"/>
                </a:ext>
              </a:extLst>
            </p:cNvPr>
            <p:cNvSpPr/>
            <p:nvPr userDrawn="1"/>
          </p:nvSpPr>
          <p:spPr>
            <a:xfrm>
              <a:off x="177082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0" name="Rechthoek 29">
              <a:extLst>
                <a:ext uri="{FF2B5EF4-FFF2-40B4-BE49-F238E27FC236}">
                  <a16:creationId xmlns:a16="http://schemas.microsoft.com/office/drawing/2014/main" id="{5852AF2F-9B57-D94E-A125-0D32A32C0A0D}"/>
                </a:ext>
              </a:extLst>
            </p:cNvPr>
            <p:cNvSpPr/>
            <p:nvPr userDrawn="1"/>
          </p:nvSpPr>
          <p:spPr>
            <a:xfrm>
              <a:off x="213205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1" name="Rechthoek 30">
              <a:extLst>
                <a:ext uri="{FF2B5EF4-FFF2-40B4-BE49-F238E27FC236}">
                  <a16:creationId xmlns:a16="http://schemas.microsoft.com/office/drawing/2014/main" id="{EF097089-294E-804A-A1FD-3BFEB104C364}"/>
                </a:ext>
              </a:extLst>
            </p:cNvPr>
            <p:cNvSpPr/>
            <p:nvPr userDrawn="1"/>
          </p:nvSpPr>
          <p:spPr>
            <a:xfrm>
              <a:off x="140958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2" name="Rechthoek 31">
              <a:extLst>
                <a:ext uri="{FF2B5EF4-FFF2-40B4-BE49-F238E27FC236}">
                  <a16:creationId xmlns:a16="http://schemas.microsoft.com/office/drawing/2014/main" id="{8A1BCE83-3631-FA47-8832-C881A56CA072}"/>
                </a:ext>
              </a:extLst>
            </p:cNvPr>
            <p:cNvSpPr/>
            <p:nvPr userDrawn="1"/>
          </p:nvSpPr>
          <p:spPr>
            <a:xfrm>
              <a:off x="69118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3" name="Rechthoek 32">
              <a:extLst>
                <a:ext uri="{FF2B5EF4-FFF2-40B4-BE49-F238E27FC236}">
                  <a16:creationId xmlns:a16="http://schemas.microsoft.com/office/drawing/2014/main" id="{867C3A7B-7D33-604C-9DAC-C110ABC7D460}"/>
                </a:ext>
              </a:extLst>
            </p:cNvPr>
            <p:cNvSpPr/>
            <p:nvPr userDrawn="1"/>
          </p:nvSpPr>
          <p:spPr>
            <a:xfrm>
              <a:off x="105241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4" name="Rechthoek 33">
              <a:extLst>
                <a:ext uri="{FF2B5EF4-FFF2-40B4-BE49-F238E27FC236}">
                  <a16:creationId xmlns:a16="http://schemas.microsoft.com/office/drawing/2014/main" id="{63A364C2-49CA-4242-AD34-F6B352289A7D}"/>
                </a:ext>
              </a:extLst>
            </p:cNvPr>
            <p:cNvSpPr/>
            <p:nvPr userDrawn="1"/>
          </p:nvSpPr>
          <p:spPr>
            <a:xfrm>
              <a:off x="32995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0224041D-22CA-684D-9642-E5C38CB2C02F}"/>
                </a:ext>
              </a:extLst>
            </p:cNvPr>
            <p:cNvSpPr/>
            <p:nvPr userDrawn="1"/>
          </p:nvSpPr>
          <p:spPr>
            <a:xfrm>
              <a:off x="357406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BC591C27-0F26-434F-9232-B3B49B6B602C}"/>
                </a:ext>
              </a:extLst>
            </p:cNvPr>
            <p:cNvSpPr/>
            <p:nvPr userDrawn="1"/>
          </p:nvSpPr>
          <p:spPr>
            <a:xfrm>
              <a:off x="393715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685B2004-92A9-E147-873C-A793805A2B8F}"/>
                </a:ext>
              </a:extLst>
            </p:cNvPr>
            <p:cNvSpPr/>
            <p:nvPr userDrawn="1"/>
          </p:nvSpPr>
          <p:spPr>
            <a:xfrm>
              <a:off x="429706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6F1825D7-BD95-C444-AF68-0564250C5D43}"/>
                </a:ext>
              </a:extLst>
            </p:cNvPr>
            <p:cNvSpPr/>
            <p:nvPr userDrawn="1"/>
          </p:nvSpPr>
          <p:spPr>
            <a:xfrm>
              <a:off x="465856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8AAB4811-405B-0844-9130-D0653E27FCA6}"/>
                </a:ext>
              </a:extLst>
            </p:cNvPr>
            <p:cNvSpPr/>
            <p:nvPr userDrawn="1"/>
          </p:nvSpPr>
          <p:spPr>
            <a:xfrm>
              <a:off x="501847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0" name="Rechthoek 39">
              <a:extLst>
                <a:ext uri="{FF2B5EF4-FFF2-40B4-BE49-F238E27FC236}">
                  <a16:creationId xmlns:a16="http://schemas.microsoft.com/office/drawing/2014/main" id="{6AF8BD4E-36E4-834F-BD5F-637F301562AC}"/>
                </a:ext>
              </a:extLst>
            </p:cNvPr>
            <p:cNvSpPr/>
            <p:nvPr userDrawn="1"/>
          </p:nvSpPr>
          <p:spPr>
            <a:xfrm>
              <a:off x="537837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1" name="Rechthoek 40">
              <a:extLst>
                <a:ext uri="{FF2B5EF4-FFF2-40B4-BE49-F238E27FC236}">
                  <a16:creationId xmlns:a16="http://schemas.microsoft.com/office/drawing/2014/main" id="{D842C925-DA20-8741-9BFA-4C7DFB35671C}"/>
                </a:ext>
              </a:extLst>
            </p:cNvPr>
            <p:cNvSpPr/>
            <p:nvPr userDrawn="1"/>
          </p:nvSpPr>
          <p:spPr>
            <a:xfrm>
              <a:off x="5739878"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867C1841-2F4E-5F4D-93E1-83BF35C4C13E}"/>
                </a:ext>
              </a:extLst>
            </p:cNvPr>
            <p:cNvSpPr/>
            <p:nvPr userDrawn="1"/>
          </p:nvSpPr>
          <p:spPr>
            <a:xfrm>
              <a:off x="329951"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3" name="Rechthoek 42">
              <a:extLst>
                <a:ext uri="{FF2B5EF4-FFF2-40B4-BE49-F238E27FC236}">
                  <a16:creationId xmlns:a16="http://schemas.microsoft.com/office/drawing/2014/main" id="{D36C9464-149E-E840-B37C-92654CB35B01}"/>
                </a:ext>
              </a:extLst>
            </p:cNvPr>
            <p:cNvSpPr/>
            <p:nvPr userDrawn="1"/>
          </p:nvSpPr>
          <p:spPr>
            <a:xfrm>
              <a:off x="329951"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4" name="Rechthoek 43">
              <a:extLst>
                <a:ext uri="{FF2B5EF4-FFF2-40B4-BE49-F238E27FC236}">
                  <a16:creationId xmlns:a16="http://schemas.microsoft.com/office/drawing/2014/main" id="{426BB2EC-7872-DA44-9B6C-E9AD2835B899}"/>
                </a:ext>
              </a:extLst>
            </p:cNvPr>
            <p:cNvSpPr/>
            <p:nvPr userDrawn="1"/>
          </p:nvSpPr>
          <p:spPr>
            <a:xfrm>
              <a:off x="329951"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5" name="Rechthoek 44">
              <a:extLst>
                <a:ext uri="{FF2B5EF4-FFF2-40B4-BE49-F238E27FC236}">
                  <a16:creationId xmlns:a16="http://schemas.microsoft.com/office/drawing/2014/main" id="{A0BBDBD8-78CC-D241-A158-3926BAD27960}"/>
                </a:ext>
              </a:extLst>
            </p:cNvPr>
            <p:cNvSpPr/>
            <p:nvPr userDrawn="1"/>
          </p:nvSpPr>
          <p:spPr>
            <a:xfrm>
              <a:off x="329951"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6" name="Rechthoek 45">
              <a:extLst>
                <a:ext uri="{FF2B5EF4-FFF2-40B4-BE49-F238E27FC236}">
                  <a16:creationId xmlns:a16="http://schemas.microsoft.com/office/drawing/2014/main" id="{18433956-D786-C341-9E57-72FC9F57C6CB}"/>
                </a:ext>
              </a:extLst>
            </p:cNvPr>
            <p:cNvSpPr/>
            <p:nvPr userDrawn="1"/>
          </p:nvSpPr>
          <p:spPr>
            <a:xfrm>
              <a:off x="329951"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7" name="Rechthoek 46">
              <a:extLst>
                <a:ext uri="{FF2B5EF4-FFF2-40B4-BE49-F238E27FC236}">
                  <a16:creationId xmlns:a16="http://schemas.microsoft.com/office/drawing/2014/main" id="{A5C6C6AC-A9F0-354A-B242-408E4A9E891F}"/>
                </a:ext>
              </a:extLst>
            </p:cNvPr>
            <p:cNvSpPr/>
            <p:nvPr userDrawn="1"/>
          </p:nvSpPr>
          <p:spPr>
            <a:xfrm>
              <a:off x="329951"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2" name="Rechthoek 81">
              <a:extLst>
                <a:ext uri="{FF2B5EF4-FFF2-40B4-BE49-F238E27FC236}">
                  <a16:creationId xmlns:a16="http://schemas.microsoft.com/office/drawing/2014/main" id="{E6A0644F-40C8-C14A-8169-F63419052086}"/>
                </a:ext>
              </a:extLst>
            </p:cNvPr>
            <p:cNvSpPr/>
            <p:nvPr userDrawn="1"/>
          </p:nvSpPr>
          <p:spPr>
            <a:xfrm>
              <a:off x="8965386"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3" name="Rechthoek 82">
              <a:extLst>
                <a:ext uri="{FF2B5EF4-FFF2-40B4-BE49-F238E27FC236}">
                  <a16:creationId xmlns:a16="http://schemas.microsoft.com/office/drawing/2014/main" id="{6E13F0F0-1723-CE42-B9CA-7376B55235B5}"/>
                </a:ext>
              </a:extLst>
            </p:cNvPr>
            <p:cNvSpPr/>
            <p:nvPr userDrawn="1"/>
          </p:nvSpPr>
          <p:spPr>
            <a:xfrm>
              <a:off x="9325025"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DB586DA0-CEF5-8F45-BB2C-5864F673BF17}"/>
                </a:ext>
              </a:extLst>
            </p:cNvPr>
            <p:cNvSpPr/>
            <p:nvPr userDrawn="1"/>
          </p:nvSpPr>
          <p:spPr>
            <a:xfrm>
              <a:off x="8604154"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78B2C762-C507-A44D-B3EC-38C7C6A42348}"/>
                </a:ext>
              </a:extLst>
            </p:cNvPr>
            <p:cNvSpPr/>
            <p:nvPr userDrawn="1"/>
          </p:nvSpPr>
          <p:spPr>
            <a:xfrm>
              <a:off x="7881689"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ED92E93C-3E71-CC4C-A27A-CD4D73694C1B}"/>
                </a:ext>
              </a:extLst>
            </p:cNvPr>
            <p:cNvSpPr/>
            <p:nvPr userDrawn="1"/>
          </p:nvSpPr>
          <p:spPr>
            <a:xfrm>
              <a:off x="8242921"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BB9F3F59-D62D-DC41-847E-0E14AAA27219}"/>
                </a:ext>
              </a:extLst>
            </p:cNvPr>
            <p:cNvSpPr/>
            <p:nvPr userDrawn="1"/>
          </p:nvSpPr>
          <p:spPr>
            <a:xfrm>
              <a:off x="752045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12783E87-3F54-C64F-AF36-4A2C68FEE93F}"/>
                </a:ext>
              </a:extLst>
            </p:cNvPr>
            <p:cNvSpPr/>
            <p:nvPr userDrawn="1"/>
          </p:nvSpPr>
          <p:spPr>
            <a:xfrm>
              <a:off x="7163284"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ED4B4EB4-0C4E-7641-B877-96DE17754862}"/>
                </a:ext>
              </a:extLst>
            </p:cNvPr>
            <p:cNvSpPr/>
            <p:nvPr userDrawn="1"/>
          </p:nvSpPr>
          <p:spPr>
            <a:xfrm>
              <a:off x="9684933"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0" name="Rechthoek 89">
              <a:extLst>
                <a:ext uri="{FF2B5EF4-FFF2-40B4-BE49-F238E27FC236}">
                  <a16:creationId xmlns:a16="http://schemas.microsoft.com/office/drawing/2014/main" id="{EDFDE497-8166-A04D-BEE1-86357DDA4B73}"/>
                </a:ext>
              </a:extLst>
            </p:cNvPr>
            <p:cNvSpPr/>
            <p:nvPr userDrawn="1"/>
          </p:nvSpPr>
          <p:spPr>
            <a:xfrm>
              <a:off x="10048025"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1" name="Rechthoek 90">
              <a:extLst>
                <a:ext uri="{FF2B5EF4-FFF2-40B4-BE49-F238E27FC236}">
                  <a16:creationId xmlns:a16="http://schemas.microsoft.com/office/drawing/2014/main" id="{DD9CE7CC-9025-3B4C-B6B4-A0370628439F}"/>
                </a:ext>
              </a:extLst>
            </p:cNvPr>
            <p:cNvSpPr/>
            <p:nvPr userDrawn="1"/>
          </p:nvSpPr>
          <p:spPr>
            <a:xfrm>
              <a:off x="10407932"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20DFEA39-B3EE-E64F-B8F5-A7A8D8401FB3}"/>
                </a:ext>
              </a:extLst>
            </p:cNvPr>
            <p:cNvSpPr/>
            <p:nvPr userDrawn="1"/>
          </p:nvSpPr>
          <p:spPr>
            <a:xfrm>
              <a:off x="10769432"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3" name="Rechthoek 92">
              <a:extLst>
                <a:ext uri="{FF2B5EF4-FFF2-40B4-BE49-F238E27FC236}">
                  <a16:creationId xmlns:a16="http://schemas.microsoft.com/office/drawing/2014/main" id="{FE5804BC-0BB4-5A4D-97EE-8FF4CF75251C}"/>
                </a:ext>
              </a:extLst>
            </p:cNvPr>
            <p:cNvSpPr/>
            <p:nvPr userDrawn="1"/>
          </p:nvSpPr>
          <p:spPr>
            <a:xfrm>
              <a:off x="11129340"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4" name="Rechthoek 93">
              <a:extLst>
                <a:ext uri="{FF2B5EF4-FFF2-40B4-BE49-F238E27FC236}">
                  <a16:creationId xmlns:a16="http://schemas.microsoft.com/office/drawing/2014/main" id="{54C802C4-7D49-924E-B9C7-9BA936409D44}"/>
                </a:ext>
              </a:extLst>
            </p:cNvPr>
            <p:cNvSpPr/>
            <p:nvPr userDrawn="1"/>
          </p:nvSpPr>
          <p:spPr>
            <a:xfrm>
              <a:off x="1148924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5" name="Rechthoek 94">
              <a:extLst>
                <a:ext uri="{FF2B5EF4-FFF2-40B4-BE49-F238E27FC236}">
                  <a16:creationId xmlns:a16="http://schemas.microsoft.com/office/drawing/2014/main" id="{8AD57B08-85DD-F54A-AF03-D2959D4D09D5}"/>
                </a:ext>
              </a:extLst>
            </p:cNvPr>
            <p:cNvSpPr/>
            <p:nvPr userDrawn="1"/>
          </p:nvSpPr>
          <p:spPr>
            <a:xfrm>
              <a:off x="11850747" y="81995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6" name="Rechthoek 95">
              <a:extLst>
                <a:ext uri="{FF2B5EF4-FFF2-40B4-BE49-F238E27FC236}">
                  <a16:creationId xmlns:a16="http://schemas.microsoft.com/office/drawing/2014/main" id="{603D261E-0CA4-6940-B826-ADA38969AB84}"/>
                </a:ext>
              </a:extLst>
            </p:cNvPr>
            <p:cNvSpPr/>
            <p:nvPr userDrawn="1"/>
          </p:nvSpPr>
          <p:spPr>
            <a:xfrm>
              <a:off x="8965386"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7" name="Rechthoek 96">
              <a:extLst>
                <a:ext uri="{FF2B5EF4-FFF2-40B4-BE49-F238E27FC236}">
                  <a16:creationId xmlns:a16="http://schemas.microsoft.com/office/drawing/2014/main" id="{D3566BFA-ABB5-CB42-A675-016C19699B28}"/>
                </a:ext>
              </a:extLst>
            </p:cNvPr>
            <p:cNvSpPr/>
            <p:nvPr userDrawn="1"/>
          </p:nvSpPr>
          <p:spPr>
            <a:xfrm>
              <a:off x="9325025"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8" name="Rechthoek 97">
              <a:extLst>
                <a:ext uri="{FF2B5EF4-FFF2-40B4-BE49-F238E27FC236}">
                  <a16:creationId xmlns:a16="http://schemas.microsoft.com/office/drawing/2014/main" id="{6A46C681-2FFA-7F47-9509-6B109917CA74}"/>
                </a:ext>
              </a:extLst>
            </p:cNvPr>
            <p:cNvSpPr/>
            <p:nvPr userDrawn="1"/>
          </p:nvSpPr>
          <p:spPr>
            <a:xfrm>
              <a:off x="8604154"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9" name="Rechthoek 98">
              <a:extLst>
                <a:ext uri="{FF2B5EF4-FFF2-40B4-BE49-F238E27FC236}">
                  <a16:creationId xmlns:a16="http://schemas.microsoft.com/office/drawing/2014/main" id="{CE01AD20-EAD5-244E-9FB4-3E964131472F}"/>
                </a:ext>
              </a:extLst>
            </p:cNvPr>
            <p:cNvSpPr/>
            <p:nvPr userDrawn="1"/>
          </p:nvSpPr>
          <p:spPr>
            <a:xfrm>
              <a:off x="7881689"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0" name="Rechthoek 99">
              <a:extLst>
                <a:ext uri="{FF2B5EF4-FFF2-40B4-BE49-F238E27FC236}">
                  <a16:creationId xmlns:a16="http://schemas.microsoft.com/office/drawing/2014/main" id="{72416B84-D4E9-EC47-9DAC-90AFD3D8B7A1}"/>
                </a:ext>
              </a:extLst>
            </p:cNvPr>
            <p:cNvSpPr/>
            <p:nvPr userDrawn="1"/>
          </p:nvSpPr>
          <p:spPr>
            <a:xfrm>
              <a:off x="8242921"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1" name="Rechthoek 100">
              <a:extLst>
                <a:ext uri="{FF2B5EF4-FFF2-40B4-BE49-F238E27FC236}">
                  <a16:creationId xmlns:a16="http://schemas.microsoft.com/office/drawing/2014/main" id="{7BF2F730-1518-E544-BA6F-3ED3B171C113}"/>
                </a:ext>
              </a:extLst>
            </p:cNvPr>
            <p:cNvSpPr/>
            <p:nvPr userDrawn="1"/>
          </p:nvSpPr>
          <p:spPr>
            <a:xfrm>
              <a:off x="752045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2" name="Rechthoek 101">
              <a:extLst>
                <a:ext uri="{FF2B5EF4-FFF2-40B4-BE49-F238E27FC236}">
                  <a16:creationId xmlns:a16="http://schemas.microsoft.com/office/drawing/2014/main" id="{2D7A400B-C2A5-C34A-9BC3-2279286DA92A}"/>
                </a:ext>
              </a:extLst>
            </p:cNvPr>
            <p:cNvSpPr/>
            <p:nvPr userDrawn="1"/>
          </p:nvSpPr>
          <p:spPr>
            <a:xfrm>
              <a:off x="7163284"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3" name="Rechthoek 102">
              <a:extLst>
                <a:ext uri="{FF2B5EF4-FFF2-40B4-BE49-F238E27FC236}">
                  <a16:creationId xmlns:a16="http://schemas.microsoft.com/office/drawing/2014/main" id="{12F8B4C0-A36A-6646-8298-1CB15F5F12B5}"/>
                </a:ext>
              </a:extLst>
            </p:cNvPr>
            <p:cNvSpPr/>
            <p:nvPr userDrawn="1"/>
          </p:nvSpPr>
          <p:spPr>
            <a:xfrm>
              <a:off x="9684933"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4" name="Rechthoek 103">
              <a:extLst>
                <a:ext uri="{FF2B5EF4-FFF2-40B4-BE49-F238E27FC236}">
                  <a16:creationId xmlns:a16="http://schemas.microsoft.com/office/drawing/2014/main" id="{811174C9-839E-BE43-9709-8739DC809FA4}"/>
                </a:ext>
              </a:extLst>
            </p:cNvPr>
            <p:cNvSpPr/>
            <p:nvPr userDrawn="1"/>
          </p:nvSpPr>
          <p:spPr>
            <a:xfrm>
              <a:off x="10048025"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5" name="Rechthoek 104">
              <a:extLst>
                <a:ext uri="{FF2B5EF4-FFF2-40B4-BE49-F238E27FC236}">
                  <a16:creationId xmlns:a16="http://schemas.microsoft.com/office/drawing/2014/main" id="{A71C28B0-AFC9-2E4D-B4C6-A9898B7FB23B}"/>
                </a:ext>
              </a:extLst>
            </p:cNvPr>
            <p:cNvSpPr/>
            <p:nvPr userDrawn="1"/>
          </p:nvSpPr>
          <p:spPr>
            <a:xfrm>
              <a:off x="10407932"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6" name="Rechthoek 105">
              <a:extLst>
                <a:ext uri="{FF2B5EF4-FFF2-40B4-BE49-F238E27FC236}">
                  <a16:creationId xmlns:a16="http://schemas.microsoft.com/office/drawing/2014/main" id="{59F783A9-873B-B944-8DC9-7BFA18B99C40}"/>
                </a:ext>
              </a:extLst>
            </p:cNvPr>
            <p:cNvSpPr/>
            <p:nvPr userDrawn="1"/>
          </p:nvSpPr>
          <p:spPr>
            <a:xfrm>
              <a:off x="10769432"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7" name="Rechthoek 106">
              <a:extLst>
                <a:ext uri="{FF2B5EF4-FFF2-40B4-BE49-F238E27FC236}">
                  <a16:creationId xmlns:a16="http://schemas.microsoft.com/office/drawing/2014/main" id="{79FC56FA-DAEC-BA46-8DA5-D155B6BFCFCA}"/>
                </a:ext>
              </a:extLst>
            </p:cNvPr>
            <p:cNvSpPr/>
            <p:nvPr userDrawn="1"/>
          </p:nvSpPr>
          <p:spPr>
            <a:xfrm>
              <a:off x="11129340"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8" name="Rechthoek 107">
              <a:extLst>
                <a:ext uri="{FF2B5EF4-FFF2-40B4-BE49-F238E27FC236}">
                  <a16:creationId xmlns:a16="http://schemas.microsoft.com/office/drawing/2014/main" id="{D9878764-2E23-E646-9713-0E464E1ADCCC}"/>
                </a:ext>
              </a:extLst>
            </p:cNvPr>
            <p:cNvSpPr/>
            <p:nvPr userDrawn="1"/>
          </p:nvSpPr>
          <p:spPr>
            <a:xfrm>
              <a:off x="1148924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09" name="Rechthoek 108">
              <a:extLst>
                <a:ext uri="{FF2B5EF4-FFF2-40B4-BE49-F238E27FC236}">
                  <a16:creationId xmlns:a16="http://schemas.microsoft.com/office/drawing/2014/main" id="{81DF3E2F-4F6A-A145-B9E2-1C9E8CF1FE19}"/>
                </a:ext>
              </a:extLst>
            </p:cNvPr>
            <p:cNvSpPr/>
            <p:nvPr userDrawn="1"/>
          </p:nvSpPr>
          <p:spPr>
            <a:xfrm>
              <a:off x="11850747" y="45650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0" name="Rechthoek 109">
              <a:extLst>
                <a:ext uri="{FF2B5EF4-FFF2-40B4-BE49-F238E27FC236}">
                  <a16:creationId xmlns:a16="http://schemas.microsoft.com/office/drawing/2014/main" id="{204952F0-E1F4-134F-A479-5A1EBED97557}"/>
                </a:ext>
              </a:extLst>
            </p:cNvPr>
            <p:cNvSpPr/>
            <p:nvPr userDrawn="1"/>
          </p:nvSpPr>
          <p:spPr>
            <a:xfrm>
              <a:off x="8965386"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1" name="Rechthoek 110">
              <a:extLst>
                <a:ext uri="{FF2B5EF4-FFF2-40B4-BE49-F238E27FC236}">
                  <a16:creationId xmlns:a16="http://schemas.microsoft.com/office/drawing/2014/main" id="{D8BB9E83-4A91-7846-BEFA-476A8AE72C74}"/>
                </a:ext>
              </a:extLst>
            </p:cNvPr>
            <p:cNvSpPr/>
            <p:nvPr userDrawn="1"/>
          </p:nvSpPr>
          <p:spPr>
            <a:xfrm>
              <a:off x="932502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2" name="Rechthoek 111">
              <a:extLst>
                <a:ext uri="{FF2B5EF4-FFF2-40B4-BE49-F238E27FC236}">
                  <a16:creationId xmlns:a16="http://schemas.microsoft.com/office/drawing/2014/main" id="{5F8B08DB-F14E-3048-9E94-9DFF22887BFC}"/>
                </a:ext>
              </a:extLst>
            </p:cNvPr>
            <p:cNvSpPr/>
            <p:nvPr userDrawn="1"/>
          </p:nvSpPr>
          <p:spPr>
            <a:xfrm>
              <a:off x="860415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3" name="Rechthoek 112">
              <a:extLst>
                <a:ext uri="{FF2B5EF4-FFF2-40B4-BE49-F238E27FC236}">
                  <a16:creationId xmlns:a16="http://schemas.microsoft.com/office/drawing/2014/main" id="{0881A577-845D-124F-9D4B-B93D9E88BB8F}"/>
                </a:ext>
              </a:extLst>
            </p:cNvPr>
            <p:cNvSpPr/>
            <p:nvPr userDrawn="1"/>
          </p:nvSpPr>
          <p:spPr>
            <a:xfrm>
              <a:off x="7881689"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4" name="Rechthoek 113">
              <a:extLst>
                <a:ext uri="{FF2B5EF4-FFF2-40B4-BE49-F238E27FC236}">
                  <a16:creationId xmlns:a16="http://schemas.microsoft.com/office/drawing/2014/main" id="{9DBDB731-13C9-ED4C-AF1E-2602566EC156}"/>
                </a:ext>
              </a:extLst>
            </p:cNvPr>
            <p:cNvSpPr/>
            <p:nvPr userDrawn="1"/>
          </p:nvSpPr>
          <p:spPr>
            <a:xfrm>
              <a:off x="8242921"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5" name="Rechthoek 114">
              <a:extLst>
                <a:ext uri="{FF2B5EF4-FFF2-40B4-BE49-F238E27FC236}">
                  <a16:creationId xmlns:a16="http://schemas.microsoft.com/office/drawing/2014/main" id="{DE386F2E-8A42-5541-9342-576376B2F440}"/>
                </a:ext>
              </a:extLst>
            </p:cNvPr>
            <p:cNvSpPr/>
            <p:nvPr userDrawn="1"/>
          </p:nvSpPr>
          <p:spPr>
            <a:xfrm>
              <a:off x="752045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6" name="Rechthoek 115">
              <a:extLst>
                <a:ext uri="{FF2B5EF4-FFF2-40B4-BE49-F238E27FC236}">
                  <a16:creationId xmlns:a16="http://schemas.microsoft.com/office/drawing/2014/main" id="{D81E282B-0C98-4344-A639-BCE6C2AA1D4C}"/>
                </a:ext>
              </a:extLst>
            </p:cNvPr>
            <p:cNvSpPr/>
            <p:nvPr userDrawn="1"/>
          </p:nvSpPr>
          <p:spPr>
            <a:xfrm>
              <a:off x="680205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7" name="Rechthoek 116">
              <a:extLst>
                <a:ext uri="{FF2B5EF4-FFF2-40B4-BE49-F238E27FC236}">
                  <a16:creationId xmlns:a16="http://schemas.microsoft.com/office/drawing/2014/main" id="{DCBF5B49-9F84-A446-BE26-C5DC410A8605}"/>
                </a:ext>
              </a:extLst>
            </p:cNvPr>
            <p:cNvSpPr/>
            <p:nvPr userDrawn="1"/>
          </p:nvSpPr>
          <p:spPr>
            <a:xfrm>
              <a:off x="7163284"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8" name="Rechthoek 117">
              <a:extLst>
                <a:ext uri="{FF2B5EF4-FFF2-40B4-BE49-F238E27FC236}">
                  <a16:creationId xmlns:a16="http://schemas.microsoft.com/office/drawing/2014/main" id="{3A38DB5C-3B04-7B4E-881C-DBE9A7514D86}"/>
                </a:ext>
              </a:extLst>
            </p:cNvPr>
            <p:cNvSpPr/>
            <p:nvPr userDrawn="1"/>
          </p:nvSpPr>
          <p:spPr>
            <a:xfrm>
              <a:off x="644082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9" name="Rechthoek 118">
              <a:extLst>
                <a:ext uri="{FF2B5EF4-FFF2-40B4-BE49-F238E27FC236}">
                  <a16:creationId xmlns:a16="http://schemas.microsoft.com/office/drawing/2014/main" id="{47619A73-A93A-4D4B-9152-6DAD5347B744}"/>
                </a:ext>
              </a:extLst>
            </p:cNvPr>
            <p:cNvSpPr/>
            <p:nvPr userDrawn="1"/>
          </p:nvSpPr>
          <p:spPr>
            <a:xfrm>
              <a:off x="60836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0" name="Rechthoek 119">
              <a:extLst>
                <a:ext uri="{FF2B5EF4-FFF2-40B4-BE49-F238E27FC236}">
                  <a16:creationId xmlns:a16="http://schemas.microsoft.com/office/drawing/2014/main" id="{06E77A45-CC03-034A-B0EF-FF1E65BEDFB2}"/>
                </a:ext>
              </a:extLst>
            </p:cNvPr>
            <p:cNvSpPr/>
            <p:nvPr userDrawn="1"/>
          </p:nvSpPr>
          <p:spPr>
            <a:xfrm>
              <a:off x="9684933"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1" name="Rechthoek 120">
              <a:extLst>
                <a:ext uri="{FF2B5EF4-FFF2-40B4-BE49-F238E27FC236}">
                  <a16:creationId xmlns:a16="http://schemas.microsoft.com/office/drawing/2014/main" id="{7B40D71F-2F76-E248-8729-F65150474167}"/>
                </a:ext>
              </a:extLst>
            </p:cNvPr>
            <p:cNvSpPr/>
            <p:nvPr userDrawn="1"/>
          </p:nvSpPr>
          <p:spPr>
            <a:xfrm>
              <a:off x="10048025"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2" name="Rechthoek 121">
              <a:extLst>
                <a:ext uri="{FF2B5EF4-FFF2-40B4-BE49-F238E27FC236}">
                  <a16:creationId xmlns:a16="http://schemas.microsoft.com/office/drawing/2014/main" id="{E6441020-C482-844D-9C02-CD69B3C5B168}"/>
                </a:ext>
              </a:extLst>
            </p:cNvPr>
            <p:cNvSpPr/>
            <p:nvPr userDrawn="1"/>
          </p:nvSpPr>
          <p:spPr>
            <a:xfrm>
              <a:off x="1040793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3" name="Rechthoek 122">
              <a:extLst>
                <a:ext uri="{FF2B5EF4-FFF2-40B4-BE49-F238E27FC236}">
                  <a16:creationId xmlns:a16="http://schemas.microsoft.com/office/drawing/2014/main" id="{D72AD4BD-048E-4B4B-BC87-48255EB6EE25}"/>
                </a:ext>
              </a:extLst>
            </p:cNvPr>
            <p:cNvSpPr/>
            <p:nvPr userDrawn="1"/>
          </p:nvSpPr>
          <p:spPr>
            <a:xfrm>
              <a:off x="10769432"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4" name="Rechthoek 123">
              <a:extLst>
                <a:ext uri="{FF2B5EF4-FFF2-40B4-BE49-F238E27FC236}">
                  <a16:creationId xmlns:a16="http://schemas.microsoft.com/office/drawing/2014/main" id="{DDE0839B-508E-9445-8A44-9F6489377919}"/>
                </a:ext>
              </a:extLst>
            </p:cNvPr>
            <p:cNvSpPr/>
            <p:nvPr userDrawn="1"/>
          </p:nvSpPr>
          <p:spPr>
            <a:xfrm>
              <a:off x="11129340"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5" name="Rechthoek 124">
              <a:extLst>
                <a:ext uri="{FF2B5EF4-FFF2-40B4-BE49-F238E27FC236}">
                  <a16:creationId xmlns:a16="http://schemas.microsoft.com/office/drawing/2014/main" id="{F9BC5FD0-87DE-FE4E-86EA-87399CC5F910}"/>
                </a:ext>
              </a:extLst>
            </p:cNvPr>
            <p:cNvSpPr/>
            <p:nvPr userDrawn="1"/>
          </p:nvSpPr>
          <p:spPr>
            <a:xfrm>
              <a:off x="114892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6" name="Rechthoek 125">
              <a:extLst>
                <a:ext uri="{FF2B5EF4-FFF2-40B4-BE49-F238E27FC236}">
                  <a16:creationId xmlns:a16="http://schemas.microsoft.com/office/drawing/2014/main" id="{64B37F64-86AA-E241-903E-2C9D1C3AE3CD}"/>
                </a:ext>
              </a:extLst>
            </p:cNvPr>
            <p:cNvSpPr/>
            <p:nvPr userDrawn="1"/>
          </p:nvSpPr>
          <p:spPr>
            <a:xfrm>
              <a:off x="11850747" y="96343"/>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7" name="Rechthoek 126">
              <a:extLst>
                <a:ext uri="{FF2B5EF4-FFF2-40B4-BE49-F238E27FC236}">
                  <a16:creationId xmlns:a16="http://schemas.microsoft.com/office/drawing/2014/main" id="{D6F9C76D-913A-4F4D-BB1C-46334D7BC3C3}"/>
                </a:ext>
              </a:extLst>
            </p:cNvPr>
            <p:cNvSpPr/>
            <p:nvPr userDrawn="1"/>
          </p:nvSpPr>
          <p:spPr>
            <a:xfrm>
              <a:off x="8965386"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8" name="Rechthoek 127">
              <a:extLst>
                <a:ext uri="{FF2B5EF4-FFF2-40B4-BE49-F238E27FC236}">
                  <a16:creationId xmlns:a16="http://schemas.microsoft.com/office/drawing/2014/main" id="{423D77CD-4F96-AC4A-A8C1-D7F2B54ABBF8}"/>
                </a:ext>
              </a:extLst>
            </p:cNvPr>
            <p:cNvSpPr/>
            <p:nvPr userDrawn="1"/>
          </p:nvSpPr>
          <p:spPr>
            <a:xfrm>
              <a:off x="9325025"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9" name="Rechthoek 128">
              <a:extLst>
                <a:ext uri="{FF2B5EF4-FFF2-40B4-BE49-F238E27FC236}">
                  <a16:creationId xmlns:a16="http://schemas.microsoft.com/office/drawing/2014/main" id="{96CC7068-6254-C54A-BEB5-51C2A310CA50}"/>
                </a:ext>
              </a:extLst>
            </p:cNvPr>
            <p:cNvSpPr/>
            <p:nvPr userDrawn="1"/>
          </p:nvSpPr>
          <p:spPr>
            <a:xfrm>
              <a:off x="8604154"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0" name="Rechthoek 129">
              <a:extLst>
                <a:ext uri="{FF2B5EF4-FFF2-40B4-BE49-F238E27FC236}">
                  <a16:creationId xmlns:a16="http://schemas.microsoft.com/office/drawing/2014/main" id="{32C1DC85-D66B-5D41-AFB5-F18753916B11}"/>
                </a:ext>
              </a:extLst>
            </p:cNvPr>
            <p:cNvSpPr/>
            <p:nvPr userDrawn="1"/>
          </p:nvSpPr>
          <p:spPr>
            <a:xfrm>
              <a:off x="7881689"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1" name="Rechthoek 130">
              <a:extLst>
                <a:ext uri="{FF2B5EF4-FFF2-40B4-BE49-F238E27FC236}">
                  <a16:creationId xmlns:a16="http://schemas.microsoft.com/office/drawing/2014/main" id="{1B4F8D9A-4D4D-EC4C-9413-45DF214A0474}"/>
                </a:ext>
              </a:extLst>
            </p:cNvPr>
            <p:cNvSpPr/>
            <p:nvPr userDrawn="1"/>
          </p:nvSpPr>
          <p:spPr>
            <a:xfrm>
              <a:off x="8242921"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2" name="Rechthoek 131">
              <a:extLst>
                <a:ext uri="{FF2B5EF4-FFF2-40B4-BE49-F238E27FC236}">
                  <a16:creationId xmlns:a16="http://schemas.microsoft.com/office/drawing/2014/main" id="{4093579C-19A2-4E4D-A844-6277E22A9306}"/>
                </a:ext>
              </a:extLst>
            </p:cNvPr>
            <p:cNvSpPr/>
            <p:nvPr userDrawn="1"/>
          </p:nvSpPr>
          <p:spPr>
            <a:xfrm>
              <a:off x="752045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3" name="Rechthoek 132">
              <a:extLst>
                <a:ext uri="{FF2B5EF4-FFF2-40B4-BE49-F238E27FC236}">
                  <a16:creationId xmlns:a16="http://schemas.microsoft.com/office/drawing/2014/main" id="{97697038-67E8-6C48-AC78-8199E64F0973}"/>
                </a:ext>
              </a:extLst>
            </p:cNvPr>
            <p:cNvSpPr/>
            <p:nvPr userDrawn="1"/>
          </p:nvSpPr>
          <p:spPr>
            <a:xfrm>
              <a:off x="7163284"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4" name="Rechthoek 133">
              <a:extLst>
                <a:ext uri="{FF2B5EF4-FFF2-40B4-BE49-F238E27FC236}">
                  <a16:creationId xmlns:a16="http://schemas.microsoft.com/office/drawing/2014/main" id="{4E31C8D5-CD0A-A341-8CB5-FFAA2AC3496E}"/>
                </a:ext>
              </a:extLst>
            </p:cNvPr>
            <p:cNvSpPr/>
            <p:nvPr userDrawn="1"/>
          </p:nvSpPr>
          <p:spPr>
            <a:xfrm>
              <a:off x="9684933"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5" name="Rechthoek 134">
              <a:extLst>
                <a:ext uri="{FF2B5EF4-FFF2-40B4-BE49-F238E27FC236}">
                  <a16:creationId xmlns:a16="http://schemas.microsoft.com/office/drawing/2014/main" id="{9DBFF5BD-0B8A-8F46-BE32-EAC13F292926}"/>
                </a:ext>
              </a:extLst>
            </p:cNvPr>
            <p:cNvSpPr/>
            <p:nvPr userDrawn="1"/>
          </p:nvSpPr>
          <p:spPr>
            <a:xfrm>
              <a:off x="10048025"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6" name="Rechthoek 135">
              <a:extLst>
                <a:ext uri="{FF2B5EF4-FFF2-40B4-BE49-F238E27FC236}">
                  <a16:creationId xmlns:a16="http://schemas.microsoft.com/office/drawing/2014/main" id="{7FDAB8BF-00BA-E247-AD24-02A69165F7A4}"/>
                </a:ext>
              </a:extLst>
            </p:cNvPr>
            <p:cNvSpPr/>
            <p:nvPr userDrawn="1"/>
          </p:nvSpPr>
          <p:spPr>
            <a:xfrm>
              <a:off x="10407932"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7" name="Rechthoek 136">
              <a:extLst>
                <a:ext uri="{FF2B5EF4-FFF2-40B4-BE49-F238E27FC236}">
                  <a16:creationId xmlns:a16="http://schemas.microsoft.com/office/drawing/2014/main" id="{E24D2D81-467E-3C40-8336-19EB7407F0F4}"/>
                </a:ext>
              </a:extLst>
            </p:cNvPr>
            <p:cNvSpPr/>
            <p:nvPr userDrawn="1"/>
          </p:nvSpPr>
          <p:spPr>
            <a:xfrm>
              <a:off x="10769432"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8" name="Rechthoek 137">
              <a:extLst>
                <a:ext uri="{FF2B5EF4-FFF2-40B4-BE49-F238E27FC236}">
                  <a16:creationId xmlns:a16="http://schemas.microsoft.com/office/drawing/2014/main" id="{88F658E2-F364-AB4C-897E-6E8688BF6171}"/>
                </a:ext>
              </a:extLst>
            </p:cNvPr>
            <p:cNvSpPr/>
            <p:nvPr userDrawn="1"/>
          </p:nvSpPr>
          <p:spPr>
            <a:xfrm>
              <a:off x="11129340"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9" name="Rechthoek 138">
              <a:extLst>
                <a:ext uri="{FF2B5EF4-FFF2-40B4-BE49-F238E27FC236}">
                  <a16:creationId xmlns:a16="http://schemas.microsoft.com/office/drawing/2014/main" id="{7917C825-4BA2-D047-A360-6103ED076A1B}"/>
                </a:ext>
              </a:extLst>
            </p:cNvPr>
            <p:cNvSpPr/>
            <p:nvPr userDrawn="1"/>
          </p:nvSpPr>
          <p:spPr>
            <a:xfrm>
              <a:off x="1148924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0" name="Rechthoek 139">
              <a:extLst>
                <a:ext uri="{FF2B5EF4-FFF2-40B4-BE49-F238E27FC236}">
                  <a16:creationId xmlns:a16="http://schemas.microsoft.com/office/drawing/2014/main" id="{1B5BF9B8-8992-834E-8A1B-88D911FA0C4E}"/>
                </a:ext>
              </a:extLst>
            </p:cNvPr>
            <p:cNvSpPr/>
            <p:nvPr userDrawn="1"/>
          </p:nvSpPr>
          <p:spPr>
            <a:xfrm>
              <a:off x="11850747" y="1901367"/>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1" name="Rechthoek 140">
              <a:extLst>
                <a:ext uri="{FF2B5EF4-FFF2-40B4-BE49-F238E27FC236}">
                  <a16:creationId xmlns:a16="http://schemas.microsoft.com/office/drawing/2014/main" id="{E811603B-4BAA-A245-9D33-2A3F0E035ACF}"/>
                </a:ext>
              </a:extLst>
            </p:cNvPr>
            <p:cNvSpPr/>
            <p:nvPr userDrawn="1"/>
          </p:nvSpPr>
          <p:spPr>
            <a:xfrm>
              <a:off x="8965386"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2" name="Rechthoek 141">
              <a:extLst>
                <a:ext uri="{FF2B5EF4-FFF2-40B4-BE49-F238E27FC236}">
                  <a16:creationId xmlns:a16="http://schemas.microsoft.com/office/drawing/2014/main" id="{A9C56408-DAAE-F14E-A958-914FC69E03D2}"/>
                </a:ext>
              </a:extLst>
            </p:cNvPr>
            <p:cNvSpPr/>
            <p:nvPr userDrawn="1"/>
          </p:nvSpPr>
          <p:spPr>
            <a:xfrm>
              <a:off x="9325025"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3" name="Rechthoek 142">
              <a:extLst>
                <a:ext uri="{FF2B5EF4-FFF2-40B4-BE49-F238E27FC236}">
                  <a16:creationId xmlns:a16="http://schemas.microsoft.com/office/drawing/2014/main" id="{3BB9DE46-6A30-7643-B62A-90D2B6661501}"/>
                </a:ext>
              </a:extLst>
            </p:cNvPr>
            <p:cNvSpPr/>
            <p:nvPr userDrawn="1"/>
          </p:nvSpPr>
          <p:spPr>
            <a:xfrm>
              <a:off x="8604154"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4" name="Rechthoek 143">
              <a:extLst>
                <a:ext uri="{FF2B5EF4-FFF2-40B4-BE49-F238E27FC236}">
                  <a16:creationId xmlns:a16="http://schemas.microsoft.com/office/drawing/2014/main" id="{BD1023B3-FA66-5A4B-9DC5-C70D27FB8073}"/>
                </a:ext>
              </a:extLst>
            </p:cNvPr>
            <p:cNvSpPr/>
            <p:nvPr userDrawn="1"/>
          </p:nvSpPr>
          <p:spPr>
            <a:xfrm>
              <a:off x="7881689"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5" name="Rechthoek 144">
              <a:extLst>
                <a:ext uri="{FF2B5EF4-FFF2-40B4-BE49-F238E27FC236}">
                  <a16:creationId xmlns:a16="http://schemas.microsoft.com/office/drawing/2014/main" id="{D5DD5257-A2F7-4F4D-AF92-7C22C2888562}"/>
                </a:ext>
              </a:extLst>
            </p:cNvPr>
            <p:cNvSpPr/>
            <p:nvPr userDrawn="1"/>
          </p:nvSpPr>
          <p:spPr>
            <a:xfrm>
              <a:off x="8242921"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6" name="Rechthoek 145">
              <a:extLst>
                <a:ext uri="{FF2B5EF4-FFF2-40B4-BE49-F238E27FC236}">
                  <a16:creationId xmlns:a16="http://schemas.microsoft.com/office/drawing/2014/main" id="{1E37FED7-16B9-6342-BFAB-FB9736D33C38}"/>
                </a:ext>
              </a:extLst>
            </p:cNvPr>
            <p:cNvSpPr/>
            <p:nvPr userDrawn="1"/>
          </p:nvSpPr>
          <p:spPr>
            <a:xfrm>
              <a:off x="752045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7" name="Rechthoek 146">
              <a:extLst>
                <a:ext uri="{FF2B5EF4-FFF2-40B4-BE49-F238E27FC236}">
                  <a16:creationId xmlns:a16="http://schemas.microsoft.com/office/drawing/2014/main" id="{7B6A5640-2096-E24F-903D-F5A702A35856}"/>
                </a:ext>
              </a:extLst>
            </p:cNvPr>
            <p:cNvSpPr/>
            <p:nvPr userDrawn="1"/>
          </p:nvSpPr>
          <p:spPr>
            <a:xfrm>
              <a:off x="7163284"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8" name="Rechthoek 147">
              <a:extLst>
                <a:ext uri="{FF2B5EF4-FFF2-40B4-BE49-F238E27FC236}">
                  <a16:creationId xmlns:a16="http://schemas.microsoft.com/office/drawing/2014/main" id="{4589485F-8807-4F43-AA6E-6F4798DC7EE1}"/>
                </a:ext>
              </a:extLst>
            </p:cNvPr>
            <p:cNvSpPr/>
            <p:nvPr userDrawn="1"/>
          </p:nvSpPr>
          <p:spPr>
            <a:xfrm>
              <a:off x="9684933"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9" name="Rechthoek 148">
              <a:extLst>
                <a:ext uri="{FF2B5EF4-FFF2-40B4-BE49-F238E27FC236}">
                  <a16:creationId xmlns:a16="http://schemas.microsoft.com/office/drawing/2014/main" id="{9EF48A83-6F18-C041-ABF1-81DB430C9503}"/>
                </a:ext>
              </a:extLst>
            </p:cNvPr>
            <p:cNvSpPr/>
            <p:nvPr userDrawn="1"/>
          </p:nvSpPr>
          <p:spPr>
            <a:xfrm>
              <a:off x="10048025"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0" name="Rechthoek 149">
              <a:extLst>
                <a:ext uri="{FF2B5EF4-FFF2-40B4-BE49-F238E27FC236}">
                  <a16:creationId xmlns:a16="http://schemas.microsoft.com/office/drawing/2014/main" id="{61B8F06D-B26D-DF4A-8B61-A2D5E04796D0}"/>
                </a:ext>
              </a:extLst>
            </p:cNvPr>
            <p:cNvSpPr/>
            <p:nvPr userDrawn="1"/>
          </p:nvSpPr>
          <p:spPr>
            <a:xfrm>
              <a:off x="10407932"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1" name="Rechthoek 150">
              <a:extLst>
                <a:ext uri="{FF2B5EF4-FFF2-40B4-BE49-F238E27FC236}">
                  <a16:creationId xmlns:a16="http://schemas.microsoft.com/office/drawing/2014/main" id="{C8894CC5-6D01-1A4C-AF84-F79660038E80}"/>
                </a:ext>
              </a:extLst>
            </p:cNvPr>
            <p:cNvSpPr/>
            <p:nvPr userDrawn="1"/>
          </p:nvSpPr>
          <p:spPr>
            <a:xfrm>
              <a:off x="10769432"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2" name="Rechthoek 151">
              <a:extLst>
                <a:ext uri="{FF2B5EF4-FFF2-40B4-BE49-F238E27FC236}">
                  <a16:creationId xmlns:a16="http://schemas.microsoft.com/office/drawing/2014/main" id="{30FEBBD9-5D50-024E-969F-79DAD9AB8273}"/>
                </a:ext>
              </a:extLst>
            </p:cNvPr>
            <p:cNvSpPr/>
            <p:nvPr userDrawn="1"/>
          </p:nvSpPr>
          <p:spPr>
            <a:xfrm>
              <a:off x="11129340"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3" name="Rechthoek 152">
              <a:extLst>
                <a:ext uri="{FF2B5EF4-FFF2-40B4-BE49-F238E27FC236}">
                  <a16:creationId xmlns:a16="http://schemas.microsoft.com/office/drawing/2014/main" id="{A422D123-1485-EA43-A23F-9CB5FFF1C00D}"/>
                </a:ext>
              </a:extLst>
            </p:cNvPr>
            <p:cNvSpPr/>
            <p:nvPr userDrawn="1"/>
          </p:nvSpPr>
          <p:spPr>
            <a:xfrm>
              <a:off x="1148924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4" name="Rechthoek 153">
              <a:extLst>
                <a:ext uri="{FF2B5EF4-FFF2-40B4-BE49-F238E27FC236}">
                  <a16:creationId xmlns:a16="http://schemas.microsoft.com/office/drawing/2014/main" id="{95EFBF2F-CEFC-DE44-AD24-2ECBC946E9A8}"/>
                </a:ext>
              </a:extLst>
            </p:cNvPr>
            <p:cNvSpPr/>
            <p:nvPr userDrawn="1"/>
          </p:nvSpPr>
          <p:spPr>
            <a:xfrm>
              <a:off x="11850747" y="153791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5" name="Rechthoek 154">
              <a:extLst>
                <a:ext uri="{FF2B5EF4-FFF2-40B4-BE49-F238E27FC236}">
                  <a16:creationId xmlns:a16="http://schemas.microsoft.com/office/drawing/2014/main" id="{63ADA443-1F1F-D642-873C-643553071E32}"/>
                </a:ext>
              </a:extLst>
            </p:cNvPr>
            <p:cNvSpPr/>
            <p:nvPr userDrawn="1"/>
          </p:nvSpPr>
          <p:spPr>
            <a:xfrm>
              <a:off x="8965386"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6" name="Rechthoek 155">
              <a:extLst>
                <a:ext uri="{FF2B5EF4-FFF2-40B4-BE49-F238E27FC236}">
                  <a16:creationId xmlns:a16="http://schemas.microsoft.com/office/drawing/2014/main" id="{50844D2A-5574-1B44-B746-CBFFD612E1D7}"/>
                </a:ext>
              </a:extLst>
            </p:cNvPr>
            <p:cNvSpPr/>
            <p:nvPr userDrawn="1"/>
          </p:nvSpPr>
          <p:spPr>
            <a:xfrm>
              <a:off x="9325025"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7" name="Rechthoek 156">
              <a:extLst>
                <a:ext uri="{FF2B5EF4-FFF2-40B4-BE49-F238E27FC236}">
                  <a16:creationId xmlns:a16="http://schemas.microsoft.com/office/drawing/2014/main" id="{5E82C546-46D8-824A-BC0D-5453AFC47E68}"/>
                </a:ext>
              </a:extLst>
            </p:cNvPr>
            <p:cNvSpPr/>
            <p:nvPr userDrawn="1"/>
          </p:nvSpPr>
          <p:spPr>
            <a:xfrm>
              <a:off x="8604154"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8" name="Rechthoek 157">
              <a:extLst>
                <a:ext uri="{FF2B5EF4-FFF2-40B4-BE49-F238E27FC236}">
                  <a16:creationId xmlns:a16="http://schemas.microsoft.com/office/drawing/2014/main" id="{01D009C4-601B-0046-A3A6-22C2A946F161}"/>
                </a:ext>
              </a:extLst>
            </p:cNvPr>
            <p:cNvSpPr/>
            <p:nvPr userDrawn="1"/>
          </p:nvSpPr>
          <p:spPr>
            <a:xfrm>
              <a:off x="7881689"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9" name="Rechthoek 158">
              <a:extLst>
                <a:ext uri="{FF2B5EF4-FFF2-40B4-BE49-F238E27FC236}">
                  <a16:creationId xmlns:a16="http://schemas.microsoft.com/office/drawing/2014/main" id="{1CC9017D-DE66-E541-8436-078774EF22F0}"/>
                </a:ext>
              </a:extLst>
            </p:cNvPr>
            <p:cNvSpPr/>
            <p:nvPr userDrawn="1"/>
          </p:nvSpPr>
          <p:spPr>
            <a:xfrm>
              <a:off x="8242921"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0" name="Rechthoek 159">
              <a:extLst>
                <a:ext uri="{FF2B5EF4-FFF2-40B4-BE49-F238E27FC236}">
                  <a16:creationId xmlns:a16="http://schemas.microsoft.com/office/drawing/2014/main" id="{1380D20D-95D9-0242-ADD4-1AA84D062918}"/>
                </a:ext>
              </a:extLst>
            </p:cNvPr>
            <p:cNvSpPr/>
            <p:nvPr userDrawn="1"/>
          </p:nvSpPr>
          <p:spPr>
            <a:xfrm>
              <a:off x="752045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1" name="Rechthoek 160">
              <a:extLst>
                <a:ext uri="{FF2B5EF4-FFF2-40B4-BE49-F238E27FC236}">
                  <a16:creationId xmlns:a16="http://schemas.microsoft.com/office/drawing/2014/main" id="{A0C09487-6302-DE43-BADD-64000F0AA10C}"/>
                </a:ext>
              </a:extLst>
            </p:cNvPr>
            <p:cNvSpPr/>
            <p:nvPr userDrawn="1"/>
          </p:nvSpPr>
          <p:spPr>
            <a:xfrm>
              <a:off x="7163284"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2" name="Rechthoek 161">
              <a:extLst>
                <a:ext uri="{FF2B5EF4-FFF2-40B4-BE49-F238E27FC236}">
                  <a16:creationId xmlns:a16="http://schemas.microsoft.com/office/drawing/2014/main" id="{56F81E4A-18DD-254C-A153-5D0D2CC91F51}"/>
                </a:ext>
              </a:extLst>
            </p:cNvPr>
            <p:cNvSpPr/>
            <p:nvPr userDrawn="1"/>
          </p:nvSpPr>
          <p:spPr>
            <a:xfrm>
              <a:off x="9684933"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3" name="Rechthoek 162">
              <a:extLst>
                <a:ext uri="{FF2B5EF4-FFF2-40B4-BE49-F238E27FC236}">
                  <a16:creationId xmlns:a16="http://schemas.microsoft.com/office/drawing/2014/main" id="{C9C7AF16-57FE-5C4A-AD31-DE29BD8304A6}"/>
                </a:ext>
              </a:extLst>
            </p:cNvPr>
            <p:cNvSpPr/>
            <p:nvPr userDrawn="1"/>
          </p:nvSpPr>
          <p:spPr>
            <a:xfrm>
              <a:off x="10048025"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4" name="Rechthoek 163">
              <a:extLst>
                <a:ext uri="{FF2B5EF4-FFF2-40B4-BE49-F238E27FC236}">
                  <a16:creationId xmlns:a16="http://schemas.microsoft.com/office/drawing/2014/main" id="{9E8577D5-3A8D-6148-B60B-6ED3FF28DEB1}"/>
                </a:ext>
              </a:extLst>
            </p:cNvPr>
            <p:cNvSpPr/>
            <p:nvPr userDrawn="1"/>
          </p:nvSpPr>
          <p:spPr>
            <a:xfrm>
              <a:off x="10407932"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5" name="Rechthoek 164">
              <a:extLst>
                <a:ext uri="{FF2B5EF4-FFF2-40B4-BE49-F238E27FC236}">
                  <a16:creationId xmlns:a16="http://schemas.microsoft.com/office/drawing/2014/main" id="{582C01C4-49AB-9A46-977C-522A75A74089}"/>
                </a:ext>
              </a:extLst>
            </p:cNvPr>
            <p:cNvSpPr/>
            <p:nvPr userDrawn="1"/>
          </p:nvSpPr>
          <p:spPr>
            <a:xfrm>
              <a:off x="10769432"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6" name="Rechthoek 165">
              <a:extLst>
                <a:ext uri="{FF2B5EF4-FFF2-40B4-BE49-F238E27FC236}">
                  <a16:creationId xmlns:a16="http://schemas.microsoft.com/office/drawing/2014/main" id="{15041BB9-52FF-BF4C-85B9-C2E897B8D790}"/>
                </a:ext>
              </a:extLst>
            </p:cNvPr>
            <p:cNvSpPr/>
            <p:nvPr userDrawn="1"/>
          </p:nvSpPr>
          <p:spPr>
            <a:xfrm>
              <a:off x="11129340"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7" name="Rechthoek 166">
              <a:extLst>
                <a:ext uri="{FF2B5EF4-FFF2-40B4-BE49-F238E27FC236}">
                  <a16:creationId xmlns:a16="http://schemas.microsoft.com/office/drawing/2014/main" id="{897DDBC0-13A6-5142-A18E-2CC145F533EA}"/>
                </a:ext>
              </a:extLst>
            </p:cNvPr>
            <p:cNvSpPr/>
            <p:nvPr userDrawn="1"/>
          </p:nvSpPr>
          <p:spPr>
            <a:xfrm>
              <a:off x="1148924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8" name="Rechthoek 167">
              <a:extLst>
                <a:ext uri="{FF2B5EF4-FFF2-40B4-BE49-F238E27FC236}">
                  <a16:creationId xmlns:a16="http://schemas.microsoft.com/office/drawing/2014/main" id="{F6D9D06C-ED1A-0F40-B354-844F2EF16D42}"/>
                </a:ext>
              </a:extLst>
            </p:cNvPr>
            <p:cNvSpPr/>
            <p:nvPr userDrawn="1"/>
          </p:nvSpPr>
          <p:spPr>
            <a:xfrm>
              <a:off x="11850747" y="117775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9" name="Rechthoek 168">
              <a:extLst>
                <a:ext uri="{FF2B5EF4-FFF2-40B4-BE49-F238E27FC236}">
                  <a16:creationId xmlns:a16="http://schemas.microsoft.com/office/drawing/2014/main" id="{7AE4E440-F399-EA4D-BC20-F1F54526137F}"/>
                </a:ext>
              </a:extLst>
            </p:cNvPr>
            <p:cNvSpPr/>
            <p:nvPr userDrawn="1"/>
          </p:nvSpPr>
          <p:spPr>
            <a:xfrm>
              <a:off x="8965386"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0" name="Rechthoek 169">
              <a:extLst>
                <a:ext uri="{FF2B5EF4-FFF2-40B4-BE49-F238E27FC236}">
                  <a16:creationId xmlns:a16="http://schemas.microsoft.com/office/drawing/2014/main" id="{490585D0-AE27-E640-BBD3-7F7ACE05D21E}"/>
                </a:ext>
              </a:extLst>
            </p:cNvPr>
            <p:cNvSpPr/>
            <p:nvPr userDrawn="1"/>
          </p:nvSpPr>
          <p:spPr>
            <a:xfrm>
              <a:off x="9325025"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1" name="Rechthoek 170">
              <a:extLst>
                <a:ext uri="{FF2B5EF4-FFF2-40B4-BE49-F238E27FC236}">
                  <a16:creationId xmlns:a16="http://schemas.microsoft.com/office/drawing/2014/main" id="{D358A2C9-B223-E941-9BD8-19F455BF8571}"/>
                </a:ext>
              </a:extLst>
            </p:cNvPr>
            <p:cNvSpPr/>
            <p:nvPr userDrawn="1"/>
          </p:nvSpPr>
          <p:spPr>
            <a:xfrm>
              <a:off x="8604154"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2" name="Rechthoek 171">
              <a:extLst>
                <a:ext uri="{FF2B5EF4-FFF2-40B4-BE49-F238E27FC236}">
                  <a16:creationId xmlns:a16="http://schemas.microsoft.com/office/drawing/2014/main" id="{3D353EB3-AE4C-F04D-8CB5-0F696B5082BC}"/>
                </a:ext>
              </a:extLst>
            </p:cNvPr>
            <p:cNvSpPr/>
            <p:nvPr userDrawn="1"/>
          </p:nvSpPr>
          <p:spPr>
            <a:xfrm>
              <a:off x="7881689"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3" name="Rechthoek 172">
              <a:extLst>
                <a:ext uri="{FF2B5EF4-FFF2-40B4-BE49-F238E27FC236}">
                  <a16:creationId xmlns:a16="http://schemas.microsoft.com/office/drawing/2014/main" id="{F960F58D-A105-2E46-9767-8B0999D65E5D}"/>
                </a:ext>
              </a:extLst>
            </p:cNvPr>
            <p:cNvSpPr/>
            <p:nvPr userDrawn="1"/>
          </p:nvSpPr>
          <p:spPr>
            <a:xfrm>
              <a:off x="8242921"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4" name="Rechthoek 173">
              <a:extLst>
                <a:ext uri="{FF2B5EF4-FFF2-40B4-BE49-F238E27FC236}">
                  <a16:creationId xmlns:a16="http://schemas.microsoft.com/office/drawing/2014/main" id="{4CBD20C8-C2F1-314B-B0DC-8EACA8165186}"/>
                </a:ext>
              </a:extLst>
            </p:cNvPr>
            <p:cNvSpPr/>
            <p:nvPr userDrawn="1"/>
          </p:nvSpPr>
          <p:spPr>
            <a:xfrm>
              <a:off x="752045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5" name="Rechthoek 174">
              <a:extLst>
                <a:ext uri="{FF2B5EF4-FFF2-40B4-BE49-F238E27FC236}">
                  <a16:creationId xmlns:a16="http://schemas.microsoft.com/office/drawing/2014/main" id="{A26F7A08-47F8-DC45-9C73-F08A20CA3E0E}"/>
                </a:ext>
              </a:extLst>
            </p:cNvPr>
            <p:cNvSpPr/>
            <p:nvPr userDrawn="1"/>
          </p:nvSpPr>
          <p:spPr>
            <a:xfrm>
              <a:off x="7163284"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6" name="Rechthoek 175">
              <a:extLst>
                <a:ext uri="{FF2B5EF4-FFF2-40B4-BE49-F238E27FC236}">
                  <a16:creationId xmlns:a16="http://schemas.microsoft.com/office/drawing/2014/main" id="{BF9EFF0A-4484-CF44-B146-B6508E3EF9F3}"/>
                </a:ext>
              </a:extLst>
            </p:cNvPr>
            <p:cNvSpPr/>
            <p:nvPr userDrawn="1"/>
          </p:nvSpPr>
          <p:spPr>
            <a:xfrm>
              <a:off x="9684933"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7" name="Rechthoek 176">
              <a:extLst>
                <a:ext uri="{FF2B5EF4-FFF2-40B4-BE49-F238E27FC236}">
                  <a16:creationId xmlns:a16="http://schemas.microsoft.com/office/drawing/2014/main" id="{11C39394-519D-F248-9C22-B15531B01C1D}"/>
                </a:ext>
              </a:extLst>
            </p:cNvPr>
            <p:cNvSpPr/>
            <p:nvPr userDrawn="1"/>
          </p:nvSpPr>
          <p:spPr>
            <a:xfrm>
              <a:off x="10048025"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8" name="Rechthoek 177">
              <a:extLst>
                <a:ext uri="{FF2B5EF4-FFF2-40B4-BE49-F238E27FC236}">
                  <a16:creationId xmlns:a16="http://schemas.microsoft.com/office/drawing/2014/main" id="{D39697CB-5C2E-0849-8A28-FF538B315DF7}"/>
                </a:ext>
              </a:extLst>
            </p:cNvPr>
            <p:cNvSpPr/>
            <p:nvPr userDrawn="1"/>
          </p:nvSpPr>
          <p:spPr>
            <a:xfrm>
              <a:off x="10407932"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79" name="Rechthoek 178">
              <a:extLst>
                <a:ext uri="{FF2B5EF4-FFF2-40B4-BE49-F238E27FC236}">
                  <a16:creationId xmlns:a16="http://schemas.microsoft.com/office/drawing/2014/main" id="{7E788494-2572-874C-8E51-0D43CFFF143E}"/>
                </a:ext>
              </a:extLst>
            </p:cNvPr>
            <p:cNvSpPr/>
            <p:nvPr userDrawn="1"/>
          </p:nvSpPr>
          <p:spPr>
            <a:xfrm>
              <a:off x="10769432"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0" name="Rechthoek 179">
              <a:extLst>
                <a:ext uri="{FF2B5EF4-FFF2-40B4-BE49-F238E27FC236}">
                  <a16:creationId xmlns:a16="http://schemas.microsoft.com/office/drawing/2014/main" id="{9A91AFA8-8607-2744-B27E-4969A146CAD5}"/>
                </a:ext>
              </a:extLst>
            </p:cNvPr>
            <p:cNvSpPr/>
            <p:nvPr userDrawn="1"/>
          </p:nvSpPr>
          <p:spPr>
            <a:xfrm>
              <a:off x="11129340"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1" name="Rechthoek 180">
              <a:extLst>
                <a:ext uri="{FF2B5EF4-FFF2-40B4-BE49-F238E27FC236}">
                  <a16:creationId xmlns:a16="http://schemas.microsoft.com/office/drawing/2014/main" id="{262CA04B-9859-A947-97F6-57D4B6BB1492}"/>
                </a:ext>
              </a:extLst>
            </p:cNvPr>
            <p:cNvSpPr/>
            <p:nvPr userDrawn="1"/>
          </p:nvSpPr>
          <p:spPr>
            <a:xfrm>
              <a:off x="1148924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2" name="Rechthoek 181">
              <a:extLst>
                <a:ext uri="{FF2B5EF4-FFF2-40B4-BE49-F238E27FC236}">
                  <a16:creationId xmlns:a16="http://schemas.microsoft.com/office/drawing/2014/main" id="{1361E52D-FF53-0942-9E77-A5F658BDEE28}"/>
                </a:ext>
              </a:extLst>
            </p:cNvPr>
            <p:cNvSpPr/>
            <p:nvPr userDrawn="1"/>
          </p:nvSpPr>
          <p:spPr>
            <a:xfrm>
              <a:off x="11850747" y="298277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3" name="Rechthoek 182">
              <a:extLst>
                <a:ext uri="{FF2B5EF4-FFF2-40B4-BE49-F238E27FC236}">
                  <a16:creationId xmlns:a16="http://schemas.microsoft.com/office/drawing/2014/main" id="{05979C80-9EA0-CA41-95DF-D92AC70A6199}"/>
                </a:ext>
              </a:extLst>
            </p:cNvPr>
            <p:cNvSpPr/>
            <p:nvPr userDrawn="1"/>
          </p:nvSpPr>
          <p:spPr>
            <a:xfrm>
              <a:off x="8965386"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4" name="Rechthoek 183">
              <a:extLst>
                <a:ext uri="{FF2B5EF4-FFF2-40B4-BE49-F238E27FC236}">
                  <a16:creationId xmlns:a16="http://schemas.microsoft.com/office/drawing/2014/main" id="{672F8EFD-5596-8E42-B18E-B2622695555D}"/>
                </a:ext>
              </a:extLst>
            </p:cNvPr>
            <p:cNvSpPr/>
            <p:nvPr userDrawn="1"/>
          </p:nvSpPr>
          <p:spPr>
            <a:xfrm>
              <a:off x="9325025"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5" name="Rechthoek 184">
              <a:extLst>
                <a:ext uri="{FF2B5EF4-FFF2-40B4-BE49-F238E27FC236}">
                  <a16:creationId xmlns:a16="http://schemas.microsoft.com/office/drawing/2014/main" id="{F49DA6D9-9323-F543-908B-4983EA9E0CA2}"/>
                </a:ext>
              </a:extLst>
            </p:cNvPr>
            <p:cNvSpPr/>
            <p:nvPr userDrawn="1"/>
          </p:nvSpPr>
          <p:spPr>
            <a:xfrm>
              <a:off x="8604154"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6" name="Rechthoek 185">
              <a:extLst>
                <a:ext uri="{FF2B5EF4-FFF2-40B4-BE49-F238E27FC236}">
                  <a16:creationId xmlns:a16="http://schemas.microsoft.com/office/drawing/2014/main" id="{63CB7996-77B7-5E42-8E8A-7806BEA38860}"/>
                </a:ext>
              </a:extLst>
            </p:cNvPr>
            <p:cNvSpPr/>
            <p:nvPr userDrawn="1"/>
          </p:nvSpPr>
          <p:spPr>
            <a:xfrm>
              <a:off x="7881689"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7" name="Rechthoek 186">
              <a:extLst>
                <a:ext uri="{FF2B5EF4-FFF2-40B4-BE49-F238E27FC236}">
                  <a16:creationId xmlns:a16="http://schemas.microsoft.com/office/drawing/2014/main" id="{41CA0223-5596-1246-AF57-B05DB12110E5}"/>
                </a:ext>
              </a:extLst>
            </p:cNvPr>
            <p:cNvSpPr/>
            <p:nvPr userDrawn="1"/>
          </p:nvSpPr>
          <p:spPr>
            <a:xfrm>
              <a:off x="8242921"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8" name="Rechthoek 187">
              <a:extLst>
                <a:ext uri="{FF2B5EF4-FFF2-40B4-BE49-F238E27FC236}">
                  <a16:creationId xmlns:a16="http://schemas.microsoft.com/office/drawing/2014/main" id="{6862EF39-E48E-804C-9BFE-A46548056661}"/>
                </a:ext>
              </a:extLst>
            </p:cNvPr>
            <p:cNvSpPr/>
            <p:nvPr userDrawn="1"/>
          </p:nvSpPr>
          <p:spPr>
            <a:xfrm>
              <a:off x="752045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89" name="Rechthoek 188">
              <a:extLst>
                <a:ext uri="{FF2B5EF4-FFF2-40B4-BE49-F238E27FC236}">
                  <a16:creationId xmlns:a16="http://schemas.microsoft.com/office/drawing/2014/main" id="{25254F11-5B1F-7B43-B7AC-CEBB9E963B08}"/>
                </a:ext>
              </a:extLst>
            </p:cNvPr>
            <p:cNvSpPr/>
            <p:nvPr userDrawn="1"/>
          </p:nvSpPr>
          <p:spPr>
            <a:xfrm>
              <a:off x="7163284"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0" name="Rechthoek 189">
              <a:extLst>
                <a:ext uri="{FF2B5EF4-FFF2-40B4-BE49-F238E27FC236}">
                  <a16:creationId xmlns:a16="http://schemas.microsoft.com/office/drawing/2014/main" id="{ACD0CFA3-8726-DB42-AB35-8DE530E49736}"/>
                </a:ext>
              </a:extLst>
            </p:cNvPr>
            <p:cNvSpPr/>
            <p:nvPr userDrawn="1"/>
          </p:nvSpPr>
          <p:spPr>
            <a:xfrm>
              <a:off x="9684933"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1" name="Rechthoek 190">
              <a:extLst>
                <a:ext uri="{FF2B5EF4-FFF2-40B4-BE49-F238E27FC236}">
                  <a16:creationId xmlns:a16="http://schemas.microsoft.com/office/drawing/2014/main" id="{27FC9CFB-3A0C-E54C-8B44-F7477DC2251C}"/>
                </a:ext>
              </a:extLst>
            </p:cNvPr>
            <p:cNvSpPr/>
            <p:nvPr userDrawn="1"/>
          </p:nvSpPr>
          <p:spPr>
            <a:xfrm>
              <a:off x="10048025"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2" name="Rechthoek 191">
              <a:extLst>
                <a:ext uri="{FF2B5EF4-FFF2-40B4-BE49-F238E27FC236}">
                  <a16:creationId xmlns:a16="http://schemas.microsoft.com/office/drawing/2014/main" id="{23FE6C79-7E5A-1F41-ADC0-863C6E3144D8}"/>
                </a:ext>
              </a:extLst>
            </p:cNvPr>
            <p:cNvSpPr/>
            <p:nvPr userDrawn="1"/>
          </p:nvSpPr>
          <p:spPr>
            <a:xfrm>
              <a:off x="10407932"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3" name="Rechthoek 192">
              <a:extLst>
                <a:ext uri="{FF2B5EF4-FFF2-40B4-BE49-F238E27FC236}">
                  <a16:creationId xmlns:a16="http://schemas.microsoft.com/office/drawing/2014/main" id="{868BB43B-4C07-8440-BB73-FC5E16BE8941}"/>
                </a:ext>
              </a:extLst>
            </p:cNvPr>
            <p:cNvSpPr/>
            <p:nvPr userDrawn="1"/>
          </p:nvSpPr>
          <p:spPr>
            <a:xfrm>
              <a:off x="10769432"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4" name="Rechthoek 193">
              <a:extLst>
                <a:ext uri="{FF2B5EF4-FFF2-40B4-BE49-F238E27FC236}">
                  <a16:creationId xmlns:a16="http://schemas.microsoft.com/office/drawing/2014/main" id="{D76EE41B-D759-934F-8FEC-C6DC2535D77C}"/>
                </a:ext>
              </a:extLst>
            </p:cNvPr>
            <p:cNvSpPr/>
            <p:nvPr userDrawn="1"/>
          </p:nvSpPr>
          <p:spPr>
            <a:xfrm>
              <a:off x="11129340"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5" name="Rechthoek 194">
              <a:extLst>
                <a:ext uri="{FF2B5EF4-FFF2-40B4-BE49-F238E27FC236}">
                  <a16:creationId xmlns:a16="http://schemas.microsoft.com/office/drawing/2014/main" id="{CFDEBD3B-296F-6B47-B887-EA896F0564CF}"/>
                </a:ext>
              </a:extLst>
            </p:cNvPr>
            <p:cNvSpPr/>
            <p:nvPr userDrawn="1"/>
          </p:nvSpPr>
          <p:spPr>
            <a:xfrm>
              <a:off x="1148924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6" name="Rechthoek 195">
              <a:extLst>
                <a:ext uri="{FF2B5EF4-FFF2-40B4-BE49-F238E27FC236}">
                  <a16:creationId xmlns:a16="http://schemas.microsoft.com/office/drawing/2014/main" id="{11CA010E-E72A-D540-8C76-D844A95FFFB3}"/>
                </a:ext>
              </a:extLst>
            </p:cNvPr>
            <p:cNvSpPr/>
            <p:nvPr userDrawn="1"/>
          </p:nvSpPr>
          <p:spPr>
            <a:xfrm>
              <a:off x="11850747" y="261932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7" name="Rechthoek 196">
              <a:extLst>
                <a:ext uri="{FF2B5EF4-FFF2-40B4-BE49-F238E27FC236}">
                  <a16:creationId xmlns:a16="http://schemas.microsoft.com/office/drawing/2014/main" id="{611A280D-4C7B-6F40-A05F-3B3F756691C8}"/>
                </a:ext>
              </a:extLst>
            </p:cNvPr>
            <p:cNvSpPr/>
            <p:nvPr userDrawn="1"/>
          </p:nvSpPr>
          <p:spPr>
            <a:xfrm>
              <a:off x="8965386"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8" name="Rechthoek 197">
              <a:extLst>
                <a:ext uri="{FF2B5EF4-FFF2-40B4-BE49-F238E27FC236}">
                  <a16:creationId xmlns:a16="http://schemas.microsoft.com/office/drawing/2014/main" id="{A88D7E01-4C53-5846-823F-4583486504FD}"/>
                </a:ext>
              </a:extLst>
            </p:cNvPr>
            <p:cNvSpPr/>
            <p:nvPr userDrawn="1"/>
          </p:nvSpPr>
          <p:spPr>
            <a:xfrm>
              <a:off x="9325025"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99" name="Rechthoek 198">
              <a:extLst>
                <a:ext uri="{FF2B5EF4-FFF2-40B4-BE49-F238E27FC236}">
                  <a16:creationId xmlns:a16="http://schemas.microsoft.com/office/drawing/2014/main" id="{E0FB05D6-2D23-6C4C-8AB7-FC6C23DA9F56}"/>
                </a:ext>
              </a:extLst>
            </p:cNvPr>
            <p:cNvSpPr/>
            <p:nvPr userDrawn="1"/>
          </p:nvSpPr>
          <p:spPr>
            <a:xfrm>
              <a:off x="8604154"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0" name="Rechthoek 199">
              <a:extLst>
                <a:ext uri="{FF2B5EF4-FFF2-40B4-BE49-F238E27FC236}">
                  <a16:creationId xmlns:a16="http://schemas.microsoft.com/office/drawing/2014/main" id="{F720C752-6BD5-C74C-84EE-CFF39FD96262}"/>
                </a:ext>
              </a:extLst>
            </p:cNvPr>
            <p:cNvSpPr/>
            <p:nvPr userDrawn="1"/>
          </p:nvSpPr>
          <p:spPr>
            <a:xfrm>
              <a:off x="7881689"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1" name="Rechthoek 200">
              <a:extLst>
                <a:ext uri="{FF2B5EF4-FFF2-40B4-BE49-F238E27FC236}">
                  <a16:creationId xmlns:a16="http://schemas.microsoft.com/office/drawing/2014/main" id="{832DBC2F-5668-1147-B076-8331BE6DA1C9}"/>
                </a:ext>
              </a:extLst>
            </p:cNvPr>
            <p:cNvSpPr/>
            <p:nvPr userDrawn="1"/>
          </p:nvSpPr>
          <p:spPr>
            <a:xfrm>
              <a:off x="8242921"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2" name="Rechthoek 201">
              <a:extLst>
                <a:ext uri="{FF2B5EF4-FFF2-40B4-BE49-F238E27FC236}">
                  <a16:creationId xmlns:a16="http://schemas.microsoft.com/office/drawing/2014/main" id="{37A2A709-7F55-A34C-852B-030FC9CE5DD2}"/>
                </a:ext>
              </a:extLst>
            </p:cNvPr>
            <p:cNvSpPr/>
            <p:nvPr userDrawn="1"/>
          </p:nvSpPr>
          <p:spPr>
            <a:xfrm>
              <a:off x="752045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3" name="Rechthoek 202">
              <a:extLst>
                <a:ext uri="{FF2B5EF4-FFF2-40B4-BE49-F238E27FC236}">
                  <a16:creationId xmlns:a16="http://schemas.microsoft.com/office/drawing/2014/main" id="{AC3EEDD0-A1D1-794E-A5D8-87A94BEFD875}"/>
                </a:ext>
              </a:extLst>
            </p:cNvPr>
            <p:cNvSpPr/>
            <p:nvPr userDrawn="1"/>
          </p:nvSpPr>
          <p:spPr>
            <a:xfrm>
              <a:off x="7163284"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4" name="Rechthoek 203">
              <a:extLst>
                <a:ext uri="{FF2B5EF4-FFF2-40B4-BE49-F238E27FC236}">
                  <a16:creationId xmlns:a16="http://schemas.microsoft.com/office/drawing/2014/main" id="{5CE8FBE2-5BD6-804D-AE15-67417D72062B}"/>
                </a:ext>
              </a:extLst>
            </p:cNvPr>
            <p:cNvSpPr/>
            <p:nvPr userDrawn="1"/>
          </p:nvSpPr>
          <p:spPr>
            <a:xfrm>
              <a:off x="9684933"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5" name="Rechthoek 204">
              <a:extLst>
                <a:ext uri="{FF2B5EF4-FFF2-40B4-BE49-F238E27FC236}">
                  <a16:creationId xmlns:a16="http://schemas.microsoft.com/office/drawing/2014/main" id="{D0841BEA-8DE7-8F45-BB30-FFC40F11CE74}"/>
                </a:ext>
              </a:extLst>
            </p:cNvPr>
            <p:cNvSpPr/>
            <p:nvPr userDrawn="1"/>
          </p:nvSpPr>
          <p:spPr>
            <a:xfrm>
              <a:off x="10048025"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6" name="Rechthoek 205">
              <a:extLst>
                <a:ext uri="{FF2B5EF4-FFF2-40B4-BE49-F238E27FC236}">
                  <a16:creationId xmlns:a16="http://schemas.microsoft.com/office/drawing/2014/main" id="{E5A894EF-A2C3-B841-8C6A-F4469FEE6078}"/>
                </a:ext>
              </a:extLst>
            </p:cNvPr>
            <p:cNvSpPr/>
            <p:nvPr userDrawn="1"/>
          </p:nvSpPr>
          <p:spPr>
            <a:xfrm>
              <a:off x="10407932"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7" name="Rechthoek 206">
              <a:extLst>
                <a:ext uri="{FF2B5EF4-FFF2-40B4-BE49-F238E27FC236}">
                  <a16:creationId xmlns:a16="http://schemas.microsoft.com/office/drawing/2014/main" id="{BB64406A-291A-6745-96CA-C4DDC2F2AAA5}"/>
                </a:ext>
              </a:extLst>
            </p:cNvPr>
            <p:cNvSpPr/>
            <p:nvPr userDrawn="1"/>
          </p:nvSpPr>
          <p:spPr>
            <a:xfrm>
              <a:off x="10769432"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8" name="Rechthoek 207">
              <a:extLst>
                <a:ext uri="{FF2B5EF4-FFF2-40B4-BE49-F238E27FC236}">
                  <a16:creationId xmlns:a16="http://schemas.microsoft.com/office/drawing/2014/main" id="{C277632B-6B32-074E-BE4E-0BCC5F6611B8}"/>
                </a:ext>
              </a:extLst>
            </p:cNvPr>
            <p:cNvSpPr/>
            <p:nvPr userDrawn="1"/>
          </p:nvSpPr>
          <p:spPr>
            <a:xfrm>
              <a:off x="11129340"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09" name="Rechthoek 208">
              <a:extLst>
                <a:ext uri="{FF2B5EF4-FFF2-40B4-BE49-F238E27FC236}">
                  <a16:creationId xmlns:a16="http://schemas.microsoft.com/office/drawing/2014/main" id="{9D120BC3-3AD0-3E40-B2A3-71EAD7D86C39}"/>
                </a:ext>
              </a:extLst>
            </p:cNvPr>
            <p:cNvSpPr/>
            <p:nvPr userDrawn="1"/>
          </p:nvSpPr>
          <p:spPr>
            <a:xfrm>
              <a:off x="1148924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0" name="Rechthoek 209">
              <a:extLst>
                <a:ext uri="{FF2B5EF4-FFF2-40B4-BE49-F238E27FC236}">
                  <a16:creationId xmlns:a16="http://schemas.microsoft.com/office/drawing/2014/main" id="{42BD8B2A-D880-9049-8430-E673177202F2}"/>
                </a:ext>
              </a:extLst>
            </p:cNvPr>
            <p:cNvSpPr/>
            <p:nvPr userDrawn="1"/>
          </p:nvSpPr>
          <p:spPr>
            <a:xfrm>
              <a:off x="11850747" y="2259160"/>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1" name="Rechthoek 210">
              <a:extLst>
                <a:ext uri="{FF2B5EF4-FFF2-40B4-BE49-F238E27FC236}">
                  <a16:creationId xmlns:a16="http://schemas.microsoft.com/office/drawing/2014/main" id="{63C23E28-BF2A-0940-9514-5F95FC11FFC0}"/>
                </a:ext>
              </a:extLst>
            </p:cNvPr>
            <p:cNvSpPr/>
            <p:nvPr userDrawn="1"/>
          </p:nvSpPr>
          <p:spPr>
            <a:xfrm>
              <a:off x="329951" y="4068681"/>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2" name="Rechthoek 211">
              <a:extLst>
                <a:ext uri="{FF2B5EF4-FFF2-40B4-BE49-F238E27FC236}">
                  <a16:creationId xmlns:a16="http://schemas.microsoft.com/office/drawing/2014/main" id="{7AE4D547-9454-C449-91FB-A2251540A3DF}"/>
                </a:ext>
              </a:extLst>
            </p:cNvPr>
            <p:cNvSpPr/>
            <p:nvPr userDrawn="1"/>
          </p:nvSpPr>
          <p:spPr>
            <a:xfrm>
              <a:off x="329951" y="3705228"/>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3" name="Rechthoek 212">
              <a:extLst>
                <a:ext uri="{FF2B5EF4-FFF2-40B4-BE49-F238E27FC236}">
                  <a16:creationId xmlns:a16="http://schemas.microsoft.com/office/drawing/2014/main" id="{4129B9BC-D30D-A046-BAF8-17EFF18058C8}"/>
                </a:ext>
              </a:extLst>
            </p:cNvPr>
            <p:cNvSpPr/>
            <p:nvPr userDrawn="1"/>
          </p:nvSpPr>
          <p:spPr>
            <a:xfrm>
              <a:off x="329951"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4" name="Rechthoek 213">
              <a:extLst>
                <a:ext uri="{FF2B5EF4-FFF2-40B4-BE49-F238E27FC236}">
                  <a16:creationId xmlns:a16="http://schemas.microsoft.com/office/drawing/2014/main" id="{8000A5D1-CC96-F74B-BFAD-18F066354FC0}"/>
                </a:ext>
              </a:extLst>
            </p:cNvPr>
            <p:cNvSpPr/>
            <p:nvPr userDrawn="1"/>
          </p:nvSpPr>
          <p:spPr>
            <a:xfrm>
              <a:off x="329951" y="515008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5" name="Rechthoek 214">
              <a:extLst>
                <a:ext uri="{FF2B5EF4-FFF2-40B4-BE49-F238E27FC236}">
                  <a16:creationId xmlns:a16="http://schemas.microsoft.com/office/drawing/2014/main" id="{068CC09A-951B-C645-9EF1-AB7673088081}"/>
                </a:ext>
              </a:extLst>
            </p:cNvPr>
            <p:cNvSpPr/>
            <p:nvPr userDrawn="1"/>
          </p:nvSpPr>
          <p:spPr>
            <a:xfrm>
              <a:off x="329951" y="478663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6" name="Rechthoek 215">
              <a:extLst>
                <a:ext uri="{FF2B5EF4-FFF2-40B4-BE49-F238E27FC236}">
                  <a16:creationId xmlns:a16="http://schemas.microsoft.com/office/drawing/2014/main" id="{221FD207-FE10-FC43-A28C-F4A64543A33A}"/>
                </a:ext>
              </a:extLst>
            </p:cNvPr>
            <p:cNvSpPr/>
            <p:nvPr userDrawn="1"/>
          </p:nvSpPr>
          <p:spPr>
            <a:xfrm>
              <a:off x="329951" y="442647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7" name="Rechthoek 216">
              <a:extLst>
                <a:ext uri="{FF2B5EF4-FFF2-40B4-BE49-F238E27FC236}">
                  <a16:creationId xmlns:a16="http://schemas.microsoft.com/office/drawing/2014/main" id="{39C391D7-3435-E849-9AA4-2B94FD1C2A10}"/>
                </a:ext>
              </a:extLst>
            </p:cNvPr>
            <p:cNvSpPr/>
            <p:nvPr userDrawn="1"/>
          </p:nvSpPr>
          <p:spPr>
            <a:xfrm>
              <a:off x="329951" y="586804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8" name="Rechthoek 217">
              <a:extLst>
                <a:ext uri="{FF2B5EF4-FFF2-40B4-BE49-F238E27FC236}">
                  <a16:creationId xmlns:a16="http://schemas.microsoft.com/office/drawing/2014/main" id="{80336B4A-BC5E-B341-859F-21150D9EA431}"/>
                </a:ext>
              </a:extLst>
            </p:cNvPr>
            <p:cNvSpPr/>
            <p:nvPr userDrawn="1"/>
          </p:nvSpPr>
          <p:spPr>
            <a:xfrm>
              <a:off x="329951" y="550788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19" name="Rechthoek 218">
              <a:extLst>
                <a:ext uri="{FF2B5EF4-FFF2-40B4-BE49-F238E27FC236}">
                  <a16:creationId xmlns:a16="http://schemas.microsoft.com/office/drawing/2014/main" id="{C100B2F4-DF6F-3040-BD15-E3F157233F62}"/>
                </a:ext>
              </a:extLst>
            </p:cNvPr>
            <p:cNvSpPr/>
            <p:nvPr userDrawn="1"/>
          </p:nvSpPr>
          <p:spPr>
            <a:xfrm>
              <a:off x="11850747" y="4068681"/>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0" name="Rechthoek 219">
              <a:extLst>
                <a:ext uri="{FF2B5EF4-FFF2-40B4-BE49-F238E27FC236}">
                  <a16:creationId xmlns:a16="http://schemas.microsoft.com/office/drawing/2014/main" id="{C142FD20-21C5-4842-86AC-C2181494D833}"/>
                </a:ext>
              </a:extLst>
            </p:cNvPr>
            <p:cNvSpPr/>
            <p:nvPr userDrawn="1"/>
          </p:nvSpPr>
          <p:spPr>
            <a:xfrm>
              <a:off x="11850747" y="3705228"/>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1" name="Rechthoek 220">
              <a:extLst>
                <a:ext uri="{FF2B5EF4-FFF2-40B4-BE49-F238E27FC236}">
                  <a16:creationId xmlns:a16="http://schemas.microsoft.com/office/drawing/2014/main" id="{6BBEBA76-EBB1-7D40-BECE-326DD5FFDBBE}"/>
                </a:ext>
              </a:extLst>
            </p:cNvPr>
            <p:cNvSpPr/>
            <p:nvPr userDrawn="1"/>
          </p:nvSpPr>
          <p:spPr>
            <a:xfrm>
              <a:off x="8965386"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2" name="Rechthoek 221">
              <a:extLst>
                <a:ext uri="{FF2B5EF4-FFF2-40B4-BE49-F238E27FC236}">
                  <a16:creationId xmlns:a16="http://schemas.microsoft.com/office/drawing/2014/main" id="{390EC9D9-BFC0-1B4B-B22D-630CABE0A776}"/>
                </a:ext>
              </a:extLst>
            </p:cNvPr>
            <p:cNvSpPr/>
            <p:nvPr userDrawn="1"/>
          </p:nvSpPr>
          <p:spPr>
            <a:xfrm>
              <a:off x="9325025"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3" name="Rechthoek 222">
              <a:extLst>
                <a:ext uri="{FF2B5EF4-FFF2-40B4-BE49-F238E27FC236}">
                  <a16:creationId xmlns:a16="http://schemas.microsoft.com/office/drawing/2014/main" id="{F2580E9C-7F1C-7143-8185-9FDBCFFE2053}"/>
                </a:ext>
              </a:extLst>
            </p:cNvPr>
            <p:cNvSpPr/>
            <p:nvPr userDrawn="1"/>
          </p:nvSpPr>
          <p:spPr>
            <a:xfrm>
              <a:off x="8604154"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4" name="Rechthoek 223">
              <a:extLst>
                <a:ext uri="{FF2B5EF4-FFF2-40B4-BE49-F238E27FC236}">
                  <a16:creationId xmlns:a16="http://schemas.microsoft.com/office/drawing/2014/main" id="{40749918-C2FA-EA4B-8B1D-178F87A66B40}"/>
                </a:ext>
              </a:extLst>
            </p:cNvPr>
            <p:cNvSpPr/>
            <p:nvPr userDrawn="1"/>
          </p:nvSpPr>
          <p:spPr>
            <a:xfrm>
              <a:off x="7881689"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5" name="Rechthoek 224">
              <a:extLst>
                <a:ext uri="{FF2B5EF4-FFF2-40B4-BE49-F238E27FC236}">
                  <a16:creationId xmlns:a16="http://schemas.microsoft.com/office/drawing/2014/main" id="{B0CE4002-4053-1142-A33F-2004B01B03B3}"/>
                </a:ext>
              </a:extLst>
            </p:cNvPr>
            <p:cNvSpPr/>
            <p:nvPr userDrawn="1"/>
          </p:nvSpPr>
          <p:spPr>
            <a:xfrm>
              <a:off x="8242921"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6" name="Rechthoek 225">
              <a:extLst>
                <a:ext uri="{FF2B5EF4-FFF2-40B4-BE49-F238E27FC236}">
                  <a16:creationId xmlns:a16="http://schemas.microsoft.com/office/drawing/2014/main" id="{0C218EB2-4A88-5A49-B3AA-AA0B26592E2E}"/>
                </a:ext>
              </a:extLst>
            </p:cNvPr>
            <p:cNvSpPr/>
            <p:nvPr userDrawn="1"/>
          </p:nvSpPr>
          <p:spPr>
            <a:xfrm>
              <a:off x="752045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7" name="Rechthoek 226">
              <a:extLst>
                <a:ext uri="{FF2B5EF4-FFF2-40B4-BE49-F238E27FC236}">
                  <a16:creationId xmlns:a16="http://schemas.microsoft.com/office/drawing/2014/main" id="{1E9ABF66-0782-4A4B-8A8A-51545DEB317B}"/>
                </a:ext>
              </a:extLst>
            </p:cNvPr>
            <p:cNvSpPr/>
            <p:nvPr userDrawn="1"/>
          </p:nvSpPr>
          <p:spPr>
            <a:xfrm>
              <a:off x="7163284"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8" name="Rechthoek 227">
              <a:extLst>
                <a:ext uri="{FF2B5EF4-FFF2-40B4-BE49-F238E27FC236}">
                  <a16:creationId xmlns:a16="http://schemas.microsoft.com/office/drawing/2014/main" id="{DCB94A92-477E-F04E-9C41-AE775034B0C0}"/>
                </a:ext>
              </a:extLst>
            </p:cNvPr>
            <p:cNvSpPr/>
            <p:nvPr userDrawn="1"/>
          </p:nvSpPr>
          <p:spPr>
            <a:xfrm>
              <a:off x="9684933"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9" name="Rechthoek 228">
              <a:extLst>
                <a:ext uri="{FF2B5EF4-FFF2-40B4-BE49-F238E27FC236}">
                  <a16:creationId xmlns:a16="http://schemas.microsoft.com/office/drawing/2014/main" id="{7C82C1B4-1864-5248-8A1F-AF65828C0DEE}"/>
                </a:ext>
              </a:extLst>
            </p:cNvPr>
            <p:cNvSpPr/>
            <p:nvPr userDrawn="1"/>
          </p:nvSpPr>
          <p:spPr>
            <a:xfrm>
              <a:off x="10048025"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0" name="Rechthoek 229">
              <a:extLst>
                <a:ext uri="{FF2B5EF4-FFF2-40B4-BE49-F238E27FC236}">
                  <a16:creationId xmlns:a16="http://schemas.microsoft.com/office/drawing/2014/main" id="{C4E42661-C7E0-6142-A549-FB4CA09DFD35}"/>
                </a:ext>
              </a:extLst>
            </p:cNvPr>
            <p:cNvSpPr/>
            <p:nvPr userDrawn="1"/>
          </p:nvSpPr>
          <p:spPr>
            <a:xfrm>
              <a:off x="10407932"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1" name="Rechthoek 230">
              <a:extLst>
                <a:ext uri="{FF2B5EF4-FFF2-40B4-BE49-F238E27FC236}">
                  <a16:creationId xmlns:a16="http://schemas.microsoft.com/office/drawing/2014/main" id="{A867ABC2-D1C2-1A44-A851-A10AE32BC323}"/>
                </a:ext>
              </a:extLst>
            </p:cNvPr>
            <p:cNvSpPr/>
            <p:nvPr userDrawn="1"/>
          </p:nvSpPr>
          <p:spPr>
            <a:xfrm>
              <a:off x="10769432"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2" name="Rechthoek 231">
              <a:extLst>
                <a:ext uri="{FF2B5EF4-FFF2-40B4-BE49-F238E27FC236}">
                  <a16:creationId xmlns:a16="http://schemas.microsoft.com/office/drawing/2014/main" id="{218DD0C7-4642-8C49-9104-0C8908F22AC0}"/>
                </a:ext>
              </a:extLst>
            </p:cNvPr>
            <p:cNvSpPr/>
            <p:nvPr userDrawn="1"/>
          </p:nvSpPr>
          <p:spPr>
            <a:xfrm>
              <a:off x="11129340"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3" name="Rechthoek 232">
              <a:extLst>
                <a:ext uri="{FF2B5EF4-FFF2-40B4-BE49-F238E27FC236}">
                  <a16:creationId xmlns:a16="http://schemas.microsoft.com/office/drawing/2014/main" id="{ECF6F341-4C31-F34B-AD4B-8921C94E28E7}"/>
                </a:ext>
              </a:extLst>
            </p:cNvPr>
            <p:cNvSpPr/>
            <p:nvPr userDrawn="1"/>
          </p:nvSpPr>
          <p:spPr>
            <a:xfrm>
              <a:off x="1148924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4" name="Rechthoek 233">
              <a:extLst>
                <a:ext uri="{FF2B5EF4-FFF2-40B4-BE49-F238E27FC236}">
                  <a16:creationId xmlns:a16="http://schemas.microsoft.com/office/drawing/2014/main" id="{D155DAF5-E02E-854F-B639-F80C75286DA8}"/>
                </a:ext>
              </a:extLst>
            </p:cNvPr>
            <p:cNvSpPr/>
            <p:nvPr userDrawn="1"/>
          </p:nvSpPr>
          <p:spPr>
            <a:xfrm>
              <a:off x="11850747" y="3345065"/>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5" name="Rechthoek 234">
              <a:extLst>
                <a:ext uri="{FF2B5EF4-FFF2-40B4-BE49-F238E27FC236}">
                  <a16:creationId xmlns:a16="http://schemas.microsoft.com/office/drawing/2014/main" id="{67EB18EA-8F75-314E-AB8C-69953FAA4662}"/>
                </a:ext>
              </a:extLst>
            </p:cNvPr>
            <p:cNvSpPr/>
            <p:nvPr userDrawn="1"/>
          </p:nvSpPr>
          <p:spPr>
            <a:xfrm>
              <a:off x="11850747" y="5150089"/>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6" name="Rechthoek 235">
              <a:extLst>
                <a:ext uri="{FF2B5EF4-FFF2-40B4-BE49-F238E27FC236}">
                  <a16:creationId xmlns:a16="http://schemas.microsoft.com/office/drawing/2014/main" id="{CE24762E-DB4D-C149-B013-C3DC524A2220}"/>
                </a:ext>
              </a:extLst>
            </p:cNvPr>
            <p:cNvSpPr/>
            <p:nvPr userDrawn="1"/>
          </p:nvSpPr>
          <p:spPr>
            <a:xfrm>
              <a:off x="11850747" y="4786636"/>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7" name="Rechthoek 236">
              <a:extLst>
                <a:ext uri="{FF2B5EF4-FFF2-40B4-BE49-F238E27FC236}">
                  <a16:creationId xmlns:a16="http://schemas.microsoft.com/office/drawing/2014/main" id="{1D78AC82-DA2B-A249-9186-EED1B20F06E8}"/>
                </a:ext>
              </a:extLst>
            </p:cNvPr>
            <p:cNvSpPr/>
            <p:nvPr userDrawn="1"/>
          </p:nvSpPr>
          <p:spPr>
            <a:xfrm>
              <a:off x="11850747" y="442647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8" name="Rechthoek 237">
              <a:extLst>
                <a:ext uri="{FF2B5EF4-FFF2-40B4-BE49-F238E27FC236}">
                  <a16:creationId xmlns:a16="http://schemas.microsoft.com/office/drawing/2014/main" id="{EC3EFAF2-38DB-2641-8B86-FBEDC1508BFC}"/>
                </a:ext>
              </a:extLst>
            </p:cNvPr>
            <p:cNvSpPr/>
            <p:nvPr userDrawn="1"/>
          </p:nvSpPr>
          <p:spPr>
            <a:xfrm>
              <a:off x="11850747" y="5868044"/>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9" name="Rechthoek 238">
              <a:extLst>
                <a:ext uri="{FF2B5EF4-FFF2-40B4-BE49-F238E27FC236}">
                  <a16:creationId xmlns:a16="http://schemas.microsoft.com/office/drawing/2014/main" id="{A6120113-A263-B647-9685-C8B1569917A1}"/>
                </a:ext>
              </a:extLst>
            </p:cNvPr>
            <p:cNvSpPr/>
            <p:nvPr userDrawn="1"/>
          </p:nvSpPr>
          <p:spPr>
            <a:xfrm>
              <a:off x="11850747" y="5507882"/>
              <a:ext cx="54358" cy="5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cxnSp>
        <p:nvCxnSpPr>
          <p:cNvPr id="3" name="Rechte verbindingslijn 2">
            <a:extLst>
              <a:ext uri="{FF2B5EF4-FFF2-40B4-BE49-F238E27FC236}">
                <a16:creationId xmlns:a16="http://schemas.microsoft.com/office/drawing/2014/main" id="{FC1C4C89-F2EB-184A-A367-D71D2885D609}"/>
              </a:ext>
            </a:extLst>
          </p:cNvPr>
          <p:cNvCxnSpPr>
            <a:cxnSpLocks/>
          </p:cNvCxnSpPr>
          <p:nvPr userDrawn="1"/>
        </p:nvCxnSpPr>
        <p:spPr>
          <a:xfrm>
            <a:off x="0" y="123522"/>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Rechte verbindingslijn 286">
            <a:extLst>
              <a:ext uri="{FF2B5EF4-FFF2-40B4-BE49-F238E27FC236}">
                <a16:creationId xmlns:a16="http://schemas.microsoft.com/office/drawing/2014/main" id="{EA548EF4-A5E7-044C-B41D-A2BFC5DBD9F6}"/>
              </a:ext>
            </a:extLst>
          </p:cNvPr>
          <p:cNvCxnSpPr/>
          <p:nvPr userDrawn="1"/>
        </p:nvCxnSpPr>
        <p:spPr>
          <a:xfrm>
            <a:off x="0" y="48425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8" name="Rechte verbindingslijn 287">
            <a:extLst>
              <a:ext uri="{FF2B5EF4-FFF2-40B4-BE49-F238E27FC236}">
                <a16:creationId xmlns:a16="http://schemas.microsoft.com/office/drawing/2014/main" id="{176C7794-D454-C44D-8BBF-8DD01D8D87DA}"/>
              </a:ext>
            </a:extLst>
          </p:cNvPr>
          <p:cNvCxnSpPr/>
          <p:nvPr userDrawn="1"/>
        </p:nvCxnSpPr>
        <p:spPr>
          <a:xfrm>
            <a:off x="0" y="844984"/>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9" name="Rechte verbindingslijn 288">
            <a:extLst>
              <a:ext uri="{FF2B5EF4-FFF2-40B4-BE49-F238E27FC236}">
                <a16:creationId xmlns:a16="http://schemas.microsoft.com/office/drawing/2014/main" id="{52A11350-A6A3-7D43-BF28-8128697A10AC}"/>
              </a:ext>
            </a:extLst>
          </p:cNvPr>
          <p:cNvCxnSpPr/>
          <p:nvPr userDrawn="1"/>
        </p:nvCxnSpPr>
        <p:spPr>
          <a:xfrm>
            <a:off x="0" y="120571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0" name="Rechte verbindingslijn 289">
            <a:extLst>
              <a:ext uri="{FF2B5EF4-FFF2-40B4-BE49-F238E27FC236}">
                <a16:creationId xmlns:a16="http://schemas.microsoft.com/office/drawing/2014/main" id="{16E1826E-4AEE-1140-B5E6-20F9DC737437}"/>
              </a:ext>
            </a:extLst>
          </p:cNvPr>
          <p:cNvCxnSpPr/>
          <p:nvPr userDrawn="1"/>
        </p:nvCxnSpPr>
        <p:spPr>
          <a:xfrm>
            <a:off x="0" y="156644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1" name="Rechte verbindingslijn 290">
            <a:extLst>
              <a:ext uri="{FF2B5EF4-FFF2-40B4-BE49-F238E27FC236}">
                <a16:creationId xmlns:a16="http://schemas.microsoft.com/office/drawing/2014/main" id="{07A73483-FF5C-A24E-880B-EF9AC2931B17}"/>
              </a:ext>
            </a:extLst>
          </p:cNvPr>
          <p:cNvCxnSpPr/>
          <p:nvPr userDrawn="1"/>
        </p:nvCxnSpPr>
        <p:spPr>
          <a:xfrm>
            <a:off x="0" y="1927177"/>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2" name="Rechte verbindingslijn 291">
            <a:extLst>
              <a:ext uri="{FF2B5EF4-FFF2-40B4-BE49-F238E27FC236}">
                <a16:creationId xmlns:a16="http://schemas.microsoft.com/office/drawing/2014/main" id="{3D70DCCD-8511-ED43-8D0A-8BE1BF1844F4}"/>
              </a:ext>
            </a:extLst>
          </p:cNvPr>
          <p:cNvCxnSpPr/>
          <p:nvPr userDrawn="1"/>
        </p:nvCxnSpPr>
        <p:spPr>
          <a:xfrm>
            <a:off x="0" y="2287908"/>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3" name="Rechte verbindingslijn 292">
            <a:extLst>
              <a:ext uri="{FF2B5EF4-FFF2-40B4-BE49-F238E27FC236}">
                <a16:creationId xmlns:a16="http://schemas.microsoft.com/office/drawing/2014/main" id="{7908FA16-2E13-0442-AE93-F9FED0CCE5A7}"/>
              </a:ext>
            </a:extLst>
          </p:cNvPr>
          <p:cNvCxnSpPr/>
          <p:nvPr userDrawn="1"/>
        </p:nvCxnSpPr>
        <p:spPr>
          <a:xfrm>
            <a:off x="0" y="2648639"/>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4" name="Rechte verbindingslijn 293">
            <a:extLst>
              <a:ext uri="{FF2B5EF4-FFF2-40B4-BE49-F238E27FC236}">
                <a16:creationId xmlns:a16="http://schemas.microsoft.com/office/drawing/2014/main" id="{C91C00AD-466F-0C45-A173-372E4DE14AFB}"/>
              </a:ext>
            </a:extLst>
          </p:cNvPr>
          <p:cNvCxnSpPr/>
          <p:nvPr userDrawn="1"/>
        </p:nvCxnSpPr>
        <p:spPr>
          <a:xfrm>
            <a:off x="0" y="3009370"/>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5" name="Rechte verbindingslijn 294">
            <a:extLst>
              <a:ext uri="{FF2B5EF4-FFF2-40B4-BE49-F238E27FC236}">
                <a16:creationId xmlns:a16="http://schemas.microsoft.com/office/drawing/2014/main" id="{52A8C5D3-D35E-B34A-91E2-4B640C027FDA}"/>
              </a:ext>
            </a:extLst>
          </p:cNvPr>
          <p:cNvCxnSpPr/>
          <p:nvPr userDrawn="1"/>
        </p:nvCxnSpPr>
        <p:spPr>
          <a:xfrm>
            <a:off x="0" y="3370101"/>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7" name="Rechte verbindingslijn 296">
            <a:extLst>
              <a:ext uri="{FF2B5EF4-FFF2-40B4-BE49-F238E27FC236}">
                <a16:creationId xmlns:a16="http://schemas.microsoft.com/office/drawing/2014/main" id="{23607342-B411-C344-ADAB-BC4B77BBFCEC}"/>
              </a:ext>
            </a:extLst>
          </p:cNvPr>
          <p:cNvCxnSpPr/>
          <p:nvPr userDrawn="1"/>
        </p:nvCxnSpPr>
        <p:spPr>
          <a:xfrm>
            <a:off x="0" y="409156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8" name="Rechte verbindingslijn 297">
            <a:extLst>
              <a:ext uri="{FF2B5EF4-FFF2-40B4-BE49-F238E27FC236}">
                <a16:creationId xmlns:a16="http://schemas.microsoft.com/office/drawing/2014/main" id="{A2F6786E-C0EF-994A-9253-27CEF2051A82}"/>
              </a:ext>
            </a:extLst>
          </p:cNvPr>
          <p:cNvCxnSpPr/>
          <p:nvPr userDrawn="1"/>
        </p:nvCxnSpPr>
        <p:spPr>
          <a:xfrm>
            <a:off x="0" y="4452294"/>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9" name="Rechte verbindingslijn 298">
            <a:extLst>
              <a:ext uri="{FF2B5EF4-FFF2-40B4-BE49-F238E27FC236}">
                <a16:creationId xmlns:a16="http://schemas.microsoft.com/office/drawing/2014/main" id="{C7029F7F-9F94-9740-863D-9E52FDFC2663}"/>
              </a:ext>
            </a:extLst>
          </p:cNvPr>
          <p:cNvCxnSpPr/>
          <p:nvPr userDrawn="1"/>
        </p:nvCxnSpPr>
        <p:spPr>
          <a:xfrm>
            <a:off x="0" y="481302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0" name="Rechte verbindingslijn 299">
            <a:extLst>
              <a:ext uri="{FF2B5EF4-FFF2-40B4-BE49-F238E27FC236}">
                <a16:creationId xmlns:a16="http://schemas.microsoft.com/office/drawing/2014/main" id="{2FBD54ED-1929-434A-9398-4055F5F1C8F8}"/>
              </a:ext>
            </a:extLst>
          </p:cNvPr>
          <p:cNvCxnSpPr/>
          <p:nvPr userDrawn="1"/>
        </p:nvCxnSpPr>
        <p:spPr>
          <a:xfrm>
            <a:off x="0" y="5173756"/>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2" name="Rechte verbindingslijn 301">
            <a:extLst>
              <a:ext uri="{FF2B5EF4-FFF2-40B4-BE49-F238E27FC236}">
                <a16:creationId xmlns:a16="http://schemas.microsoft.com/office/drawing/2014/main" id="{0D62A316-6216-8247-8DE7-344C71F92CEA}"/>
              </a:ext>
            </a:extLst>
          </p:cNvPr>
          <p:cNvCxnSpPr>
            <a:cxnSpLocks/>
          </p:cNvCxnSpPr>
          <p:nvPr userDrawn="1"/>
        </p:nvCxnSpPr>
        <p:spPr>
          <a:xfrm>
            <a:off x="0" y="5895223"/>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3" name="Rechte verbindingslijn 302">
            <a:extLst>
              <a:ext uri="{FF2B5EF4-FFF2-40B4-BE49-F238E27FC236}">
                <a16:creationId xmlns:a16="http://schemas.microsoft.com/office/drawing/2014/main" id="{5375DFB1-E5F9-AC41-857C-595E358D7B3B}"/>
              </a:ext>
            </a:extLst>
          </p:cNvPr>
          <p:cNvCxnSpPr>
            <a:cxnSpLocks/>
          </p:cNvCxnSpPr>
          <p:nvPr userDrawn="1"/>
        </p:nvCxnSpPr>
        <p:spPr>
          <a:xfrm>
            <a:off x="35713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4" name="Rechte verbindingslijn 303">
            <a:extLst>
              <a:ext uri="{FF2B5EF4-FFF2-40B4-BE49-F238E27FC236}">
                <a16:creationId xmlns:a16="http://schemas.microsoft.com/office/drawing/2014/main" id="{CE0D2B8C-AFB7-9B4A-9A63-159D4F59CEC5}"/>
              </a:ext>
            </a:extLst>
          </p:cNvPr>
          <p:cNvCxnSpPr>
            <a:cxnSpLocks/>
          </p:cNvCxnSpPr>
          <p:nvPr userDrawn="1"/>
        </p:nvCxnSpPr>
        <p:spPr>
          <a:xfrm>
            <a:off x="71836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6" name="Rechte verbindingslijn 305">
            <a:extLst>
              <a:ext uri="{FF2B5EF4-FFF2-40B4-BE49-F238E27FC236}">
                <a16:creationId xmlns:a16="http://schemas.microsoft.com/office/drawing/2014/main" id="{06BE2066-4885-104B-943F-0A4AEB318276}"/>
              </a:ext>
            </a:extLst>
          </p:cNvPr>
          <p:cNvCxnSpPr>
            <a:cxnSpLocks/>
          </p:cNvCxnSpPr>
          <p:nvPr userDrawn="1"/>
        </p:nvCxnSpPr>
        <p:spPr>
          <a:xfrm>
            <a:off x="143676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7" name="Rechte verbindingslijn 306">
            <a:extLst>
              <a:ext uri="{FF2B5EF4-FFF2-40B4-BE49-F238E27FC236}">
                <a16:creationId xmlns:a16="http://schemas.microsoft.com/office/drawing/2014/main" id="{DF2A8E07-91EA-BA42-9ADA-5C2BC5F46821}"/>
              </a:ext>
            </a:extLst>
          </p:cNvPr>
          <p:cNvCxnSpPr>
            <a:cxnSpLocks/>
          </p:cNvCxnSpPr>
          <p:nvPr userDrawn="1"/>
        </p:nvCxnSpPr>
        <p:spPr>
          <a:xfrm>
            <a:off x="179799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8" name="Rechte verbindingslijn 307">
            <a:extLst>
              <a:ext uri="{FF2B5EF4-FFF2-40B4-BE49-F238E27FC236}">
                <a16:creationId xmlns:a16="http://schemas.microsoft.com/office/drawing/2014/main" id="{773FA7DF-637A-3944-93BE-6E7C1A162EFB}"/>
              </a:ext>
            </a:extLst>
          </p:cNvPr>
          <p:cNvCxnSpPr>
            <a:cxnSpLocks/>
          </p:cNvCxnSpPr>
          <p:nvPr userDrawn="1"/>
        </p:nvCxnSpPr>
        <p:spPr>
          <a:xfrm>
            <a:off x="215923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9" name="Rechte verbindingslijn 308">
            <a:extLst>
              <a:ext uri="{FF2B5EF4-FFF2-40B4-BE49-F238E27FC236}">
                <a16:creationId xmlns:a16="http://schemas.microsoft.com/office/drawing/2014/main" id="{A1EECD3E-1FDE-0E40-B120-599F65F6A613}"/>
              </a:ext>
            </a:extLst>
          </p:cNvPr>
          <p:cNvCxnSpPr>
            <a:cxnSpLocks/>
          </p:cNvCxnSpPr>
          <p:nvPr userDrawn="1"/>
        </p:nvCxnSpPr>
        <p:spPr>
          <a:xfrm>
            <a:off x="252046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0" name="Rechte verbindingslijn 309">
            <a:extLst>
              <a:ext uri="{FF2B5EF4-FFF2-40B4-BE49-F238E27FC236}">
                <a16:creationId xmlns:a16="http://schemas.microsoft.com/office/drawing/2014/main" id="{9D312BC6-6923-C84C-ADF0-23842727A099}"/>
              </a:ext>
            </a:extLst>
          </p:cNvPr>
          <p:cNvCxnSpPr>
            <a:cxnSpLocks/>
          </p:cNvCxnSpPr>
          <p:nvPr userDrawn="1"/>
        </p:nvCxnSpPr>
        <p:spPr>
          <a:xfrm>
            <a:off x="288169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2" name="Rechte verbindingslijn 311">
            <a:extLst>
              <a:ext uri="{FF2B5EF4-FFF2-40B4-BE49-F238E27FC236}">
                <a16:creationId xmlns:a16="http://schemas.microsoft.com/office/drawing/2014/main" id="{6BA109E6-B2C6-5D4C-964F-A81DCA918619}"/>
              </a:ext>
            </a:extLst>
          </p:cNvPr>
          <p:cNvCxnSpPr>
            <a:cxnSpLocks/>
          </p:cNvCxnSpPr>
          <p:nvPr userDrawn="1"/>
        </p:nvCxnSpPr>
        <p:spPr>
          <a:xfrm>
            <a:off x="360124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3" name="Rechte verbindingslijn 312">
            <a:extLst>
              <a:ext uri="{FF2B5EF4-FFF2-40B4-BE49-F238E27FC236}">
                <a16:creationId xmlns:a16="http://schemas.microsoft.com/office/drawing/2014/main" id="{28F56A07-73CD-794B-8651-F420EB4379D6}"/>
              </a:ext>
            </a:extLst>
          </p:cNvPr>
          <p:cNvCxnSpPr>
            <a:cxnSpLocks/>
          </p:cNvCxnSpPr>
          <p:nvPr userDrawn="1"/>
        </p:nvCxnSpPr>
        <p:spPr>
          <a:xfrm>
            <a:off x="396433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4" name="Rechte verbindingslijn 313">
            <a:extLst>
              <a:ext uri="{FF2B5EF4-FFF2-40B4-BE49-F238E27FC236}">
                <a16:creationId xmlns:a16="http://schemas.microsoft.com/office/drawing/2014/main" id="{79A941C0-BD0C-F449-BCF0-1E8BEAE7CB1C}"/>
              </a:ext>
            </a:extLst>
          </p:cNvPr>
          <p:cNvCxnSpPr>
            <a:cxnSpLocks/>
          </p:cNvCxnSpPr>
          <p:nvPr userDrawn="1"/>
        </p:nvCxnSpPr>
        <p:spPr>
          <a:xfrm>
            <a:off x="432424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5" name="Rechte verbindingslijn 314">
            <a:extLst>
              <a:ext uri="{FF2B5EF4-FFF2-40B4-BE49-F238E27FC236}">
                <a16:creationId xmlns:a16="http://schemas.microsoft.com/office/drawing/2014/main" id="{5BFBF68D-38A9-124D-95C9-FA82A27C7E21}"/>
              </a:ext>
            </a:extLst>
          </p:cNvPr>
          <p:cNvCxnSpPr>
            <a:cxnSpLocks/>
          </p:cNvCxnSpPr>
          <p:nvPr userDrawn="1"/>
        </p:nvCxnSpPr>
        <p:spPr>
          <a:xfrm>
            <a:off x="468574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6" name="Rechte verbindingslijn 315">
            <a:extLst>
              <a:ext uri="{FF2B5EF4-FFF2-40B4-BE49-F238E27FC236}">
                <a16:creationId xmlns:a16="http://schemas.microsoft.com/office/drawing/2014/main" id="{1162E74A-6454-D244-9A5A-D8A78CB42144}"/>
              </a:ext>
            </a:extLst>
          </p:cNvPr>
          <p:cNvCxnSpPr>
            <a:cxnSpLocks/>
          </p:cNvCxnSpPr>
          <p:nvPr userDrawn="1"/>
        </p:nvCxnSpPr>
        <p:spPr>
          <a:xfrm>
            <a:off x="504565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7" name="Rechte verbindingslijn 316">
            <a:extLst>
              <a:ext uri="{FF2B5EF4-FFF2-40B4-BE49-F238E27FC236}">
                <a16:creationId xmlns:a16="http://schemas.microsoft.com/office/drawing/2014/main" id="{249F44F6-BBA5-C94C-9C29-3533B1746269}"/>
              </a:ext>
            </a:extLst>
          </p:cNvPr>
          <p:cNvCxnSpPr>
            <a:cxnSpLocks/>
          </p:cNvCxnSpPr>
          <p:nvPr userDrawn="1"/>
        </p:nvCxnSpPr>
        <p:spPr>
          <a:xfrm>
            <a:off x="540555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8" name="Rechte verbindingslijn 317">
            <a:extLst>
              <a:ext uri="{FF2B5EF4-FFF2-40B4-BE49-F238E27FC236}">
                <a16:creationId xmlns:a16="http://schemas.microsoft.com/office/drawing/2014/main" id="{821C349D-A6AD-694C-B825-D2DE8169386E}"/>
              </a:ext>
            </a:extLst>
          </p:cNvPr>
          <p:cNvCxnSpPr>
            <a:cxnSpLocks/>
          </p:cNvCxnSpPr>
          <p:nvPr userDrawn="1"/>
        </p:nvCxnSpPr>
        <p:spPr>
          <a:xfrm>
            <a:off x="5767057"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9" name="Rechte verbindingslijn 318">
            <a:extLst>
              <a:ext uri="{FF2B5EF4-FFF2-40B4-BE49-F238E27FC236}">
                <a16:creationId xmlns:a16="http://schemas.microsoft.com/office/drawing/2014/main" id="{C96F41EE-41AC-7D43-A58A-2905EE8F58CB}"/>
              </a:ext>
            </a:extLst>
          </p:cNvPr>
          <p:cNvCxnSpPr>
            <a:cxnSpLocks/>
          </p:cNvCxnSpPr>
          <p:nvPr userDrawn="1"/>
        </p:nvCxnSpPr>
        <p:spPr>
          <a:xfrm>
            <a:off x="61108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0" name="Rechte verbindingslijn 319">
            <a:extLst>
              <a:ext uri="{FF2B5EF4-FFF2-40B4-BE49-F238E27FC236}">
                <a16:creationId xmlns:a16="http://schemas.microsoft.com/office/drawing/2014/main" id="{AFE07DEF-26B5-E945-8B07-0926E72AD034}"/>
              </a:ext>
            </a:extLst>
          </p:cNvPr>
          <p:cNvCxnSpPr>
            <a:cxnSpLocks/>
          </p:cNvCxnSpPr>
          <p:nvPr userDrawn="1"/>
        </p:nvCxnSpPr>
        <p:spPr>
          <a:xfrm>
            <a:off x="646799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1" name="Rechte verbindingslijn 320">
            <a:extLst>
              <a:ext uri="{FF2B5EF4-FFF2-40B4-BE49-F238E27FC236}">
                <a16:creationId xmlns:a16="http://schemas.microsoft.com/office/drawing/2014/main" id="{E72A3348-AF42-8E49-928C-F48BF5B34E9C}"/>
              </a:ext>
            </a:extLst>
          </p:cNvPr>
          <p:cNvCxnSpPr>
            <a:cxnSpLocks/>
          </p:cNvCxnSpPr>
          <p:nvPr userDrawn="1"/>
        </p:nvCxnSpPr>
        <p:spPr>
          <a:xfrm>
            <a:off x="682923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2" name="Rechte verbindingslijn 321">
            <a:extLst>
              <a:ext uri="{FF2B5EF4-FFF2-40B4-BE49-F238E27FC236}">
                <a16:creationId xmlns:a16="http://schemas.microsoft.com/office/drawing/2014/main" id="{66BE4BD5-4166-B940-BF9F-75DF4A7A6E48}"/>
              </a:ext>
            </a:extLst>
          </p:cNvPr>
          <p:cNvCxnSpPr>
            <a:cxnSpLocks/>
          </p:cNvCxnSpPr>
          <p:nvPr userDrawn="1"/>
        </p:nvCxnSpPr>
        <p:spPr>
          <a:xfrm>
            <a:off x="719046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3" name="Rechte verbindingslijn 322">
            <a:extLst>
              <a:ext uri="{FF2B5EF4-FFF2-40B4-BE49-F238E27FC236}">
                <a16:creationId xmlns:a16="http://schemas.microsoft.com/office/drawing/2014/main" id="{AB9826B0-EA82-974B-9561-FA08C841285E}"/>
              </a:ext>
            </a:extLst>
          </p:cNvPr>
          <p:cNvCxnSpPr>
            <a:cxnSpLocks/>
          </p:cNvCxnSpPr>
          <p:nvPr userDrawn="1"/>
        </p:nvCxnSpPr>
        <p:spPr>
          <a:xfrm>
            <a:off x="754763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4" name="Rechte verbindingslijn 323">
            <a:extLst>
              <a:ext uri="{FF2B5EF4-FFF2-40B4-BE49-F238E27FC236}">
                <a16:creationId xmlns:a16="http://schemas.microsoft.com/office/drawing/2014/main" id="{4CE27E73-0E17-CE4B-84DB-BC7EC5DDD743}"/>
              </a:ext>
            </a:extLst>
          </p:cNvPr>
          <p:cNvCxnSpPr>
            <a:cxnSpLocks/>
          </p:cNvCxnSpPr>
          <p:nvPr userDrawn="1"/>
        </p:nvCxnSpPr>
        <p:spPr>
          <a:xfrm>
            <a:off x="7908868"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5" name="Rechte verbindingslijn 324">
            <a:extLst>
              <a:ext uri="{FF2B5EF4-FFF2-40B4-BE49-F238E27FC236}">
                <a16:creationId xmlns:a16="http://schemas.microsoft.com/office/drawing/2014/main" id="{8197F9F6-7F80-A44D-8628-403C56C33385}"/>
              </a:ext>
            </a:extLst>
          </p:cNvPr>
          <p:cNvCxnSpPr>
            <a:cxnSpLocks/>
          </p:cNvCxnSpPr>
          <p:nvPr userDrawn="1"/>
        </p:nvCxnSpPr>
        <p:spPr>
          <a:xfrm>
            <a:off x="8270100"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6" name="Rechte verbindingslijn 325">
            <a:extLst>
              <a:ext uri="{FF2B5EF4-FFF2-40B4-BE49-F238E27FC236}">
                <a16:creationId xmlns:a16="http://schemas.microsoft.com/office/drawing/2014/main" id="{5C7816E2-8BD3-7644-8E43-ABE32197C4FD}"/>
              </a:ext>
            </a:extLst>
          </p:cNvPr>
          <p:cNvCxnSpPr>
            <a:cxnSpLocks/>
          </p:cNvCxnSpPr>
          <p:nvPr userDrawn="1"/>
        </p:nvCxnSpPr>
        <p:spPr>
          <a:xfrm>
            <a:off x="8631333"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7" name="Rechte verbindingslijn 326">
            <a:extLst>
              <a:ext uri="{FF2B5EF4-FFF2-40B4-BE49-F238E27FC236}">
                <a16:creationId xmlns:a16="http://schemas.microsoft.com/office/drawing/2014/main" id="{FEA4CC9D-DD6C-7548-86C1-20561E90E406}"/>
              </a:ext>
            </a:extLst>
          </p:cNvPr>
          <p:cNvCxnSpPr>
            <a:cxnSpLocks/>
          </p:cNvCxnSpPr>
          <p:nvPr userDrawn="1"/>
        </p:nvCxnSpPr>
        <p:spPr>
          <a:xfrm>
            <a:off x="899256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8" name="Rechte verbindingslijn 327">
            <a:extLst>
              <a:ext uri="{FF2B5EF4-FFF2-40B4-BE49-F238E27FC236}">
                <a16:creationId xmlns:a16="http://schemas.microsoft.com/office/drawing/2014/main" id="{09CD2479-6804-3943-AD48-1A9FC44AC96A}"/>
              </a:ext>
            </a:extLst>
          </p:cNvPr>
          <p:cNvCxnSpPr>
            <a:cxnSpLocks/>
          </p:cNvCxnSpPr>
          <p:nvPr userDrawn="1"/>
        </p:nvCxnSpPr>
        <p:spPr>
          <a:xfrm>
            <a:off x="935220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Rechte verbindingslijn 328">
            <a:extLst>
              <a:ext uri="{FF2B5EF4-FFF2-40B4-BE49-F238E27FC236}">
                <a16:creationId xmlns:a16="http://schemas.microsoft.com/office/drawing/2014/main" id="{E63323EC-60A4-E145-A997-E126CAD514E2}"/>
              </a:ext>
            </a:extLst>
          </p:cNvPr>
          <p:cNvCxnSpPr>
            <a:cxnSpLocks/>
          </p:cNvCxnSpPr>
          <p:nvPr userDrawn="1"/>
        </p:nvCxnSpPr>
        <p:spPr>
          <a:xfrm>
            <a:off x="971211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0" name="Rechte verbindingslijn 329">
            <a:extLst>
              <a:ext uri="{FF2B5EF4-FFF2-40B4-BE49-F238E27FC236}">
                <a16:creationId xmlns:a16="http://schemas.microsoft.com/office/drawing/2014/main" id="{45F6A9E1-EE02-044B-B406-74D2D8A5E8BC}"/>
              </a:ext>
            </a:extLst>
          </p:cNvPr>
          <p:cNvCxnSpPr>
            <a:cxnSpLocks/>
          </p:cNvCxnSpPr>
          <p:nvPr userDrawn="1"/>
        </p:nvCxnSpPr>
        <p:spPr>
          <a:xfrm>
            <a:off x="1007520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1" name="Rechte verbindingslijn 330">
            <a:extLst>
              <a:ext uri="{FF2B5EF4-FFF2-40B4-BE49-F238E27FC236}">
                <a16:creationId xmlns:a16="http://schemas.microsoft.com/office/drawing/2014/main" id="{475B3072-3E2A-784F-A803-8D74B13D18B1}"/>
              </a:ext>
            </a:extLst>
          </p:cNvPr>
          <p:cNvCxnSpPr>
            <a:cxnSpLocks/>
          </p:cNvCxnSpPr>
          <p:nvPr userDrawn="1"/>
        </p:nvCxnSpPr>
        <p:spPr>
          <a:xfrm>
            <a:off x="10407932"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2" name="Rechte verbindingslijn 331">
            <a:extLst>
              <a:ext uri="{FF2B5EF4-FFF2-40B4-BE49-F238E27FC236}">
                <a16:creationId xmlns:a16="http://schemas.microsoft.com/office/drawing/2014/main" id="{B69833E8-3551-0549-A5A0-95E034C1B146}"/>
              </a:ext>
            </a:extLst>
          </p:cNvPr>
          <p:cNvCxnSpPr>
            <a:cxnSpLocks/>
          </p:cNvCxnSpPr>
          <p:nvPr userDrawn="1"/>
        </p:nvCxnSpPr>
        <p:spPr>
          <a:xfrm>
            <a:off x="10796611"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3" name="Rechte verbindingslijn 332">
            <a:extLst>
              <a:ext uri="{FF2B5EF4-FFF2-40B4-BE49-F238E27FC236}">
                <a16:creationId xmlns:a16="http://schemas.microsoft.com/office/drawing/2014/main" id="{F0157305-6574-824A-AB73-2D3791459E27}"/>
              </a:ext>
            </a:extLst>
          </p:cNvPr>
          <p:cNvCxnSpPr>
            <a:cxnSpLocks/>
          </p:cNvCxnSpPr>
          <p:nvPr userDrawn="1"/>
        </p:nvCxnSpPr>
        <p:spPr>
          <a:xfrm>
            <a:off x="11156519"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4" name="Rechte verbindingslijn 333">
            <a:extLst>
              <a:ext uri="{FF2B5EF4-FFF2-40B4-BE49-F238E27FC236}">
                <a16:creationId xmlns:a16="http://schemas.microsoft.com/office/drawing/2014/main" id="{A3A8467A-BFF6-7642-A1FB-A2995CDCD6A5}"/>
              </a:ext>
            </a:extLst>
          </p:cNvPr>
          <p:cNvCxnSpPr>
            <a:cxnSpLocks/>
          </p:cNvCxnSpPr>
          <p:nvPr userDrawn="1"/>
        </p:nvCxnSpPr>
        <p:spPr>
          <a:xfrm>
            <a:off x="115164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5" name="Rechte verbindingslijn 334">
            <a:extLst>
              <a:ext uri="{FF2B5EF4-FFF2-40B4-BE49-F238E27FC236}">
                <a16:creationId xmlns:a16="http://schemas.microsoft.com/office/drawing/2014/main" id="{76C12D7D-1FCF-7142-83C1-1A5DFF936737}"/>
              </a:ext>
            </a:extLst>
          </p:cNvPr>
          <p:cNvCxnSpPr>
            <a:cxnSpLocks/>
          </p:cNvCxnSpPr>
          <p:nvPr userDrawn="1"/>
        </p:nvCxnSpPr>
        <p:spPr>
          <a:xfrm>
            <a:off x="11877926"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jdelijke aanduiding voor datum 3">
            <a:extLst>
              <a:ext uri="{FF2B5EF4-FFF2-40B4-BE49-F238E27FC236}">
                <a16:creationId xmlns:a16="http://schemas.microsoft.com/office/drawing/2014/main" id="{146B7EFA-5249-014A-9A6E-4C9BABB52DA9}"/>
              </a:ext>
            </a:extLst>
          </p:cNvPr>
          <p:cNvSpPr>
            <a:spLocks noGrp="1"/>
          </p:cNvSpPr>
          <p:nvPr userDrawn="1">
            <p:ph type="dt" sz="half" idx="10"/>
          </p:nvPr>
        </p:nvSpPr>
        <p:spPr>
          <a:xfrm>
            <a:off x="1347597" y="6378834"/>
            <a:ext cx="1528579" cy="365125"/>
          </a:xfrm>
          <a:prstGeom prst="rect">
            <a:avLst/>
          </a:prstGeom>
        </p:spPr>
        <p:txBody>
          <a:bodyPr/>
          <a:lstStyle/>
          <a:p>
            <a:fld id="{C7206347-9E61-4E78-BA44-66F8FEE9C93E}" type="datetime4">
              <a:rPr lang="en-GB" noProof="0" smtClean="0"/>
              <a:t>23 January 2025</a:t>
            </a:fld>
            <a:endParaRPr lang="nl-NL"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userDrawn="1">
            <p:ph type="ftr" sz="quarter" idx="11"/>
          </p:nvPr>
        </p:nvSpPr>
        <p:spPr>
          <a:xfrm>
            <a:off x="3151752" y="6378834"/>
            <a:ext cx="4616234" cy="365125"/>
          </a:xfrm>
          <a:prstGeom prst="rect">
            <a:avLst/>
          </a:prstGeom>
        </p:spPr>
        <p:txBody>
          <a:bodyPr/>
          <a:lstStyle>
            <a:lvl1pPr>
              <a:defRPr b="1" i="0">
                <a:latin typeface="Arial" panose="020B0604020202020204" pitchFamily="34" charset="0"/>
                <a:cs typeface="Arial" panose="020B0604020202020204" pitchFamily="34" charset="0"/>
              </a:defRPr>
            </a:lvl1pPr>
          </a:lstStyle>
          <a:p>
            <a:r>
              <a:rPr lang="nl-NL" noProof="0"/>
              <a:t>Confidentiality</a:t>
            </a:r>
            <a:endParaRPr lang="nl-NL" noProof="0" dirty="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userDrawn="1">
            <p:ph type="sldNum" sz="quarter" idx="12"/>
          </p:nvPr>
        </p:nvSpPr>
        <p:spPr>
          <a:xfrm>
            <a:off x="454699" y="6378834"/>
            <a:ext cx="514165" cy="365125"/>
          </a:xfrm>
          <a:prstGeom prst="rect">
            <a:avLst/>
          </a:prstGeom>
        </p:spPr>
        <p:txBody>
          <a:bodyPr/>
          <a:lstStyle/>
          <a:p>
            <a:fld id="{3B0AF0F1-83F4-0746-A551-EEC1F1FEC0BD}" type="slidenum">
              <a:rPr lang="nl-NL" noProof="0" smtClean="0"/>
              <a:t>‹Nr.›</a:t>
            </a:fld>
            <a:endParaRPr lang="nl-NL" noProof="0" dirty="0"/>
          </a:p>
        </p:txBody>
      </p:sp>
      <p:grpSp>
        <p:nvGrpSpPr>
          <p:cNvPr id="11" name="Groep 10">
            <a:extLst>
              <a:ext uri="{FF2B5EF4-FFF2-40B4-BE49-F238E27FC236}">
                <a16:creationId xmlns:a16="http://schemas.microsoft.com/office/drawing/2014/main" id="{9EE19687-E547-8748-804B-91DC58EE1A7D}"/>
              </a:ext>
            </a:extLst>
          </p:cNvPr>
          <p:cNvGrpSpPr/>
          <p:nvPr userDrawn="1"/>
        </p:nvGrpSpPr>
        <p:grpSpPr>
          <a:xfrm>
            <a:off x="2879001" y="4391006"/>
            <a:ext cx="7088912" cy="138113"/>
            <a:chOff x="2879001" y="4391006"/>
            <a:chExt cx="7088912" cy="138113"/>
          </a:xfrm>
        </p:grpSpPr>
        <p:sp>
          <p:nvSpPr>
            <p:cNvPr id="340" name="Line 5">
              <a:extLst>
                <a:ext uri="{FF2B5EF4-FFF2-40B4-BE49-F238E27FC236}">
                  <a16:creationId xmlns:a16="http://schemas.microsoft.com/office/drawing/2014/main" id="{12E6AB72-FC33-A043-A2DF-73AA53231B72}"/>
                </a:ext>
              </a:extLst>
            </p:cNvPr>
            <p:cNvSpPr>
              <a:spLocks noChangeShapeType="1"/>
            </p:cNvSpPr>
            <p:nvPr userDrawn="1"/>
          </p:nvSpPr>
          <p:spPr bwMode="auto">
            <a:xfrm>
              <a:off x="2879001" y="4460062"/>
              <a:ext cx="7088912" cy="0"/>
            </a:xfrm>
            <a:prstGeom prst="line">
              <a:avLst/>
            </a:prstGeom>
            <a:noFill/>
            <a:ln w="19050" cap="flat">
              <a:solidFill>
                <a:srgbClr val="33A92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41" name="Freeform 6">
              <a:extLst>
                <a:ext uri="{FF2B5EF4-FFF2-40B4-BE49-F238E27FC236}">
                  <a16:creationId xmlns:a16="http://schemas.microsoft.com/office/drawing/2014/main" id="{6E57EB53-E772-A040-A925-67CA62235194}"/>
                </a:ext>
              </a:extLst>
            </p:cNvPr>
            <p:cNvSpPr>
              <a:spLocks/>
            </p:cNvSpPr>
            <p:nvPr userDrawn="1"/>
          </p:nvSpPr>
          <p:spPr bwMode="auto">
            <a:xfrm>
              <a:off x="5468436" y="4391006"/>
              <a:ext cx="71438" cy="138113"/>
            </a:xfrm>
            <a:custGeom>
              <a:avLst/>
              <a:gdLst>
                <a:gd name="T0" fmla="*/ 0 w 45"/>
                <a:gd name="T1" fmla="*/ 87 h 87"/>
                <a:gd name="T2" fmla="*/ 45 w 45"/>
                <a:gd name="T3" fmla="*/ 42 h 87"/>
                <a:gd name="T4" fmla="*/ 0 w 45"/>
                <a:gd name="T5" fmla="*/ 0 h 87"/>
                <a:gd name="T6" fmla="*/ 0 w 45"/>
                <a:gd name="T7" fmla="*/ 87 h 87"/>
              </a:gdLst>
              <a:ahLst/>
              <a:cxnLst>
                <a:cxn ang="0">
                  <a:pos x="T0" y="T1"/>
                </a:cxn>
                <a:cxn ang="0">
                  <a:pos x="T2" y="T3"/>
                </a:cxn>
                <a:cxn ang="0">
                  <a:pos x="T4" y="T5"/>
                </a:cxn>
                <a:cxn ang="0">
                  <a:pos x="T6" y="T7"/>
                </a:cxn>
              </a:cxnLst>
              <a:rect l="0" t="0" r="r" b="b"/>
              <a:pathLst>
                <a:path w="45" h="87">
                  <a:moveTo>
                    <a:pt x="0" y="87"/>
                  </a:moveTo>
                  <a:lnTo>
                    <a:pt x="45"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42" name="Freeform 8">
              <a:extLst>
                <a:ext uri="{FF2B5EF4-FFF2-40B4-BE49-F238E27FC236}">
                  <a16:creationId xmlns:a16="http://schemas.microsoft.com/office/drawing/2014/main" id="{7B684CB9-62B7-3843-8B37-799FD700A612}"/>
                </a:ext>
              </a:extLst>
            </p:cNvPr>
            <p:cNvSpPr>
              <a:spLocks/>
            </p:cNvSpPr>
            <p:nvPr userDrawn="1"/>
          </p:nvSpPr>
          <p:spPr bwMode="auto">
            <a:xfrm>
              <a:off x="7605415" y="4391006"/>
              <a:ext cx="66675" cy="138113"/>
            </a:xfrm>
            <a:custGeom>
              <a:avLst/>
              <a:gdLst>
                <a:gd name="T0" fmla="*/ 0 w 42"/>
                <a:gd name="T1" fmla="*/ 87 h 87"/>
                <a:gd name="T2" fmla="*/ 42 w 42"/>
                <a:gd name="T3" fmla="*/ 42 h 87"/>
                <a:gd name="T4" fmla="*/ 0 w 42"/>
                <a:gd name="T5" fmla="*/ 0 h 87"/>
                <a:gd name="T6" fmla="*/ 0 w 42"/>
                <a:gd name="T7" fmla="*/ 87 h 87"/>
              </a:gdLst>
              <a:ahLst/>
              <a:cxnLst>
                <a:cxn ang="0">
                  <a:pos x="T0" y="T1"/>
                </a:cxn>
                <a:cxn ang="0">
                  <a:pos x="T2" y="T3"/>
                </a:cxn>
                <a:cxn ang="0">
                  <a:pos x="T4" y="T5"/>
                </a:cxn>
                <a:cxn ang="0">
                  <a:pos x="T6" y="T7"/>
                </a:cxn>
              </a:cxnLst>
              <a:rect l="0" t="0" r="r" b="b"/>
              <a:pathLst>
                <a:path w="42" h="87">
                  <a:moveTo>
                    <a:pt x="0" y="87"/>
                  </a:moveTo>
                  <a:lnTo>
                    <a:pt x="42"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43" name="Freeform 10">
              <a:extLst>
                <a:ext uri="{FF2B5EF4-FFF2-40B4-BE49-F238E27FC236}">
                  <a16:creationId xmlns:a16="http://schemas.microsoft.com/office/drawing/2014/main" id="{11CDDEF5-2FDA-4C4A-8529-C0E9031CA333}"/>
                </a:ext>
              </a:extLst>
            </p:cNvPr>
            <p:cNvSpPr>
              <a:spLocks/>
            </p:cNvSpPr>
            <p:nvPr userDrawn="1"/>
          </p:nvSpPr>
          <p:spPr bwMode="auto">
            <a:xfrm>
              <a:off x="9594755" y="4391006"/>
              <a:ext cx="66675" cy="138113"/>
            </a:xfrm>
            <a:custGeom>
              <a:avLst/>
              <a:gdLst>
                <a:gd name="T0" fmla="*/ 0 w 42"/>
                <a:gd name="T1" fmla="*/ 87 h 87"/>
                <a:gd name="T2" fmla="*/ 42 w 42"/>
                <a:gd name="T3" fmla="*/ 42 h 87"/>
                <a:gd name="T4" fmla="*/ 0 w 42"/>
                <a:gd name="T5" fmla="*/ 0 h 87"/>
                <a:gd name="T6" fmla="*/ 0 w 42"/>
                <a:gd name="T7" fmla="*/ 87 h 87"/>
              </a:gdLst>
              <a:ahLst/>
              <a:cxnLst>
                <a:cxn ang="0">
                  <a:pos x="T0" y="T1"/>
                </a:cxn>
                <a:cxn ang="0">
                  <a:pos x="T2" y="T3"/>
                </a:cxn>
                <a:cxn ang="0">
                  <a:pos x="T4" y="T5"/>
                </a:cxn>
                <a:cxn ang="0">
                  <a:pos x="T6" y="T7"/>
                </a:cxn>
              </a:cxnLst>
              <a:rect l="0" t="0" r="r" b="b"/>
              <a:pathLst>
                <a:path w="42" h="87">
                  <a:moveTo>
                    <a:pt x="0" y="87"/>
                  </a:moveTo>
                  <a:lnTo>
                    <a:pt x="42" y="42"/>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44" name="Freeform 12">
              <a:extLst>
                <a:ext uri="{FF2B5EF4-FFF2-40B4-BE49-F238E27FC236}">
                  <a16:creationId xmlns:a16="http://schemas.microsoft.com/office/drawing/2014/main" id="{0C507F2F-C813-2C41-9CCA-2FE6290DF173}"/>
                </a:ext>
              </a:extLst>
            </p:cNvPr>
            <p:cNvSpPr>
              <a:spLocks/>
            </p:cNvSpPr>
            <p:nvPr userDrawn="1"/>
          </p:nvSpPr>
          <p:spPr bwMode="auto">
            <a:xfrm>
              <a:off x="3479097" y="4391006"/>
              <a:ext cx="71438" cy="138113"/>
            </a:xfrm>
            <a:custGeom>
              <a:avLst/>
              <a:gdLst>
                <a:gd name="T0" fmla="*/ 0 w 45"/>
                <a:gd name="T1" fmla="*/ 87 h 87"/>
                <a:gd name="T2" fmla="*/ 45 w 45"/>
                <a:gd name="T3" fmla="*/ 45 h 87"/>
                <a:gd name="T4" fmla="*/ 0 w 45"/>
                <a:gd name="T5" fmla="*/ 0 h 87"/>
                <a:gd name="T6" fmla="*/ 0 w 45"/>
                <a:gd name="T7" fmla="*/ 87 h 87"/>
              </a:gdLst>
              <a:ahLst/>
              <a:cxnLst>
                <a:cxn ang="0">
                  <a:pos x="T0" y="T1"/>
                </a:cxn>
                <a:cxn ang="0">
                  <a:pos x="T2" y="T3"/>
                </a:cxn>
                <a:cxn ang="0">
                  <a:pos x="T4" y="T5"/>
                </a:cxn>
                <a:cxn ang="0">
                  <a:pos x="T6" y="T7"/>
                </a:cxn>
              </a:cxnLst>
              <a:rect l="0" t="0" r="r" b="b"/>
              <a:pathLst>
                <a:path w="45" h="87">
                  <a:moveTo>
                    <a:pt x="0" y="87"/>
                  </a:moveTo>
                  <a:lnTo>
                    <a:pt x="45" y="45"/>
                  </a:lnTo>
                  <a:lnTo>
                    <a:pt x="0" y="0"/>
                  </a:lnTo>
                  <a:lnTo>
                    <a:pt x="0" y="87"/>
                  </a:lnTo>
                  <a:close/>
                </a:path>
              </a:pathLst>
            </a:cu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grpSp>
      <p:sp>
        <p:nvSpPr>
          <p:cNvPr id="371" name="Vrije vorm 370">
            <a:extLst>
              <a:ext uri="{FF2B5EF4-FFF2-40B4-BE49-F238E27FC236}">
                <a16:creationId xmlns:a16="http://schemas.microsoft.com/office/drawing/2014/main" id="{DB5AA652-02A0-5E4A-86E7-8B8D98D516AB}"/>
              </a:ext>
            </a:extLst>
          </p:cNvPr>
          <p:cNvSpPr/>
          <p:nvPr userDrawn="1"/>
        </p:nvSpPr>
        <p:spPr>
          <a:xfrm>
            <a:off x="1079816" y="3732144"/>
            <a:ext cx="2159928" cy="1802182"/>
          </a:xfrm>
          <a:custGeom>
            <a:avLst/>
            <a:gdLst>
              <a:gd name="connsiteX0" fmla="*/ 0 w 2164230"/>
              <a:gd name="connsiteY0" fmla="*/ 0 h 1807700"/>
              <a:gd name="connsiteX1" fmla="*/ 2164230 w 2164230"/>
              <a:gd name="connsiteY1" fmla="*/ 0 h 1807700"/>
              <a:gd name="connsiteX2" fmla="*/ 2164230 w 2164230"/>
              <a:gd name="connsiteY2" fmla="*/ 1686494 h 1807700"/>
              <a:gd name="connsiteX3" fmla="*/ 1896904 w 2164230"/>
              <a:gd name="connsiteY3" fmla="*/ 1807700 h 1807700"/>
              <a:gd name="connsiteX4" fmla="*/ 0 w 2164230"/>
              <a:gd name="connsiteY4" fmla="*/ 1807700 h 180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230" h="1807700">
                <a:moveTo>
                  <a:pt x="0" y="0"/>
                </a:moveTo>
                <a:lnTo>
                  <a:pt x="2164230" y="0"/>
                </a:lnTo>
                <a:lnTo>
                  <a:pt x="2164230" y="1686494"/>
                </a:lnTo>
                <a:lnTo>
                  <a:pt x="1896904" y="1807700"/>
                </a:lnTo>
                <a:lnTo>
                  <a:pt x="0" y="1807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72000" bIns="72000" rtlCol="0" anchor="t">
            <a:noAutofit/>
          </a:bodyPr>
          <a:lstStyle/>
          <a:p>
            <a:pPr marL="0" marR="0" lvl="0" indent="0" algn="l" defTabSz="914130" rtl="0" eaLnBrk="1" fontAlgn="auto" latinLnBrk="0" hangingPunct="1">
              <a:lnSpc>
                <a:spcPct val="90000"/>
              </a:lnSpc>
              <a:spcBef>
                <a:spcPts val="0"/>
              </a:spcBef>
              <a:spcAft>
                <a:spcPts val="0"/>
              </a:spcAft>
              <a:buClrTx/>
              <a:buSzTx/>
              <a:buFontTx/>
              <a:buNone/>
              <a:tabLst/>
              <a:defRPr/>
            </a:pPr>
            <a:r>
              <a:rPr lang="nl-NL" sz="1600" b="1" kern="1200" noProof="0" dirty="0">
                <a:solidFill>
                  <a:schemeClr val="bg1"/>
                </a:solidFill>
                <a:effectLst/>
                <a:latin typeface="+mn-lt"/>
                <a:ea typeface="+mn-ea"/>
                <a:cs typeface="+mn-cs"/>
              </a:rPr>
              <a:t>Daarnaast vragen </a:t>
            </a:r>
            <a:br>
              <a:rPr lang="nl-NL" sz="1600" b="1" kern="1200" noProof="0" dirty="0">
                <a:solidFill>
                  <a:schemeClr val="bg1"/>
                </a:solidFill>
                <a:effectLst/>
                <a:latin typeface="+mn-lt"/>
                <a:ea typeface="+mn-ea"/>
                <a:cs typeface="+mn-cs"/>
              </a:rPr>
            </a:br>
            <a:r>
              <a:rPr lang="nl-NL" sz="1600" b="1" kern="1200" noProof="0" dirty="0">
                <a:solidFill>
                  <a:schemeClr val="bg1"/>
                </a:solidFill>
                <a:effectLst/>
                <a:latin typeface="+mn-lt"/>
                <a:ea typeface="+mn-ea"/>
                <a:cs typeface="+mn-cs"/>
              </a:rPr>
              <a:t>we aandacht </a:t>
            </a:r>
            <a:br>
              <a:rPr lang="nl-NL" sz="1600" b="1" kern="1200" noProof="0" dirty="0">
                <a:solidFill>
                  <a:schemeClr val="bg1"/>
                </a:solidFill>
                <a:effectLst/>
                <a:latin typeface="+mn-lt"/>
                <a:ea typeface="+mn-ea"/>
                <a:cs typeface="+mn-cs"/>
              </a:rPr>
            </a:br>
            <a:r>
              <a:rPr lang="nl-NL" sz="1600" b="1" kern="1200" noProof="0" dirty="0">
                <a:solidFill>
                  <a:schemeClr val="bg1"/>
                </a:solidFill>
                <a:effectLst/>
                <a:latin typeface="+mn-lt"/>
                <a:ea typeface="+mn-ea"/>
                <a:cs typeface="+mn-cs"/>
              </a:rPr>
              <a:t>voor de volgende </a:t>
            </a:r>
            <a:r>
              <a:rPr lang="nl-NL" sz="1600" b="1" kern="1200" noProof="0" dirty="0" err="1">
                <a:solidFill>
                  <a:schemeClr val="bg1"/>
                </a:solidFill>
                <a:effectLst/>
                <a:latin typeface="+mn-lt"/>
                <a:ea typeface="+mn-ea"/>
                <a:cs typeface="+mn-cs"/>
              </a:rPr>
              <a:t>veiligheidsmaat-regelen</a:t>
            </a:r>
            <a:r>
              <a:rPr lang="nl-NL" sz="1600" b="1" kern="1200" noProof="0" dirty="0">
                <a:solidFill>
                  <a:schemeClr val="bg1"/>
                </a:solidFill>
                <a:effectLst/>
                <a:latin typeface="+mn-lt"/>
                <a:ea typeface="+mn-ea"/>
                <a:cs typeface="+mn-cs"/>
              </a:rPr>
              <a:t> in geval </a:t>
            </a:r>
            <a:br>
              <a:rPr lang="nl-NL" sz="1600" b="1" kern="1200" noProof="0" dirty="0">
                <a:solidFill>
                  <a:schemeClr val="bg1"/>
                </a:solidFill>
                <a:effectLst/>
                <a:latin typeface="+mn-lt"/>
                <a:ea typeface="+mn-ea"/>
                <a:cs typeface="+mn-cs"/>
              </a:rPr>
            </a:br>
            <a:r>
              <a:rPr lang="nl-NL" sz="1600" b="1" kern="1200" noProof="0" dirty="0">
                <a:solidFill>
                  <a:schemeClr val="bg1"/>
                </a:solidFill>
                <a:effectLst/>
                <a:latin typeface="+mn-lt"/>
                <a:ea typeface="+mn-ea"/>
                <a:cs typeface="+mn-cs"/>
              </a:rPr>
              <a:t>van een ontruiming </a:t>
            </a:r>
            <a:br>
              <a:rPr lang="nl-NL" sz="1600" b="1" kern="1200" noProof="0" dirty="0">
                <a:solidFill>
                  <a:schemeClr val="bg1"/>
                </a:solidFill>
                <a:effectLst/>
                <a:latin typeface="+mn-lt"/>
                <a:ea typeface="+mn-ea"/>
                <a:cs typeface="+mn-cs"/>
              </a:rPr>
            </a:br>
            <a:r>
              <a:rPr lang="nl-NL" sz="1600" b="1" kern="1200" noProof="0" dirty="0">
                <a:solidFill>
                  <a:schemeClr val="bg1"/>
                </a:solidFill>
                <a:effectLst/>
                <a:latin typeface="+mn-lt"/>
                <a:ea typeface="+mn-ea"/>
                <a:cs typeface="+mn-cs"/>
              </a:rPr>
              <a:t>van het pand</a:t>
            </a:r>
          </a:p>
        </p:txBody>
      </p:sp>
      <p:pic>
        <p:nvPicPr>
          <p:cNvPr id="345" name="Afbeelding 344">
            <a:extLst>
              <a:ext uri="{FF2B5EF4-FFF2-40B4-BE49-F238E27FC236}">
                <a16:creationId xmlns:a16="http://schemas.microsoft.com/office/drawing/2014/main" id="{D70C0E20-B96C-4E32-A151-EB6788A80F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279" y="6471518"/>
            <a:ext cx="952619" cy="179756"/>
          </a:xfrm>
          <a:prstGeom prst="rect">
            <a:avLst/>
          </a:prstGeom>
        </p:spPr>
      </p:pic>
      <p:cxnSp>
        <p:nvCxnSpPr>
          <p:cNvPr id="296" name="Rechte verbindingslijn 295">
            <a:extLst>
              <a:ext uri="{FF2B5EF4-FFF2-40B4-BE49-F238E27FC236}">
                <a16:creationId xmlns:a16="http://schemas.microsoft.com/office/drawing/2014/main" id="{8BB947D5-AE51-7746-B2F4-F1F4FFFAA7BF}"/>
              </a:ext>
            </a:extLst>
          </p:cNvPr>
          <p:cNvCxnSpPr/>
          <p:nvPr userDrawn="1"/>
        </p:nvCxnSpPr>
        <p:spPr>
          <a:xfrm>
            <a:off x="0" y="3730832"/>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5" name="Rechte verbindingslijn 304">
            <a:extLst>
              <a:ext uri="{FF2B5EF4-FFF2-40B4-BE49-F238E27FC236}">
                <a16:creationId xmlns:a16="http://schemas.microsoft.com/office/drawing/2014/main" id="{10761261-35E9-794C-B0B5-12E18DC19DA2}"/>
              </a:ext>
            </a:extLst>
          </p:cNvPr>
          <p:cNvCxnSpPr>
            <a:cxnSpLocks/>
          </p:cNvCxnSpPr>
          <p:nvPr userDrawn="1"/>
        </p:nvCxnSpPr>
        <p:spPr>
          <a:xfrm>
            <a:off x="1079594"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1" name="Rechte verbindingslijn 310">
            <a:extLst>
              <a:ext uri="{FF2B5EF4-FFF2-40B4-BE49-F238E27FC236}">
                <a16:creationId xmlns:a16="http://schemas.microsoft.com/office/drawing/2014/main" id="{12651B24-6705-D341-BBA7-F43A18341824}"/>
              </a:ext>
            </a:extLst>
          </p:cNvPr>
          <p:cNvCxnSpPr>
            <a:cxnSpLocks/>
          </p:cNvCxnSpPr>
          <p:nvPr userDrawn="1"/>
        </p:nvCxnSpPr>
        <p:spPr>
          <a:xfrm>
            <a:off x="3241335" y="0"/>
            <a:ext cx="0" cy="605882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1" name="Rechte verbindingslijn 300">
            <a:extLst>
              <a:ext uri="{FF2B5EF4-FFF2-40B4-BE49-F238E27FC236}">
                <a16:creationId xmlns:a16="http://schemas.microsoft.com/office/drawing/2014/main" id="{92D92F0F-B1EF-8147-A39A-E2AEC194B929}"/>
              </a:ext>
            </a:extLst>
          </p:cNvPr>
          <p:cNvCxnSpPr/>
          <p:nvPr userDrawn="1"/>
        </p:nvCxnSpPr>
        <p:spPr>
          <a:xfrm>
            <a:off x="0" y="5534487"/>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49" name="Freeform 17">
            <a:extLst>
              <a:ext uri="{FF2B5EF4-FFF2-40B4-BE49-F238E27FC236}">
                <a16:creationId xmlns:a16="http://schemas.microsoft.com/office/drawing/2014/main" id="{88BC5723-B860-5B41-82FD-0BF37801A62E}"/>
              </a:ext>
            </a:extLst>
          </p:cNvPr>
          <p:cNvSpPr>
            <a:spLocks/>
          </p:cNvSpPr>
          <p:nvPr userDrawn="1"/>
        </p:nvSpPr>
        <p:spPr bwMode="auto">
          <a:xfrm>
            <a:off x="1079619" y="484866"/>
            <a:ext cx="5751927" cy="2888974"/>
          </a:xfrm>
          <a:custGeom>
            <a:avLst/>
            <a:gdLst>
              <a:gd name="connsiteX0" fmla="*/ 0 w 5751926"/>
              <a:gd name="connsiteY0" fmla="*/ 0 h 2884784"/>
              <a:gd name="connsiteX1" fmla="*/ 1145894 w 5751926"/>
              <a:gd name="connsiteY1" fmla="*/ 0 h 2884784"/>
              <a:gd name="connsiteX2" fmla="*/ 4606032 w 5751926"/>
              <a:gd name="connsiteY2" fmla="*/ 0 h 2884784"/>
              <a:gd name="connsiteX3" fmla="*/ 5751926 w 5751926"/>
              <a:gd name="connsiteY3" fmla="*/ 0 h 2884784"/>
              <a:gd name="connsiteX4" fmla="*/ 5751926 w 5751926"/>
              <a:gd name="connsiteY4" fmla="*/ 2644834 h 2884784"/>
              <a:gd name="connsiteX5" fmla="*/ 5279643 w 5751926"/>
              <a:gd name="connsiteY5" fmla="*/ 2880976 h 2884784"/>
              <a:gd name="connsiteX6" fmla="*/ 1145894 w 5751926"/>
              <a:gd name="connsiteY6" fmla="*/ 2884784 h 2884784"/>
              <a:gd name="connsiteX7" fmla="*/ 1145894 w 5751926"/>
              <a:gd name="connsiteY7" fmla="*/ 2883728 h 2884784"/>
              <a:gd name="connsiteX8" fmla="*/ 0 w 5751926"/>
              <a:gd name="connsiteY8" fmla="*/ 2884784 h 28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1926" h="2884784">
                <a:moveTo>
                  <a:pt x="0" y="0"/>
                </a:moveTo>
                <a:lnTo>
                  <a:pt x="1145894" y="0"/>
                </a:lnTo>
                <a:lnTo>
                  <a:pt x="4606032" y="0"/>
                </a:lnTo>
                <a:lnTo>
                  <a:pt x="5751926" y="0"/>
                </a:lnTo>
                <a:lnTo>
                  <a:pt x="5751926" y="2644834"/>
                </a:lnTo>
                <a:lnTo>
                  <a:pt x="5279643" y="2880976"/>
                </a:lnTo>
                <a:lnTo>
                  <a:pt x="1145894" y="2884784"/>
                </a:lnTo>
                <a:lnTo>
                  <a:pt x="1145894" y="2883728"/>
                </a:lnTo>
                <a:lnTo>
                  <a:pt x="0" y="2884784"/>
                </a:lnTo>
                <a:close/>
              </a:path>
            </a:pathLst>
          </a:custGeom>
          <a:solidFill>
            <a:schemeClr val="bg1"/>
          </a:solidFill>
          <a:ln>
            <a:noFill/>
          </a:ln>
        </p:spPr>
        <p:txBody>
          <a:bodyPr vert="horz" wrap="square" lIns="216000" tIns="216000" rIns="900000" bIns="215951" numCol="1" anchor="t" anchorCtr="0" compatLnSpc="1">
            <a:prstTxWarp prst="textNoShape">
              <a:avLst/>
            </a:prstTxWarp>
            <a:noAutofit/>
          </a:bodyPr>
          <a:lstStyle/>
          <a:p>
            <a:pPr rtl="0">
              <a:lnSpc>
                <a:spcPct val="100000"/>
              </a:lnSpc>
              <a:spcBef>
                <a:spcPts val="0"/>
              </a:spcBef>
              <a:spcAft>
                <a:spcPts val="0"/>
              </a:spcAft>
            </a:pPr>
            <a:r>
              <a:rPr lang="nl-NL" sz="3000" b="1" i="0" u="none" strike="noStrike" kern="1200" baseline="0" noProof="0" dirty="0">
                <a:solidFill>
                  <a:schemeClr val="tx1"/>
                </a:solidFill>
                <a:latin typeface="Arial" panose="020B0604020202020204" pitchFamily="34" charset="0"/>
              </a:rPr>
              <a:t>A moment </a:t>
            </a:r>
            <a:r>
              <a:rPr lang="nl-NL" sz="3000" b="1" i="0" u="none" strike="noStrike" kern="1200" baseline="0" noProof="0" dirty="0" err="1">
                <a:solidFill>
                  <a:schemeClr val="tx1"/>
                </a:solidFill>
                <a:latin typeface="Arial" panose="020B0604020202020204" pitchFamily="34" charset="0"/>
              </a:rPr>
              <a:t>for</a:t>
            </a:r>
            <a:r>
              <a:rPr lang="nl-NL" sz="3000" b="1" i="0" u="none" strike="noStrike" kern="1200" baseline="0" noProof="0" dirty="0">
                <a:solidFill>
                  <a:schemeClr val="tx1"/>
                </a:solidFill>
                <a:latin typeface="Arial" panose="020B0604020202020204" pitchFamily="34" charset="0"/>
              </a:rPr>
              <a:t> </a:t>
            </a:r>
            <a:r>
              <a:rPr lang="nl-NL" sz="3000" b="1" i="0" u="none" strike="noStrike" kern="1200" baseline="0" noProof="0" dirty="0" err="1">
                <a:solidFill>
                  <a:schemeClr val="tx1"/>
                </a:solidFill>
                <a:latin typeface="Arial" panose="020B0604020202020204" pitchFamily="34" charset="0"/>
              </a:rPr>
              <a:t>safety</a:t>
            </a:r>
            <a:endParaRPr lang="nl-NL" sz="3000" b="0" i="0" u="none" strike="noStrike" kern="1200" baseline="0" noProof="0" dirty="0">
              <a:solidFill>
                <a:schemeClr val="tx1"/>
              </a:solidFill>
              <a:latin typeface="Arial" panose="020B0604020202020204" pitchFamily="34" charset="0"/>
            </a:endParaRPr>
          </a:p>
          <a:p>
            <a:pPr rtl="0">
              <a:lnSpc>
                <a:spcPct val="100000"/>
              </a:lnSpc>
              <a:spcBef>
                <a:spcPts val="0"/>
              </a:spcBef>
              <a:spcAft>
                <a:spcPts val="0"/>
              </a:spcAft>
            </a:pPr>
            <a:endParaRPr lang="nl-NL" sz="2000" b="0" i="0" u="none" strike="noStrike" kern="1200" baseline="0" noProof="0" dirty="0">
              <a:solidFill>
                <a:schemeClr val="tx1"/>
              </a:solidFill>
              <a:latin typeface="Arial" panose="020B0604020202020204" pitchFamily="34" charset="0"/>
            </a:endParaRPr>
          </a:p>
          <a:p>
            <a:pPr rtl="0">
              <a:lnSpc>
                <a:spcPct val="100000"/>
              </a:lnSpc>
              <a:spcBef>
                <a:spcPts val="0"/>
              </a:spcBef>
              <a:spcAft>
                <a:spcPts val="0"/>
              </a:spcAft>
            </a:pPr>
            <a:r>
              <a:rPr lang="nl-NL" sz="2000" b="0" i="0" u="none" strike="noStrike" kern="1200" baseline="0" noProof="0" dirty="0">
                <a:solidFill>
                  <a:schemeClr val="tx1"/>
                </a:solidFill>
                <a:latin typeface="Arial" panose="020B0604020202020204" pitchFamily="34" charset="0"/>
              </a:rPr>
              <a:t>Samen zorgen we voor een veilige werkomgeving waarbij we leren van fouten en het delen van ideeën, zorgen en vragen vanzelfsprekend is.</a:t>
            </a:r>
          </a:p>
        </p:txBody>
      </p:sp>
      <p:sp>
        <p:nvSpPr>
          <p:cNvPr id="384" name="TextBox 11">
            <a:extLst>
              <a:ext uri="{FF2B5EF4-FFF2-40B4-BE49-F238E27FC236}">
                <a16:creationId xmlns:a16="http://schemas.microsoft.com/office/drawing/2014/main" id="{800D5C7B-44E0-4A1E-9B71-0D26A8B296C2}"/>
              </a:ext>
            </a:extLst>
          </p:cNvPr>
          <p:cNvSpPr txBox="1"/>
          <p:nvPr userDrawn="1"/>
        </p:nvSpPr>
        <p:spPr>
          <a:xfrm>
            <a:off x="3612500" y="5239521"/>
            <a:ext cx="1792224" cy="792001"/>
          </a:xfrm>
          <a:prstGeom prst="rect">
            <a:avLst/>
          </a:prstGeom>
          <a:noFill/>
        </p:spPr>
        <p:txBody>
          <a:bodyPr wrap="square" lIns="35992" tIns="89980" rIns="35992" bIns="89980" rtlCol="0" anchor="t">
            <a:noAutofit/>
          </a:bodyPr>
          <a:lstStyle/>
          <a:p>
            <a:pPr algn="ctr"/>
            <a:r>
              <a:rPr lang="nl-NL" sz="1200" b="1" kern="1200" noProof="0" dirty="0">
                <a:solidFill>
                  <a:schemeClr val="tx1"/>
                </a:solidFill>
                <a:effectLst/>
                <a:latin typeface="+mn-lt"/>
                <a:ea typeface="+mn-ea"/>
                <a:cs typeface="+mn-cs"/>
              </a:rPr>
              <a:t>Volg de aangegeven vluchtroute</a:t>
            </a:r>
            <a:endParaRPr lang="nl-NL" sz="1200" kern="1200" noProof="0" dirty="0">
              <a:solidFill>
                <a:schemeClr val="tx1"/>
              </a:solidFill>
              <a:effectLst/>
              <a:latin typeface="+mn-lt"/>
              <a:ea typeface="+mn-ea"/>
              <a:cs typeface="+mn-cs"/>
            </a:endParaRPr>
          </a:p>
        </p:txBody>
      </p:sp>
      <p:sp>
        <p:nvSpPr>
          <p:cNvPr id="385" name="TextBox 12">
            <a:extLst>
              <a:ext uri="{FF2B5EF4-FFF2-40B4-BE49-F238E27FC236}">
                <a16:creationId xmlns:a16="http://schemas.microsoft.com/office/drawing/2014/main" id="{5D29AEAC-3BE7-4168-8399-63A91D248A20}"/>
              </a:ext>
            </a:extLst>
          </p:cNvPr>
          <p:cNvSpPr txBox="1"/>
          <p:nvPr userDrawn="1"/>
        </p:nvSpPr>
        <p:spPr>
          <a:xfrm>
            <a:off x="5676532" y="5239521"/>
            <a:ext cx="1792224" cy="792001"/>
          </a:xfrm>
          <a:prstGeom prst="rect">
            <a:avLst/>
          </a:prstGeom>
          <a:noFill/>
        </p:spPr>
        <p:txBody>
          <a:bodyPr wrap="square" lIns="35992" tIns="89980" rIns="35992" bIns="89980" rtlCol="0" anchor="t">
            <a:noAutofit/>
          </a:bodyPr>
          <a:lstStyle/>
          <a:p>
            <a:pPr algn="ctr"/>
            <a:r>
              <a:rPr lang="nl-NL" sz="1200" b="1" kern="1200" noProof="0" dirty="0">
                <a:solidFill>
                  <a:schemeClr val="tx1"/>
                </a:solidFill>
                <a:effectLst/>
                <a:latin typeface="+mn-lt"/>
                <a:ea typeface="+mn-ea"/>
                <a:cs typeface="+mn-cs"/>
              </a:rPr>
              <a:t>Gebruik de trap in plaats van de lift</a:t>
            </a:r>
            <a:endParaRPr lang="nl-NL" sz="1200" kern="1200" noProof="0" dirty="0">
              <a:solidFill>
                <a:schemeClr val="tx1"/>
              </a:solidFill>
              <a:effectLst/>
              <a:latin typeface="+mn-lt"/>
              <a:ea typeface="+mn-ea"/>
              <a:cs typeface="+mn-cs"/>
            </a:endParaRPr>
          </a:p>
          <a:p>
            <a:pPr algn="ctr"/>
            <a:endParaRPr lang="nl-NL" sz="1200" kern="1200" noProof="0" dirty="0">
              <a:solidFill>
                <a:schemeClr val="tx1"/>
              </a:solidFill>
              <a:effectLst/>
              <a:latin typeface="+mn-lt"/>
              <a:ea typeface="+mn-ea"/>
              <a:cs typeface="+mn-cs"/>
            </a:endParaRPr>
          </a:p>
        </p:txBody>
      </p:sp>
      <p:sp>
        <p:nvSpPr>
          <p:cNvPr id="386" name="TextBox 14">
            <a:extLst>
              <a:ext uri="{FF2B5EF4-FFF2-40B4-BE49-F238E27FC236}">
                <a16:creationId xmlns:a16="http://schemas.microsoft.com/office/drawing/2014/main" id="{B9A9E375-8668-424C-B7D7-550D9E3E8152}"/>
              </a:ext>
            </a:extLst>
          </p:cNvPr>
          <p:cNvSpPr txBox="1"/>
          <p:nvPr userDrawn="1"/>
        </p:nvSpPr>
        <p:spPr>
          <a:xfrm>
            <a:off x="7751828" y="5239521"/>
            <a:ext cx="1792224" cy="792001"/>
          </a:xfrm>
          <a:prstGeom prst="rect">
            <a:avLst/>
          </a:prstGeom>
          <a:noFill/>
        </p:spPr>
        <p:txBody>
          <a:bodyPr wrap="square" lIns="35992" tIns="89980" rIns="35992" bIns="89980" rtlCol="0" anchor="t">
            <a:noAutofit/>
          </a:bodyPr>
          <a:lstStyle/>
          <a:p>
            <a:pPr algn="ctr"/>
            <a:r>
              <a:rPr lang="nl-NL" sz="1200" b="1" kern="1200" noProof="0" dirty="0">
                <a:solidFill>
                  <a:schemeClr val="tx1"/>
                </a:solidFill>
                <a:effectLst/>
                <a:latin typeface="+mn-lt"/>
                <a:ea typeface="+mn-ea"/>
                <a:cs typeface="+mn-cs"/>
              </a:rPr>
              <a:t>Ga naar het verzamelpunt</a:t>
            </a:r>
            <a:endParaRPr lang="nl-NL" sz="1200" kern="1200" noProof="0" dirty="0">
              <a:solidFill>
                <a:schemeClr val="tx1"/>
              </a:solidFill>
              <a:effectLst/>
              <a:latin typeface="+mn-lt"/>
              <a:ea typeface="+mn-ea"/>
              <a:cs typeface="+mn-cs"/>
            </a:endParaRPr>
          </a:p>
        </p:txBody>
      </p:sp>
      <p:grpSp>
        <p:nvGrpSpPr>
          <p:cNvPr id="387" name="Group 25">
            <a:extLst>
              <a:ext uri="{FF2B5EF4-FFF2-40B4-BE49-F238E27FC236}">
                <a16:creationId xmlns:a16="http://schemas.microsoft.com/office/drawing/2014/main" id="{0D1D0535-6B1A-435D-B3E3-E37CA3E551B3}"/>
              </a:ext>
            </a:extLst>
          </p:cNvPr>
          <p:cNvGrpSpPr/>
          <p:nvPr userDrawn="1"/>
        </p:nvGrpSpPr>
        <p:grpSpPr>
          <a:xfrm>
            <a:off x="3784713" y="3736162"/>
            <a:ext cx="1447799" cy="1447800"/>
            <a:chOff x="3409950" y="3786188"/>
            <a:chExt cx="1447800" cy="1447800"/>
          </a:xfrm>
        </p:grpSpPr>
        <p:sp>
          <p:nvSpPr>
            <p:cNvPr id="388" name="Oval 14">
              <a:extLst>
                <a:ext uri="{FF2B5EF4-FFF2-40B4-BE49-F238E27FC236}">
                  <a16:creationId xmlns:a16="http://schemas.microsoft.com/office/drawing/2014/main" id="{A42FE03A-D911-4FBC-867A-8B48E8FA2155}"/>
                </a:ext>
              </a:extLst>
            </p:cNvPr>
            <p:cNvSpPr>
              <a:spLocks noChangeArrowheads="1"/>
            </p:cNvSpPr>
            <p:nvPr userDrawn="1"/>
          </p:nvSpPr>
          <p:spPr bwMode="auto">
            <a:xfrm>
              <a:off x="3409950" y="3786188"/>
              <a:ext cx="1447800" cy="1447800"/>
            </a:xfrm>
            <a:prstGeom prst="ellipse">
              <a:avLst/>
            </a:pr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89" name="Freeform 15">
              <a:extLst>
                <a:ext uri="{FF2B5EF4-FFF2-40B4-BE49-F238E27FC236}">
                  <a16:creationId xmlns:a16="http://schemas.microsoft.com/office/drawing/2014/main" id="{D6D280A7-1AC0-4C65-9DE1-EB680DBC7E58}"/>
                </a:ext>
              </a:extLst>
            </p:cNvPr>
            <p:cNvSpPr>
              <a:spLocks/>
            </p:cNvSpPr>
            <p:nvPr userDrawn="1"/>
          </p:nvSpPr>
          <p:spPr bwMode="auto">
            <a:xfrm>
              <a:off x="3738563" y="4114801"/>
              <a:ext cx="790575" cy="790575"/>
            </a:xfrm>
            <a:custGeom>
              <a:avLst/>
              <a:gdLst>
                <a:gd name="T0" fmla="*/ 148 w 166"/>
                <a:gd name="T1" fmla="*/ 96 h 166"/>
                <a:gd name="T2" fmla="*/ 148 w 166"/>
                <a:gd name="T3" fmla="*/ 166 h 166"/>
                <a:gd name="T4" fmla="*/ 166 w 166"/>
                <a:gd name="T5" fmla="*/ 166 h 166"/>
                <a:gd name="T6" fmla="*/ 166 w 166"/>
                <a:gd name="T7" fmla="*/ 0 h 166"/>
                <a:gd name="T8" fmla="*/ 0 w 166"/>
                <a:gd name="T9" fmla="*/ 0 h 166"/>
                <a:gd name="T10" fmla="*/ 0 w 166"/>
                <a:gd name="T11" fmla="*/ 166 h 166"/>
                <a:gd name="T12" fmla="*/ 58 w 166"/>
                <a:gd name="T13" fmla="*/ 166 h 166"/>
                <a:gd name="T14" fmla="*/ 58 w 166"/>
                <a:gd name="T15" fmla="*/ 142 h 166"/>
                <a:gd name="T16" fmla="*/ 39 w 166"/>
                <a:gd name="T17" fmla="*/ 142 h 166"/>
                <a:gd name="T18" fmla="*/ 39 w 166"/>
                <a:gd name="T19" fmla="*/ 121 h 166"/>
                <a:gd name="T20" fmla="*/ 58 w 166"/>
                <a:gd name="T21" fmla="*/ 121 h 166"/>
                <a:gd name="T22" fmla="*/ 58 w 166"/>
                <a:gd name="T23" fmla="*/ 15 h 166"/>
                <a:gd name="T24" fmla="*/ 148 w 166"/>
                <a:gd name="T25" fmla="*/ 15 h 166"/>
                <a:gd name="T26" fmla="*/ 148 w 166"/>
                <a:gd name="T27" fmla="*/ 86 h 166"/>
                <a:gd name="T28" fmla="*/ 135 w 166"/>
                <a:gd name="T29" fmla="*/ 86 h 166"/>
                <a:gd name="T30" fmla="*/ 122 w 166"/>
                <a:gd name="T31" fmla="*/ 64 h 166"/>
                <a:gd name="T32" fmla="*/ 124 w 166"/>
                <a:gd name="T33" fmla="*/ 58 h 166"/>
                <a:gd name="T34" fmla="*/ 124 w 166"/>
                <a:gd name="T35" fmla="*/ 58 h 166"/>
                <a:gd name="T36" fmla="*/ 134 w 166"/>
                <a:gd name="T37" fmla="*/ 49 h 166"/>
                <a:gd name="T38" fmla="*/ 126 w 166"/>
                <a:gd name="T39" fmla="*/ 33 h 166"/>
                <a:gd name="T40" fmla="*/ 110 w 166"/>
                <a:gd name="T41" fmla="*/ 41 h 166"/>
                <a:gd name="T42" fmla="*/ 113 w 166"/>
                <a:gd name="T43" fmla="*/ 53 h 166"/>
                <a:gd name="T44" fmla="*/ 113 w 166"/>
                <a:gd name="T45" fmla="*/ 53 h 166"/>
                <a:gd name="T46" fmla="*/ 114 w 166"/>
                <a:gd name="T47" fmla="*/ 57 h 166"/>
                <a:gd name="T48" fmla="*/ 111 w 166"/>
                <a:gd name="T49" fmla="*/ 58 h 166"/>
                <a:gd name="T50" fmla="*/ 80 w 166"/>
                <a:gd name="T51" fmla="*/ 58 h 166"/>
                <a:gd name="T52" fmla="*/ 75 w 166"/>
                <a:gd name="T53" fmla="*/ 62 h 166"/>
                <a:gd name="T54" fmla="*/ 64 w 166"/>
                <a:gd name="T55" fmla="*/ 84 h 166"/>
                <a:gd name="T56" fmla="*/ 73 w 166"/>
                <a:gd name="T57" fmla="*/ 84 h 166"/>
                <a:gd name="T58" fmla="*/ 81 w 166"/>
                <a:gd name="T59" fmla="*/ 69 h 166"/>
                <a:gd name="T60" fmla="*/ 95 w 166"/>
                <a:gd name="T61" fmla="*/ 69 h 166"/>
                <a:gd name="T62" fmla="*/ 97 w 166"/>
                <a:gd name="T63" fmla="*/ 72 h 166"/>
                <a:gd name="T64" fmla="*/ 72 w 166"/>
                <a:gd name="T65" fmla="*/ 126 h 166"/>
                <a:gd name="T66" fmla="*/ 44 w 166"/>
                <a:gd name="T67" fmla="*/ 126 h 166"/>
                <a:gd name="T68" fmla="*/ 44 w 166"/>
                <a:gd name="T69" fmla="*/ 137 h 166"/>
                <a:gd name="T70" fmla="*/ 75 w 166"/>
                <a:gd name="T71" fmla="*/ 137 h 166"/>
                <a:gd name="T72" fmla="*/ 81 w 166"/>
                <a:gd name="T73" fmla="*/ 134 h 166"/>
                <a:gd name="T74" fmla="*/ 95 w 166"/>
                <a:gd name="T75" fmla="*/ 112 h 166"/>
                <a:gd name="T76" fmla="*/ 114 w 166"/>
                <a:gd name="T77" fmla="*/ 166 h 166"/>
                <a:gd name="T78" fmla="*/ 125 w 166"/>
                <a:gd name="T79" fmla="*/ 166 h 166"/>
                <a:gd name="T80" fmla="*/ 109 w 166"/>
                <a:gd name="T81" fmla="*/ 104 h 166"/>
                <a:gd name="T82" fmla="*/ 110 w 166"/>
                <a:gd name="T83" fmla="*/ 97 h 166"/>
                <a:gd name="T84" fmla="*/ 118 w 166"/>
                <a:gd name="T85" fmla="*/ 78 h 166"/>
                <a:gd name="T86" fmla="*/ 127 w 166"/>
                <a:gd name="T87" fmla="*/ 93 h 166"/>
                <a:gd name="T88" fmla="*/ 132 w 166"/>
                <a:gd name="T89" fmla="*/ 96 h 166"/>
                <a:gd name="T90" fmla="*/ 148 w 166"/>
                <a:gd name="T91" fmla="*/ 9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66">
                  <a:moveTo>
                    <a:pt x="148" y="96"/>
                  </a:moveTo>
                  <a:cubicBezTo>
                    <a:pt x="148" y="166"/>
                    <a:pt x="148" y="166"/>
                    <a:pt x="148" y="166"/>
                  </a:cubicBezTo>
                  <a:cubicBezTo>
                    <a:pt x="166" y="166"/>
                    <a:pt x="166" y="166"/>
                    <a:pt x="166" y="166"/>
                  </a:cubicBezTo>
                  <a:cubicBezTo>
                    <a:pt x="166" y="0"/>
                    <a:pt x="166" y="0"/>
                    <a:pt x="166" y="0"/>
                  </a:cubicBezTo>
                  <a:cubicBezTo>
                    <a:pt x="0" y="0"/>
                    <a:pt x="0" y="0"/>
                    <a:pt x="0" y="0"/>
                  </a:cubicBezTo>
                  <a:cubicBezTo>
                    <a:pt x="0" y="166"/>
                    <a:pt x="0" y="166"/>
                    <a:pt x="0" y="166"/>
                  </a:cubicBezTo>
                  <a:cubicBezTo>
                    <a:pt x="58" y="166"/>
                    <a:pt x="58" y="166"/>
                    <a:pt x="58" y="166"/>
                  </a:cubicBezTo>
                  <a:cubicBezTo>
                    <a:pt x="58" y="142"/>
                    <a:pt x="58" y="142"/>
                    <a:pt x="58" y="142"/>
                  </a:cubicBezTo>
                  <a:cubicBezTo>
                    <a:pt x="39" y="142"/>
                    <a:pt x="39" y="142"/>
                    <a:pt x="39" y="142"/>
                  </a:cubicBezTo>
                  <a:cubicBezTo>
                    <a:pt x="39" y="121"/>
                    <a:pt x="39" y="121"/>
                    <a:pt x="39" y="121"/>
                  </a:cubicBezTo>
                  <a:cubicBezTo>
                    <a:pt x="58" y="121"/>
                    <a:pt x="58" y="121"/>
                    <a:pt x="58" y="121"/>
                  </a:cubicBezTo>
                  <a:cubicBezTo>
                    <a:pt x="58" y="15"/>
                    <a:pt x="58" y="15"/>
                    <a:pt x="58" y="15"/>
                  </a:cubicBezTo>
                  <a:cubicBezTo>
                    <a:pt x="148" y="15"/>
                    <a:pt x="148" y="15"/>
                    <a:pt x="148" y="15"/>
                  </a:cubicBezTo>
                  <a:cubicBezTo>
                    <a:pt x="148" y="86"/>
                    <a:pt x="148" y="86"/>
                    <a:pt x="148" y="86"/>
                  </a:cubicBezTo>
                  <a:cubicBezTo>
                    <a:pt x="135" y="86"/>
                    <a:pt x="135" y="86"/>
                    <a:pt x="135" y="86"/>
                  </a:cubicBezTo>
                  <a:cubicBezTo>
                    <a:pt x="135" y="86"/>
                    <a:pt x="124" y="67"/>
                    <a:pt x="122" y="64"/>
                  </a:cubicBezTo>
                  <a:cubicBezTo>
                    <a:pt x="120" y="60"/>
                    <a:pt x="122" y="58"/>
                    <a:pt x="124" y="58"/>
                  </a:cubicBezTo>
                  <a:cubicBezTo>
                    <a:pt x="124" y="58"/>
                    <a:pt x="124" y="58"/>
                    <a:pt x="124" y="58"/>
                  </a:cubicBezTo>
                  <a:cubicBezTo>
                    <a:pt x="129" y="57"/>
                    <a:pt x="133" y="54"/>
                    <a:pt x="134" y="49"/>
                  </a:cubicBezTo>
                  <a:cubicBezTo>
                    <a:pt x="136" y="43"/>
                    <a:pt x="133" y="35"/>
                    <a:pt x="126" y="33"/>
                  </a:cubicBezTo>
                  <a:cubicBezTo>
                    <a:pt x="120" y="31"/>
                    <a:pt x="112" y="34"/>
                    <a:pt x="110" y="41"/>
                  </a:cubicBezTo>
                  <a:cubicBezTo>
                    <a:pt x="109" y="45"/>
                    <a:pt x="110" y="50"/>
                    <a:pt x="113" y="53"/>
                  </a:cubicBezTo>
                  <a:cubicBezTo>
                    <a:pt x="113" y="53"/>
                    <a:pt x="113" y="53"/>
                    <a:pt x="113" y="53"/>
                  </a:cubicBezTo>
                  <a:cubicBezTo>
                    <a:pt x="113" y="54"/>
                    <a:pt x="114" y="55"/>
                    <a:pt x="114" y="57"/>
                  </a:cubicBezTo>
                  <a:cubicBezTo>
                    <a:pt x="114" y="58"/>
                    <a:pt x="113" y="58"/>
                    <a:pt x="111" y="58"/>
                  </a:cubicBezTo>
                  <a:cubicBezTo>
                    <a:pt x="80" y="58"/>
                    <a:pt x="80" y="58"/>
                    <a:pt x="80" y="58"/>
                  </a:cubicBezTo>
                  <a:cubicBezTo>
                    <a:pt x="78" y="58"/>
                    <a:pt x="75" y="60"/>
                    <a:pt x="75" y="62"/>
                  </a:cubicBezTo>
                  <a:cubicBezTo>
                    <a:pt x="64" y="84"/>
                    <a:pt x="64" y="84"/>
                    <a:pt x="64" y="84"/>
                  </a:cubicBezTo>
                  <a:cubicBezTo>
                    <a:pt x="73" y="84"/>
                    <a:pt x="73" y="84"/>
                    <a:pt x="73" y="84"/>
                  </a:cubicBezTo>
                  <a:cubicBezTo>
                    <a:pt x="81" y="69"/>
                    <a:pt x="81" y="69"/>
                    <a:pt x="81" y="69"/>
                  </a:cubicBezTo>
                  <a:cubicBezTo>
                    <a:pt x="95" y="69"/>
                    <a:pt x="95" y="69"/>
                    <a:pt x="95" y="69"/>
                  </a:cubicBezTo>
                  <a:cubicBezTo>
                    <a:pt x="97" y="69"/>
                    <a:pt x="98" y="70"/>
                    <a:pt x="97" y="72"/>
                  </a:cubicBezTo>
                  <a:cubicBezTo>
                    <a:pt x="72" y="126"/>
                    <a:pt x="72" y="126"/>
                    <a:pt x="72" y="126"/>
                  </a:cubicBezTo>
                  <a:cubicBezTo>
                    <a:pt x="44" y="126"/>
                    <a:pt x="44" y="126"/>
                    <a:pt x="44" y="126"/>
                  </a:cubicBezTo>
                  <a:cubicBezTo>
                    <a:pt x="44" y="137"/>
                    <a:pt x="44" y="137"/>
                    <a:pt x="44" y="137"/>
                  </a:cubicBezTo>
                  <a:cubicBezTo>
                    <a:pt x="75" y="137"/>
                    <a:pt x="75" y="137"/>
                    <a:pt x="75" y="137"/>
                  </a:cubicBezTo>
                  <a:cubicBezTo>
                    <a:pt x="77" y="137"/>
                    <a:pt x="80" y="135"/>
                    <a:pt x="81" y="134"/>
                  </a:cubicBezTo>
                  <a:cubicBezTo>
                    <a:pt x="95" y="112"/>
                    <a:pt x="95" y="112"/>
                    <a:pt x="95" y="112"/>
                  </a:cubicBezTo>
                  <a:cubicBezTo>
                    <a:pt x="114" y="166"/>
                    <a:pt x="114" y="166"/>
                    <a:pt x="114" y="166"/>
                  </a:cubicBezTo>
                  <a:cubicBezTo>
                    <a:pt x="125" y="166"/>
                    <a:pt x="125" y="166"/>
                    <a:pt x="125" y="166"/>
                  </a:cubicBezTo>
                  <a:cubicBezTo>
                    <a:pt x="109" y="104"/>
                    <a:pt x="109" y="104"/>
                    <a:pt x="109" y="104"/>
                  </a:cubicBezTo>
                  <a:cubicBezTo>
                    <a:pt x="109" y="102"/>
                    <a:pt x="109" y="99"/>
                    <a:pt x="110" y="97"/>
                  </a:cubicBezTo>
                  <a:cubicBezTo>
                    <a:pt x="118" y="78"/>
                    <a:pt x="118" y="78"/>
                    <a:pt x="118" y="78"/>
                  </a:cubicBezTo>
                  <a:cubicBezTo>
                    <a:pt x="127" y="93"/>
                    <a:pt x="127" y="93"/>
                    <a:pt x="127" y="93"/>
                  </a:cubicBezTo>
                  <a:cubicBezTo>
                    <a:pt x="128" y="95"/>
                    <a:pt x="130" y="96"/>
                    <a:pt x="132" y="96"/>
                  </a:cubicBezTo>
                  <a:cubicBezTo>
                    <a:pt x="148" y="96"/>
                    <a:pt x="148" y="96"/>
                    <a:pt x="14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grpSp>
      <p:grpSp>
        <p:nvGrpSpPr>
          <p:cNvPr id="390" name="Group 29">
            <a:extLst>
              <a:ext uri="{FF2B5EF4-FFF2-40B4-BE49-F238E27FC236}">
                <a16:creationId xmlns:a16="http://schemas.microsoft.com/office/drawing/2014/main" id="{BD85A1A3-321E-40D0-9329-595A7B230B07}"/>
              </a:ext>
            </a:extLst>
          </p:cNvPr>
          <p:cNvGrpSpPr/>
          <p:nvPr userDrawn="1"/>
        </p:nvGrpSpPr>
        <p:grpSpPr>
          <a:xfrm>
            <a:off x="7921659" y="3736162"/>
            <a:ext cx="1452563" cy="1447800"/>
            <a:chOff x="7724775" y="3786188"/>
            <a:chExt cx="1452563" cy="1447800"/>
          </a:xfrm>
        </p:grpSpPr>
        <p:sp>
          <p:nvSpPr>
            <p:cNvPr id="391" name="Oval 16">
              <a:extLst>
                <a:ext uri="{FF2B5EF4-FFF2-40B4-BE49-F238E27FC236}">
                  <a16:creationId xmlns:a16="http://schemas.microsoft.com/office/drawing/2014/main" id="{2E4BBA3E-E3AB-4236-ACCE-D7B995EACECE}"/>
                </a:ext>
              </a:extLst>
            </p:cNvPr>
            <p:cNvSpPr>
              <a:spLocks noChangeArrowheads="1"/>
            </p:cNvSpPr>
            <p:nvPr userDrawn="1"/>
          </p:nvSpPr>
          <p:spPr bwMode="auto">
            <a:xfrm>
              <a:off x="7724775" y="3786188"/>
              <a:ext cx="1452563" cy="1447800"/>
            </a:xfrm>
            <a:prstGeom prst="ellipse">
              <a:avLst/>
            </a:prstGeom>
            <a:solidFill>
              <a:srgbClr val="33A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92" name="Freeform 17">
              <a:extLst>
                <a:ext uri="{FF2B5EF4-FFF2-40B4-BE49-F238E27FC236}">
                  <a16:creationId xmlns:a16="http://schemas.microsoft.com/office/drawing/2014/main" id="{3670F56B-7843-4F10-ABB6-DE055A966F97}"/>
                </a:ext>
              </a:extLst>
            </p:cNvPr>
            <p:cNvSpPr>
              <a:spLocks noEditPoints="1"/>
            </p:cNvSpPr>
            <p:nvPr userDrawn="1"/>
          </p:nvSpPr>
          <p:spPr bwMode="auto">
            <a:xfrm>
              <a:off x="8201025" y="4281488"/>
              <a:ext cx="519113" cy="409575"/>
            </a:xfrm>
            <a:custGeom>
              <a:avLst/>
              <a:gdLst>
                <a:gd name="T0" fmla="*/ 36 w 109"/>
                <a:gd name="T1" fmla="*/ 28 h 86"/>
                <a:gd name="T2" fmla="*/ 13 w 109"/>
                <a:gd name="T3" fmla="*/ 28 h 86"/>
                <a:gd name="T4" fmla="*/ 27 w 109"/>
                <a:gd name="T5" fmla="*/ 72 h 86"/>
                <a:gd name="T6" fmla="*/ 36 w 109"/>
                <a:gd name="T7" fmla="*/ 54 h 86"/>
                <a:gd name="T8" fmla="*/ 37 w 109"/>
                <a:gd name="T9" fmla="*/ 54 h 86"/>
                <a:gd name="T10" fmla="*/ 38 w 109"/>
                <a:gd name="T11" fmla="*/ 43 h 86"/>
                <a:gd name="T12" fmla="*/ 11 w 109"/>
                <a:gd name="T13" fmla="*/ 43 h 86"/>
                <a:gd name="T14" fmla="*/ 5 w 109"/>
                <a:gd name="T15" fmla="*/ 47 h 86"/>
                <a:gd name="T16" fmla="*/ 0 w 109"/>
                <a:gd name="T17" fmla="*/ 72 h 86"/>
                <a:gd name="T18" fmla="*/ 10 w 109"/>
                <a:gd name="T19" fmla="*/ 61 h 86"/>
                <a:gd name="T20" fmla="*/ 13 w 109"/>
                <a:gd name="T21" fmla="*/ 72 h 86"/>
                <a:gd name="T22" fmla="*/ 81 w 109"/>
                <a:gd name="T23" fmla="*/ 17 h 86"/>
                <a:gd name="T24" fmla="*/ 81 w 109"/>
                <a:gd name="T25" fmla="*/ 40 h 86"/>
                <a:gd name="T26" fmla="*/ 81 w 109"/>
                <a:gd name="T27" fmla="*/ 17 h 86"/>
                <a:gd name="T28" fmla="*/ 99 w 109"/>
                <a:gd name="T29" fmla="*/ 43 h 86"/>
                <a:gd name="T30" fmla="*/ 68 w 109"/>
                <a:gd name="T31" fmla="*/ 43 h 86"/>
                <a:gd name="T32" fmla="*/ 61 w 109"/>
                <a:gd name="T33" fmla="*/ 54 h 86"/>
                <a:gd name="T34" fmla="*/ 72 w 109"/>
                <a:gd name="T35" fmla="*/ 54 h 86"/>
                <a:gd name="T36" fmla="*/ 80 w 109"/>
                <a:gd name="T37" fmla="*/ 72 h 86"/>
                <a:gd name="T38" fmla="*/ 96 w 109"/>
                <a:gd name="T39" fmla="*/ 61 h 86"/>
                <a:gd name="T40" fmla="*/ 100 w 109"/>
                <a:gd name="T41" fmla="*/ 72 h 86"/>
                <a:gd name="T42" fmla="*/ 104 w 109"/>
                <a:gd name="T43" fmla="*/ 47 h 86"/>
                <a:gd name="T44" fmla="*/ 53 w 109"/>
                <a:gd name="T45" fmla="*/ 54 h 86"/>
                <a:gd name="T46" fmla="*/ 53 w 109"/>
                <a:gd name="T47" fmla="*/ 31 h 86"/>
                <a:gd name="T48" fmla="*/ 71 w 109"/>
                <a:gd name="T49" fmla="*/ 86 h 86"/>
                <a:gd name="T50" fmla="*/ 75 w 109"/>
                <a:gd name="T51" fmla="*/ 61 h 86"/>
                <a:gd name="T52" fmla="*/ 69 w 109"/>
                <a:gd name="T53" fmla="*/ 57 h 86"/>
                <a:gd name="T54" fmla="*/ 39 w 109"/>
                <a:gd name="T55" fmla="*/ 57 h 86"/>
                <a:gd name="T56" fmla="*/ 37 w 109"/>
                <a:gd name="T57" fmla="*/ 57 h 86"/>
                <a:gd name="T58" fmla="*/ 33 w 109"/>
                <a:gd name="T59" fmla="*/ 61 h 86"/>
                <a:gd name="T60" fmla="*/ 37 w 109"/>
                <a:gd name="T61" fmla="*/ 86 h 86"/>
                <a:gd name="T62" fmla="*/ 41 w 109"/>
                <a:gd name="T63" fmla="*/ 75 h 86"/>
                <a:gd name="T64" fmla="*/ 67 w 109"/>
                <a:gd name="T65" fmla="*/ 86 h 86"/>
                <a:gd name="T66" fmla="*/ 70 w 109"/>
                <a:gd name="T67" fmla="*/ 75 h 86"/>
                <a:gd name="T68" fmla="*/ 53 w 109"/>
                <a:gd name="T69" fmla="*/ 0 h 86"/>
                <a:gd name="T70" fmla="*/ 53 w 109"/>
                <a:gd name="T71" fmla="*/ 23 h 86"/>
                <a:gd name="T72" fmla="*/ 53 w 109"/>
                <a:gd name="T7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 h="86">
                  <a:moveTo>
                    <a:pt x="25" y="17"/>
                  </a:moveTo>
                  <a:cubicBezTo>
                    <a:pt x="31" y="17"/>
                    <a:pt x="36" y="22"/>
                    <a:pt x="36" y="28"/>
                  </a:cubicBezTo>
                  <a:cubicBezTo>
                    <a:pt x="36" y="34"/>
                    <a:pt x="31" y="40"/>
                    <a:pt x="25" y="40"/>
                  </a:cubicBezTo>
                  <a:cubicBezTo>
                    <a:pt x="19" y="40"/>
                    <a:pt x="13" y="34"/>
                    <a:pt x="13" y="28"/>
                  </a:cubicBezTo>
                  <a:cubicBezTo>
                    <a:pt x="13" y="22"/>
                    <a:pt x="19" y="17"/>
                    <a:pt x="25" y="17"/>
                  </a:cubicBezTo>
                  <a:moveTo>
                    <a:pt x="27" y="72"/>
                  </a:moveTo>
                  <a:cubicBezTo>
                    <a:pt x="30" y="60"/>
                    <a:pt x="30" y="60"/>
                    <a:pt x="30" y="60"/>
                  </a:cubicBezTo>
                  <a:cubicBezTo>
                    <a:pt x="30" y="57"/>
                    <a:pt x="33" y="55"/>
                    <a:pt x="36" y="54"/>
                  </a:cubicBezTo>
                  <a:cubicBezTo>
                    <a:pt x="36" y="54"/>
                    <a:pt x="36" y="54"/>
                    <a:pt x="36" y="54"/>
                  </a:cubicBezTo>
                  <a:cubicBezTo>
                    <a:pt x="37" y="54"/>
                    <a:pt x="37" y="54"/>
                    <a:pt x="37" y="54"/>
                  </a:cubicBezTo>
                  <a:cubicBezTo>
                    <a:pt x="44" y="54"/>
                    <a:pt x="44" y="54"/>
                    <a:pt x="44" y="54"/>
                  </a:cubicBezTo>
                  <a:cubicBezTo>
                    <a:pt x="41" y="51"/>
                    <a:pt x="38" y="47"/>
                    <a:pt x="38" y="43"/>
                  </a:cubicBezTo>
                  <a:cubicBezTo>
                    <a:pt x="11" y="43"/>
                    <a:pt x="11" y="43"/>
                    <a:pt x="11" y="43"/>
                  </a:cubicBezTo>
                  <a:cubicBezTo>
                    <a:pt x="11" y="43"/>
                    <a:pt x="11" y="43"/>
                    <a:pt x="11" y="43"/>
                  </a:cubicBezTo>
                  <a:cubicBezTo>
                    <a:pt x="10" y="43"/>
                    <a:pt x="10" y="43"/>
                    <a:pt x="10" y="43"/>
                  </a:cubicBezTo>
                  <a:cubicBezTo>
                    <a:pt x="7" y="43"/>
                    <a:pt x="5" y="45"/>
                    <a:pt x="5" y="47"/>
                  </a:cubicBezTo>
                  <a:cubicBezTo>
                    <a:pt x="5" y="47"/>
                    <a:pt x="5" y="47"/>
                    <a:pt x="5" y="47"/>
                  </a:cubicBezTo>
                  <a:cubicBezTo>
                    <a:pt x="0" y="72"/>
                    <a:pt x="0" y="72"/>
                    <a:pt x="0" y="72"/>
                  </a:cubicBezTo>
                  <a:cubicBezTo>
                    <a:pt x="9" y="72"/>
                    <a:pt x="9" y="72"/>
                    <a:pt x="9" y="72"/>
                  </a:cubicBezTo>
                  <a:cubicBezTo>
                    <a:pt x="10" y="61"/>
                    <a:pt x="10" y="61"/>
                    <a:pt x="10" y="61"/>
                  </a:cubicBezTo>
                  <a:cubicBezTo>
                    <a:pt x="13" y="61"/>
                    <a:pt x="13" y="61"/>
                    <a:pt x="13" y="61"/>
                  </a:cubicBezTo>
                  <a:cubicBezTo>
                    <a:pt x="13" y="72"/>
                    <a:pt x="13" y="72"/>
                    <a:pt x="13" y="72"/>
                  </a:cubicBezTo>
                  <a:cubicBezTo>
                    <a:pt x="27" y="72"/>
                    <a:pt x="27" y="72"/>
                    <a:pt x="27" y="72"/>
                  </a:cubicBezTo>
                  <a:close/>
                  <a:moveTo>
                    <a:pt x="81" y="17"/>
                  </a:moveTo>
                  <a:cubicBezTo>
                    <a:pt x="75" y="17"/>
                    <a:pt x="70" y="22"/>
                    <a:pt x="70" y="28"/>
                  </a:cubicBezTo>
                  <a:cubicBezTo>
                    <a:pt x="70" y="34"/>
                    <a:pt x="75" y="40"/>
                    <a:pt x="81" y="40"/>
                  </a:cubicBezTo>
                  <a:cubicBezTo>
                    <a:pt x="88" y="40"/>
                    <a:pt x="93" y="34"/>
                    <a:pt x="93" y="28"/>
                  </a:cubicBezTo>
                  <a:cubicBezTo>
                    <a:pt x="93" y="22"/>
                    <a:pt x="88" y="17"/>
                    <a:pt x="81" y="17"/>
                  </a:cubicBezTo>
                  <a:moveTo>
                    <a:pt x="104" y="47"/>
                  </a:moveTo>
                  <a:cubicBezTo>
                    <a:pt x="103" y="45"/>
                    <a:pt x="101" y="43"/>
                    <a:pt x="99" y="43"/>
                  </a:cubicBezTo>
                  <a:cubicBezTo>
                    <a:pt x="68" y="43"/>
                    <a:pt x="68" y="43"/>
                    <a:pt x="68" y="43"/>
                  </a:cubicBezTo>
                  <a:cubicBezTo>
                    <a:pt x="68" y="43"/>
                    <a:pt x="68" y="43"/>
                    <a:pt x="68" y="43"/>
                  </a:cubicBezTo>
                  <a:cubicBezTo>
                    <a:pt x="67" y="43"/>
                    <a:pt x="67" y="43"/>
                    <a:pt x="67" y="43"/>
                  </a:cubicBezTo>
                  <a:cubicBezTo>
                    <a:pt x="67" y="47"/>
                    <a:pt x="65" y="51"/>
                    <a:pt x="61" y="54"/>
                  </a:cubicBezTo>
                  <a:cubicBezTo>
                    <a:pt x="72" y="54"/>
                    <a:pt x="72" y="54"/>
                    <a:pt x="72" y="54"/>
                  </a:cubicBezTo>
                  <a:cubicBezTo>
                    <a:pt x="72" y="54"/>
                    <a:pt x="72" y="54"/>
                    <a:pt x="72" y="54"/>
                  </a:cubicBezTo>
                  <a:cubicBezTo>
                    <a:pt x="75" y="55"/>
                    <a:pt x="77" y="57"/>
                    <a:pt x="78" y="60"/>
                  </a:cubicBezTo>
                  <a:cubicBezTo>
                    <a:pt x="80" y="72"/>
                    <a:pt x="80" y="72"/>
                    <a:pt x="80" y="72"/>
                  </a:cubicBezTo>
                  <a:cubicBezTo>
                    <a:pt x="96" y="72"/>
                    <a:pt x="96" y="72"/>
                    <a:pt x="96" y="72"/>
                  </a:cubicBezTo>
                  <a:cubicBezTo>
                    <a:pt x="96" y="61"/>
                    <a:pt x="96" y="61"/>
                    <a:pt x="96" y="61"/>
                  </a:cubicBezTo>
                  <a:cubicBezTo>
                    <a:pt x="99" y="61"/>
                    <a:pt x="99" y="61"/>
                    <a:pt x="99" y="61"/>
                  </a:cubicBezTo>
                  <a:cubicBezTo>
                    <a:pt x="100" y="72"/>
                    <a:pt x="100" y="72"/>
                    <a:pt x="100" y="72"/>
                  </a:cubicBezTo>
                  <a:cubicBezTo>
                    <a:pt x="109" y="72"/>
                    <a:pt x="109" y="72"/>
                    <a:pt x="109" y="72"/>
                  </a:cubicBezTo>
                  <a:lnTo>
                    <a:pt x="104" y="47"/>
                  </a:lnTo>
                  <a:close/>
                  <a:moveTo>
                    <a:pt x="41" y="42"/>
                  </a:moveTo>
                  <a:cubicBezTo>
                    <a:pt x="41" y="48"/>
                    <a:pt x="46" y="54"/>
                    <a:pt x="53" y="54"/>
                  </a:cubicBezTo>
                  <a:cubicBezTo>
                    <a:pt x="59" y="54"/>
                    <a:pt x="64" y="48"/>
                    <a:pt x="64" y="42"/>
                  </a:cubicBezTo>
                  <a:cubicBezTo>
                    <a:pt x="64" y="36"/>
                    <a:pt x="59" y="31"/>
                    <a:pt x="53" y="31"/>
                  </a:cubicBezTo>
                  <a:cubicBezTo>
                    <a:pt x="46" y="31"/>
                    <a:pt x="41" y="36"/>
                    <a:pt x="41" y="42"/>
                  </a:cubicBezTo>
                  <a:moveTo>
                    <a:pt x="71" y="86"/>
                  </a:moveTo>
                  <a:cubicBezTo>
                    <a:pt x="80" y="86"/>
                    <a:pt x="80" y="86"/>
                    <a:pt x="80" y="86"/>
                  </a:cubicBezTo>
                  <a:cubicBezTo>
                    <a:pt x="75" y="61"/>
                    <a:pt x="75" y="61"/>
                    <a:pt x="75" y="61"/>
                  </a:cubicBezTo>
                  <a:cubicBezTo>
                    <a:pt x="75" y="59"/>
                    <a:pt x="73" y="57"/>
                    <a:pt x="70" y="57"/>
                  </a:cubicBezTo>
                  <a:cubicBezTo>
                    <a:pt x="69" y="57"/>
                    <a:pt x="69" y="57"/>
                    <a:pt x="69" y="57"/>
                  </a:cubicBezTo>
                  <a:cubicBezTo>
                    <a:pt x="69" y="57"/>
                    <a:pt x="69" y="57"/>
                    <a:pt x="69" y="57"/>
                  </a:cubicBezTo>
                  <a:cubicBezTo>
                    <a:pt x="39" y="57"/>
                    <a:pt x="39" y="57"/>
                    <a:pt x="39" y="57"/>
                  </a:cubicBezTo>
                  <a:cubicBezTo>
                    <a:pt x="39" y="57"/>
                    <a:pt x="39" y="57"/>
                    <a:pt x="39" y="57"/>
                  </a:cubicBezTo>
                  <a:cubicBezTo>
                    <a:pt x="37" y="57"/>
                    <a:pt x="37" y="57"/>
                    <a:pt x="37" y="57"/>
                  </a:cubicBezTo>
                  <a:cubicBezTo>
                    <a:pt x="35" y="57"/>
                    <a:pt x="33" y="59"/>
                    <a:pt x="33" y="61"/>
                  </a:cubicBezTo>
                  <a:cubicBezTo>
                    <a:pt x="33" y="61"/>
                    <a:pt x="33" y="61"/>
                    <a:pt x="33" y="61"/>
                  </a:cubicBezTo>
                  <a:cubicBezTo>
                    <a:pt x="28" y="86"/>
                    <a:pt x="28" y="86"/>
                    <a:pt x="28" y="86"/>
                  </a:cubicBezTo>
                  <a:cubicBezTo>
                    <a:pt x="37" y="86"/>
                    <a:pt x="37" y="86"/>
                    <a:pt x="37" y="86"/>
                  </a:cubicBezTo>
                  <a:cubicBezTo>
                    <a:pt x="38" y="75"/>
                    <a:pt x="38" y="75"/>
                    <a:pt x="38" y="75"/>
                  </a:cubicBezTo>
                  <a:cubicBezTo>
                    <a:pt x="41" y="75"/>
                    <a:pt x="41" y="75"/>
                    <a:pt x="41" y="75"/>
                  </a:cubicBezTo>
                  <a:cubicBezTo>
                    <a:pt x="41" y="86"/>
                    <a:pt x="41" y="86"/>
                    <a:pt x="41" y="86"/>
                  </a:cubicBezTo>
                  <a:cubicBezTo>
                    <a:pt x="67" y="86"/>
                    <a:pt x="67" y="86"/>
                    <a:pt x="67" y="86"/>
                  </a:cubicBezTo>
                  <a:cubicBezTo>
                    <a:pt x="67" y="75"/>
                    <a:pt x="67" y="75"/>
                    <a:pt x="67" y="75"/>
                  </a:cubicBezTo>
                  <a:cubicBezTo>
                    <a:pt x="70" y="75"/>
                    <a:pt x="70" y="75"/>
                    <a:pt x="70" y="75"/>
                  </a:cubicBezTo>
                  <a:lnTo>
                    <a:pt x="71" y="86"/>
                  </a:lnTo>
                  <a:close/>
                  <a:moveTo>
                    <a:pt x="53" y="0"/>
                  </a:moveTo>
                  <a:cubicBezTo>
                    <a:pt x="46" y="0"/>
                    <a:pt x="41" y="5"/>
                    <a:pt x="41" y="12"/>
                  </a:cubicBezTo>
                  <a:cubicBezTo>
                    <a:pt x="41" y="18"/>
                    <a:pt x="46" y="23"/>
                    <a:pt x="53" y="23"/>
                  </a:cubicBezTo>
                  <a:cubicBezTo>
                    <a:pt x="59" y="23"/>
                    <a:pt x="64" y="18"/>
                    <a:pt x="64" y="12"/>
                  </a:cubicBezTo>
                  <a:cubicBezTo>
                    <a:pt x="64" y="5"/>
                    <a:pt x="59" y="0"/>
                    <a:pt x="5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93" name="Freeform 18">
              <a:extLst>
                <a:ext uri="{FF2B5EF4-FFF2-40B4-BE49-F238E27FC236}">
                  <a16:creationId xmlns:a16="http://schemas.microsoft.com/office/drawing/2014/main" id="{004B6848-5FBA-44E6-9978-924F517ACD4F}"/>
                </a:ext>
              </a:extLst>
            </p:cNvPr>
            <p:cNvSpPr>
              <a:spLocks/>
            </p:cNvSpPr>
            <p:nvPr userDrawn="1"/>
          </p:nvSpPr>
          <p:spPr bwMode="auto">
            <a:xfrm>
              <a:off x="8034338" y="4090988"/>
              <a:ext cx="257175" cy="252413"/>
            </a:xfrm>
            <a:custGeom>
              <a:avLst/>
              <a:gdLst>
                <a:gd name="T0" fmla="*/ 120 w 162"/>
                <a:gd name="T1" fmla="*/ 30 h 159"/>
                <a:gd name="T2" fmla="*/ 120 w 162"/>
                <a:gd name="T3" fmla="*/ 90 h 159"/>
                <a:gd name="T4" fmla="*/ 30 w 162"/>
                <a:gd name="T5" fmla="*/ 0 h 159"/>
                <a:gd name="T6" fmla="*/ 0 w 162"/>
                <a:gd name="T7" fmla="*/ 27 h 159"/>
                <a:gd name="T8" fmla="*/ 93 w 162"/>
                <a:gd name="T9" fmla="*/ 120 h 159"/>
                <a:gd name="T10" fmla="*/ 30 w 162"/>
                <a:gd name="T11" fmla="*/ 120 h 159"/>
                <a:gd name="T12" fmla="*/ 69 w 162"/>
                <a:gd name="T13" fmla="*/ 159 h 159"/>
                <a:gd name="T14" fmla="*/ 162 w 162"/>
                <a:gd name="T15" fmla="*/ 159 h 159"/>
                <a:gd name="T16" fmla="*/ 162 w 162"/>
                <a:gd name="T17" fmla="*/ 69 h 159"/>
                <a:gd name="T18" fmla="*/ 120 w 162"/>
                <a:gd name="T19"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59">
                  <a:moveTo>
                    <a:pt x="120" y="30"/>
                  </a:moveTo>
                  <a:lnTo>
                    <a:pt x="120" y="90"/>
                  </a:lnTo>
                  <a:lnTo>
                    <a:pt x="30" y="0"/>
                  </a:lnTo>
                  <a:lnTo>
                    <a:pt x="0" y="27"/>
                  </a:lnTo>
                  <a:lnTo>
                    <a:pt x="93" y="120"/>
                  </a:lnTo>
                  <a:lnTo>
                    <a:pt x="30" y="120"/>
                  </a:lnTo>
                  <a:lnTo>
                    <a:pt x="69" y="159"/>
                  </a:lnTo>
                  <a:lnTo>
                    <a:pt x="162" y="159"/>
                  </a:lnTo>
                  <a:lnTo>
                    <a:pt x="162" y="69"/>
                  </a:lnTo>
                  <a:lnTo>
                    <a:pt x="12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94" name="Freeform 19">
              <a:extLst>
                <a:ext uri="{FF2B5EF4-FFF2-40B4-BE49-F238E27FC236}">
                  <a16:creationId xmlns:a16="http://schemas.microsoft.com/office/drawing/2014/main" id="{0EE24D02-3C60-418D-8CB9-022892BF2D88}"/>
                </a:ext>
              </a:extLst>
            </p:cNvPr>
            <p:cNvSpPr>
              <a:spLocks/>
            </p:cNvSpPr>
            <p:nvPr userDrawn="1"/>
          </p:nvSpPr>
          <p:spPr bwMode="auto">
            <a:xfrm>
              <a:off x="8615363" y="4090988"/>
              <a:ext cx="252413" cy="252413"/>
            </a:xfrm>
            <a:custGeom>
              <a:avLst/>
              <a:gdLst>
                <a:gd name="T0" fmla="*/ 159 w 159"/>
                <a:gd name="T1" fmla="*/ 27 h 159"/>
                <a:gd name="T2" fmla="*/ 132 w 159"/>
                <a:gd name="T3" fmla="*/ 0 h 159"/>
                <a:gd name="T4" fmla="*/ 39 w 159"/>
                <a:gd name="T5" fmla="*/ 90 h 159"/>
                <a:gd name="T6" fmla="*/ 39 w 159"/>
                <a:gd name="T7" fmla="*/ 30 h 159"/>
                <a:gd name="T8" fmla="*/ 0 w 159"/>
                <a:gd name="T9" fmla="*/ 69 h 159"/>
                <a:gd name="T10" fmla="*/ 0 w 159"/>
                <a:gd name="T11" fmla="*/ 159 h 159"/>
                <a:gd name="T12" fmla="*/ 90 w 159"/>
                <a:gd name="T13" fmla="*/ 159 h 159"/>
                <a:gd name="T14" fmla="*/ 129 w 159"/>
                <a:gd name="T15" fmla="*/ 120 h 159"/>
                <a:gd name="T16" fmla="*/ 66 w 159"/>
                <a:gd name="T17" fmla="*/ 120 h 159"/>
                <a:gd name="T18" fmla="*/ 159 w 159"/>
                <a:gd name="T19" fmla="*/ 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159" y="27"/>
                  </a:moveTo>
                  <a:lnTo>
                    <a:pt x="132" y="0"/>
                  </a:lnTo>
                  <a:lnTo>
                    <a:pt x="39" y="90"/>
                  </a:lnTo>
                  <a:lnTo>
                    <a:pt x="39" y="30"/>
                  </a:lnTo>
                  <a:lnTo>
                    <a:pt x="0" y="69"/>
                  </a:lnTo>
                  <a:lnTo>
                    <a:pt x="0" y="159"/>
                  </a:lnTo>
                  <a:lnTo>
                    <a:pt x="90" y="159"/>
                  </a:lnTo>
                  <a:lnTo>
                    <a:pt x="129" y="120"/>
                  </a:lnTo>
                  <a:lnTo>
                    <a:pt x="66" y="120"/>
                  </a:lnTo>
                  <a:lnTo>
                    <a:pt x="159"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95" name="Freeform 20">
              <a:extLst>
                <a:ext uri="{FF2B5EF4-FFF2-40B4-BE49-F238E27FC236}">
                  <a16:creationId xmlns:a16="http://schemas.microsoft.com/office/drawing/2014/main" id="{2DA4E74B-2CA1-4F0E-B1AE-C1D90C4F7497}"/>
                </a:ext>
              </a:extLst>
            </p:cNvPr>
            <p:cNvSpPr>
              <a:spLocks/>
            </p:cNvSpPr>
            <p:nvPr userDrawn="1"/>
          </p:nvSpPr>
          <p:spPr bwMode="auto">
            <a:xfrm>
              <a:off x="8034338" y="4676776"/>
              <a:ext cx="257175" cy="252413"/>
            </a:xfrm>
            <a:custGeom>
              <a:avLst/>
              <a:gdLst>
                <a:gd name="T0" fmla="*/ 69 w 162"/>
                <a:gd name="T1" fmla="*/ 0 h 159"/>
                <a:gd name="T2" fmla="*/ 30 w 162"/>
                <a:gd name="T3" fmla="*/ 39 h 159"/>
                <a:gd name="T4" fmla="*/ 93 w 162"/>
                <a:gd name="T5" fmla="*/ 39 h 159"/>
                <a:gd name="T6" fmla="*/ 0 w 162"/>
                <a:gd name="T7" fmla="*/ 132 h 159"/>
                <a:gd name="T8" fmla="*/ 30 w 162"/>
                <a:gd name="T9" fmla="*/ 159 h 159"/>
                <a:gd name="T10" fmla="*/ 120 w 162"/>
                <a:gd name="T11" fmla="*/ 69 h 159"/>
                <a:gd name="T12" fmla="*/ 120 w 162"/>
                <a:gd name="T13" fmla="*/ 129 h 159"/>
                <a:gd name="T14" fmla="*/ 162 w 162"/>
                <a:gd name="T15" fmla="*/ 90 h 159"/>
                <a:gd name="T16" fmla="*/ 162 w 162"/>
                <a:gd name="T17" fmla="*/ 0 h 159"/>
                <a:gd name="T18" fmla="*/ 69 w 162"/>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59">
                  <a:moveTo>
                    <a:pt x="69" y="0"/>
                  </a:moveTo>
                  <a:lnTo>
                    <a:pt x="30" y="39"/>
                  </a:lnTo>
                  <a:lnTo>
                    <a:pt x="93" y="39"/>
                  </a:lnTo>
                  <a:lnTo>
                    <a:pt x="0" y="132"/>
                  </a:lnTo>
                  <a:lnTo>
                    <a:pt x="30" y="159"/>
                  </a:lnTo>
                  <a:lnTo>
                    <a:pt x="120" y="69"/>
                  </a:lnTo>
                  <a:lnTo>
                    <a:pt x="120" y="129"/>
                  </a:lnTo>
                  <a:lnTo>
                    <a:pt x="162" y="90"/>
                  </a:lnTo>
                  <a:lnTo>
                    <a:pt x="162" y="0"/>
                  </a:lnTo>
                  <a:lnTo>
                    <a:pt x="6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396" name="Freeform 21">
              <a:extLst>
                <a:ext uri="{FF2B5EF4-FFF2-40B4-BE49-F238E27FC236}">
                  <a16:creationId xmlns:a16="http://schemas.microsoft.com/office/drawing/2014/main" id="{7C625AB1-B201-429B-B79E-9EBE0446779E}"/>
                </a:ext>
              </a:extLst>
            </p:cNvPr>
            <p:cNvSpPr>
              <a:spLocks/>
            </p:cNvSpPr>
            <p:nvPr userDrawn="1"/>
          </p:nvSpPr>
          <p:spPr bwMode="auto">
            <a:xfrm>
              <a:off x="8615363" y="4676776"/>
              <a:ext cx="252413" cy="252413"/>
            </a:xfrm>
            <a:custGeom>
              <a:avLst/>
              <a:gdLst>
                <a:gd name="T0" fmla="*/ 159 w 159"/>
                <a:gd name="T1" fmla="*/ 132 h 159"/>
                <a:gd name="T2" fmla="*/ 66 w 159"/>
                <a:gd name="T3" fmla="*/ 39 h 159"/>
                <a:gd name="T4" fmla="*/ 129 w 159"/>
                <a:gd name="T5" fmla="*/ 39 h 159"/>
                <a:gd name="T6" fmla="*/ 90 w 159"/>
                <a:gd name="T7" fmla="*/ 0 h 159"/>
                <a:gd name="T8" fmla="*/ 0 w 159"/>
                <a:gd name="T9" fmla="*/ 0 h 159"/>
                <a:gd name="T10" fmla="*/ 0 w 159"/>
                <a:gd name="T11" fmla="*/ 90 h 159"/>
                <a:gd name="T12" fmla="*/ 39 w 159"/>
                <a:gd name="T13" fmla="*/ 129 h 159"/>
                <a:gd name="T14" fmla="*/ 39 w 159"/>
                <a:gd name="T15" fmla="*/ 69 h 159"/>
                <a:gd name="T16" fmla="*/ 132 w 159"/>
                <a:gd name="T17" fmla="*/ 159 h 159"/>
                <a:gd name="T18" fmla="*/ 159 w 159"/>
                <a:gd name="T19" fmla="*/ 13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159" y="132"/>
                  </a:moveTo>
                  <a:lnTo>
                    <a:pt x="66" y="39"/>
                  </a:lnTo>
                  <a:lnTo>
                    <a:pt x="129" y="39"/>
                  </a:lnTo>
                  <a:lnTo>
                    <a:pt x="90" y="0"/>
                  </a:lnTo>
                  <a:lnTo>
                    <a:pt x="0" y="0"/>
                  </a:lnTo>
                  <a:lnTo>
                    <a:pt x="0" y="90"/>
                  </a:lnTo>
                  <a:lnTo>
                    <a:pt x="39" y="129"/>
                  </a:lnTo>
                  <a:lnTo>
                    <a:pt x="39" y="69"/>
                  </a:lnTo>
                  <a:lnTo>
                    <a:pt x="132" y="159"/>
                  </a:lnTo>
                  <a:lnTo>
                    <a:pt x="159" y="1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grpSp>
      <p:grpSp>
        <p:nvGrpSpPr>
          <p:cNvPr id="397" name="Group 41">
            <a:extLst>
              <a:ext uri="{FF2B5EF4-FFF2-40B4-BE49-F238E27FC236}">
                <a16:creationId xmlns:a16="http://schemas.microsoft.com/office/drawing/2014/main" id="{CC4DFF07-9034-4245-A3A7-038B4C9EF86C}"/>
              </a:ext>
            </a:extLst>
          </p:cNvPr>
          <p:cNvGrpSpPr/>
          <p:nvPr userDrawn="1"/>
        </p:nvGrpSpPr>
        <p:grpSpPr>
          <a:xfrm>
            <a:off x="5774925" y="3663138"/>
            <a:ext cx="1595439" cy="1593849"/>
            <a:chOff x="5514975" y="3714751"/>
            <a:chExt cx="1595438" cy="1593850"/>
          </a:xfrm>
        </p:grpSpPr>
        <p:grpSp>
          <p:nvGrpSpPr>
            <p:cNvPr id="398" name="Group 42">
              <a:extLst>
                <a:ext uri="{FF2B5EF4-FFF2-40B4-BE49-F238E27FC236}">
                  <a16:creationId xmlns:a16="http://schemas.microsoft.com/office/drawing/2014/main" id="{99C9C38E-A27F-42C1-81C6-0C2305E9D89A}"/>
                </a:ext>
              </a:extLst>
            </p:cNvPr>
            <p:cNvGrpSpPr/>
            <p:nvPr userDrawn="1"/>
          </p:nvGrpSpPr>
          <p:grpSpPr>
            <a:xfrm>
              <a:off x="5581650" y="3786188"/>
              <a:ext cx="1447800" cy="1447800"/>
              <a:chOff x="5581650" y="3786188"/>
              <a:chExt cx="1447800" cy="1447800"/>
            </a:xfrm>
          </p:grpSpPr>
          <p:sp>
            <p:nvSpPr>
              <p:cNvPr id="400" name="Oval 26">
                <a:extLst>
                  <a:ext uri="{FF2B5EF4-FFF2-40B4-BE49-F238E27FC236}">
                    <a16:creationId xmlns:a16="http://schemas.microsoft.com/office/drawing/2014/main" id="{7121EBEE-FD11-48B2-B7C5-8DC4BA6D233E}"/>
                  </a:ext>
                </a:extLst>
              </p:cNvPr>
              <p:cNvSpPr>
                <a:spLocks noChangeArrowheads="1"/>
              </p:cNvSpPr>
              <p:nvPr userDrawn="1"/>
            </p:nvSpPr>
            <p:spPr bwMode="auto">
              <a:xfrm>
                <a:off x="5581650" y="3786188"/>
                <a:ext cx="1447800" cy="1447800"/>
              </a:xfrm>
              <a:prstGeom prst="ellipse">
                <a:avLst/>
              </a:prstGeom>
              <a:solidFill>
                <a:srgbClr val="75A8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401" name="Freeform 27">
                <a:extLst>
                  <a:ext uri="{FF2B5EF4-FFF2-40B4-BE49-F238E27FC236}">
                    <a16:creationId xmlns:a16="http://schemas.microsoft.com/office/drawing/2014/main" id="{4AE5FCA1-D127-482D-BFAE-FBDB6590B70C}"/>
                  </a:ext>
                </a:extLst>
              </p:cNvPr>
              <p:cNvSpPr>
                <a:spLocks noEditPoints="1"/>
              </p:cNvSpPr>
              <p:nvPr userDrawn="1"/>
            </p:nvSpPr>
            <p:spPr bwMode="auto">
              <a:xfrm>
                <a:off x="6219825" y="4214813"/>
                <a:ext cx="190500" cy="514350"/>
              </a:xfrm>
              <a:custGeom>
                <a:avLst/>
                <a:gdLst>
                  <a:gd name="T0" fmla="*/ 29 w 40"/>
                  <a:gd name="T1" fmla="*/ 20 h 108"/>
                  <a:gd name="T2" fmla="*/ 40 w 40"/>
                  <a:gd name="T3" fmla="*/ 31 h 108"/>
                  <a:gd name="T4" fmla="*/ 40 w 40"/>
                  <a:gd name="T5" fmla="*/ 58 h 108"/>
                  <a:gd name="T6" fmla="*/ 33 w 40"/>
                  <a:gd name="T7" fmla="*/ 58 h 108"/>
                  <a:gd name="T8" fmla="*/ 33 w 40"/>
                  <a:gd name="T9" fmla="*/ 33 h 108"/>
                  <a:gd name="T10" fmla="*/ 31 w 40"/>
                  <a:gd name="T11" fmla="*/ 33 h 108"/>
                  <a:gd name="T12" fmla="*/ 31 w 40"/>
                  <a:gd name="T13" fmla="*/ 101 h 108"/>
                  <a:gd name="T14" fmla="*/ 21 w 40"/>
                  <a:gd name="T15" fmla="*/ 101 h 108"/>
                  <a:gd name="T16" fmla="*/ 21 w 40"/>
                  <a:gd name="T17" fmla="*/ 62 h 108"/>
                  <a:gd name="T18" fmla="*/ 19 w 40"/>
                  <a:gd name="T19" fmla="*/ 62 h 108"/>
                  <a:gd name="T20" fmla="*/ 19 w 40"/>
                  <a:gd name="T21" fmla="*/ 101 h 108"/>
                  <a:gd name="T22" fmla="*/ 9 w 40"/>
                  <a:gd name="T23" fmla="*/ 101 h 108"/>
                  <a:gd name="T24" fmla="*/ 9 w 40"/>
                  <a:gd name="T25" fmla="*/ 33 h 108"/>
                  <a:gd name="T26" fmla="*/ 7 w 40"/>
                  <a:gd name="T27" fmla="*/ 33 h 108"/>
                  <a:gd name="T28" fmla="*/ 7 w 40"/>
                  <a:gd name="T29" fmla="*/ 58 h 108"/>
                  <a:gd name="T30" fmla="*/ 0 w 40"/>
                  <a:gd name="T31" fmla="*/ 58 h 108"/>
                  <a:gd name="T32" fmla="*/ 0 w 40"/>
                  <a:gd name="T33" fmla="*/ 31 h 108"/>
                  <a:gd name="T34" fmla="*/ 11 w 40"/>
                  <a:gd name="T35" fmla="*/ 20 h 108"/>
                  <a:gd name="T36" fmla="*/ 29 w 40"/>
                  <a:gd name="T37" fmla="*/ 20 h 108"/>
                  <a:gd name="T38" fmla="*/ 20 w 40"/>
                  <a:gd name="T39" fmla="*/ 0 h 108"/>
                  <a:gd name="T40" fmla="*/ 11 w 40"/>
                  <a:gd name="T41" fmla="*/ 9 h 108"/>
                  <a:gd name="T42" fmla="*/ 20 w 40"/>
                  <a:gd name="T43" fmla="*/ 17 h 108"/>
                  <a:gd name="T44" fmla="*/ 28 w 40"/>
                  <a:gd name="T45" fmla="*/ 9 h 108"/>
                  <a:gd name="T46" fmla="*/ 20 w 40"/>
                  <a:gd name="T4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08">
                    <a:moveTo>
                      <a:pt x="29" y="20"/>
                    </a:moveTo>
                    <a:cubicBezTo>
                      <a:pt x="36" y="20"/>
                      <a:pt x="40" y="25"/>
                      <a:pt x="40" y="31"/>
                    </a:cubicBezTo>
                    <a:cubicBezTo>
                      <a:pt x="40" y="58"/>
                      <a:pt x="40" y="58"/>
                      <a:pt x="40" y="58"/>
                    </a:cubicBezTo>
                    <a:cubicBezTo>
                      <a:pt x="40" y="63"/>
                      <a:pt x="33" y="63"/>
                      <a:pt x="33" y="58"/>
                    </a:cubicBezTo>
                    <a:cubicBezTo>
                      <a:pt x="33" y="33"/>
                      <a:pt x="33" y="33"/>
                      <a:pt x="33" y="33"/>
                    </a:cubicBezTo>
                    <a:cubicBezTo>
                      <a:pt x="31" y="33"/>
                      <a:pt x="31" y="33"/>
                      <a:pt x="31" y="33"/>
                    </a:cubicBezTo>
                    <a:cubicBezTo>
                      <a:pt x="31" y="101"/>
                      <a:pt x="31" y="101"/>
                      <a:pt x="31" y="101"/>
                    </a:cubicBezTo>
                    <a:cubicBezTo>
                      <a:pt x="31" y="108"/>
                      <a:pt x="21" y="108"/>
                      <a:pt x="21" y="101"/>
                    </a:cubicBezTo>
                    <a:cubicBezTo>
                      <a:pt x="21" y="62"/>
                      <a:pt x="21" y="62"/>
                      <a:pt x="21" y="62"/>
                    </a:cubicBezTo>
                    <a:cubicBezTo>
                      <a:pt x="19" y="62"/>
                      <a:pt x="19" y="62"/>
                      <a:pt x="19" y="62"/>
                    </a:cubicBezTo>
                    <a:cubicBezTo>
                      <a:pt x="19" y="101"/>
                      <a:pt x="19" y="101"/>
                      <a:pt x="19" y="101"/>
                    </a:cubicBezTo>
                    <a:cubicBezTo>
                      <a:pt x="19" y="108"/>
                      <a:pt x="9" y="108"/>
                      <a:pt x="9" y="101"/>
                    </a:cubicBezTo>
                    <a:cubicBezTo>
                      <a:pt x="9" y="33"/>
                      <a:pt x="9" y="33"/>
                      <a:pt x="9" y="33"/>
                    </a:cubicBezTo>
                    <a:cubicBezTo>
                      <a:pt x="7" y="33"/>
                      <a:pt x="7" y="33"/>
                      <a:pt x="7" y="33"/>
                    </a:cubicBezTo>
                    <a:cubicBezTo>
                      <a:pt x="7" y="58"/>
                      <a:pt x="7" y="58"/>
                      <a:pt x="7" y="58"/>
                    </a:cubicBezTo>
                    <a:cubicBezTo>
                      <a:pt x="7" y="63"/>
                      <a:pt x="0" y="63"/>
                      <a:pt x="0" y="58"/>
                    </a:cubicBezTo>
                    <a:cubicBezTo>
                      <a:pt x="0" y="31"/>
                      <a:pt x="0" y="31"/>
                      <a:pt x="0" y="31"/>
                    </a:cubicBezTo>
                    <a:cubicBezTo>
                      <a:pt x="0" y="25"/>
                      <a:pt x="5" y="20"/>
                      <a:pt x="11" y="20"/>
                    </a:cubicBezTo>
                    <a:cubicBezTo>
                      <a:pt x="29" y="20"/>
                      <a:pt x="29" y="20"/>
                      <a:pt x="29" y="20"/>
                    </a:cubicBezTo>
                    <a:moveTo>
                      <a:pt x="20" y="0"/>
                    </a:moveTo>
                    <a:cubicBezTo>
                      <a:pt x="15" y="0"/>
                      <a:pt x="11" y="4"/>
                      <a:pt x="11" y="9"/>
                    </a:cubicBezTo>
                    <a:cubicBezTo>
                      <a:pt x="11" y="13"/>
                      <a:pt x="15" y="17"/>
                      <a:pt x="20" y="17"/>
                    </a:cubicBezTo>
                    <a:cubicBezTo>
                      <a:pt x="25" y="17"/>
                      <a:pt x="28" y="13"/>
                      <a:pt x="28" y="9"/>
                    </a:cubicBezTo>
                    <a:cubicBezTo>
                      <a:pt x="28" y="4"/>
                      <a:pt x="25" y="0"/>
                      <a:pt x="2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402" name="Freeform 28">
                <a:extLst>
                  <a:ext uri="{FF2B5EF4-FFF2-40B4-BE49-F238E27FC236}">
                    <a16:creationId xmlns:a16="http://schemas.microsoft.com/office/drawing/2014/main" id="{DA12F534-E5C9-494F-A0AC-E3D7E37F0CCA}"/>
                  </a:ext>
                </a:extLst>
              </p:cNvPr>
              <p:cNvSpPr>
                <a:spLocks noEditPoints="1"/>
              </p:cNvSpPr>
              <p:nvPr userDrawn="1"/>
            </p:nvSpPr>
            <p:spPr bwMode="auto">
              <a:xfrm>
                <a:off x="6057900" y="4114801"/>
                <a:ext cx="514350" cy="747713"/>
              </a:xfrm>
              <a:custGeom>
                <a:avLst/>
                <a:gdLst>
                  <a:gd name="T0" fmla="*/ 30 w 324"/>
                  <a:gd name="T1" fmla="*/ 441 h 471"/>
                  <a:gd name="T2" fmla="*/ 294 w 324"/>
                  <a:gd name="T3" fmla="*/ 441 h 471"/>
                  <a:gd name="T4" fmla="*/ 294 w 324"/>
                  <a:gd name="T5" fmla="*/ 27 h 471"/>
                  <a:gd name="T6" fmla="*/ 30 w 324"/>
                  <a:gd name="T7" fmla="*/ 27 h 471"/>
                  <a:gd name="T8" fmla="*/ 30 w 324"/>
                  <a:gd name="T9" fmla="*/ 441 h 471"/>
                  <a:gd name="T10" fmla="*/ 324 w 324"/>
                  <a:gd name="T11" fmla="*/ 471 h 471"/>
                  <a:gd name="T12" fmla="*/ 0 w 324"/>
                  <a:gd name="T13" fmla="*/ 471 h 471"/>
                  <a:gd name="T14" fmla="*/ 0 w 324"/>
                  <a:gd name="T15" fmla="*/ 0 h 471"/>
                  <a:gd name="T16" fmla="*/ 324 w 324"/>
                  <a:gd name="T17" fmla="*/ 0 h 471"/>
                  <a:gd name="T18" fmla="*/ 324 w 324"/>
                  <a:gd name="T19" fmla="*/ 47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4" h="471">
                    <a:moveTo>
                      <a:pt x="30" y="441"/>
                    </a:moveTo>
                    <a:lnTo>
                      <a:pt x="294" y="441"/>
                    </a:lnTo>
                    <a:lnTo>
                      <a:pt x="294" y="27"/>
                    </a:lnTo>
                    <a:lnTo>
                      <a:pt x="30" y="27"/>
                    </a:lnTo>
                    <a:lnTo>
                      <a:pt x="30" y="441"/>
                    </a:lnTo>
                    <a:close/>
                    <a:moveTo>
                      <a:pt x="324" y="471"/>
                    </a:moveTo>
                    <a:lnTo>
                      <a:pt x="0" y="471"/>
                    </a:lnTo>
                    <a:lnTo>
                      <a:pt x="0" y="0"/>
                    </a:lnTo>
                    <a:lnTo>
                      <a:pt x="324" y="0"/>
                    </a:lnTo>
                    <a:lnTo>
                      <a:pt x="324"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403" name="Freeform 29">
                <a:extLst>
                  <a:ext uri="{FF2B5EF4-FFF2-40B4-BE49-F238E27FC236}">
                    <a16:creationId xmlns:a16="http://schemas.microsoft.com/office/drawing/2014/main" id="{BAF61C9F-BC7D-4354-A49E-C271C90E23A5}"/>
                  </a:ext>
                </a:extLst>
              </p:cNvPr>
              <p:cNvSpPr>
                <a:spLocks noEditPoints="1"/>
              </p:cNvSpPr>
              <p:nvPr userDrawn="1"/>
            </p:nvSpPr>
            <p:spPr bwMode="auto">
              <a:xfrm>
                <a:off x="6238875" y="3933826"/>
                <a:ext cx="147638" cy="142875"/>
              </a:xfrm>
              <a:custGeom>
                <a:avLst/>
                <a:gdLst>
                  <a:gd name="T0" fmla="*/ 16 w 31"/>
                  <a:gd name="T1" fmla="*/ 5 h 30"/>
                  <a:gd name="T2" fmla="*/ 5 w 31"/>
                  <a:gd name="T3" fmla="*/ 16 h 30"/>
                  <a:gd name="T4" fmla="*/ 8 w 31"/>
                  <a:gd name="T5" fmla="*/ 19 h 30"/>
                  <a:gd name="T6" fmla="*/ 14 w 31"/>
                  <a:gd name="T7" fmla="*/ 13 h 30"/>
                  <a:gd name="T8" fmla="*/ 14 w 31"/>
                  <a:gd name="T9" fmla="*/ 25 h 30"/>
                  <a:gd name="T10" fmla="*/ 18 w 31"/>
                  <a:gd name="T11" fmla="*/ 25 h 30"/>
                  <a:gd name="T12" fmla="*/ 18 w 31"/>
                  <a:gd name="T13" fmla="*/ 13 h 30"/>
                  <a:gd name="T14" fmla="*/ 23 w 31"/>
                  <a:gd name="T15" fmla="*/ 18 h 30"/>
                  <a:gd name="T16" fmla="*/ 26 w 31"/>
                  <a:gd name="T17" fmla="*/ 15 h 30"/>
                  <a:gd name="T18" fmla="*/ 16 w 31"/>
                  <a:gd name="T19" fmla="*/ 5 h 30"/>
                  <a:gd name="T20" fmla="*/ 16 w 31"/>
                  <a:gd name="T21" fmla="*/ 0 h 30"/>
                  <a:gd name="T22" fmla="*/ 31 w 31"/>
                  <a:gd name="T23" fmla="*/ 15 h 30"/>
                  <a:gd name="T24" fmla="*/ 16 w 31"/>
                  <a:gd name="T25" fmla="*/ 30 h 30"/>
                  <a:gd name="T26" fmla="*/ 0 w 31"/>
                  <a:gd name="T27" fmla="*/ 15 h 30"/>
                  <a:gd name="T28" fmla="*/ 16 w 31"/>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30">
                    <a:moveTo>
                      <a:pt x="16" y="5"/>
                    </a:moveTo>
                    <a:cubicBezTo>
                      <a:pt x="5" y="16"/>
                      <a:pt x="5" y="16"/>
                      <a:pt x="5" y="16"/>
                    </a:cubicBezTo>
                    <a:cubicBezTo>
                      <a:pt x="8" y="19"/>
                      <a:pt x="8" y="19"/>
                      <a:pt x="8" y="19"/>
                    </a:cubicBezTo>
                    <a:cubicBezTo>
                      <a:pt x="14" y="13"/>
                      <a:pt x="14" y="13"/>
                      <a:pt x="14" y="13"/>
                    </a:cubicBezTo>
                    <a:cubicBezTo>
                      <a:pt x="14" y="25"/>
                      <a:pt x="14" y="25"/>
                      <a:pt x="14" y="25"/>
                    </a:cubicBezTo>
                    <a:cubicBezTo>
                      <a:pt x="18" y="25"/>
                      <a:pt x="18" y="25"/>
                      <a:pt x="18" y="25"/>
                    </a:cubicBezTo>
                    <a:cubicBezTo>
                      <a:pt x="18" y="13"/>
                      <a:pt x="18" y="13"/>
                      <a:pt x="18" y="13"/>
                    </a:cubicBezTo>
                    <a:cubicBezTo>
                      <a:pt x="23" y="18"/>
                      <a:pt x="23" y="18"/>
                      <a:pt x="23" y="18"/>
                    </a:cubicBezTo>
                    <a:cubicBezTo>
                      <a:pt x="26" y="15"/>
                      <a:pt x="26" y="15"/>
                      <a:pt x="26" y="15"/>
                    </a:cubicBezTo>
                    <a:lnTo>
                      <a:pt x="16" y="5"/>
                    </a:lnTo>
                    <a:close/>
                    <a:moveTo>
                      <a:pt x="16" y="0"/>
                    </a:moveTo>
                    <a:cubicBezTo>
                      <a:pt x="24" y="0"/>
                      <a:pt x="31" y="7"/>
                      <a:pt x="31" y="15"/>
                    </a:cubicBezTo>
                    <a:cubicBezTo>
                      <a:pt x="31" y="24"/>
                      <a:pt x="24" y="30"/>
                      <a:pt x="16" y="30"/>
                    </a:cubicBezTo>
                    <a:cubicBezTo>
                      <a:pt x="7" y="30"/>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404" name="Freeform 30">
                <a:extLst>
                  <a:ext uri="{FF2B5EF4-FFF2-40B4-BE49-F238E27FC236}">
                    <a16:creationId xmlns:a16="http://schemas.microsoft.com/office/drawing/2014/main" id="{86DDBFC2-AEDB-4C11-BD1D-7C0AEA0CA016}"/>
                  </a:ext>
                </a:extLst>
              </p:cNvPr>
              <p:cNvSpPr>
                <a:spLocks noEditPoints="1"/>
              </p:cNvSpPr>
              <p:nvPr userDrawn="1"/>
            </p:nvSpPr>
            <p:spPr bwMode="auto">
              <a:xfrm>
                <a:off x="6238875" y="4891088"/>
                <a:ext cx="147638" cy="147638"/>
              </a:xfrm>
              <a:custGeom>
                <a:avLst/>
                <a:gdLst>
                  <a:gd name="T0" fmla="*/ 16 w 31"/>
                  <a:gd name="T1" fmla="*/ 26 h 31"/>
                  <a:gd name="T2" fmla="*/ 26 w 31"/>
                  <a:gd name="T3" fmla="*/ 15 h 31"/>
                  <a:gd name="T4" fmla="*/ 23 w 31"/>
                  <a:gd name="T5" fmla="*/ 12 h 31"/>
                  <a:gd name="T6" fmla="*/ 18 w 31"/>
                  <a:gd name="T7" fmla="*/ 18 h 31"/>
                  <a:gd name="T8" fmla="*/ 18 w 31"/>
                  <a:gd name="T9" fmla="*/ 6 h 31"/>
                  <a:gd name="T10" fmla="*/ 14 w 31"/>
                  <a:gd name="T11" fmla="*/ 6 h 31"/>
                  <a:gd name="T12" fmla="*/ 14 w 31"/>
                  <a:gd name="T13" fmla="*/ 18 h 31"/>
                  <a:gd name="T14" fmla="*/ 8 w 31"/>
                  <a:gd name="T15" fmla="*/ 12 h 31"/>
                  <a:gd name="T16" fmla="*/ 5 w 31"/>
                  <a:gd name="T17" fmla="*/ 15 h 31"/>
                  <a:gd name="T18" fmla="*/ 16 w 31"/>
                  <a:gd name="T19" fmla="*/ 26 h 31"/>
                  <a:gd name="T20" fmla="*/ 16 w 31"/>
                  <a:gd name="T21" fmla="*/ 31 h 31"/>
                  <a:gd name="T22" fmla="*/ 0 w 31"/>
                  <a:gd name="T23" fmla="*/ 16 h 31"/>
                  <a:gd name="T24" fmla="*/ 16 w 31"/>
                  <a:gd name="T25" fmla="*/ 0 h 31"/>
                  <a:gd name="T26" fmla="*/ 31 w 31"/>
                  <a:gd name="T27" fmla="*/ 16 h 31"/>
                  <a:gd name="T28" fmla="*/ 16 w 31"/>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31">
                    <a:moveTo>
                      <a:pt x="16" y="26"/>
                    </a:moveTo>
                    <a:cubicBezTo>
                      <a:pt x="26" y="15"/>
                      <a:pt x="26" y="15"/>
                      <a:pt x="26" y="15"/>
                    </a:cubicBezTo>
                    <a:cubicBezTo>
                      <a:pt x="23" y="12"/>
                      <a:pt x="23" y="12"/>
                      <a:pt x="23" y="12"/>
                    </a:cubicBezTo>
                    <a:cubicBezTo>
                      <a:pt x="18" y="18"/>
                      <a:pt x="18" y="18"/>
                      <a:pt x="18" y="18"/>
                    </a:cubicBezTo>
                    <a:cubicBezTo>
                      <a:pt x="18" y="6"/>
                      <a:pt x="18" y="6"/>
                      <a:pt x="18" y="6"/>
                    </a:cubicBezTo>
                    <a:cubicBezTo>
                      <a:pt x="14" y="6"/>
                      <a:pt x="14" y="6"/>
                      <a:pt x="14" y="6"/>
                    </a:cubicBezTo>
                    <a:cubicBezTo>
                      <a:pt x="14" y="18"/>
                      <a:pt x="14" y="18"/>
                      <a:pt x="14" y="18"/>
                    </a:cubicBezTo>
                    <a:cubicBezTo>
                      <a:pt x="8" y="12"/>
                      <a:pt x="8" y="12"/>
                      <a:pt x="8" y="12"/>
                    </a:cubicBezTo>
                    <a:cubicBezTo>
                      <a:pt x="5" y="15"/>
                      <a:pt x="5" y="15"/>
                      <a:pt x="5" y="15"/>
                    </a:cubicBezTo>
                    <a:lnTo>
                      <a:pt x="16" y="26"/>
                    </a:lnTo>
                    <a:close/>
                    <a:moveTo>
                      <a:pt x="16" y="31"/>
                    </a:moveTo>
                    <a:cubicBezTo>
                      <a:pt x="7" y="31"/>
                      <a:pt x="0" y="24"/>
                      <a:pt x="0" y="16"/>
                    </a:cubicBezTo>
                    <a:cubicBezTo>
                      <a:pt x="0" y="7"/>
                      <a:pt x="7" y="0"/>
                      <a:pt x="16" y="0"/>
                    </a:cubicBezTo>
                    <a:cubicBezTo>
                      <a:pt x="24" y="0"/>
                      <a:pt x="31" y="7"/>
                      <a:pt x="31" y="16"/>
                    </a:cubicBezTo>
                    <a:cubicBezTo>
                      <a:pt x="31" y="24"/>
                      <a:pt x="24" y="31"/>
                      <a:pt x="16"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grpSp>
        <p:sp>
          <p:nvSpPr>
            <p:cNvPr id="399" name="Freeform 31">
              <a:extLst>
                <a:ext uri="{FF2B5EF4-FFF2-40B4-BE49-F238E27FC236}">
                  <a16:creationId xmlns:a16="http://schemas.microsoft.com/office/drawing/2014/main" id="{0C093461-6228-4C51-9AD5-969D93F66BCE}"/>
                </a:ext>
              </a:extLst>
            </p:cNvPr>
            <p:cNvSpPr>
              <a:spLocks noEditPoints="1"/>
            </p:cNvSpPr>
            <p:nvPr userDrawn="1"/>
          </p:nvSpPr>
          <p:spPr bwMode="auto">
            <a:xfrm>
              <a:off x="5514975" y="3714751"/>
              <a:ext cx="1595438" cy="1593850"/>
            </a:xfrm>
            <a:custGeom>
              <a:avLst/>
              <a:gdLst>
                <a:gd name="T0" fmla="*/ 266 w 335"/>
                <a:gd name="T1" fmla="*/ 250 h 335"/>
                <a:gd name="T2" fmla="*/ 84 w 335"/>
                <a:gd name="T3" fmla="*/ 69 h 335"/>
                <a:gd name="T4" fmla="*/ 266 w 335"/>
                <a:gd name="T5" fmla="*/ 85 h 335"/>
                <a:gd name="T6" fmla="*/ 266 w 335"/>
                <a:gd name="T7" fmla="*/ 250 h 335"/>
                <a:gd name="T8" fmla="*/ 77 w 335"/>
                <a:gd name="T9" fmla="*/ 258 h 335"/>
                <a:gd name="T10" fmla="*/ 68 w 335"/>
                <a:gd name="T11" fmla="*/ 86 h 335"/>
                <a:gd name="T12" fmla="*/ 249 w 335"/>
                <a:gd name="T13" fmla="*/ 267 h 335"/>
                <a:gd name="T14" fmla="*/ 77 w 335"/>
                <a:gd name="T15" fmla="*/ 258 h 335"/>
                <a:gd name="T16" fmla="*/ 60 w 335"/>
                <a:gd name="T17" fmla="*/ 60 h 335"/>
                <a:gd name="T18" fmla="*/ 60 w 335"/>
                <a:gd name="T19" fmla="*/ 275 h 335"/>
                <a:gd name="T20" fmla="*/ 276 w 335"/>
                <a:gd name="T21" fmla="*/ 275 h 335"/>
                <a:gd name="T22" fmla="*/ 276 w 335"/>
                <a:gd name="T23" fmla="*/ 60 h 335"/>
                <a:gd name="T24" fmla="*/ 276 w 335"/>
                <a:gd name="T25" fmla="*/ 60 h 335"/>
                <a:gd name="T26" fmla="*/ 60 w 335"/>
                <a:gd name="T27" fmla="*/ 6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266" y="250"/>
                  </a:moveTo>
                  <a:cubicBezTo>
                    <a:pt x="84" y="69"/>
                    <a:pt x="84" y="69"/>
                    <a:pt x="84" y="69"/>
                  </a:cubicBezTo>
                  <a:cubicBezTo>
                    <a:pt x="139" y="24"/>
                    <a:pt x="220" y="30"/>
                    <a:pt x="266" y="85"/>
                  </a:cubicBezTo>
                  <a:cubicBezTo>
                    <a:pt x="306" y="132"/>
                    <a:pt x="306" y="202"/>
                    <a:pt x="266" y="250"/>
                  </a:cubicBezTo>
                  <a:close/>
                  <a:moveTo>
                    <a:pt x="77" y="258"/>
                  </a:moveTo>
                  <a:cubicBezTo>
                    <a:pt x="30" y="212"/>
                    <a:pt x="26" y="138"/>
                    <a:pt x="68" y="86"/>
                  </a:cubicBezTo>
                  <a:cubicBezTo>
                    <a:pt x="249" y="267"/>
                    <a:pt x="249" y="267"/>
                    <a:pt x="249" y="267"/>
                  </a:cubicBezTo>
                  <a:cubicBezTo>
                    <a:pt x="197" y="308"/>
                    <a:pt x="123" y="304"/>
                    <a:pt x="77" y="258"/>
                  </a:cubicBezTo>
                  <a:close/>
                  <a:moveTo>
                    <a:pt x="60" y="60"/>
                  </a:moveTo>
                  <a:cubicBezTo>
                    <a:pt x="0" y="119"/>
                    <a:pt x="0" y="216"/>
                    <a:pt x="60" y="275"/>
                  </a:cubicBezTo>
                  <a:cubicBezTo>
                    <a:pt x="119" y="335"/>
                    <a:pt x="216" y="335"/>
                    <a:pt x="276" y="275"/>
                  </a:cubicBezTo>
                  <a:cubicBezTo>
                    <a:pt x="335" y="216"/>
                    <a:pt x="335" y="119"/>
                    <a:pt x="276" y="60"/>
                  </a:cubicBezTo>
                  <a:cubicBezTo>
                    <a:pt x="276" y="60"/>
                    <a:pt x="276" y="60"/>
                    <a:pt x="276" y="60"/>
                  </a:cubicBezTo>
                  <a:cubicBezTo>
                    <a:pt x="216" y="0"/>
                    <a:pt x="119" y="0"/>
                    <a:pt x="60" y="60"/>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grpSp>
      <p:grpSp>
        <p:nvGrpSpPr>
          <p:cNvPr id="405" name="Group 36">
            <a:extLst>
              <a:ext uri="{FF2B5EF4-FFF2-40B4-BE49-F238E27FC236}">
                <a16:creationId xmlns:a16="http://schemas.microsoft.com/office/drawing/2014/main" id="{768323B7-3AB1-4359-B0B3-BFA4A2720DFF}"/>
              </a:ext>
            </a:extLst>
          </p:cNvPr>
          <p:cNvGrpSpPr/>
          <p:nvPr userDrawn="1"/>
        </p:nvGrpSpPr>
        <p:grpSpPr>
          <a:xfrm>
            <a:off x="9911044" y="3736162"/>
            <a:ext cx="1452563" cy="1447800"/>
            <a:chOff x="9896475" y="3786188"/>
            <a:chExt cx="1452563" cy="1447800"/>
          </a:xfrm>
        </p:grpSpPr>
        <p:sp>
          <p:nvSpPr>
            <p:cNvPr id="406" name="Oval 22">
              <a:extLst>
                <a:ext uri="{FF2B5EF4-FFF2-40B4-BE49-F238E27FC236}">
                  <a16:creationId xmlns:a16="http://schemas.microsoft.com/office/drawing/2014/main" id="{673000CF-9EA8-4ED7-9B12-1CD1D2742BA6}"/>
                </a:ext>
              </a:extLst>
            </p:cNvPr>
            <p:cNvSpPr>
              <a:spLocks noChangeArrowheads="1"/>
            </p:cNvSpPr>
            <p:nvPr userDrawn="1"/>
          </p:nvSpPr>
          <p:spPr bwMode="auto">
            <a:xfrm>
              <a:off x="9896475" y="3786188"/>
              <a:ext cx="1452563" cy="1447800"/>
            </a:xfrm>
            <a:prstGeom prst="ellipse">
              <a:avLst/>
            </a:prstGeom>
            <a:solidFill>
              <a:srgbClr val="75A8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407" name="Freeform 23">
              <a:extLst>
                <a:ext uri="{FF2B5EF4-FFF2-40B4-BE49-F238E27FC236}">
                  <a16:creationId xmlns:a16="http://schemas.microsoft.com/office/drawing/2014/main" id="{66E379D7-C115-4F01-8659-7424B012B146}"/>
                </a:ext>
              </a:extLst>
            </p:cNvPr>
            <p:cNvSpPr>
              <a:spLocks noEditPoints="1"/>
            </p:cNvSpPr>
            <p:nvPr userDrawn="1"/>
          </p:nvSpPr>
          <p:spPr bwMode="auto">
            <a:xfrm>
              <a:off x="10410825" y="3990976"/>
              <a:ext cx="581025" cy="1114425"/>
            </a:xfrm>
            <a:custGeom>
              <a:avLst/>
              <a:gdLst>
                <a:gd name="T0" fmla="*/ 85 w 122"/>
                <a:gd name="T1" fmla="*/ 80 h 234"/>
                <a:gd name="T2" fmla="*/ 79 w 122"/>
                <a:gd name="T3" fmla="*/ 154 h 234"/>
                <a:gd name="T4" fmla="*/ 72 w 122"/>
                <a:gd name="T5" fmla="*/ 148 h 234"/>
                <a:gd name="T6" fmla="*/ 70 w 122"/>
                <a:gd name="T7" fmla="*/ 83 h 234"/>
                <a:gd name="T8" fmla="*/ 69 w 122"/>
                <a:gd name="T9" fmla="*/ 123 h 234"/>
                <a:gd name="T10" fmla="*/ 69 w 122"/>
                <a:gd name="T11" fmla="*/ 158 h 234"/>
                <a:gd name="T12" fmla="*/ 69 w 122"/>
                <a:gd name="T13" fmla="*/ 225 h 234"/>
                <a:gd name="T14" fmla="*/ 56 w 122"/>
                <a:gd name="T15" fmla="*/ 234 h 234"/>
                <a:gd name="T16" fmla="*/ 47 w 122"/>
                <a:gd name="T17" fmla="*/ 170 h 234"/>
                <a:gd name="T18" fmla="*/ 47 w 122"/>
                <a:gd name="T19" fmla="*/ 142 h 234"/>
                <a:gd name="T20" fmla="*/ 38 w 122"/>
                <a:gd name="T21" fmla="*/ 143 h 234"/>
                <a:gd name="T22" fmla="*/ 38 w 122"/>
                <a:gd name="T23" fmla="*/ 169 h 234"/>
                <a:gd name="T24" fmla="*/ 29 w 122"/>
                <a:gd name="T25" fmla="*/ 234 h 234"/>
                <a:gd name="T26" fmla="*/ 17 w 122"/>
                <a:gd name="T27" fmla="*/ 225 h 234"/>
                <a:gd name="T28" fmla="*/ 17 w 122"/>
                <a:gd name="T29" fmla="*/ 158 h 234"/>
                <a:gd name="T30" fmla="*/ 17 w 122"/>
                <a:gd name="T31" fmla="*/ 147 h 234"/>
                <a:gd name="T32" fmla="*/ 15 w 122"/>
                <a:gd name="T33" fmla="*/ 83 h 234"/>
                <a:gd name="T34" fmla="*/ 13 w 122"/>
                <a:gd name="T35" fmla="*/ 148 h 234"/>
                <a:gd name="T36" fmla="*/ 7 w 122"/>
                <a:gd name="T37" fmla="*/ 154 h 234"/>
                <a:gd name="T38" fmla="*/ 0 w 122"/>
                <a:gd name="T39" fmla="*/ 148 h 234"/>
                <a:gd name="T40" fmla="*/ 24 w 122"/>
                <a:gd name="T41" fmla="*/ 56 h 234"/>
                <a:gd name="T42" fmla="*/ 27 w 122"/>
                <a:gd name="T43" fmla="*/ 56 h 234"/>
                <a:gd name="T44" fmla="*/ 58 w 122"/>
                <a:gd name="T45" fmla="*/ 56 h 234"/>
                <a:gd name="T46" fmla="*/ 19 w 122"/>
                <a:gd name="T47" fmla="*/ 27 h 234"/>
                <a:gd name="T48" fmla="*/ 66 w 122"/>
                <a:gd name="T49" fmla="*/ 27 h 234"/>
                <a:gd name="T50" fmla="*/ 20 w 122"/>
                <a:gd name="T51" fmla="*/ 24 h 234"/>
                <a:gd name="T52" fmla="*/ 102 w 122"/>
                <a:gd name="T53" fmla="*/ 32 h 234"/>
                <a:gd name="T54" fmla="*/ 98 w 122"/>
                <a:gd name="T55" fmla="*/ 36 h 234"/>
                <a:gd name="T56" fmla="*/ 102 w 122"/>
                <a:gd name="T57" fmla="*/ 32 h 234"/>
                <a:gd name="T58" fmla="*/ 99 w 122"/>
                <a:gd name="T59" fmla="*/ 29 h 234"/>
                <a:gd name="T60" fmla="*/ 102 w 122"/>
                <a:gd name="T61" fmla="*/ 17 h 234"/>
                <a:gd name="T62" fmla="*/ 98 w 122"/>
                <a:gd name="T63" fmla="*/ 9 h 234"/>
                <a:gd name="T64" fmla="*/ 114 w 122"/>
                <a:gd name="T65" fmla="*/ 8 h 234"/>
                <a:gd name="T66" fmla="*/ 90 w 122"/>
                <a:gd name="T67" fmla="*/ 40 h 234"/>
                <a:gd name="T68" fmla="*/ 82 w 122"/>
                <a:gd name="T69" fmla="*/ 33 h 234"/>
                <a:gd name="T70" fmla="*/ 114 w 122"/>
                <a:gd name="T71" fmla="*/ 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234">
                  <a:moveTo>
                    <a:pt x="62" y="56"/>
                  </a:moveTo>
                  <a:cubicBezTo>
                    <a:pt x="74" y="56"/>
                    <a:pt x="85" y="67"/>
                    <a:pt x="85" y="80"/>
                  </a:cubicBezTo>
                  <a:cubicBezTo>
                    <a:pt x="85" y="147"/>
                    <a:pt x="85" y="147"/>
                    <a:pt x="85" y="147"/>
                  </a:cubicBezTo>
                  <a:cubicBezTo>
                    <a:pt x="85" y="151"/>
                    <a:pt x="82" y="154"/>
                    <a:pt x="79" y="154"/>
                  </a:cubicBezTo>
                  <a:cubicBezTo>
                    <a:pt x="75" y="155"/>
                    <a:pt x="72" y="152"/>
                    <a:pt x="72" y="148"/>
                  </a:cubicBezTo>
                  <a:cubicBezTo>
                    <a:pt x="72" y="148"/>
                    <a:pt x="72" y="148"/>
                    <a:pt x="72" y="148"/>
                  </a:cubicBezTo>
                  <a:cubicBezTo>
                    <a:pt x="72" y="85"/>
                    <a:pt x="72" y="85"/>
                    <a:pt x="72" y="85"/>
                  </a:cubicBezTo>
                  <a:cubicBezTo>
                    <a:pt x="72" y="84"/>
                    <a:pt x="71" y="83"/>
                    <a:pt x="70" y="83"/>
                  </a:cubicBezTo>
                  <a:cubicBezTo>
                    <a:pt x="69" y="83"/>
                    <a:pt x="69" y="83"/>
                    <a:pt x="69" y="84"/>
                  </a:cubicBezTo>
                  <a:cubicBezTo>
                    <a:pt x="69" y="123"/>
                    <a:pt x="69" y="123"/>
                    <a:pt x="69" y="123"/>
                  </a:cubicBezTo>
                  <a:cubicBezTo>
                    <a:pt x="69" y="123"/>
                    <a:pt x="69" y="123"/>
                    <a:pt x="69" y="123"/>
                  </a:cubicBezTo>
                  <a:cubicBezTo>
                    <a:pt x="69" y="158"/>
                    <a:pt x="69" y="158"/>
                    <a:pt x="69" y="158"/>
                  </a:cubicBezTo>
                  <a:cubicBezTo>
                    <a:pt x="69" y="168"/>
                    <a:pt x="69" y="168"/>
                    <a:pt x="69" y="168"/>
                  </a:cubicBezTo>
                  <a:cubicBezTo>
                    <a:pt x="69" y="225"/>
                    <a:pt x="69" y="225"/>
                    <a:pt x="69" y="225"/>
                  </a:cubicBezTo>
                  <a:cubicBezTo>
                    <a:pt x="69" y="230"/>
                    <a:pt x="64" y="234"/>
                    <a:pt x="59" y="234"/>
                  </a:cubicBezTo>
                  <a:cubicBezTo>
                    <a:pt x="56" y="234"/>
                    <a:pt x="56" y="234"/>
                    <a:pt x="56" y="234"/>
                  </a:cubicBezTo>
                  <a:cubicBezTo>
                    <a:pt x="51" y="234"/>
                    <a:pt x="47" y="230"/>
                    <a:pt x="47" y="225"/>
                  </a:cubicBezTo>
                  <a:cubicBezTo>
                    <a:pt x="47" y="170"/>
                    <a:pt x="47" y="170"/>
                    <a:pt x="47" y="170"/>
                  </a:cubicBezTo>
                  <a:cubicBezTo>
                    <a:pt x="47" y="161"/>
                    <a:pt x="47" y="161"/>
                    <a:pt x="47" y="161"/>
                  </a:cubicBezTo>
                  <a:cubicBezTo>
                    <a:pt x="47" y="142"/>
                    <a:pt x="47" y="142"/>
                    <a:pt x="47" y="142"/>
                  </a:cubicBezTo>
                  <a:cubicBezTo>
                    <a:pt x="47" y="140"/>
                    <a:pt x="45" y="138"/>
                    <a:pt x="42" y="138"/>
                  </a:cubicBezTo>
                  <a:cubicBezTo>
                    <a:pt x="40" y="138"/>
                    <a:pt x="38" y="140"/>
                    <a:pt x="38" y="143"/>
                  </a:cubicBezTo>
                  <a:cubicBezTo>
                    <a:pt x="38" y="159"/>
                    <a:pt x="38" y="159"/>
                    <a:pt x="38" y="159"/>
                  </a:cubicBezTo>
                  <a:cubicBezTo>
                    <a:pt x="38" y="169"/>
                    <a:pt x="38" y="169"/>
                    <a:pt x="38" y="169"/>
                  </a:cubicBezTo>
                  <a:cubicBezTo>
                    <a:pt x="38" y="225"/>
                    <a:pt x="38" y="225"/>
                    <a:pt x="38" y="225"/>
                  </a:cubicBezTo>
                  <a:cubicBezTo>
                    <a:pt x="38" y="230"/>
                    <a:pt x="34" y="234"/>
                    <a:pt x="29" y="234"/>
                  </a:cubicBezTo>
                  <a:cubicBezTo>
                    <a:pt x="26" y="234"/>
                    <a:pt x="26" y="234"/>
                    <a:pt x="26" y="234"/>
                  </a:cubicBezTo>
                  <a:cubicBezTo>
                    <a:pt x="21" y="234"/>
                    <a:pt x="17" y="230"/>
                    <a:pt x="17" y="225"/>
                  </a:cubicBezTo>
                  <a:cubicBezTo>
                    <a:pt x="17" y="162"/>
                    <a:pt x="17" y="162"/>
                    <a:pt x="17" y="162"/>
                  </a:cubicBezTo>
                  <a:cubicBezTo>
                    <a:pt x="17" y="158"/>
                    <a:pt x="17" y="158"/>
                    <a:pt x="17" y="158"/>
                  </a:cubicBezTo>
                  <a:cubicBezTo>
                    <a:pt x="17" y="149"/>
                    <a:pt x="17" y="149"/>
                    <a:pt x="17" y="149"/>
                  </a:cubicBezTo>
                  <a:cubicBezTo>
                    <a:pt x="17" y="147"/>
                    <a:pt x="17" y="147"/>
                    <a:pt x="17" y="147"/>
                  </a:cubicBezTo>
                  <a:cubicBezTo>
                    <a:pt x="17" y="85"/>
                    <a:pt x="17" y="85"/>
                    <a:pt x="17" y="85"/>
                  </a:cubicBezTo>
                  <a:cubicBezTo>
                    <a:pt x="17" y="84"/>
                    <a:pt x="16" y="83"/>
                    <a:pt x="15" y="83"/>
                  </a:cubicBezTo>
                  <a:cubicBezTo>
                    <a:pt x="14" y="83"/>
                    <a:pt x="13" y="84"/>
                    <a:pt x="13" y="85"/>
                  </a:cubicBezTo>
                  <a:cubicBezTo>
                    <a:pt x="13" y="148"/>
                    <a:pt x="13" y="148"/>
                    <a:pt x="13" y="148"/>
                  </a:cubicBezTo>
                  <a:cubicBezTo>
                    <a:pt x="13" y="148"/>
                    <a:pt x="13" y="148"/>
                    <a:pt x="13" y="148"/>
                  </a:cubicBezTo>
                  <a:cubicBezTo>
                    <a:pt x="13" y="151"/>
                    <a:pt x="10" y="154"/>
                    <a:pt x="7" y="154"/>
                  </a:cubicBezTo>
                  <a:cubicBezTo>
                    <a:pt x="3" y="154"/>
                    <a:pt x="0" y="151"/>
                    <a:pt x="0" y="148"/>
                  </a:cubicBezTo>
                  <a:cubicBezTo>
                    <a:pt x="0" y="148"/>
                    <a:pt x="0" y="148"/>
                    <a:pt x="0" y="148"/>
                  </a:cubicBezTo>
                  <a:cubicBezTo>
                    <a:pt x="0" y="80"/>
                    <a:pt x="0" y="80"/>
                    <a:pt x="0" y="80"/>
                  </a:cubicBezTo>
                  <a:cubicBezTo>
                    <a:pt x="0" y="67"/>
                    <a:pt x="11" y="56"/>
                    <a:pt x="24" y="56"/>
                  </a:cubicBezTo>
                  <a:cubicBezTo>
                    <a:pt x="27" y="56"/>
                    <a:pt x="27" y="56"/>
                    <a:pt x="27" y="56"/>
                  </a:cubicBezTo>
                  <a:cubicBezTo>
                    <a:pt x="27" y="56"/>
                    <a:pt x="27" y="56"/>
                    <a:pt x="27" y="56"/>
                  </a:cubicBezTo>
                  <a:cubicBezTo>
                    <a:pt x="58" y="56"/>
                    <a:pt x="58" y="56"/>
                    <a:pt x="58" y="56"/>
                  </a:cubicBezTo>
                  <a:cubicBezTo>
                    <a:pt x="58" y="56"/>
                    <a:pt x="58" y="56"/>
                    <a:pt x="58" y="56"/>
                  </a:cubicBezTo>
                  <a:cubicBezTo>
                    <a:pt x="62" y="56"/>
                    <a:pt x="62" y="56"/>
                    <a:pt x="62" y="56"/>
                  </a:cubicBezTo>
                  <a:moveTo>
                    <a:pt x="19" y="27"/>
                  </a:moveTo>
                  <a:cubicBezTo>
                    <a:pt x="19" y="40"/>
                    <a:pt x="30" y="50"/>
                    <a:pt x="43" y="50"/>
                  </a:cubicBezTo>
                  <a:cubicBezTo>
                    <a:pt x="55" y="50"/>
                    <a:pt x="66" y="40"/>
                    <a:pt x="66" y="27"/>
                  </a:cubicBezTo>
                  <a:cubicBezTo>
                    <a:pt x="66" y="26"/>
                    <a:pt x="66" y="25"/>
                    <a:pt x="66" y="24"/>
                  </a:cubicBezTo>
                  <a:cubicBezTo>
                    <a:pt x="20" y="24"/>
                    <a:pt x="20" y="24"/>
                    <a:pt x="20" y="24"/>
                  </a:cubicBezTo>
                  <a:cubicBezTo>
                    <a:pt x="19" y="25"/>
                    <a:pt x="19" y="26"/>
                    <a:pt x="19" y="27"/>
                  </a:cubicBezTo>
                  <a:moveTo>
                    <a:pt x="102" y="32"/>
                  </a:moveTo>
                  <a:cubicBezTo>
                    <a:pt x="98" y="32"/>
                    <a:pt x="98" y="32"/>
                    <a:pt x="98" y="32"/>
                  </a:cubicBezTo>
                  <a:cubicBezTo>
                    <a:pt x="98" y="36"/>
                    <a:pt x="98" y="36"/>
                    <a:pt x="98" y="36"/>
                  </a:cubicBezTo>
                  <a:cubicBezTo>
                    <a:pt x="102" y="36"/>
                    <a:pt x="102" y="36"/>
                    <a:pt x="102" y="36"/>
                  </a:cubicBezTo>
                  <a:lnTo>
                    <a:pt x="102" y="32"/>
                  </a:lnTo>
                  <a:close/>
                  <a:moveTo>
                    <a:pt x="98" y="17"/>
                  </a:moveTo>
                  <a:cubicBezTo>
                    <a:pt x="99" y="29"/>
                    <a:pt x="99" y="29"/>
                    <a:pt x="99" y="29"/>
                  </a:cubicBezTo>
                  <a:cubicBezTo>
                    <a:pt x="101" y="29"/>
                    <a:pt x="101" y="29"/>
                    <a:pt x="101" y="29"/>
                  </a:cubicBezTo>
                  <a:cubicBezTo>
                    <a:pt x="102" y="17"/>
                    <a:pt x="102" y="17"/>
                    <a:pt x="102" y="17"/>
                  </a:cubicBezTo>
                  <a:cubicBezTo>
                    <a:pt x="102" y="9"/>
                    <a:pt x="102" y="9"/>
                    <a:pt x="102" y="9"/>
                  </a:cubicBezTo>
                  <a:cubicBezTo>
                    <a:pt x="98" y="9"/>
                    <a:pt x="98" y="9"/>
                    <a:pt x="98" y="9"/>
                  </a:cubicBezTo>
                  <a:lnTo>
                    <a:pt x="98" y="17"/>
                  </a:lnTo>
                  <a:close/>
                  <a:moveTo>
                    <a:pt x="114" y="8"/>
                  </a:moveTo>
                  <a:cubicBezTo>
                    <a:pt x="122" y="16"/>
                    <a:pt x="122" y="29"/>
                    <a:pt x="114" y="37"/>
                  </a:cubicBezTo>
                  <a:cubicBezTo>
                    <a:pt x="108" y="44"/>
                    <a:pt x="98" y="45"/>
                    <a:pt x="90" y="40"/>
                  </a:cubicBezTo>
                  <a:cubicBezTo>
                    <a:pt x="78" y="44"/>
                    <a:pt x="78" y="44"/>
                    <a:pt x="78" y="44"/>
                  </a:cubicBezTo>
                  <a:cubicBezTo>
                    <a:pt x="82" y="33"/>
                    <a:pt x="82" y="33"/>
                    <a:pt x="82" y="33"/>
                  </a:cubicBezTo>
                  <a:cubicBezTo>
                    <a:pt x="78" y="25"/>
                    <a:pt x="79" y="15"/>
                    <a:pt x="86" y="8"/>
                  </a:cubicBezTo>
                  <a:cubicBezTo>
                    <a:pt x="94" y="0"/>
                    <a:pt x="107" y="0"/>
                    <a:pt x="114"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408" name="Freeform 24">
              <a:extLst>
                <a:ext uri="{FF2B5EF4-FFF2-40B4-BE49-F238E27FC236}">
                  <a16:creationId xmlns:a16="http://schemas.microsoft.com/office/drawing/2014/main" id="{DD9CA93A-C9E7-4B93-A814-7201F0C7F25A}"/>
                </a:ext>
              </a:extLst>
            </p:cNvPr>
            <p:cNvSpPr>
              <a:spLocks noEditPoints="1"/>
            </p:cNvSpPr>
            <p:nvPr userDrawn="1"/>
          </p:nvSpPr>
          <p:spPr bwMode="auto">
            <a:xfrm>
              <a:off x="10477500" y="4252913"/>
              <a:ext cx="271463" cy="314325"/>
            </a:xfrm>
            <a:custGeom>
              <a:avLst/>
              <a:gdLst>
                <a:gd name="T0" fmla="*/ 27 w 57"/>
                <a:gd name="T1" fmla="*/ 42 h 66"/>
                <a:gd name="T2" fmla="*/ 27 w 57"/>
                <a:gd name="T3" fmla="*/ 46 h 66"/>
                <a:gd name="T4" fmla="*/ 27 w 57"/>
                <a:gd name="T5" fmla="*/ 59 h 66"/>
                <a:gd name="T6" fmla="*/ 0 w 57"/>
                <a:gd name="T7" fmla="*/ 60 h 66"/>
                <a:gd name="T8" fmla="*/ 0 w 57"/>
                <a:gd name="T9" fmla="*/ 56 h 66"/>
                <a:gd name="T10" fmla="*/ 0 w 57"/>
                <a:gd name="T11" fmla="*/ 46 h 66"/>
                <a:gd name="T12" fmla="*/ 10 w 57"/>
                <a:gd name="T13" fmla="*/ 42 h 66"/>
                <a:gd name="T14" fmla="*/ 14 w 57"/>
                <a:gd name="T15" fmla="*/ 1 h 66"/>
                <a:gd name="T16" fmla="*/ 16 w 57"/>
                <a:gd name="T17" fmla="*/ 1 h 66"/>
                <a:gd name="T18" fmla="*/ 17 w 57"/>
                <a:gd name="T19" fmla="*/ 1 h 66"/>
                <a:gd name="T20" fmla="*/ 27 w 57"/>
                <a:gd name="T21" fmla="*/ 33 h 66"/>
                <a:gd name="T22" fmla="*/ 11 w 57"/>
                <a:gd name="T23" fmla="*/ 39 h 66"/>
                <a:gd name="T24" fmla="*/ 9 w 57"/>
                <a:gd name="T25" fmla="*/ 1 h 66"/>
                <a:gd name="T26" fmla="*/ 1 w 57"/>
                <a:gd name="T27" fmla="*/ 33 h 66"/>
                <a:gd name="T28" fmla="*/ 0 w 57"/>
                <a:gd name="T29" fmla="*/ 34 h 66"/>
                <a:gd name="T30" fmla="*/ 10 w 57"/>
                <a:gd name="T31" fmla="*/ 40 h 66"/>
                <a:gd name="T32" fmla="*/ 0 w 57"/>
                <a:gd name="T33" fmla="*/ 65 h 66"/>
                <a:gd name="T34" fmla="*/ 27 w 57"/>
                <a:gd name="T35" fmla="*/ 66 h 66"/>
                <a:gd name="T36" fmla="*/ 0 w 57"/>
                <a:gd name="T37" fmla="*/ 62 h 66"/>
                <a:gd name="T38" fmla="*/ 57 w 57"/>
                <a:gd name="T39" fmla="*/ 33 h 66"/>
                <a:gd name="T40" fmla="*/ 48 w 57"/>
                <a:gd name="T41" fmla="*/ 25 h 66"/>
                <a:gd name="T42" fmla="*/ 46 w 57"/>
                <a:gd name="T43" fmla="*/ 1 h 66"/>
                <a:gd name="T44" fmla="*/ 47 w 57"/>
                <a:gd name="T45" fmla="*/ 40 h 66"/>
                <a:gd name="T46" fmla="*/ 57 w 57"/>
                <a:gd name="T47" fmla="*/ 34 h 66"/>
                <a:gd name="T48" fmla="*/ 43 w 57"/>
                <a:gd name="T49" fmla="*/ 39 h 66"/>
                <a:gd name="T50" fmla="*/ 42 w 57"/>
                <a:gd name="T51" fmla="*/ 1 h 66"/>
                <a:gd name="T52" fmla="*/ 40 w 57"/>
                <a:gd name="T53" fmla="*/ 1 h 66"/>
                <a:gd name="T54" fmla="*/ 30 w 57"/>
                <a:gd name="T55" fmla="*/ 43 h 66"/>
                <a:gd name="T56" fmla="*/ 30 w 57"/>
                <a:gd name="T57" fmla="*/ 46 h 66"/>
                <a:gd name="T58" fmla="*/ 30 w 57"/>
                <a:gd name="T59" fmla="*/ 56 h 66"/>
                <a:gd name="T60" fmla="*/ 30 w 57"/>
                <a:gd name="T61" fmla="*/ 60 h 66"/>
                <a:gd name="T62" fmla="*/ 57 w 57"/>
                <a:gd name="T63" fmla="*/ 59 h 66"/>
                <a:gd name="T64" fmla="*/ 57 w 57"/>
                <a:gd name="T65" fmla="*/ 46 h 66"/>
                <a:gd name="T66" fmla="*/ 57 w 57"/>
                <a:gd name="T67" fmla="*/ 42 h 66"/>
                <a:gd name="T68" fmla="*/ 43 w 57"/>
                <a:gd name="T69" fmla="*/ 39 h 66"/>
                <a:gd name="T70" fmla="*/ 56 w 57"/>
                <a:gd name="T71" fmla="*/ 66 h 66"/>
                <a:gd name="T72" fmla="*/ 57 w 57"/>
                <a:gd name="T73" fmla="*/ 62 h 66"/>
                <a:gd name="T74" fmla="*/ 30 w 57"/>
                <a:gd name="T7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66">
                  <a:moveTo>
                    <a:pt x="27" y="42"/>
                  </a:moveTo>
                  <a:cubicBezTo>
                    <a:pt x="27" y="42"/>
                    <a:pt x="27" y="42"/>
                    <a:pt x="27" y="42"/>
                  </a:cubicBezTo>
                  <a:cubicBezTo>
                    <a:pt x="27" y="46"/>
                    <a:pt x="27" y="46"/>
                    <a:pt x="27" y="46"/>
                  </a:cubicBezTo>
                  <a:cubicBezTo>
                    <a:pt x="27" y="46"/>
                    <a:pt x="27" y="46"/>
                    <a:pt x="27" y="46"/>
                  </a:cubicBezTo>
                  <a:cubicBezTo>
                    <a:pt x="27" y="56"/>
                    <a:pt x="27" y="56"/>
                    <a:pt x="27" y="56"/>
                  </a:cubicBezTo>
                  <a:cubicBezTo>
                    <a:pt x="27" y="59"/>
                    <a:pt x="27" y="59"/>
                    <a:pt x="27" y="59"/>
                  </a:cubicBezTo>
                  <a:cubicBezTo>
                    <a:pt x="27" y="60"/>
                    <a:pt x="27" y="60"/>
                    <a:pt x="27" y="60"/>
                  </a:cubicBezTo>
                  <a:cubicBezTo>
                    <a:pt x="0" y="60"/>
                    <a:pt x="0" y="60"/>
                    <a:pt x="0" y="60"/>
                  </a:cubicBezTo>
                  <a:cubicBezTo>
                    <a:pt x="0" y="59"/>
                    <a:pt x="0" y="59"/>
                    <a:pt x="0" y="59"/>
                  </a:cubicBezTo>
                  <a:cubicBezTo>
                    <a:pt x="0" y="56"/>
                    <a:pt x="0" y="56"/>
                    <a:pt x="0" y="56"/>
                  </a:cubicBezTo>
                  <a:cubicBezTo>
                    <a:pt x="0" y="46"/>
                    <a:pt x="0" y="46"/>
                    <a:pt x="0" y="46"/>
                  </a:cubicBezTo>
                  <a:cubicBezTo>
                    <a:pt x="0" y="46"/>
                    <a:pt x="0" y="46"/>
                    <a:pt x="0" y="46"/>
                  </a:cubicBezTo>
                  <a:cubicBezTo>
                    <a:pt x="0" y="42"/>
                    <a:pt x="0" y="42"/>
                    <a:pt x="0" y="42"/>
                  </a:cubicBezTo>
                  <a:cubicBezTo>
                    <a:pt x="10" y="42"/>
                    <a:pt x="10" y="42"/>
                    <a:pt x="10" y="42"/>
                  </a:cubicBezTo>
                  <a:cubicBezTo>
                    <a:pt x="12" y="42"/>
                    <a:pt x="14" y="41"/>
                    <a:pt x="14" y="39"/>
                  </a:cubicBezTo>
                  <a:cubicBezTo>
                    <a:pt x="14" y="1"/>
                    <a:pt x="14" y="1"/>
                    <a:pt x="14" y="1"/>
                  </a:cubicBezTo>
                  <a:cubicBezTo>
                    <a:pt x="15" y="1"/>
                    <a:pt x="15" y="1"/>
                    <a:pt x="15" y="1"/>
                  </a:cubicBezTo>
                  <a:cubicBezTo>
                    <a:pt x="16" y="0"/>
                    <a:pt x="16" y="1"/>
                    <a:pt x="16" y="1"/>
                  </a:cubicBezTo>
                  <a:cubicBezTo>
                    <a:pt x="17" y="1"/>
                    <a:pt x="17" y="1"/>
                    <a:pt x="17" y="1"/>
                  </a:cubicBezTo>
                  <a:cubicBezTo>
                    <a:pt x="17" y="1"/>
                    <a:pt x="17" y="1"/>
                    <a:pt x="17" y="1"/>
                  </a:cubicBezTo>
                  <a:cubicBezTo>
                    <a:pt x="17" y="1"/>
                    <a:pt x="17" y="1"/>
                    <a:pt x="17" y="1"/>
                  </a:cubicBezTo>
                  <a:cubicBezTo>
                    <a:pt x="27" y="33"/>
                    <a:pt x="27" y="33"/>
                    <a:pt x="27" y="33"/>
                  </a:cubicBezTo>
                  <a:lnTo>
                    <a:pt x="27" y="42"/>
                  </a:lnTo>
                  <a:close/>
                  <a:moveTo>
                    <a:pt x="11" y="39"/>
                  </a:moveTo>
                  <a:cubicBezTo>
                    <a:pt x="11" y="1"/>
                    <a:pt x="11" y="1"/>
                    <a:pt x="11" y="1"/>
                  </a:cubicBezTo>
                  <a:cubicBezTo>
                    <a:pt x="9" y="1"/>
                    <a:pt x="9" y="1"/>
                    <a:pt x="9" y="1"/>
                  </a:cubicBezTo>
                  <a:cubicBezTo>
                    <a:pt x="9" y="25"/>
                    <a:pt x="9" y="25"/>
                    <a:pt x="9" y="25"/>
                  </a:cubicBezTo>
                  <a:cubicBezTo>
                    <a:pt x="9" y="29"/>
                    <a:pt x="6" y="33"/>
                    <a:pt x="1" y="33"/>
                  </a:cubicBezTo>
                  <a:cubicBezTo>
                    <a:pt x="1" y="33"/>
                    <a:pt x="1" y="33"/>
                    <a:pt x="0" y="33"/>
                  </a:cubicBezTo>
                  <a:cubicBezTo>
                    <a:pt x="0" y="34"/>
                    <a:pt x="0" y="34"/>
                    <a:pt x="0" y="34"/>
                  </a:cubicBezTo>
                  <a:cubicBezTo>
                    <a:pt x="0" y="40"/>
                    <a:pt x="0" y="40"/>
                    <a:pt x="0" y="40"/>
                  </a:cubicBezTo>
                  <a:cubicBezTo>
                    <a:pt x="10" y="40"/>
                    <a:pt x="10" y="40"/>
                    <a:pt x="10" y="40"/>
                  </a:cubicBezTo>
                  <a:cubicBezTo>
                    <a:pt x="11" y="40"/>
                    <a:pt x="11" y="40"/>
                    <a:pt x="11" y="39"/>
                  </a:cubicBezTo>
                  <a:moveTo>
                    <a:pt x="0" y="65"/>
                  </a:moveTo>
                  <a:cubicBezTo>
                    <a:pt x="0" y="65"/>
                    <a:pt x="1" y="66"/>
                    <a:pt x="1" y="66"/>
                  </a:cubicBezTo>
                  <a:cubicBezTo>
                    <a:pt x="27" y="66"/>
                    <a:pt x="27" y="66"/>
                    <a:pt x="27" y="66"/>
                  </a:cubicBezTo>
                  <a:cubicBezTo>
                    <a:pt x="27" y="62"/>
                    <a:pt x="27" y="62"/>
                    <a:pt x="27" y="62"/>
                  </a:cubicBezTo>
                  <a:cubicBezTo>
                    <a:pt x="0" y="62"/>
                    <a:pt x="0" y="62"/>
                    <a:pt x="0" y="62"/>
                  </a:cubicBezTo>
                  <a:lnTo>
                    <a:pt x="0" y="65"/>
                  </a:lnTo>
                  <a:close/>
                  <a:moveTo>
                    <a:pt x="57" y="33"/>
                  </a:moveTo>
                  <a:cubicBezTo>
                    <a:pt x="56" y="33"/>
                    <a:pt x="56" y="33"/>
                    <a:pt x="56" y="33"/>
                  </a:cubicBezTo>
                  <a:cubicBezTo>
                    <a:pt x="51" y="33"/>
                    <a:pt x="48" y="29"/>
                    <a:pt x="48" y="25"/>
                  </a:cubicBezTo>
                  <a:cubicBezTo>
                    <a:pt x="48" y="1"/>
                    <a:pt x="48" y="1"/>
                    <a:pt x="48" y="1"/>
                  </a:cubicBezTo>
                  <a:cubicBezTo>
                    <a:pt x="46" y="1"/>
                    <a:pt x="46" y="1"/>
                    <a:pt x="46" y="1"/>
                  </a:cubicBezTo>
                  <a:cubicBezTo>
                    <a:pt x="46" y="39"/>
                    <a:pt x="46" y="39"/>
                    <a:pt x="46" y="39"/>
                  </a:cubicBezTo>
                  <a:cubicBezTo>
                    <a:pt x="46" y="40"/>
                    <a:pt x="46" y="40"/>
                    <a:pt x="47" y="40"/>
                  </a:cubicBezTo>
                  <a:cubicBezTo>
                    <a:pt x="57" y="40"/>
                    <a:pt x="57" y="40"/>
                    <a:pt x="57" y="40"/>
                  </a:cubicBezTo>
                  <a:cubicBezTo>
                    <a:pt x="57" y="34"/>
                    <a:pt x="57" y="34"/>
                    <a:pt x="57" y="34"/>
                  </a:cubicBezTo>
                  <a:cubicBezTo>
                    <a:pt x="57" y="34"/>
                    <a:pt x="57" y="34"/>
                    <a:pt x="57" y="33"/>
                  </a:cubicBezTo>
                  <a:moveTo>
                    <a:pt x="43" y="39"/>
                  </a:moveTo>
                  <a:cubicBezTo>
                    <a:pt x="43" y="1"/>
                    <a:pt x="43" y="1"/>
                    <a:pt x="43" y="1"/>
                  </a:cubicBezTo>
                  <a:cubicBezTo>
                    <a:pt x="42" y="1"/>
                    <a:pt x="42" y="1"/>
                    <a:pt x="42" y="1"/>
                  </a:cubicBezTo>
                  <a:cubicBezTo>
                    <a:pt x="41" y="0"/>
                    <a:pt x="41" y="1"/>
                    <a:pt x="41" y="1"/>
                  </a:cubicBezTo>
                  <a:cubicBezTo>
                    <a:pt x="40" y="1"/>
                    <a:pt x="40" y="1"/>
                    <a:pt x="40" y="1"/>
                  </a:cubicBezTo>
                  <a:cubicBezTo>
                    <a:pt x="30" y="33"/>
                    <a:pt x="30" y="33"/>
                    <a:pt x="30" y="33"/>
                  </a:cubicBezTo>
                  <a:cubicBezTo>
                    <a:pt x="30" y="43"/>
                    <a:pt x="30" y="43"/>
                    <a:pt x="30" y="43"/>
                  </a:cubicBezTo>
                  <a:cubicBezTo>
                    <a:pt x="30" y="43"/>
                    <a:pt x="30" y="43"/>
                    <a:pt x="30" y="43"/>
                  </a:cubicBezTo>
                  <a:cubicBezTo>
                    <a:pt x="30" y="46"/>
                    <a:pt x="30" y="46"/>
                    <a:pt x="30" y="46"/>
                  </a:cubicBezTo>
                  <a:cubicBezTo>
                    <a:pt x="30" y="46"/>
                    <a:pt x="30" y="46"/>
                    <a:pt x="30" y="46"/>
                  </a:cubicBezTo>
                  <a:cubicBezTo>
                    <a:pt x="30" y="56"/>
                    <a:pt x="30" y="56"/>
                    <a:pt x="30" y="56"/>
                  </a:cubicBezTo>
                  <a:cubicBezTo>
                    <a:pt x="30" y="59"/>
                    <a:pt x="30" y="59"/>
                    <a:pt x="30" y="59"/>
                  </a:cubicBezTo>
                  <a:cubicBezTo>
                    <a:pt x="30" y="60"/>
                    <a:pt x="30" y="60"/>
                    <a:pt x="30" y="60"/>
                  </a:cubicBezTo>
                  <a:cubicBezTo>
                    <a:pt x="57" y="60"/>
                    <a:pt x="57" y="60"/>
                    <a:pt x="57" y="60"/>
                  </a:cubicBezTo>
                  <a:cubicBezTo>
                    <a:pt x="57" y="59"/>
                    <a:pt x="57" y="59"/>
                    <a:pt x="57" y="59"/>
                  </a:cubicBezTo>
                  <a:cubicBezTo>
                    <a:pt x="57" y="56"/>
                    <a:pt x="57" y="56"/>
                    <a:pt x="57" y="56"/>
                  </a:cubicBezTo>
                  <a:cubicBezTo>
                    <a:pt x="57" y="46"/>
                    <a:pt x="57" y="46"/>
                    <a:pt x="57" y="46"/>
                  </a:cubicBezTo>
                  <a:cubicBezTo>
                    <a:pt x="57" y="46"/>
                    <a:pt x="57" y="46"/>
                    <a:pt x="57" y="46"/>
                  </a:cubicBezTo>
                  <a:cubicBezTo>
                    <a:pt x="57" y="42"/>
                    <a:pt x="57" y="42"/>
                    <a:pt x="57" y="42"/>
                  </a:cubicBezTo>
                  <a:cubicBezTo>
                    <a:pt x="47" y="42"/>
                    <a:pt x="47" y="42"/>
                    <a:pt x="47" y="42"/>
                  </a:cubicBezTo>
                  <a:cubicBezTo>
                    <a:pt x="45" y="42"/>
                    <a:pt x="43" y="41"/>
                    <a:pt x="43" y="39"/>
                  </a:cubicBezTo>
                  <a:moveTo>
                    <a:pt x="30" y="66"/>
                  </a:moveTo>
                  <a:cubicBezTo>
                    <a:pt x="56" y="66"/>
                    <a:pt x="56" y="66"/>
                    <a:pt x="56" y="66"/>
                  </a:cubicBezTo>
                  <a:cubicBezTo>
                    <a:pt x="56" y="66"/>
                    <a:pt x="57" y="65"/>
                    <a:pt x="57" y="65"/>
                  </a:cubicBezTo>
                  <a:cubicBezTo>
                    <a:pt x="57" y="62"/>
                    <a:pt x="57" y="62"/>
                    <a:pt x="57" y="62"/>
                  </a:cubicBezTo>
                  <a:cubicBezTo>
                    <a:pt x="30" y="62"/>
                    <a:pt x="30" y="62"/>
                    <a:pt x="30" y="62"/>
                  </a:cubicBezTo>
                  <a:lnTo>
                    <a:pt x="30" y="66"/>
                  </a:lnTo>
                  <a:close/>
                </a:path>
              </a:pathLst>
            </a:custGeom>
            <a:solidFill>
              <a:srgbClr val="0091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sp>
          <p:nvSpPr>
            <p:cNvPr id="409" name="Freeform 25">
              <a:extLst>
                <a:ext uri="{FF2B5EF4-FFF2-40B4-BE49-F238E27FC236}">
                  <a16:creationId xmlns:a16="http://schemas.microsoft.com/office/drawing/2014/main" id="{5409240D-708D-4818-9530-9144B8E4C0EA}"/>
                </a:ext>
              </a:extLst>
            </p:cNvPr>
            <p:cNvSpPr>
              <a:spLocks/>
            </p:cNvSpPr>
            <p:nvPr userDrawn="1"/>
          </p:nvSpPr>
          <p:spPr bwMode="auto">
            <a:xfrm>
              <a:off x="10472738" y="3962401"/>
              <a:ext cx="280988" cy="128588"/>
            </a:xfrm>
            <a:custGeom>
              <a:avLst/>
              <a:gdLst>
                <a:gd name="T0" fmla="*/ 2 w 59"/>
                <a:gd name="T1" fmla="*/ 27 h 27"/>
                <a:gd name="T2" fmla="*/ 2 w 59"/>
                <a:gd name="T3" fmla="*/ 27 h 27"/>
                <a:gd name="T4" fmla="*/ 3 w 59"/>
                <a:gd name="T5" fmla="*/ 27 h 27"/>
                <a:gd name="T6" fmla="*/ 56 w 59"/>
                <a:gd name="T7" fmla="*/ 27 h 27"/>
                <a:gd name="T8" fmla="*/ 57 w 59"/>
                <a:gd name="T9" fmla="*/ 27 h 27"/>
                <a:gd name="T10" fmla="*/ 57 w 59"/>
                <a:gd name="T11" fmla="*/ 27 h 27"/>
                <a:gd name="T12" fmla="*/ 59 w 59"/>
                <a:gd name="T13" fmla="*/ 24 h 27"/>
                <a:gd name="T14" fmla="*/ 56 w 59"/>
                <a:gd name="T15" fmla="*/ 22 h 27"/>
                <a:gd name="T16" fmla="*/ 56 w 59"/>
                <a:gd name="T17" fmla="*/ 22 h 27"/>
                <a:gd name="T18" fmla="*/ 41 w 59"/>
                <a:gd name="T19" fmla="*/ 2 h 27"/>
                <a:gd name="T20" fmla="*/ 41 w 59"/>
                <a:gd name="T21" fmla="*/ 3 h 27"/>
                <a:gd name="T22" fmla="*/ 38 w 59"/>
                <a:gd name="T23" fmla="*/ 6 h 27"/>
                <a:gd name="T24" fmla="*/ 35 w 59"/>
                <a:gd name="T25" fmla="*/ 3 h 27"/>
                <a:gd name="T26" fmla="*/ 35 w 59"/>
                <a:gd name="T27" fmla="*/ 0 h 27"/>
                <a:gd name="T28" fmla="*/ 32 w 59"/>
                <a:gd name="T29" fmla="*/ 0 h 27"/>
                <a:gd name="T30" fmla="*/ 32 w 59"/>
                <a:gd name="T31" fmla="*/ 2 h 27"/>
                <a:gd name="T32" fmla="*/ 30 w 59"/>
                <a:gd name="T33" fmla="*/ 5 h 27"/>
                <a:gd name="T34" fmla="*/ 27 w 59"/>
                <a:gd name="T35" fmla="*/ 2 h 27"/>
                <a:gd name="T36" fmla="*/ 27 w 59"/>
                <a:gd name="T37" fmla="*/ 0 h 27"/>
                <a:gd name="T38" fmla="*/ 23 w 59"/>
                <a:gd name="T39" fmla="*/ 1 h 27"/>
                <a:gd name="T40" fmla="*/ 23 w 59"/>
                <a:gd name="T41" fmla="*/ 3 h 27"/>
                <a:gd name="T42" fmla="*/ 21 w 59"/>
                <a:gd name="T43" fmla="*/ 6 h 27"/>
                <a:gd name="T44" fmla="*/ 18 w 59"/>
                <a:gd name="T45" fmla="*/ 3 h 27"/>
                <a:gd name="T46" fmla="*/ 18 w 59"/>
                <a:gd name="T47" fmla="*/ 3 h 27"/>
                <a:gd name="T48" fmla="*/ 3 w 59"/>
                <a:gd name="T49" fmla="*/ 22 h 27"/>
                <a:gd name="T50" fmla="*/ 3 w 59"/>
                <a:gd name="T51" fmla="*/ 22 h 27"/>
                <a:gd name="T52" fmla="*/ 0 w 59"/>
                <a:gd name="T53" fmla="*/ 24 h 27"/>
                <a:gd name="T54" fmla="*/ 2 w 59"/>
                <a:gd name="T5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 h="27">
                  <a:moveTo>
                    <a:pt x="2" y="27"/>
                  </a:moveTo>
                  <a:cubicBezTo>
                    <a:pt x="2" y="27"/>
                    <a:pt x="2" y="27"/>
                    <a:pt x="2" y="27"/>
                  </a:cubicBezTo>
                  <a:cubicBezTo>
                    <a:pt x="3" y="27"/>
                    <a:pt x="3" y="27"/>
                    <a:pt x="3" y="27"/>
                  </a:cubicBezTo>
                  <a:cubicBezTo>
                    <a:pt x="56" y="27"/>
                    <a:pt x="56" y="27"/>
                    <a:pt x="56" y="27"/>
                  </a:cubicBezTo>
                  <a:cubicBezTo>
                    <a:pt x="57" y="27"/>
                    <a:pt x="57" y="27"/>
                    <a:pt x="57" y="27"/>
                  </a:cubicBezTo>
                  <a:cubicBezTo>
                    <a:pt x="57" y="27"/>
                    <a:pt x="57" y="27"/>
                    <a:pt x="57" y="27"/>
                  </a:cubicBezTo>
                  <a:cubicBezTo>
                    <a:pt x="58" y="27"/>
                    <a:pt x="59" y="26"/>
                    <a:pt x="59" y="24"/>
                  </a:cubicBezTo>
                  <a:cubicBezTo>
                    <a:pt x="59" y="23"/>
                    <a:pt x="58" y="22"/>
                    <a:pt x="56" y="22"/>
                  </a:cubicBezTo>
                  <a:cubicBezTo>
                    <a:pt x="56" y="22"/>
                    <a:pt x="56" y="22"/>
                    <a:pt x="56" y="22"/>
                  </a:cubicBezTo>
                  <a:cubicBezTo>
                    <a:pt x="55" y="13"/>
                    <a:pt x="49" y="6"/>
                    <a:pt x="41" y="2"/>
                  </a:cubicBezTo>
                  <a:cubicBezTo>
                    <a:pt x="41" y="3"/>
                    <a:pt x="41" y="3"/>
                    <a:pt x="41" y="3"/>
                  </a:cubicBezTo>
                  <a:cubicBezTo>
                    <a:pt x="41" y="5"/>
                    <a:pt x="40" y="6"/>
                    <a:pt x="38" y="6"/>
                  </a:cubicBezTo>
                  <a:cubicBezTo>
                    <a:pt x="37" y="6"/>
                    <a:pt x="35" y="5"/>
                    <a:pt x="35" y="3"/>
                  </a:cubicBezTo>
                  <a:cubicBezTo>
                    <a:pt x="35" y="0"/>
                    <a:pt x="35" y="0"/>
                    <a:pt x="35" y="0"/>
                  </a:cubicBezTo>
                  <a:cubicBezTo>
                    <a:pt x="34" y="0"/>
                    <a:pt x="33" y="0"/>
                    <a:pt x="32" y="0"/>
                  </a:cubicBezTo>
                  <a:cubicBezTo>
                    <a:pt x="32" y="2"/>
                    <a:pt x="32" y="2"/>
                    <a:pt x="32" y="2"/>
                  </a:cubicBezTo>
                  <a:cubicBezTo>
                    <a:pt x="32" y="4"/>
                    <a:pt x="31" y="5"/>
                    <a:pt x="30" y="5"/>
                  </a:cubicBezTo>
                  <a:cubicBezTo>
                    <a:pt x="28" y="5"/>
                    <a:pt x="27" y="4"/>
                    <a:pt x="27" y="2"/>
                  </a:cubicBezTo>
                  <a:cubicBezTo>
                    <a:pt x="27" y="0"/>
                    <a:pt x="27" y="0"/>
                    <a:pt x="27" y="0"/>
                  </a:cubicBezTo>
                  <a:cubicBezTo>
                    <a:pt x="26" y="0"/>
                    <a:pt x="25" y="0"/>
                    <a:pt x="23" y="1"/>
                  </a:cubicBezTo>
                  <a:cubicBezTo>
                    <a:pt x="23" y="3"/>
                    <a:pt x="23" y="3"/>
                    <a:pt x="23" y="3"/>
                  </a:cubicBezTo>
                  <a:cubicBezTo>
                    <a:pt x="23" y="5"/>
                    <a:pt x="22" y="6"/>
                    <a:pt x="21" y="6"/>
                  </a:cubicBezTo>
                  <a:cubicBezTo>
                    <a:pt x="19" y="6"/>
                    <a:pt x="18" y="5"/>
                    <a:pt x="18" y="3"/>
                  </a:cubicBezTo>
                  <a:cubicBezTo>
                    <a:pt x="18" y="3"/>
                    <a:pt x="18" y="3"/>
                    <a:pt x="18" y="3"/>
                  </a:cubicBezTo>
                  <a:cubicBezTo>
                    <a:pt x="10" y="6"/>
                    <a:pt x="5" y="13"/>
                    <a:pt x="3" y="22"/>
                  </a:cubicBezTo>
                  <a:cubicBezTo>
                    <a:pt x="3" y="22"/>
                    <a:pt x="3" y="22"/>
                    <a:pt x="3" y="22"/>
                  </a:cubicBezTo>
                  <a:cubicBezTo>
                    <a:pt x="1" y="22"/>
                    <a:pt x="0" y="23"/>
                    <a:pt x="0" y="24"/>
                  </a:cubicBezTo>
                  <a:cubicBezTo>
                    <a:pt x="0" y="26"/>
                    <a:pt x="1" y="27"/>
                    <a:pt x="2" y="27"/>
                  </a:cubicBezTo>
                </a:path>
              </a:pathLst>
            </a:custGeom>
            <a:solidFill>
              <a:srgbClr val="0091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16" noProof="0" dirty="0"/>
            </a:p>
          </p:txBody>
        </p:sp>
      </p:grpSp>
      <p:sp>
        <p:nvSpPr>
          <p:cNvPr id="410" name="TextBox 16">
            <a:extLst>
              <a:ext uri="{FF2B5EF4-FFF2-40B4-BE49-F238E27FC236}">
                <a16:creationId xmlns:a16="http://schemas.microsoft.com/office/drawing/2014/main" id="{7EE21D2D-6F16-465E-B38D-C1A5206091CF}"/>
              </a:ext>
            </a:extLst>
          </p:cNvPr>
          <p:cNvSpPr txBox="1"/>
          <p:nvPr userDrawn="1"/>
        </p:nvSpPr>
        <p:spPr>
          <a:xfrm>
            <a:off x="9741213" y="5239521"/>
            <a:ext cx="1792224" cy="792001"/>
          </a:xfrm>
          <a:prstGeom prst="rect">
            <a:avLst/>
          </a:prstGeom>
          <a:noFill/>
        </p:spPr>
        <p:txBody>
          <a:bodyPr wrap="square" lIns="35992" tIns="89980" rIns="35992" bIns="89980" rtlCol="0" anchor="t">
            <a:noAutofit/>
          </a:bodyPr>
          <a:lstStyle/>
          <a:p>
            <a:pPr algn="ctr"/>
            <a:r>
              <a:rPr lang="nl-NL" sz="1200" b="1" kern="1200" noProof="0" dirty="0">
                <a:solidFill>
                  <a:schemeClr val="tx1"/>
                </a:solidFill>
                <a:effectLst/>
                <a:latin typeface="+mn-lt"/>
                <a:ea typeface="+mn-ea"/>
                <a:cs typeface="+mn-cs"/>
              </a:rPr>
              <a:t>Volg aanwijzingen bedrijfshulpverlener</a:t>
            </a:r>
            <a:endParaRPr lang="nl-NL" sz="1200" kern="1200" noProof="0" dirty="0">
              <a:solidFill>
                <a:schemeClr val="tx1"/>
              </a:solidFill>
              <a:effectLst/>
              <a:latin typeface="+mn-lt"/>
              <a:ea typeface="+mn-ea"/>
              <a:cs typeface="+mn-cs"/>
            </a:endParaRPr>
          </a:p>
        </p:txBody>
      </p:sp>
    </p:spTree>
    <p:extLst>
      <p:ext uri="{BB962C8B-B14F-4D97-AF65-F5344CB8AC3E}">
        <p14:creationId xmlns:p14="http://schemas.microsoft.com/office/powerpoint/2010/main" val="7021827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B06FB27A-1919-4D13-A7C6-595FF0E1098D}"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2" name="Titel 1">
            <a:extLst>
              <a:ext uri="{FF2B5EF4-FFF2-40B4-BE49-F238E27FC236}">
                <a16:creationId xmlns:a16="http://schemas.microsoft.com/office/drawing/2014/main" id="{61F1B79E-2B92-7E4E-81D7-C8B718D42786}"/>
              </a:ext>
            </a:extLst>
          </p:cNvPr>
          <p:cNvSpPr>
            <a:spLocks noGrp="1"/>
          </p:cNvSpPr>
          <p:nvPr>
            <p:ph type="title" hasCustomPrompt="1"/>
          </p:nvPr>
        </p:nvSpPr>
        <p:spPr/>
        <p:txBody>
          <a:bodyPr/>
          <a:lstStyle>
            <a:lvl1pPr marL="0" indent="0">
              <a:tabLst/>
              <a:defRPr/>
            </a:lvl1pPr>
          </a:lstStyle>
          <a:p>
            <a:r>
              <a:rPr lang="en-GB" noProof="0"/>
              <a:t>Agenda</a:t>
            </a:r>
          </a:p>
        </p:txBody>
      </p:sp>
      <p:sp>
        <p:nvSpPr>
          <p:cNvPr id="8" name="Tekstvak 7">
            <a:extLst>
              <a:ext uri="{FF2B5EF4-FFF2-40B4-BE49-F238E27FC236}">
                <a16:creationId xmlns:a16="http://schemas.microsoft.com/office/drawing/2014/main" id="{55630D72-A0B5-B140-A6E4-793E2491E1D7}"/>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noProof="0">
                <a:solidFill>
                  <a:schemeClr val="tx2"/>
                </a:solidFill>
              </a:rPr>
              <a:t>The text in the boxes </a:t>
            </a:r>
            <a:br>
              <a:rPr lang="en-GB" sz="1200" b="1" noProof="0">
                <a:solidFill>
                  <a:schemeClr val="tx2"/>
                </a:solidFill>
              </a:rPr>
            </a:br>
            <a:r>
              <a:rPr lang="en-GB" sz="1200" b="1" noProof="0">
                <a:solidFill>
                  <a:schemeClr val="tx2"/>
                </a:solidFill>
              </a:rPr>
              <a:t>has two levels:</a:t>
            </a:r>
          </a:p>
          <a:p>
            <a:pPr>
              <a:defRPr/>
            </a:pPr>
            <a:endParaRPr lang="en-GB" sz="1200" noProof="0">
              <a:solidFill>
                <a:schemeClr val="tx2"/>
              </a:solidFill>
            </a:endParaRPr>
          </a:p>
          <a:p>
            <a:pPr marL="0" indent="0">
              <a:buFont typeface="+mj-lt"/>
              <a:buNone/>
              <a:defRPr/>
            </a:pPr>
            <a:r>
              <a:rPr lang="en-GB" sz="1200" b="1" noProof="0">
                <a:solidFill>
                  <a:schemeClr val="tx2"/>
                </a:solidFill>
              </a:rPr>
              <a:t>Bold text (level 1)</a:t>
            </a:r>
            <a:br>
              <a:rPr lang="en-GB" sz="1200" noProof="0">
                <a:solidFill>
                  <a:schemeClr val="tx2"/>
                </a:solidFill>
              </a:rPr>
            </a:br>
            <a:r>
              <a:rPr lang="en-GB" sz="1200" noProof="0">
                <a:solidFill>
                  <a:schemeClr val="tx2"/>
                </a:solidFill>
              </a:rPr>
              <a:t>Arial, 18pt, White</a:t>
            </a:r>
          </a:p>
          <a:p>
            <a:pPr marL="108000" indent="-108000">
              <a:buFont typeface="Wingdings" pitchFamily="2" charset="2"/>
              <a:buChar char="§"/>
              <a:defRPr/>
            </a:pPr>
            <a:endParaRPr lang="en-GB" sz="900" noProof="0">
              <a:solidFill>
                <a:schemeClr val="tx2"/>
              </a:solidFill>
            </a:endParaRPr>
          </a:p>
          <a:p>
            <a:pPr marL="9525" indent="0">
              <a:buFont typeface="+mj-lt"/>
              <a:buNone/>
              <a:tabLst/>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16pt, White</a:t>
            </a:r>
          </a:p>
        </p:txBody>
      </p:sp>
      <p:sp>
        <p:nvSpPr>
          <p:cNvPr id="18" name="Tijdelijke aanduiding voor tekst 7">
            <a:extLst>
              <a:ext uri="{FF2B5EF4-FFF2-40B4-BE49-F238E27FC236}">
                <a16:creationId xmlns:a16="http://schemas.microsoft.com/office/drawing/2014/main" id="{BAFF020F-0665-C944-8B5A-424F96ABC099}"/>
              </a:ext>
            </a:extLst>
          </p:cNvPr>
          <p:cNvSpPr>
            <a:spLocks noGrp="1"/>
          </p:cNvSpPr>
          <p:nvPr>
            <p:ph type="body" sz="quarter" idx="19" hasCustomPrompt="1"/>
          </p:nvPr>
        </p:nvSpPr>
        <p:spPr>
          <a:xfrm>
            <a:off x="1347788" y="953522"/>
            <a:ext cx="10390187" cy="432000"/>
          </a:xfrm>
          <a:prstGeom prst="rect">
            <a:avLst/>
          </a:prstGeom>
        </p:spPr>
        <p:txBody>
          <a:bodyPr>
            <a:noAutofit/>
          </a:bodyPr>
          <a:lstStyle>
            <a:lvl1pPr marL="0" indent="0">
              <a:spcBef>
                <a:spcPts val="0"/>
              </a:spcBef>
              <a:buNone/>
              <a:tabLst/>
              <a:defRPr sz="3000" b="0"/>
            </a:lvl1pPr>
          </a:lstStyle>
          <a:p>
            <a:pPr lvl="0"/>
            <a:r>
              <a:rPr lang="en-GB" noProof="0"/>
              <a:t>Name event</a:t>
            </a:r>
          </a:p>
        </p:txBody>
      </p:sp>
      <p:sp>
        <p:nvSpPr>
          <p:cNvPr id="14" name="Tijdelijke aanduiding voor tekst 21">
            <a:extLst>
              <a:ext uri="{FF2B5EF4-FFF2-40B4-BE49-F238E27FC236}">
                <a16:creationId xmlns:a16="http://schemas.microsoft.com/office/drawing/2014/main" id="{4A60CCF1-E454-449F-B5E3-88454E04BC42}"/>
              </a:ext>
            </a:extLst>
          </p:cNvPr>
          <p:cNvSpPr>
            <a:spLocks noGrp="1"/>
          </p:cNvSpPr>
          <p:nvPr>
            <p:ph type="body" sz="quarter" idx="20"/>
          </p:nvPr>
        </p:nvSpPr>
        <p:spPr>
          <a:xfrm>
            <a:off x="1350963" y="1822449"/>
            <a:ext cx="10390187" cy="574675"/>
          </a:xfrm>
          <a:custGeom>
            <a:avLst/>
            <a:gdLst>
              <a:gd name="connsiteX0" fmla="*/ 0 w 10390187"/>
              <a:gd name="connsiteY0" fmla="*/ 0 h 574675"/>
              <a:gd name="connsiteX1" fmla="*/ 10390187 w 10390187"/>
              <a:gd name="connsiteY1" fmla="*/ 0 h 574675"/>
              <a:gd name="connsiteX2" fmla="*/ 10390187 w 10390187"/>
              <a:gd name="connsiteY2" fmla="*/ 403224 h 574675"/>
              <a:gd name="connsiteX3" fmla="*/ 10012043 w 10390187"/>
              <a:gd name="connsiteY3" fmla="*/ 574675 h 574675"/>
              <a:gd name="connsiteX4" fmla="*/ 0 w 10390187"/>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0187" h="574675">
                <a:moveTo>
                  <a:pt x="0" y="0"/>
                </a:moveTo>
                <a:lnTo>
                  <a:pt x="10390187" y="0"/>
                </a:lnTo>
                <a:lnTo>
                  <a:pt x="10390187" y="403224"/>
                </a:lnTo>
                <a:lnTo>
                  <a:pt x="10012043" y="574675"/>
                </a:lnTo>
                <a:lnTo>
                  <a:pt x="0" y="574675"/>
                </a:lnTo>
                <a:close/>
              </a:path>
            </a:pathLst>
          </a:custGeom>
          <a:solidFill>
            <a:schemeClr val="accent3"/>
          </a:solidFill>
        </p:spPr>
        <p:txBody>
          <a:bodyPr wrap="square" lIns="180000" tIns="0" rIns="180000" bIns="0" anchor="ctr">
            <a:noAutofit/>
          </a:bodyPr>
          <a:lstStyle>
            <a:lvl1pPr marL="6350" indent="-6350">
              <a:spcBef>
                <a:spcPts val="0"/>
              </a:spcBef>
              <a:buNone/>
              <a:tabLst/>
              <a:defRPr sz="1800" b="1">
                <a:solidFill>
                  <a:schemeClr val="bg1"/>
                </a:solidFill>
              </a:defRPr>
            </a:lvl1pPr>
            <a:lvl2pPr marL="6350" indent="0">
              <a:spcBef>
                <a:spcPts val="0"/>
              </a:spcBef>
              <a:buNone/>
              <a:tabLst/>
              <a:defRPr sz="1600">
                <a:solidFill>
                  <a:schemeClr val="bg1"/>
                </a:solidFill>
              </a:defRPr>
            </a:lvl2pPr>
          </a:lstStyle>
          <a:p>
            <a:pPr lvl="0"/>
            <a:r>
              <a:rPr lang="de-DE" noProof="0"/>
              <a:t>Mastertextformat bearbeiten</a:t>
            </a:r>
          </a:p>
          <a:p>
            <a:pPr lvl="1"/>
            <a:r>
              <a:rPr lang="de-DE" noProof="0"/>
              <a:t>Zweite Ebene</a:t>
            </a:r>
          </a:p>
        </p:txBody>
      </p:sp>
      <p:sp>
        <p:nvSpPr>
          <p:cNvPr id="15" name="Tijdelijke aanduiding voor tekst 22">
            <a:extLst>
              <a:ext uri="{FF2B5EF4-FFF2-40B4-BE49-F238E27FC236}">
                <a16:creationId xmlns:a16="http://schemas.microsoft.com/office/drawing/2014/main" id="{7FEB36C9-A9BE-479E-8F4C-CC439ED0B5A4}"/>
              </a:ext>
            </a:extLst>
          </p:cNvPr>
          <p:cNvSpPr>
            <a:spLocks noGrp="1"/>
          </p:cNvSpPr>
          <p:nvPr>
            <p:ph type="body" sz="quarter" idx="21"/>
          </p:nvPr>
        </p:nvSpPr>
        <p:spPr>
          <a:xfrm>
            <a:off x="1350963" y="2488876"/>
            <a:ext cx="10390187" cy="574675"/>
          </a:xfrm>
          <a:custGeom>
            <a:avLst/>
            <a:gdLst>
              <a:gd name="connsiteX0" fmla="*/ 0 w 10390187"/>
              <a:gd name="connsiteY0" fmla="*/ 0 h 574675"/>
              <a:gd name="connsiteX1" fmla="*/ 10390187 w 10390187"/>
              <a:gd name="connsiteY1" fmla="*/ 0 h 574675"/>
              <a:gd name="connsiteX2" fmla="*/ 10390187 w 10390187"/>
              <a:gd name="connsiteY2" fmla="*/ 403224 h 574675"/>
              <a:gd name="connsiteX3" fmla="*/ 10012043 w 10390187"/>
              <a:gd name="connsiteY3" fmla="*/ 574675 h 574675"/>
              <a:gd name="connsiteX4" fmla="*/ 0 w 10390187"/>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0187" h="574675">
                <a:moveTo>
                  <a:pt x="0" y="0"/>
                </a:moveTo>
                <a:lnTo>
                  <a:pt x="10390187" y="0"/>
                </a:lnTo>
                <a:lnTo>
                  <a:pt x="10390187" y="403224"/>
                </a:lnTo>
                <a:lnTo>
                  <a:pt x="10012043" y="574675"/>
                </a:lnTo>
                <a:lnTo>
                  <a:pt x="0" y="574675"/>
                </a:lnTo>
                <a:close/>
              </a:path>
            </a:pathLst>
          </a:custGeom>
          <a:solidFill>
            <a:schemeClr val="accent3"/>
          </a:solidFill>
        </p:spPr>
        <p:txBody>
          <a:bodyPr wrap="square" lIns="180000" tIns="0" rIns="180000" bIns="0" anchor="ctr">
            <a:noAutofit/>
          </a:bodyPr>
          <a:lstStyle>
            <a:lvl1pPr marL="6350" indent="-6350">
              <a:spcBef>
                <a:spcPts val="0"/>
              </a:spcBef>
              <a:buNone/>
              <a:tabLst/>
              <a:defRPr sz="1800" b="1">
                <a:solidFill>
                  <a:schemeClr val="bg1"/>
                </a:solidFill>
              </a:defRPr>
            </a:lvl1pPr>
            <a:lvl2pPr marL="6350" indent="0">
              <a:spcBef>
                <a:spcPts val="0"/>
              </a:spcBef>
              <a:buNone/>
              <a:tabLst/>
              <a:defRPr sz="1600">
                <a:solidFill>
                  <a:schemeClr val="bg1"/>
                </a:solidFill>
              </a:defRPr>
            </a:lvl2pPr>
          </a:lstStyle>
          <a:p>
            <a:pPr lvl="0"/>
            <a:r>
              <a:rPr lang="de-DE" noProof="0"/>
              <a:t>Mastertextformat bearbeiten</a:t>
            </a:r>
          </a:p>
          <a:p>
            <a:pPr lvl="1"/>
            <a:r>
              <a:rPr lang="de-DE" noProof="0"/>
              <a:t>Zweite Ebene</a:t>
            </a:r>
          </a:p>
        </p:txBody>
      </p:sp>
      <p:sp>
        <p:nvSpPr>
          <p:cNvPr id="22" name="Tijdelijke aanduiding voor tekst 23">
            <a:extLst>
              <a:ext uri="{FF2B5EF4-FFF2-40B4-BE49-F238E27FC236}">
                <a16:creationId xmlns:a16="http://schemas.microsoft.com/office/drawing/2014/main" id="{FB1C492D-6DF4-4F67-9EF4-3E903327AEB3}"/>
              </a:ext>
            </a:extLst>
          </p:cNvPr>
          <p:cNvSpPr>
            <a:spLocks noGrp="1"/>
          </p:cNvSpPr>
          <p:nvPr>
            <p:ph type="body" sz="quarter" idx="22"/>
          </p:nvPr>
        </p:nvSpPr>
        <p:spPr>
          <a:xfrm>
            <a:off x="1350963" y="3155303"/>
            <a:ext cx="10390187" cy="574675"/>
          </a:xfrm>
          <a:custGeom>
            <a:avLst/>
            <a:gdLst>
              <a:gd name="connsiteX0" fmla="*/ 0 w 10390187"/>
              <a:gd name="connsiteY0" fmla="*/ 0 h 574675"/>
              <a:gd name="connsiteX1" fmla="*/ 10390187 w 10390187"/>
              <a:gd name="connsiteY1" fmla="*/ 0 h 574675"/>
              <a:gd name="connsiteX2" fmla="*/ 10390187 w 10390187"/>
              <a:gd name="connsiteY2" fmla="*/ 403224 h 574675"/>
              <a:gd name="connsiteX3" fmla="*/ 10012043 w 10390187"/>
              <a:gd name="connsiteY3" fmla="*/ 574675 h 574675"/>
              <a:gd name="connsiteX4" fmla="*/ 0 w 10390187"/>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0187" h="574675">
                <a:moveTo>
                  <a:pt x="0" y="0"/>
                </a:moveTo>
                <a:lnTo>
                  <a:pt x="10390187" y="0"/>
                </a:lnTo>
                <a:lnTo>
                  <a:pt x="10390187" y="403224"/>
                </a:lnTo>
                <a:lnTo>
                  <a:pt x="10012043" y="574675"/>
                </a:lnTo>
                <a:lnTo>
                  <a:pt x="0" y="574675"/>
                </a:lnTo>
                <a:close/>
              </a:path>
            </a:pathLst>
          </a:custGeom>
          <a:solidFill>
            <a:schemeClr val="accent3"/>
          </a:solidFill>
        </p:spPr>
        <p:txBody>
          <a:bodyPr wrap="square" lIns="180000" tIns="0" rIns="180000" bIns="0" anchor="ctr">
            <a:noAutofit/>
          </a:bodyPr>
          <a:lstStyle>
            <a:lvl1pPr marL="6350" indent="-6350">
              <a:spcBef>
                <a:spcPts val="0"/>
              </a:spcBef>
              <a:buNone/>
              <a:tabLst/>
              <a:defRPr sz="1800" b="1">
                <a:solidFill>
                  <a:schemeClr val="bg1"/>
                </a:solidFill>
              </a:defRPr>
            </a:lvl1pPr>
            <a:lvl2pPr marL="6350" indent="0">
              <a:spcBef>
                <a:spcPts val="0"/>
              </a:spcBef>
              <a:buNone/>
              <a:tabLst/>
              <a:defRPr sz="1600">
                <a:solidFill>
                  <a:schemeClr val="bg1"/>
                </a:solidFill>
              </a:defRPr>
            </a:lvl2pPr>
          </a:lstStyle>
          <a:p>
            <a:pPr lvl="0"/>
            <a:r>
              <a:rPr lang="de-DE" noProof="0"/>
              <a:t>Mastertextformat bearbeiten</a:t>
            </a:r>
          </a:p>
          <a:p>
            <a:pPr lvl="1"/>
            <a:r>
              <a:rPr lang="de-DE" noProof="0"/>
              <a:t>Zweite Ebene</a:t>
            </a:r>
          </a:p>
        </p:txBody>
      </p:sp>
      <p:sp>
        <p:nvSpPr>
          <p:cNvPr id="23" name="Tijdelijke aanduiding voor tekst 24">
            <a:extLst>
              <a:ext uri="{FF2B5EF4-FFF2-40B4-BE49-F238E27FC236}">
                <a16:creationId xmlns:a16="http://schemas.microsoft.com/office/drawing/2014/main" id="{B534A688-CFB7-451D-95EC-DAF5C82464B8}"/>
              </a:ext>
            </a:extLst>
          </p:cNvPr>
          <p:cNvSpPr>
            <a:spLocks noGrp="1"/>
          </p:cNvSpPr>
          <p:nvPr>
            <p:ph type="body" sz="quarter" idx="23"/>
          </p:nvPr>
        </p:nvSpPr>
        <p:spPr>
          <a:xfrm>
            <a:off x="1350963" y="3821730"/>
            <a:ext cx="10390187" cy="574675"/>
          </a:xfrm>
          <a:custGeom>
            <a:avLst/>
            <a:gdLst>
              <a:gd name="connsiteX0" fmla="*/ 0 w 10390187"/>
              <a:gd name="connsiteY0" fmla="*/ 0 h 574675"/>
              <a:gd name="connsiteX1" fmla="*/ 10390187 w 10390187"/>
              <a:gd name="connsiteY1" fmla="*/ 0 h 574675"/>
              <a:gd name="connsiteX2" fmla="*/ 10390187 w 10390187"/>
              <a:gd name="connsiteY2" fmla="*/ 403224 h 574675"/>
              <a:gd name="connsiteX3" fmla="*/ 10012043 w 10390187"/>
              <a:gd name="connsiteY3" fmla="*/ 574675 h 574675"/>
              <a:gd name="connsiteX4" fmla="*/ 0 w 10390187"/>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0187" h="574675">
                <a:moveTo>
                  <a:pt x="0" y="0"/>
                </a:moveTo>
                <a:lnTo>
                  <a:pt x="10390187" y="0"/>
                </a:lnTo>
                <a:lnTo>
                  <a:pt x="10390187" y="403224"/>
                </a:lnTo>
                <a:lnTo>
                  <a:pt x="10012043" y="574675"/>
                </a:lnTo>
                <a:lnTo>
                  <a:pt x="0" y="574675"/>
                </a:lnTo>
                <a:close/>
              </a:path>
            </a:pathLst>
          </a:custGeom>
          <a:solidFill>
            <a:schemeClr val="accent3"/>
          </a:solidFill>
        </p:spPr>
        <p:txBody>
          <a:bodyPr wrap="square" lIns="180000" tIns="0" rIns="180000" bIns="0" anchor="ctr">
            <a:noAutofit/>
          </a:bodyPr>
          <a:lstStyle>
            <a:lvl1pPr marL="6350" indent="-6350">
              <a:spcBef>
                <a:spcPts val="0"/>
              </a:spcBef>
              <a:buNone/>
              <a:tabLst/>
              <a:defRPr sz="1800" b="1">
                <a:solidFill>
                  <a:schemeClr val="bg1"/>
                </a:solidFill>
              </a:defRPr>
            </a:lvl1pPr>
            <a:lvl2pPr marL="6350" indent="0">
              <a:spcBef>
                <a:spcPts val="0"/>
              </a:spcBef>
              <a:buNone/>
              <a:tabLst/>
              <a:defRPr sz="1600">
                <a:solidFill>
                  <a:schemeClr val="bg1"/>
                </a:solidFill>
              </a:defRPr>
            </a:lvl2pPr>
          </a:lstStyle>
          <a:p>
            <a:pPr lvl="0"/>
            <a:r>
              <a:rPr lang="de-DE" noProof="0"/>
              <a:t>Mastertextformat bearbeiten</a:t>
            </a:r>
          </a:p>
          <a:p>
            <a:pPr lvl="1"/>
            <a:r>
              <a:rPr lang="de-DE" noProof="0"/>
              <a:t>Zweite Ebene</a:t>
            </a:r>
          </a:p>
        </p:txBody>
      </p:sp>
      <p:sp>
        <p:nvSpPr>
          <p:cNvPr id="24" name="Tijdelijke aanduiding voor tekst 25">
            <a:extLst>
              <a:ext uri="{FF2B5EF4-FFF2-40B4-BE49-F238E27FC236}">
                <a16:creationId xmlns:a16="http://schemas.microsoft.com/office/drawing/2014/main" id="{3AA8CF01-8768-47BF-85B0-90FD023BE19C}"/>
              </a:ext>
            </a:extLst>
          </p:cNvPr>
          <p:cNvSpPr>
            <a:spLocks noGrp="1"/>
          </p:cNvSpPr>
          <p:nvPr>
            <p:ph type="body" sz="quarter" idx="24"/>
          </p:nvPr>
        </p:nvSpPr>
        <p:spPr>
          <a:xfrm>
            <a:off x="1350963" y="4488157"/>
            <a:ext cx="10390187" cy="574675"/>
          </a:xfrm>
          <a:custGeom>
            <a:avLst/>
            <a:gdLst>
              <a:gd name="connsiteX0" fmla="*/ 0 w 10390187"/>
              <a:gd name="connsiteY0" fmla="*/ 0 h 574675"/>
              <a:gd name="connsiteX1" fmla="*/ 10390187 w 10390187"/>
              <a:gd name="connsiteY1" fmla="*/ 0 h 574675"/>
              <a:gd name="connsiteX2" fmla="*/ 10390187 w 10390187"/>
              <a:gd name="connsiteY2" fmla="*/ 403224 h 574675"/>
              <a:gd name="connsiteX3" fmla="*/ 10012043 w 10390187"/>
              <a:gd name="connsiteY3" fmla="*/ 574675 h 574675"/>
              <a:gd name="connsiteX4" fmla="*/ 0 w 10390187"/>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0187" h="574675">
                <a:moveTo>
                  <a:pt x="0" y="0"/>
                </a:moveTo>
                <a:lnTo>
                  <a:pt x="10390187" y="0"/>
                </a:lnTo>
                <a:lnTo>
                  <a:pt x="10390187" y="403224"/>
                </a:lnTo>
                <a:lnTo>
                  <a:pt x="10012043" y="574675"/>
                </a:lnTo>
                <a:lnTo>
                  <a:pt x="0" y="574675"/>
                </a:lnTo>
                <a:close/>
              </a:path>
            </a:pathLst>
          </a:custGeom>
          <a:solidFill>
            <a:schemeClr val="accent3"/>
          </a:solidFill>
        </p:spPr>
        <p:txBody>
          <a:bodyPr wrap="square" lIns="180000" tIns="0" rIns="180000" bIns="0" anchor="ctr">
            <a:noAutofit/>
          </a:bodyPr>
          <a:lstStyle>
            <a:lvl1pPr marL="6350" indent="-6350">
              <a:spcBef>
                <a:spcPts val="0"/>
              </a:spcBef>
              <a:buNone/>
              <a:tabLst/>
              <a:defRPr sz="1800" b="1">
                <a:solidFill>
                  <a:schemeClr val="bg1"/>
                </a:solidFill>
              </a:defRPr>
            </a:lvl1pPr>
            <a:lvl2pPr marL="6350" indent="0">
              <a:spcBef>
                <a:spcPts val="0"/>
              </a:spcBef>
              <a:buNone/>
              <a:tabLst/>
              <a:defRPr sz="1600">
                <a:solidFill>
                  <a:schemeClr val="bg1"/>
                </a:solidFill>
              </a:defRPr>
            </a:lvl2pPr>
          </a:lstStyle>
          <a:p>
            <a:pPr lvl="0"/>
            <a:r>
              <a:rPr lang="de-DE" noProof="0"/>
              <a:t>Mastertextformat bearbeiten</a:t>
            </a:r>
          </a:p>
          <a:p>
            <a:pPr lvl="1"/>
            <a:r>
              <a:rPr lang="de-DE" noProof="0"/>
              <a:t>Zweite Ebene</a:t>
            </a:r>
          </a:p>
        </p:txBody>
      </p:sp>
      <p:sp>
        <p:nvSpPr>
          <p:cNvPr id="25" name="Tijdelijke aanduiding voor tekst 26">
            <a:extLst>
              <a:ext uri="{FF2B5EF4-FFF2-40B4-BE49-F238E27FC236}">
                <a16:creationId xmlns:a16="http://schemas.microsoft.com/office/drawing/2014/main" id="{78D707ED-8086-459C-98FA-4B0A8ACD94AC}"/>
              </a:ext>
            </a:extLst>
          </p:cNvPr>
          <p:cNvSpPr>
            <a:spLocks noGrp="1"/>
          </p:cNvSpPr>
          <p:nvPr>
            <p:ph type="body" sz="quarter" idx="25"/>
          </p:nvPr>
        </p:nvSpPr>
        <p:spPr>
          <a:xfrm>
            <a:off x="1350963" y="5154584"/>
            <a:ext cx="10390187" cy="574675"/>
          </a:xfrm>
          <a:custGeom>
            <a:avLst/>
            <a:gdLst>
              <a:gd name="connsiteX0" fmla="*/ 0 w 10390187"/>
              <a:gd name="connsiteY0" fmla="*/ 0 h 574675"/>
              <a:gd name="connsiteX1" fmla="*/ 10390187 w 10390187"/>
              <a:gd name="connsiteY1" fmla="*/ 0 h 574675"/>
              <a:gd name="connsiteX2" fmla="*/ 10390187 w 10390187"/>
              <a:gd name="connsiteY2" fmla="*/ 403224 h 574675"/>
              <a:gd name="connsiteX3" fmla="*/ 10012043 w 10390187"/>
              <a:gd name="connsiteY3" fmla="*/ 574675 h 574675"/>
              <a:gd name="connsiteX4" fmla="*/ 0 w 10390187"/>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0187" h="574675">
                <a:moveTo>
                  <a:pt x="0" y="0"/>
                </a:moveTo>
                <a:lnTo>
                  <a:pt x="10390187" y="0"/>
                </a:lnTo>
                <a:lnTo>
                  <a:pt x="10390187" y="403224"/>
                </a:lnTo>
                <a:lnTo>
                  <a:pt x="10012043" y="574675"/>
                </a:lnTo>
                <a:lnTo>
                  <a:pt x="0" y="574675"/>
                </a:lnTo>
                <a:close/>
              </a:path>
            </a:pathLst>
          </a:custGeom>
          <a:solidFill>
            <a:schemeClr val="accent3"/>
          </a:solidFill>
        </p:spPr>
        <p:txBody>
          <a:bodyPr wrap="square" lIns="180000" tIns="0" rIns="180000" bIns="0" anchor="ctr">
            <a:noAutofit/>
          </a:bodyPr>
          <a:lstStyle>
            <a:lvl1pPr marL="6350" indent="-6350">
              <a:spcBef>
                <a:spcPts val="0"/>
              </a:spcBef>
              <a:buNone/>
              <a:tabLst/>
              <a:defRPr sz="1800" b="1">
                <a:solidFill>
                  <a:schemeClr val="bg1"/>
                </a:solidFill>
              </a:defRPr>
            </a:lvl1pPr>
            <a:lvl2pPr marL="6350" indent="0">
              <a:spcBef>
                <a:spcPts val="0"/>
              </a:spcBef>
              <a:buNone/>
              <a:tabLst/>
              <a:defRPr sz="1600">
                <a:solidFill>
                  <a:schemeClr val="bg1"/>
                </a:solidFill>
              </a:defRPr>
            </a:lvl2pPr>
          </a:lstStyle>
          <a:p>
            <a:pPr lvl="0"/>
            <a:r>
              <a:rPr lang="de-DE" noProof="0"/>
              <a:t>Mastertextformat bearbeiten</a:t>
            </a:r>
          </a:p>
          <a:p>
            <a:pPr lvl="1"/>
            <a:r>
              <a:rPr lang="de-DE" noProof="0"/>
              <a:t>Zweite Ebene</a:t>
            </a:r>
          </a:p>
        </p:txBody>
      </p:sp>
    </p:spTree>
    <p:extLst>
      <p:ext uri="{BB962C8B-B14F-4D97-AF65-F5344CB8AC3E}">
        <p14:creationId xmlns:p14="http://schemas.microsoft.com/office/powerpoint/2010/main" val="1741261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sclaimer – EN">
    <p:bg>
      <p:bgPr>
        <a:solidFill>
          <a:srgbClr val="91A5AE"/>
        </a:solidFill>
        <a:effectLst/>
      </p:bgPr>
    </p:bg>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E1034485-04FE-4AE3-9D78-F324DE8F0A13}"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solidFill>
                  <a:schemeClr val="bg1"/>
                </a:solidFill>
              </a:defRPr>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en-GB" noProof="0" smtClean="0"/>
              <a:pPr/>
              <a:t>‹Nr.›</a:t>
            </a:fld>
            <a:endParaRPr lang="en-GB" noProof="0"/>
          </a:p>
        </p:txBody>
      </p:sp>
      <p:sp>
        <p:nvSpPr>
          <p:cNvPr id="43" name="Tekstvak 42">
            <a:extLst>
              <a:ext uri="{FF2B5EF4-FFF2-40B4-BE49-F238E27FC236}">
                <a16:creationId xmlns:a16="http://schemas.microsoft.com/office/drawing/2014/main" id="{8F45E970-8CB7-B448-BAC3-756ED7408B10}"/>
              </a:ext>
            </a:extLst>
          </p:cNvPr>
          <p:cNvSpPr txBox="1"/>
          <p:nvPr userDrawn="1"/>
        </p:nvSpPr>
        <p:spPr>
          <a:xfrm>
            <a:off x="1347476" y="518400"/>
            <a:ext cx="10389600" cy="430503"/>
          </a:xfrm>
          <a:prstGeom prst="rect">
            <a:avLst/>
          </a:prstGeom>
          <a:noFill/>
        </p:spPr>
        <p:txBody>
          <a:bodyPr wrap="square" lIns="0" tIns="0" rIns="0" bIns="0" rtlCol="0" anchor="t">
            <a:noAutofit/>
          </a:bodyPr>
          <a:lstStyle/>
          <a:p>
            <a:pPr>
              <a:lnSpc>
                <a:spcPct val="90000"/>
              </a:lnSpc>
            </a:pPr>
            <a:r>
              <a:rPr lang="en-GB" sz="3000" b="1" noProof="0">
                <a:solidFill>
                  <a:schemeClr val="bg1"/>
                </a:solidFill>
              </a:rPr>
              <a:t>Disclaimer</a:t>
            </a:r>
          </a:p>
        </p:txBody>
      </p:sp>
      <p:sp>
        <p:nvSpPr>
          <p:cNvPr id="44" name="TextBox 5">
            <a:extLst>
              <a:ext uri="{FF2B5EF4-FFF2-40B4-BE49-F238E27FC236}">
                <a16:creationId xmlns:a16="http://schemas.microsoft.com/office/drawing/2014/main" id="{05B2D308-E285-484E-A2D8-365743630402}"/>
              </a:ext>
            </a:extLst>
          </p:cNvPr>
          <p:cNvSpPr txBox="1"/>
          <p:nvPr userDrawn="1"/>
        </p:nvSpPr>
        <p:spPr>
          <a:xfrm>
            <a:off x="1346400" y="1830401"/>
            <a:ext cx="6252552" cy="2693045"/>
          </a:xfrm>
          <a:prstGeom prst="rect">
            <a:avLst/>
          </a:prstGeom>
          <a:noFill/>
        </p:spPr>
        <p:txBody>
          <a:bodyPr wrap="square" lIns="0" tIns="0" rIns="0" bIns="0" rtlCol="0">
            <a:spAutoFit/>
          </a:bodyPr>
          <a:lstStyle/>
          <a:p>
            <a:pPr algn="l">
              <a:spcAft>
                <a:spcPts val="1200"/>
              </a:spcAft>
            </a:pPr>
            <a:r>
              <a:rPr lang="en-GB" sz="1500" noProof="0">
                <a:solidFill>
                  <a:schemeClr val="bg1"/>
                </a:solidFill>
              </a:rPr>
              <a:t>This PowerPoint presentation is offered to you by TenneT TSO B.V. (‘TenneT’). The content of the presentation – including all texts, images and audio fragments – is protected by copyright laws. No part of the content of the PowerPoint presentation may be copied, unless TenneT has expressly offered possibilities to do so, and no changes whatsoever may be made to the content. TenneT endeavours to ensure the provision of correct and up-to-date information, but makes no representations regarding correctness, accuracy or completeness.</a:t>
            </a:r>
          </a:p>
          <a:p>
            <a:pPr algn="l">
              <a:spcAft>
                <a:spcPts val="1200"/>
              </a:spcAft>
            </a:pPr>
            <a:r>
              <a:rPr lang="en-GB" sz="1500" noProof="0">
                <a:solidFill>
                  <a:schemeClr val="bg1"/>
                </a:solidFill>
              </a:rPr>
              <a:t>TenneT declines any and all liability for any (alleged) damage arising from this PowerPoint presentation and for any consequences of activities undertaken on the strength of data or information contained therein.</a:t>
            </a:r>
          </a:p>
        </p:txBody>
      </p:sp>
      <p:pic>
        <p:nvPicPr>
          <p:cNvPr id="41" name="Picture 10">
            <a:extLst>
              <a:ext uri="{FF2B5EF4-FFF2-40B4-BE49-F238E27FC236}">
                <a16:creationId xmlns:a16="http://schemas.microsoft.com/office/drawing/2014/main" id="{567DFF17-37A2-5F4F-9B8D-ED2D66E5EA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9200" y="6470275"/>
            <a:ext cx="948119" cy="179999"/>
          </a:xfrm>
          <a:prstGeom prst="rect">
            <a:avLst/>
          </a:prstGeom>
        </p:spPr>
      </p:pic>
      <p:cxnSp>
        <p:nvCxnSpPr>
          <p:cNvPr id="135" name="Rechte verbindingslijn 134">
            <a:extLst>
              <a:ext uri="{FF2B5EF4-FFF2-40B4-BE49-F238E27FC236}">
                <a16:creationId xmlns:a16="http://schemas.microsoft.com/office/drawing/2014/main" id="{1D171B1E-7A5F-844F-AEFF-E92519778E7C}"/>
              </a:ext>
            </a:extLst>
          </p:cNvPr>
          <p:cNvCxnSpPr>
            <a:cxnSpLocks/>
          </p:cNvCxnSpPr>
          <p:nvPr userDrawn="1"/>
        </p:nvCxnSpPr>
        <p:spPr>
          <a:xfrm>
            <a:off x="351602" y="0"/>
            <a:ext cx="0" cy="68580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E75649F0-F181-7047-864C-F449E6D74181}"/>
              </a:ext>
            </a:extLst>
          </p:cNvPr>
          <p:cNvCxnSpPr>
            <a:cxnSpLocks/>
          </p:cNvCxnSpPr>
          <p:nvPr userDrawn="1"/>
        </p:nvCxnSpPr>
        <p:spPr>
          <a:xfrm>
            <a:off x="1070221" y="0"/>
            <a:ext cx="0" cy="68580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a:extLst>
              <a:ext uri="{FF2B5EF4-FFF2-40B4-BE49-F238E27FC236}">
                <a16:creationId xmlns:a16="http://schemas.microsoft.com/office/drawing/2014/main" id="{529C80AC-DD3B-D24D-A8DE-F00F63CA0F4A}"/>
              </a:ext>
            </a:extLst>
          </p:cNvPr>
          <p:cNvCxnSpPr>
            <a:cxnSpLocks/>
          </p:cNvCxnSpPr>
          <p:nvPr userDrawn="1"/>
        </p:nvCxnSpPr>
        <p:spPr>
          <a:xfrm>
            <a:off x="0" y="519915"/>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a:extLst>
              <a:ext uri="{FF2B5EF4-FFF2-40B4-BE49-F238E27FC236}">
                <a16:creationId xmlns:a16="http://schemas.microsoft.com/office/drawing/2014/main" id="{81430971-A7C5-CE43-9491-D9448C61EA79}"/>
              </a:ext>
            </a:extLst>
          </p:cNvPr>
          <p:cNvCxnSpPr>
            <a:cxnSpLocks/>
          </p:cNvCxnSpPr>
          <p:nvPr userDrawn="1"/>
        </p:nvCxnSpPr>
        <p:spPr>
          <a:xfrm>
            <a:off x="0" y="1239253"/>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51429334-8F6B-D64B-B3AA-EB32F9026299}"/>
              </a:ext>
            </a:extLst>
          </p:cNvPr>
          <p:cNvCxnSpPr>
            <a:cxnSpLocks/>
          </p:cNvCxnSpPr>
          <p:nvPr userDrawn="1"/>
        </p:nvCxnSpPr>
        <p:spPr>
          <a:xfrm>
            <a:off x="0" y="1958591"/>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70AEBDD8-6F13-F948-95DC-C08CCB49FA86}"/>
              </a:ext>
            </a:extLst>
          </p:cNvPr>
          <p:cNvCxnSpPr>
            <a:cxnSpLocks/>
          </p:cNvCxnSpPr>
          <p:nvPr userDrawn="1"/>
        </p:nvCxnSpPr>
        <p:spPr>
          <a:xfrm>
            <a:off x="0" y="2677929"/>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5B232E5F-A5FD-254A-91FA-FA95608AD452}"/>
              </a:ext>
            </a:extLst>
          </p:cNvPr>
          <p:cNvCxnSpPr>
            <a:cxnSpLocks/>
          </p:cNvCxnSpPr>
          <p:nvPr userDrawn="1"/>
        </p:nvCxnSpPr>
        <p:spPr>
          <a:xfrm>
            <a:off x="0" y="3397267"/>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Rechte verbindingslijn 141">
            <a:extLst>
              <a:ext uri="{FF2B5EF4-FFF2-40B4-BE49-F238E27FC236}">
                <a16:creationId xmlns:a16="http://schemas.microsoft.com/office/drawing/2014/main" id="{52139FB9-7A66-884A-990D-00C9DFF83FD6}"/>
              </a:ext>
            </a:extLst>
          </p:cNvPr>
          <p:cNvCxnSpPr>
            <a:cxnSpLocks/>
          </p:cNvCxnSpPr>
          <p:nvPr userDrawn="1"/>
        </p:nvCxnSpPr>
        <p:spPr>
          <a:xfrm>
            <a:off x="0" y="4116605"/>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Rechte verbindingslijn 142">
            <a:extLst>
              <a:ext uri="{FF2B5EF4-FFF2-40B4-BE49-F238E27FC236}">
                <a16:creationId xmlns:a16="http://schemas.microsoft.com/office/drawing/2014/main" id="{994BCCAC-A852-0E45-B7CA-EF44E036A5A3}"/>
              </a:ext>
            </a:extLst>
          </p:cNvPr>
          <p:cNvCxnSpPr>
            <a:cxnSpLocks/>
          </p:cNvCxnSpPr>
          <p:nvPr userDrawn="1"/>
        </p:nvCxnSpPr>
        <p:spPr>
          <a:xfrm>
            <a:off x="0" y="4835943"/>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Rechte verbindingslijn 143">
            <a:extLst>
              <a:ext uri="{FF2B5EF4-FFF2-40B4-BE49-F238E27FC236}">
                <a16:creationId xmlns:a16="http://schemas.microsoft.com/office/drawing/2014/main" id="{12913322-AF33-EE4D-881F-57B402A6BEC1}"/>
              </a:ext>
            </a:extLst>
          </p:cNvPr>
          <p:cNvCxnSpPr>
            <a:cxnSpLocks/>
          </p:cNvCxnSpPr>
          <p:nvPr userDrawn="1"/>
        </p:nvCxnSpPr>
        <p:spPr>
          <a:xfrm>
            <a:off x="0" y="5555281"/>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AA10DAB6-E3B9-B741-A850-4A88AAA29B34}"/>
              </a:ext>
            </a:extLst>
          </p:cNvPr>
          <p:cNvCxnSpPr>
            <a:cxnSpLocks/>
          </p:cNvCxnSpPr>
          <p:nvPr userDrawn="1"/>
        </p:nvCxnSpPr>
        <p:spPr>
          <a:xfrm>
            <a:off x="0" y="6274616"/>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6" name="Rechthoek 145">
            <a:extLst>
              <a:ext uri="{FF2B5EF4-FFF2-40B4-BE49-F238E27FC236}">
                <a16:creationId xmlns:a16="http://schemas.microsoft.com/office/drawing/2014/main" id="{D03B324D-39D4-B944-A135-B1AA2281F533}"/>
              </a:ext>
            </a:extLst>
          </p:cNvPr>
          <p:cNvSpPr/>
          <p:nvPr userDrawn="1"/>
        </p:nvSpPr>
        <p:spPr>
          <a:xfrm>
            <a:off x="1034214" y="192367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47" name="Rechthoek 146">
            <a:extLst>
              <a:ext uri="{FF2B5EF4-FFF2-40B4-BE49-F238E27FC236}">
                <a16:creationId xmlns:a16="http://schemas.microsoft.com/office/drawing/2014/main" id="{4A217976-A176-674A-8B12-3930F19B3D0E}"/>
              </a:ext>
            </a:extLst>
          </p:cNvPr>
          <p:cNvSpPr/>
          <p:nvPr userDrawn="1"/>
        </p:nvSpPr>
        <p:spPr>
          <a:xfrm>
            <a:off x="315595" y="192367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48" name="Rechthoek 147">
            <a:extLst>
              <a:ext uri="{FF2B5EF4-FFF2-40B4-BE49-F238E27FC236}">
                <a16:creationId xmlns:a16="http://schemas.microsoft.com/office/drawing/2014/main" id="{0063299C-F7E6-0942-A499-51086EA182EB}"/>
              </a:ext>
            </a:extLst>
          </p:cNvPr>
          <p:cNvSpPr/>
          <p:nvPr userDrawn="1"/>
        </p:nvSpPr>
        <p:spPr>
          <a:xfrm>
            <a:off x="1034214" y="120433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49" name="Rechthoek 148">
            <a:extLst>
              <a:ext uri="{FF2B5EF4-FFF2-40B4-BE49-F238E27FC236}">
                <a16:creationId xmlns:a16="http://schemas.microsoft.com/office/drawing/2014/main" id="{6E09B011-740C-7644-945F-2E37918E0821}"/>
              </a:ext>
            </a:extLst>
          </p:cNvPr>
          <p:cNvSpPr/>
          <p:nvPr userDrawn="1"/>
        </p:nvSpPr>
        <p:spPr>
          <a:xfrm>
            <a:off x="315595" y="120433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0" name="Rechthoek 149">
            <a:extLst>
              <a:ext uri="{FF2B5EF4-FFF2-40B4-BE49-F238E27FC236}">
                <a16:creationId xmlns:a16="http://schemas.microsoft.com/office/drawing/2014/main" id="{99E6FD7F-3237-ED46-A6FD-74CF3C01890F}"/>
              </a:ext>
            </a:extLst>
          </p:cNvPr>
          <p:cNvSpPr/>
          <p:nvPr userDrawn="1"/>
        </p:nvSpPr>
        <p:spPr>
          <a:xfrm>
            <a:off x="1034214" y="48500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1" name="Rechthoek 150">
            <a:extLst>
              <a:ext uri="{FF2B5EF4-FFF2-40B4-BE49-F238E27FC236}">
                <a16:creationId xmlns:a16="http://schemas.microsoft.com/office/drawing/2014/main" id="{8BBF2D95-55ED-904E-A2D5-958F54BE1D05}"/>
              </a:ext>
            </a:extLst>
          </p:cNvPr>
          <p:cNvSpPr/>
          <p:nvPr userDrawn="1"/>
        </p:nvSpPr>
        <p:spPr>
          <a:xfrm>
            <a:off x="315595" y="48500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2" name="Rechthoek 151">
            <a:extLst>
              <a:ext uri="{FF2B5EF4-FFF2-40B4-BE49-F238E27FC236}">
                <a16:creationId xmlns:a16="http://schemas.microsoft.com/office/drawing/2014/main" id="{72661EED-6437-9643-8C28-7DC80B39E8F0}"/>
              </a:ext>
            </a:extLst>
          </p:cNvPr>
          <p:cNvSpPr/>
          <p:nvPr userDrawn="1"/>
        </p:nvSpPr>
        <p:spPr>
          <a:xfrm>
            <a:off x="1034214" y="408169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3" name="Rechthoek 152">
            <a:extLst>
              <a:ext uri="{FF2B5EF4-FFF2-40B4-BE49-F238E27FC236}">
                <a16:creationId xmlns:a16="http://schemas.microsoft.com/office/drawing/2014/main" id="{E1D04C71-A7F9-5248-833E-54CBB3FDE003}"/>
              </a:ext>
            </a:extLst>
          </p:cNvPr>
          <p:cNvSpPr/>
          <p:nvPr userDrawn="1"/>
        </p:nvSpPr>
        <p:spPr>
          <a:xfrm>
            <a:off x="315595" y="408169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4" name="Rechthoek 153">
            <a:extLst>
              <a:ext uri="{FF2B5EF4-FFF2-40B4-BE49-F238E27FC236}">
                <a16:creationId xmlns:a16="http://schemas.microsoft.com/office/drawing/2014/main" id="{D3AB8440-F9A9-C247-AB9E-CDAD2799FFF1}"/>
              </a:ext>
            </a:extLst>
          </p:cNvPr>
          <p:cNvSpPr/>
          <p:nvPr userDrawn="1"/>
        </p:nvSpPr>
        <p:spPr>
          <a:xfrm>
            <a:off x="1034214" y="3362352"/>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5" name="Rechthoek 154">
            <a:extLst>
              <a:ext uri="{FF2B5EF4-FFF2-40B4-BE49-F238E27FC236}">
                <a16:creationId xmlns:a16="http://schemas.microsoft.com/office/drawing/2014/main" id="{44CCA775-E351-704E-92BC-175007C5506B}"/>
              </a:ext>
            </a:extLst>
          </p:cNvPr>
          <p:cNvSpPr/>
          <p:nvPr userDrawn="1"/>
        </p:nvSpPr>
        <p:spPr>
          <a:xfrm>
            <a:off x="315595" y="3362352"/>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6" name="Rechthoek 155">
            <a:extLst>
              <a:ext uri="{FF2B5EF4-FFF2-40B4-BE49-F238E27FC236}">
                <a16:creationId xmlns:a16="http://schemas.microsoft.com/office/drawing/2014/main" id="{34A80896-A7D6-E64F-90ED-DDF4C8F910AF}"/>
              </a:ext>
            </a:extLst>
          </p:cNvPr>
          <p:cNvSpPr/>
          <p:nvPr userDrawn="1"/>
        </p:nvSpPr>
        <p:spPr>
          <a:xfrm>
            <a:off x="1034214" y="2643014"/>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7" name="Rechthoek 156">
            <a:extLst>
              <a:ext uri="{FF2B5EF4-FFF2-40B4-BE49-F238E27FC236}">
                <a16:creationId xmlns:a16="http://schemas.microsoft.com/office/drawing/2014/main" id="{C24D5CD7-A730-7E45-B3D8-C3CDB5F32350}"/>
              </a:ext>
            </a:extLst>
          </p:cNvPr>
          <p:cNvSpPr/>
          <p:nvPr userDrawn="1"/>
        </p:nvSpPr>
        <p:spPr>
          <a:xfrm>
            <a:off x="315595" y="2643014"/>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8" name="Rechthoek 157">
            <a:extLst>
              <a:ext uri="{FF2B5EF4-FFF2-40B4-BE49-F238E27FC236}">
                <a16:creationId xmlns:a16="http://schemas.microsoft.com/office/drawing/2014/main" id="{9D5AE43D-794B-F440-BF4A-A6050CC6D3FF}"/>
              </a:ext>
            </a:extLst>
          </p:cNvPr>
          <p:cNvSpPr/>
          <p:nvPr userDrawn="1"/>
        </p:nvSpPr>
        <p:spPr>
          <a:xfrm>
            <a:off x="1034214" y="480102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9" name="Rechthoek 158">
            <a:extLst>
              <a:ext uri="{FF2B5EF4-FFF2-40B4-BE49-F238E27FC236}">
                <a16:creationId xmlns:a16="http://schemas.microsoft.com/office/drawing/2014/main" id="{C621C1EF-98B9-9247-8987-395D4C2AA5ED}"/>
              </a:ext>
            </a:extLst>
          </p:cNvPr>
          <p:cNvSpPr/>
          <p:nvPr userDrawn="1"/>
        </p:nvSpPr>
        <p:spPr>
          <a:xfrm>
            <a:off x="315595" y="480102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0" name="Rechthoek 159">
            <a:extLst>
              <a:ext uri="{FF2B5EF4-FFF2-40B4-BE49-F238E27FC236}">
                <a16:creationId xmlns:a16="http://schemas.microsoft.com/office/drawing/2014/main" id="{89F4CC1B-2294-9C4F-8B71-6F97C9D1996E}"/>
              </a:ext>
            </a:extLst>
          </p:cNvPr>
          <p:cNvSpPr/>
          <p:nvPr userDrawn="1"/>
        </p:nvSpPr>
        <p:spPr>
          <a:xfrm>
            <a:off x="1034214" y="552036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1" name="Rechthoek 160">
            <a:extLst>
              <a:ext uri="{FF2B5EF4-FFF2-40B4-BE49-F238E27FC236}">
                <a16:creationId xmlns:a16="http://schemas.microsoft.com/office/drawing/2014/main" id="{E18833EC-71F8-EF42-9463-CD1E13F11776}"/>
              </a:ext>
            </a:extLst>
          </p:cNvPr>
          <p:cNvSpPr/>
          <p:nvPr userDrawn="1"/>
        </p:nvSpPr>
        <p:spPr>
          <a:xfrm>
            <a:off x="315595" y="552036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2" name="Rechthoek 161">
            <a:extLst>
              <a:ext uri="{FF2B5EF4-FFF2-40B4-BE49-F238E27FC236}">
                <a16:creationId xmlns:a16="http://schemas.microsoft.com/office/drawing/2014/main" id="{CD3053A4-829A-A544-BE9A-71346B8AFBBC}"/>
              </a:ext>
            </a:extLst>
          </p:cNvPr>
          <p:cNvSpPr/>
          <p:nvPr userDrawn="1"/>
        </p:nvSpPr>
        <p:spPr>
          <a:xfrm>
            <a:off x="1034214" y="6239701"/>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3" name="Rechthoek 162">
            <a:extLst>
              <a:ext uri="{FF2B5EF4-FFF2-40B4-BE49-F238E27FC236}">
                <a16:creationId xmlns:a16="http://schemas.microsoft.com/office/drawing/2014/main" id="{63047097-38E7-924E-972C-A6D822A780ED}"/>
              </a:ext>
            </a:extLst>
          </p:cNvPr>
          <p:cNvSpPr/>
          <p:nvPr userDrawn="1"/>
        </p:nvSpPr>
        <p:spPr>
          <a:xfrm>
            <a:off x="315595" y="6239701"/>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34952267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sclaimer – DE">
    <p:bg>
      <p:bgPr>
        <a:solidFill>
          <a:srgbClr val="91A5AE"/>
        </a:solidFill>
        <a:effectLst/>
      </p:bgPr>
    </p:bg>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409B8959-A25A-4E2F-AED3-2189ED7A6B44}" type="datetime4">
              <a:rPr lang="en-GB" noProof="0" smtClean="0"/>
              <a:t>23 January 2025</a:t>
            </a:fld>
            <a:endParaRPr lang="de-DE"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i="0">
                <a:solidFill>
                  <a:schemeClr val="bg1"/>
                </a:solidFill>
                <a:latin typeface="Arial" panose="020B0604020202020204" pitchFamily="34" charset="0"/>
                <a:cs typeface="Arial" panose="020B0604020202020204" pitchFamily="34" charset="0"/>
              </a:defRPr>
            </a:lvl1pPr>
          </a:lstStyle>
          <a:p>
            <a:r>
              <a:rPr lang="de-DE" noProof="0"/>
              <a:t>Confidentiality</a:t>
            </a:r>
            <a:endParaRPr lang="de-DE" noProof="0">
              <a:cs typeface="Arial" panose="020B0604020202020204" pitchFamily="34" charset="0"/>
            </a:endParaRP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de-DE" noProof="0" smtClean="0"/>
              <a:pPr/>
              <a:t>‹Nr.›</a:t>
            </a:fld>
            <a:endParaRPr lang="de-DE" noProof="0"/>
          </a:p>
        </p:txBody>
      </p:sp>
      <p:sp>
        <p:nvSpPr>
          <p:cNvPr id="43" name="Tekstvak 42">
            <a:extLst>
              <a:ext uri="{FF2B5EF4-FFF2-40B4-BE49-F238E27FC236}">
                <a16:creationId xmlns:a16="http://schemas.microsoft.com/office/drawing/2014/main" id="{8F45E970-8CB7-B448-BAC3-756ED7408B10}"/>
              </a:ext>
            </a:extLst>
          </p:cNvPr>
          <p:cNvSpPr txBox="1"/>
          <p:nvPr userDrawn="1"/>
        </p:nvSpPr>
        <p:spPr>
          <a:xfrm>
            <a:off x="1347476" y="518400"/>
            <a:ext cx="10389600" cy="430503"/>
          </a:xfrm>
          <a:prstGeom prst="rect">
            <a:avLst/>
          </a:prstGeom>
          <a:noFill/>
        </p:spPr>
        <p:txBody>
          <a:bodyPr wrap="square" lIns="0" tIns="0" rIns="0" bIns="0" rtlCol="0" anchor="t">
            <a:noAutofit/>
          </a:bodyPr>
          <a:lstStyle/>
          <a:p>
            <a:pPr>
              <a:lnSpc>
                <a:spcPct val="90000"/>
              </a:lnSpc>
            </a:pPr>
            <a:r>
              <a:rPr lang="de-DE" sz="3000" b="1" noProof="0">
                <a:solidFill>
                  <a:schemeClr val="bg1"/>
                </a:solidFill>
              </a:rPr>
              <a:t>Disclaimer</a:t>
            </a:r>
          </a:p>
        </p:txBody>
      </p:sp>
      <p:sp>
        <p:nvSpPr>
          <p:cNvPr id="44" name="TextBox 5">
            <a:extLst>
              <a:ext uri="{FF2B5EF4-FFF2-40B4-BE49-F238E27FC236}">
                <a16:creationId xmlns:a16="http://schemas.microsoft.com/office/drawing/2014/main" id="{05B2D308-E285-484E-A2D8-365743630402}"/>
              </a:ext>
            </a:extLst>
          </p:cNvPr>
          <p:cNvSpPr txBox="1"/>
          <p:nvPr userDrawn="1"/>
        </p:nvSpPr>
        <p:spPr>
          <a:xfrm>
            <a:off x="1346400" y="1830401"/>
            <a:ext cx="6252552" cy="2923877"/>
          </a:xfrm>
          <a:prstGeom prst="rect">
            <a:avLst/>
          </a:prstGeom>
          <a:noFill/>
        </p:spPr>
        <p:txBody>
          <a:bodyPr wrap="square" lIns="0" tIns="0" rIns="0" bIns="0" rtlCol="0">
            <a:spAutoFit/>
          </a:bodyPr>
          <a:lstStyle/>
          <a:p>
            <a:pPr algn="l">
              <a:spcAft>
                <a:spcPts val="1200"/>
              </a:spcAft>
            </a:pPr>
            <a:r>
              <a:rPr lang="de-DE" sz="1500" noProof="0">
                <a:solidFill>
                  <a:schemeClr val="bg1"/>
                </a:solidFill>
              </a:rPr>
              <a:t>Diese PowerPoint-Präsentation wird Ihnen von der TenneT  TSO GmbH („TenneT“) angeboten. Ihr Inhalt, d.h. sämtliche Texte, Bilder und Töne, sind urheberrechtlich geschützt. Sofern TenneT nicht ausdrücklich entsprechende Möglichkeiten bietet, darf nichts aus dem Inhalt dieser PowerPoint-Präsentation kopiert werden, und nichts am Inhalt darf geändert werden. TenneT bemüht sich um die Bereitstellung korrekter und aktueller Informationen, gewährt jedoch keine Garantie für ihre Korrektheit, Genauigkeit und Vollständigkeit.</a:t>
            </a:r>
          </a:p>
          <a:p>
            <a:pPr algn="l">
              <a:spcAft>
                <a:spcPts val="1200"/>
              </a:spcAft>
            </a:pPr>
            <a:r>
              <a:rPr lang="de-DE" sz="1500" noProof="0">
                <a:solidFill>
                  <a:schemeClr val="bg1"/>
                </a:solidFill>
              </a:rPr>
              <a:t>TenneT übernimmt keinerlei Haftung für (vermeintliche) Schäden, die sich aus dieser PowerPoint-Präsentation ergeben, beziehungsweise für Auswirkungen von Aktivitäten, die auf der Grundlage der Angaben und Informationen in dieser PowerPoint-Präsentation entfaltet werden.</a:t>
            </a:r>
          </a:p>
        </p:txBody>
      </p:sp>
      <p:pic>
        <p:nvPicPr>
          <p:cNvPr id="41" name="Picture 10">
            <a:extLst>
              <a:ext uri="{FF2B5EF4-FFF2-40B4-BE49-F238E27FC236}">
                <a16:creationId xmlns:a16="http://schemas.microsoft.com/office/drawing/2014/main" id="{7C02D03C-D01B-BD49-9CB7-973EF404DC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9200" y="6470275"/>
            <a:ext cx="948119" cy="179999"/>
          </a:xfrm>
          <a:prstGeom prst="rect">
            <a:avLst/>
          </a:prstGeom>
        </p:spPr>
      </p:pic>
      <p:cxnSp>
        <p:nvCxnSpPr>
          <p:cNvPr id="42" name="Rechte verbindingslijn 41">
            <a:extLst>
              <a:ext uri="{FF2B5EF4-FFF2-40B4-BE49-F238E27FC236}">
                <a16:creationId xmlns:a16="http://schemas.microsoft.com/office/drawing/2014/main" id="{04C3306D-AE8A-824D-A961-4CD778E96B87}"/>
              </a:ext>
            </a:extLst>
          </p:cNvPr>
          <p:cNvCxnSpPr>
            <a:cxnSpLocks/>
          </p:cNvCxnSpPr>
          <p:nvPr userDrawn="1"/>
        </p:nvCxnSpPr>
        <p:spPr>
          <a:xfrm>
            <a:off x="351602" y="0"/>
            <a:ext cx="0" cy="68580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a:extLst>
              <a:ext uri="{FF2B5EF4-FFF2-40B4-BE49-F238E27FC236}">
                <a16:creationId xmlns:a16="http://schemas.microsoft.com/office/drawing/2014/main" id="{A80CA7ED-B1AA-EB46-9446-703EC263FA1E}"/>
              </a:ext>
            </a:extLst>
          </p:cNvPr>
          <p:cNvCxnSpPr>
            <a:cxnSpLocks/>
          </p:cNvCxnSpPr>
          <p:nvPr userDrawn="1"/>
        </p:nvCxnSpPr>
        <p:spPr>
          <a:xfrm>
            <a:off x="1070221" y="0"/>
            <a:ext cx="0" cy="68580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BCA3C79B-FBE2-704D-99BF-219105B53D5E}"/>
              </a:ext>
            </a:extLst>
          </p:cNvPr>
          <p:cNvCxnSpPr>
            <a:cxnSpLocks/>
          </p:cNvCxnSpPr>
          <p:nvPr userDrawn="1"/>
        </p:nvCxnSpPr>
        <p:spPr>
          <a:xfrm>
            <a:off x="0" y="519915"/>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a:extLst>
              <a:ext uri="{FF2B5EF4-FFF2-40B4-BE49-F238E27FC236}">
                <a16:creationId xmlns:a16="http://schemas.microsoft.com/office/drawing/2014/main" id="{495F3784-A8FC-6945-B9E6-F838DB76A64C}"/>
              </a:ext>
            </a:extLst>
          </p:cNvPr>
          <p:cNvCxnSpPr>
            <a:cxnSpLocks/>
          </p:cNvCxnSpPr>
          <p:nvPr userDrawn="1"/>
        </p:nvCxnSpPr>
        <p:spPr>
          <a:xfrm>
            <a:off x="0" y="1239253"/>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a:extLst>
              <a:ext uri="{FF2B5EF4-FFF2-40B4-BE49-F238E27FC236}">
                <a16:creationId xmlns:a16="http://schemas.microsoft.com/office/drawing/2014/main" id="{EEED5868-187E-6642-8955-6A93F97E8DAA}"/>
              </a:ext>
            </a:extLst>
          </p:cNvPr>
          <p:cNvCxnSpPr>
            <a:cxnSpLocks/>
          </p:cNvCxnSpPr>
          <p:nvPr userDrawn="1"/>
        </p:nvCxnSpPr>
        <p:spPr>
          <a:xfrm>
            <a:off x="0" y="1958591"/>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5345160A-3187-9143-9EA7-0D0A7B38BDF0}"/>
              </a:ext>
            </a:extLst>
          </p:cNvPr>
          <p:cNvCxnSpPr>
            <a:cxnSpLocks/>
          </p:cNvCxnSpPr>
          <p:nvPr userDrawn="1"/>
        </p:nvCxnSpPr>
        <p:spPr>
          <a:xfrm>
            <a:off x="0" y="2677929"/>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AEB04ED1-4A54-5141-8D89-7369D1815945}"/>
              </a:ext>
            </a:extLst>
          </p:cNvPr>
          <p:cNvCxnSpPr>
            <a:cxnSpLocks/>
          </p:cNvCxnSpPr>
          <p:nvPr userDrawn="1"/>
        </p:nvCxnSpPr>
        <p:spPr>
          <a:xfrm>
            <a:off x="0" y="3397267"/>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DF081FB5-00E2-6F45-9197-919F0204257E}"/>
              </a:ext>
            </a:extLst>
          </p:cNvPr>
          <p:cNvCxnSpPr>
            <a:cxnSpLocks/>
          </p:cNvCxnSpPr>
          <p:nvPr userDrawn="1"/>
        </p:nvCxnSpPr>
        <p:spPr>
          <a:xfrm>
            <a:off x="0" y="4116605"/>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9E172F2B-780A-6A45-97D3-E2483BCC6C9E}"/>
              </a:ext>
            </a:extLst>
          </p:cNvPr>
          <p:cNvCxnSpPr>
            <a:cxnSpLocks/>
          </p:cNvCxnSpPr>
          <p:nvPr userDrawn="1"/>
        </p:nvCxnSpPr>
        <p:spPr>
          <a:xfrm>
            <a:off x="0" y="4835943"/>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a:extLst>
              <a:ext uri="{FF2B5EF4-FFF2-40B4-BE49-F238E27FC236}">
                <a16:creationId xmlns:a16="http://schemas.microsoft.com/office/drawing/2014/main" id="{AF206387-ED1A-5246-A1AD-C9B684914361}"/>
              </a:ext>
            </a:extLst>
          </p:cNvPr>
          <p:cNvCxnSpPr>
            <a:cxnSpLocks/>
          </p:cNvCxnSpPr>
          <p:nvPr userDrawn="1"/>
        </p:nvCxnSpPr>
        <p:spPr>
          <a:xfrm>
            <a:off x="0" y="5555281"/>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a:extLst>
              <a:ext uri="{FF2B5EF4-FFF2-40B4-BE49-F238E27FC236}">
                <a16:creationId xmlns:a16="http://schemas.microsoft.com/office/drawing/2014/main" id="{B0A94E88-B9A9-1340-BCBA-DDEADC70A2FF}"/>
              </a:ext>
            </a:extLst>
          </p:cNvPr>
          <p:cNvCxnSpPr>
            <a:cxnSpLocks/>
          </p:cNvCxnSpPr>
          <p:nvPr userDrawn="1"/>
        </p:nvCxnSpPr>
        <p:spPr>
          <a:xfrm>
            <a:off x="0" y="6274616"/>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Rechthoek 54">
            <a:extLst>
              <a:ext uri="{FF2B5EF4-FFF2-40B4-BE49-F238E27FC236}">
                <a16:creationId xmlns:a16="http://schemas.microsoft.com/office/drawing/2014/main" id="{C2CF4A69-B297-2F45-8520-413385E34449}"/>
              </a:ext>
            </a:extLst>
          </p:cNvPr>
          <p:cNvSpPr/>
          <p:nvPr userDrawn="1"/>
        </p:nvSpPr>
        <p:spPr>
          <a:xfrm>
            <a:off x="1034214" y="192367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6" name="Rechthoek 55">
            <a:extLst>
              <a:ext uri="{FF2B5EF4-FFF2-40B4-BE49-F238E27FC236}">
                <a16:creationId xmlns:a16="http://schemas.microsoft.com/office/drawing/2014/main" id="{273D63B9-306D-F44E-BDBE-992973192C05}"/>
              </a:ext>
            </a:extLst>
          </p:cNvPr>
          <p:cNvSpPr/>
          <p:nvPr userDrawn="1"/>
        </p:nvSpPr>
        <p:spPr>
          <a:xfrm>
            <a:off x="315595" y="192367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7" name="Rechthoek 56">
            <a:extLst>
              <a:ext uri="{FF2B5EF4-FFF2-40B4-BE49-F238E27FC236}">
                <a16:creationId xmlns:a16="http://schemas.microsoft.com/office/drawing/2014/main" id="{C4709913-A497-454E-B0D9-EF6353B7A489}"/>
              </a:ext>
            </a:extLst>
          </p:cNvPr>
          <p:cNvSpPr/>
          <p:nvPr userDrawn="1"/>
        </p:nvSpPr>
        <p:spPr>
          <a:xfrm>
            <a:off x="1034214" y="120433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8" name="Rechthoek 57">
            <a:extLst>
              <a:ext uri="{FF2B5EF4-FFF2-40B4-BE49-F238E27FC236}">
                <a16:creationId xmlns:a16="http://schemas.microsoft.com/office/drawing/2014/main" id="{587E1271-B596-2649-B65F-E1BB61178DB1}"/>
              </a:ext>
            </a:extLst>
          </p:cNvPr>
          <p:cNvSpPr/>
          <p:nvPr userDrawn="1"/>
        </p:nvSpPr>
        <p:spPr>
          <a:xfrm>
            <a:off x="315595" y="120433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9" name="Rechthoek 58">
            <a:extLst>
              <a:ext uri="{FF2B5EF4-FFF2-40B4-BE49-F238E27FC236}">
                <a16:creationId xmlns:a16="http://schemas.microsoft.com/office/drawing/2014/main" id="{7285705F-3671-0040-B2E0-C438254AC9DA}"/>
              </a:ext>
            </a:extLst>
          </p:cNvPr>
          <p:cNvSpPr/>
          <p:nvPr userDrawn="1"/>
        </p:nvSpPr>
        <p:spPr>
          <a:xfrm>
            <a:off x="1034214" y="48500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0" name="Rechthoek 59">
            <a:extLst>
              <a:ext uri="{FF2B5EF4-FFF2-40B4-BE49-F238E27FC236}">
                <a16:creationId xmlns:a16="http://schemas.microsoft.com/office/drawing/2014/main" id="{3E92C1BD-91F9-0445-95CB-CBC9D814F9ED}"/>
              </a:ext>
            </a:extLst>
          </p:cNvPr>
          <p:cNvSpPr/>
          <p:nvPr userDrawn="1"/>
        </p:nvSpPr>
        <p:spPr>
          <a:xfrm>
            <a:off x="315595" y="48500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1" name="Rechthoek 60">
            <a:extLst>
              <a:ext uri="{FF2B5EF4-FFF2-40B4-BE49-F238E27FC236}">
                <a16:creationId xmlns:a16="http://schemas.microsoft.com/office/drawing/2014/main" id="{6E259547-832C-E843-BDA4-04A7330A001E}"/>
              </a:ext>
            </a:extLst>
          </p:cNvPr>
          <p:cNvSpPr/>
          <p:nvPr userDrawn="1"/>
        </p:nvSpPr>
        <p:spPr>
          <a:xfrm>
            <a:off x="1034214" y="408169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2" name="Rechthoek 61">
            <a:extLst>
              <a:ext uri="{FF2B5EF4-FFF2-40B4-BE49-F238E27FC236}">
                <a16:creationId xmlns:a16="http://schemas.microsoft.com/office/drawing/2014/main" id="{28E9E4DF-E44A-6145-B9F0-B856A5260BFF}"/>
              </a:ext>
            </a:extLst>
          </p:cNvPr>
          <p:cNvSpPr/>
          <p:nvPr userDrawn="1"/>
        </p:nvSpPr>
        <p:spPr>
          <a:xfrm>
            <a:off x="315595" y="408169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3" name="Rechthoek 62">
            <a:extLst>
              <a:ext uri="{FF2B5EF4-FFF2-40B4-BE49-F238E27FC236}">
                <a16:creationId xmlns:a16="http://schemas.microsoft.com/office/drawing/2014/main" id="{2AE3710C-257F-9446-8CC9-442DC1B4A8A2}"/>
              </a:ext>
            </a:extLst>
          </p:cNvPr>
          <p:cNvSpPr/>
          <p:nvPr userDrawn="1"/>
        </p:nvSpPr>
        <p:spPr>
          <a:xfrm>
            <a:off x="1034214" y="3362352"/>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4" name="Rechthoek 63">
            <a:extLst>
              <a:ext uri="{FF2B5EF4-FFF2-40B4-BE49-F238E27FC236}">
                <a16:creationId xmlns:a16="http://schemas.microsoft.com/office/drawing/2014/main" id="{FBDE7B7A-ED9B-E341-8D91-609FF7017DEF}"/>
              </a:ext>
            </a:extLst>
          </p:cNvPr>
          <p:cNvSpPr/>
          <p:nvPr userDrawn="1"/>
        </p:nvSpPr>
        <p:spPr>
          <a:xfrm>
            <a:off x="315595" y="3362352"/>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5" name="Rechthoek 64">
            <a:extLst>
              <a:ext uri="{FF2B5EF4-FFF2-40B4-BE49-F238E27FC236}">
                <a16:creationId xmlns:a16="http://schemas.microsoft.com/office/drawing/2014/main" id="{C2E47CA3-AD60-794E-9EF5-9AA887B38798}"/>
              </a:ext>
            </a:extLst>
          </p:cNvPr>
          <p:cNvSpPr/>
          <p:nvPr userDrawn="1"/>
        </p:nvSpPr>
        <p:spPr>
          <a:xfrm>
            <a:off x="1034214" y="2643014"/>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6" name="Rechthoek 65">
            <a:extLst>
              <a:ext uri="{FF2B5EF4-FFF2-40B4-BE49-F238E27FC236}">
                <a16:creationId xmlns:a16="http://schemas.microsoft.com/office/drawing/2014/main" id="{B54FBDC7-F4AA-094E-B987-A7EE1267DE53}"/>
              </a:ext>
            </a:extLst>
          </p:cNvPr>
          <p:cNvSpPr/>
          <p:nvPr userDrawn="1"/>
        </p:nvSpPr>
        <p:spPr>
          <a:xfrm>
            <a:off x="315595" y="2643014"/>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7" name="Rechthoek 66">
            <a:extLst>
              <a:ext uri="{FF2B5EF4-FFF2-40B4-BE49-F238E27FC236}">
                <a16:creationId xmlns:a16="http://schemas.microsoft.com/office/drawing/2014/main" id="{B813BD6E-E39B-5240-8D46-0FBC3F024159}"/>
              </a:ext>
            </a:extLst>
          </p:cNvPr>
          <p:cNvSpPr/>
          <p:nvPr userDrawn="1"/>
        </p:nvSpPr>
        <p:spPr>
          <a:xfrm>
            <a:off x="1034214" y="480102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8" name="Rechthoek 67">
            <a:extLst>
              <a:ext uri="{FF2B5EF4-FFF2-40B4-BE49-F238E27FC236}">
                <a16:creationId xmlns:a16="http://schemas.microsoft.com/office/drawing/2014/main" id="{C892B65D-841C-7F4E-B7F8-450F8C2FF556}"/>
              </a:ext>
            </a:extLst>
          </p:cNvPr>
          <p:cNvSpPr/>
          <p:nvPr userDrawn="1"/>
        </p:nvSpPr>
        <p:spPr>
          <a:xfrm>
            <a:off x="315595" y="480102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69" name="Rechthoek 68">
            <a:extLst>
              <a:ext uri="{FF2B5EF4-FFF2-40B4-BE49-F238E27FC236}">
                <a16:creationId xmlns:a16="http://schemas.microsoft.com/office/drawing/2014/main" id="{858482CF-93BE-E140-AC72-CCAE7EE70D1F}"/>
              </a:ext>
            </a:extLst>
          </p:cNvPr>
          <p:cNvSpPr/>
          <p:nvPr userDrawn="1"/>
        </p:nvSpPr>
        <p:spPr>
          <a:xfrm>
            <a:off x="1034214" y="552036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70" name="Rechthoek 69">
            <a:extLst>
              <a:ext uri="{FF2B5EF4-FFF2-40B4-BE49-F238E27FC236}">
                <a16:creationId xmlns:a16="http://schemas.microsoft.com/office/drawing/2014/main" id="{4E23E5C3-72C5-A74F-9162-6D5B9032060A}"/>
              </a:ext>
            </a:extLst>
          </p:cNvPr>
          <p:cNvSpPr/>
          <p:nvPr userDrawn="1"/>
        </p:nvSpPr>
        <p:spPr>
          <a:xfrm>
            <a:off x="315595" y="552036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71" name="Rechthoek 70">
            <a:extLst>
              <a:ext uri="{FF2B5EF4-FFF2-40B4-BE49-F238E27FC236}">
                <a16:creationId xmlns:a16="http://schemas.microsoft.com/office/drawing/2014/main" id="{3671061C-6A1D-104F-83B1-52AF1B6088FC}"/>
              </a:ext>
            </a:extLst>
          </p:cNvPr>
          <p:cNvSpPr/>
          <p:nvPr userDrawn="1"/>
        </p:nvSpPr>
        <p:spPr>
          <a:xfrm>
            <a:off x="1034214" y="6239701"/>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72" name="Rechthoek 71">
            <a:extLst>
              <a:ext uri="{FF2B5EF4-FFF2-40B4-BE49-F238E27FC236}">
                <a16:creationId xmlns:a16="http://schemas.microsoft.com/office/drawing/2014/main" id="{50778585-9FF1-8441-B6CB-A6EA01A726B3}"/>
              </a:ext>
            </a:extLst>
          </p:cNvPr>
          <p:cNvSpPr/>
          <p:nvPr userDrawn="1"/>
        </p:nvSpPr>
        <p:spPr>
          <a:xfrm>
            <a:off x="315595" y="6239701"/>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Tree>
    <p:extLst>
      <p:ext uri="{BB962C8B-B14F-4D97-AF65-F5344CB8AC3E}">
        <p14:creationId xmlns:p14="http://schemas.microsoft.com/office/powerpoint/2010/main" val="18659682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sclaimer – NL">
    <p:bg>
      <p:bgPr>
        <a:solidFill>
          <a:srgbClr val="91A5AE"/>
        </a:solidFill>
        <a:effectLst/>
      </p:bgPr>
    </p:bg>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758A2387-90C9-4470-BD64-3C1B86F32142}" type="datetime4">
              <a:rPr lang="en-GB" noProof="0" smtClean="0"/>
              <a:t>23 January 2025</a:t>
            </a:fld>
            <a:endParaRPr lang="nl-NL"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solidFill>
                  <a:schemeClr val="bg1"/>
                </a:solidFill>
              </a:defRPr>
            </a:lvl1pPr>
          </a:lstStyle>
          <a:p>
            <a:r>
              <a:rPr lang="nl-NL" noProof="0"/>
              <a:t>Confidentiality</a:t>
            </a:r>
            <a:endParaRPr lang="nl-NL"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nl-NL" noProof="0" smtClean="0"/>
              <a:pPr/>
              <a:t>‹Nr.›</a:t>
            </a:fld>
            <a:endParaRPr lang="nl-NL" noProof="0"/>
          </a:p>
        </p:txBody>
      </p:sp>
      <p:sp>
        <p:nvSpPr>
          <p:cNvPr id="43" name="Tekstvak 42">
            <a:extLst>
              <a:ext uri="{FF2B5EF4-FFF2-40B4-BE49-F238E27FC236}">
                <a16:creationId xmlns:a16="http://schemas.microsoft.com/office/drawing/2014/main" id="{8F45E970-8CB7-B448-BAC3-756ED7408B10}"/>
              </a:ext>
            </a:extLst>
          </p:cNvPr>
          <p:cNvSpPr txBox="1"/>
          <p:nvPr userDrawn="1"/>
        </p:nvSpPr>
        <p:spPr>
          <a:xfrm>
            <a:off x="1347476" y="518400"/>
            <a:ext cx="10389600" cy="430503"/>
          </a:xfrm>
          <a:prstGeom prst="rect">
            <a:avLst/>
          </a:prstGeom>
          <a:noFill/>
        </p:spPr>
        <p:txBody>
          <a:bodyPr wrap="square" lIns="0" tIns="0" rIns="0" bIns="0" rtlCol="0" anchor="t">
            <a:noAutofit/>
          </a:bodyPr>
          <a:lstStyle/>
          <a:p>
            <a:pPr>
              <a:lnSpc>
                <a:spcPct val="90000"/>
              </a:lnSpc>
            </a:pPr>
            <a:r>
              <a:rPr lang="nl-NL" sz="3000" b="1" noProof="0">
                <a:solidFill>
                  <a:schemeClr val="bg1"/>
                </a:solidFill>
              </a:rPr>
              <a:t>Disclaimer</a:t>
            </a:r>
          </a:p>
        </p:txBody>
      </p:sp>
      <p:sp>
        <p:nvSpPr>
          <p:cNvPr id="44" name="TextBox 5">
            <a:extLst>
              <a:ext uri="{FF2B5EF4-FFF2-40B4-BE49-F238E27FC236}">
                <a16:creationId xmlns:a16="http://schemas.microsoft.com/office/drawing/2014/main" id="{05B2D308-E285-484E-A2D8-365743630402}"/>
              </a:ext>
            </a:extLst>
          </p:cNvPr>
          <p:cNvSpPr txBox="1"/>
          <p:nvPr userDrawn="1"/>
        </p:nvSpPr>
        <p:spPr>
          <a:xfrm>
            <a:off x="1346400" y="1830401"/>
            <a:ext cx="6252552" cy="2693045"/>
          </a:xfrm>
          <a:prstGeom prst="rect">
            <a:avLst/>
          </a:prstGeom>
          <a:noFill/>
        </p:spPr>
        <p:txBody>
          <a:bodyPr wrap="square" lIns="0" tIns="0" rIns="0" bIns="0" rtlCol="0">
            <a:spAutoFit/>
          </a:bodyPr>
          <a:lstStyle/>
          <a:p>
            <a:pPr algn="l">
              <a:spcAft>
                <a:spcPts val="1200"/>
              </a:spcAft>
            </a:pPr>
            <a:r>
              <a:rPr lang="nl-NL" sz="1500" noProof="0">
                <a:solidFill>
                  <a:schemeClr val="bg1"/>
                </a:solidFill>
              </a:rPr>
              <a:t>Deze powerpoint wordt u aangeboden door TenneT TSO B.V. (“TenneT”). De inhoud ervan - alle teksten, beelden en geluiden - is beschermd op grond van de auteurswet. Van de inhoud van deze powerpoint mag niets worden gekopieerd, tenzij daartoe expliciet door TenneT mogelijkheden worden geboden en aan de inhoud mag niets worden veranderd. TenneT zet zich in voor een juiste en actuele informatieverstrekking, maar geeft ter zake geen garanties voor juistheid, nauwkeurigheid en volledigheid.</a:t>
            </a:r>
          </a:p>
          <a:p>
            <a:pPr algn="l">
              <a:spcAft>
                <a:spcPts val="1200"/>
              </a:spcAft>
            </a:pPr>
            <a:r>
              <a:rPr lang="nl-NL" sz="1500" noProof="0">
                <a:solidFill>
                  <a:schemeClr val="bg1"/>
                </a:solidFill>
              </a:rPr>
              <a:t>TenneT aanvaardt geen aansprakelijkheid voor (vermeende) schade, voortvloeiend uit deze powerpoint, noch voor de gevolgen van activiteiten die worden ondernomen op basis van gegevens en informatie op deze powerpoint.</a:t>
            </a:r>
          </a:p>
        </p:txBody>
      </p:sp>
      <p:pic>
        <p:nvPicPr>
          <p:cNvPr id="41" name="Picture 10">
            <a:extLst>
              <a:ext uri="{FF2B5EF4-FFF2-40B4-BE49-F238E27FC236}">
                <a16:creationId xmlns:a16="http://schemas.microsoft.com/office/drawing/2014/main" id="{0693F837-4852-8448-A88F-69E0D8014D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9200" y="6470275"/>
            <a:ext cx="948119" cy="179999"/>
          </a:xfrm>
          <a:prstGeom prst="rect">
            <a:avLst/>
          </a:prstGeom>
        </p:spPr>
      </p:pic>
      <p:cxnSp>
        <p:nvCxnSpPr>
          <p:cNvPr id="42" name="Rechte verbindingslijn 41">
            <a:extLst>
              <a:ext uri="{FF2B5EF4-FFF2-40B4-BE49-F238E27FC236}">
                <a16:creationId xmlns:a16="http://schemas.microsoft.com/office/drawing/2014/main" id="{022DC439-CF69-F946-9A87-016129A1E5D8}"/>
              </a:ext>
            </a:extLst>
          </p:cNvPr>
          <p:cNvCxnSpPr>
            <a:cxnSpLocks/>
          </p:cNvCxnSpPr>
          <p:nvPr userDrawn="1"/>
        </p:nvCxnSpPr>
        <p:spPr>
          <a:xfrm>
            <a:off x="351602" y="0"/>
            <a:ext cx="0" cy="68580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a:extLst>
              <a:ext uri="{FF2B5EF4-FFF2-40B4-BE49-F238E27FC236}">
                <a16:creationId xmlns:a16="http://schemas.microsoft.com/office/drawing/2014/main" id="{6BE6905E-7686-914F-A14B-FAE06D9600EF}"/>
              </a:ext>
            </a:extLst>
          </p:cNvPr>
          <p:cNvCxnSpPr>
            <a:cxnSpLocks/>
          </p:cNvCxnSpPr>
          <p:nvPr userDrawn="1"/>
        </p:nvCxnSpPr>
        <p:spPr>
          <a:xfrm>
            <a:off x="1070221" y="0"/>
            <a:ext cx="0" cy="68580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9DD64972-B792-AA4C-8EBC-9681E8E05F3B}"/>
              </a:ext>
            </a:extLst>
          </p:cNvPr>
          <p:cNvCxnSpPr>
            <a:cxnSpLocks/>
          </p:cNvCxnSpPr>
          <p:nvPr userDrawn="1"/>
        </p:nvCxnSpPr>
        <p:spPr>
          <a:xfrm>
            <a:off x="0" y="519915"/>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a:extLst>
              <a:ext uri="{FF2B5EF4-FFF2-40B4-BE49-F238E27FC236}">
                <a16:creationId xmlns:a16="http://schemas.microsoft.com/office/drawing/2014/main" id="{49F16D40-AD74-AF40-95D7-819C93603366}"/>
              </a:ext>
            </a:extLst>
          </p:cNvPr>
          <p:cNvCxnSpPr>
            <a:cxnSpLocks/>
          </p:cNvCxnSpPr>
          <p:nvPr userDrawn="1"/>
        </p:nvCxnSpPr>
        <p:spPr>
          <a:xfrm>
            <a:off x="0" y="1239253"/>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a:extLst>
              <a:ext uri="{FF2B5EF4-FFF2-40B4-BE49-F238E27FC236}">
                <a16:creationId xmlns:a16="http://schemas.microsoft.com/office/drawing/2014/main" id="{582E4A28-5E13-414C-893A-13B12608AC4B}"/>
              </a:ext>
            </a:extLst>
          </p:cNvPr>
          <p:cNvCxnSpPr>
            <a:cxnSpLocks/>
          </p:cNvCxnSpPr>
          <p:nvPr userDrawn="1"/>
        </p:nvCxnSpPr>
        <p:spPr>
          <a:xfrm>
            <a:off x="0" y="1958591"/>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F05C8643-05AE-5040-B500-CBECB3E6E45F}"/>
              </a:ext>
            </a:extLst>
          </p:cNvPr>
          <p:cNvCxnSpPr>
            <a:cxnSpLocks/>
          </p:cNvCxnSpPr>
          <p:nvPr userDrawn="1"/>
        </p:nvCxnSpPr>
        <p:spPr>
          <a:xfrm>
            <a:off x="0" y="2677929"/>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F1476F14-9340-504F-80F6-616AC7DD6E00}"/>
              </a:ext>
            </a:extLst>
          </p:cNvPr>
          <p:cNvCxnSpPr>
            <a:cxnSpLocks/>
          </p:cNvCxnSpPr>
          <p:nvPr userDrawn="1"/>
        </p:nvCxnSpPr>
        <p:spPr>
          <a:xfrm>
            <a:off x="0" y="3397267"/>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09914B11-4006-C449-8EB7-E045D1993F25}"/>
              </a:ext>
            </a:extLst>
          </p:cNvPr>
          <p:cNvCxnSpPr>
            <a:cxnSpLocks/>
          </p:cNvCxnSpPr>
          <p:nvPr userDrawn="1"/>
        </p:nvCxnSpPr>
        <p:spPr>
          <a:xfrm>
            <a:off x="0" y="4116605"/>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55CBC78D-45EA-2D49-A10F-519DB893886E}"/>
              </a:ext>
            </a:extLst>
          </p:cNvPr>
          <p:cNvCxnSpPr>
            <a:cxnSpLocks/>
          </p:cNvCxnSpPr>
          <p:nvPr userDrawn="1"/>
        </p:nvCxnSpPr>
        <p:spPr>
          <a:xfrm>
            <a:off x="0" y="4835943"/>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a:extLst>
              <a:ext uri="{FF2B5EF4-FFF2-40B4-BE49-F238E27FC236}">
                <a16:creationId xmlns:a16="http://schemas.microsoft.com/office/drawing/2014/main" id="{4F99F213-7674-F14D-94D0-00398C804B91}"/>
              </a:ext>
            </a:extLst>
          </p:cNvPr>
          <p:cNvCxnSpPr>
            <a:cxnSpLocks/>
          </p:cNvCxnSpPr>
          <p:nvPr userDrawn="1"/>
        </p:nvCxnSpPr>
        <p:spPr>
          <a:xfrm>
            <a:off x="0" y="5555281"/>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a:extLst>
              <a:ext uri="{FF2B5EF4-FFF2-40B4-BE49-F238E27FC236}">
                <a16:creationId xmlns:a16="http://schemas.microsoft.com/office/drawing/2014/main" id="{3FD8C9A9-5365-F64B-93F0-CA7C8C7DF333}"/>
              </a:ext>
            </a:extLst>
          </p:cNvPr>
          <p:cNvCxnSpPr>
            <a:cxnSpLocks/>
          </p:cNvCxnSpPr>
          <p:nvPr userDrawn="1"/>
        </p:nvCxnSpPr>
        <p:spPr>
          <a:xfrm>
            <a:off x="0" y="6274616"/>
            <a:ext cx="1044000" cy="218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Rechthoek 54">
            <a:extLst>
              <a:ext uri="{FF2B5EF4-FFF2-40B4-BE49-F238E27FC236}">
                <a16:creationId xmlns:a16="http://schemas.microsoft.com/office/drawing/2014/main" id="{A17E6C22-2A59-9845-A7FB-8241A5802F2E}"/>
              </a:ext>
            </a:extLst>
          </p:cNvPr>
          <p:cNvSpPr/>
          <p:nvPr userDrawn="1"/>
        </p:nvSpPr>
        <p:spPr>
          <a:xfrm>
            <a:off x="1034214" y="192367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6" name="Rechthoek 55">
            <a:extLst>
              <a:ext uri="{FF2B5EF4-FFF2-40B4-BE49-F238E27FC236}">
                <a16:creationId xmlns:a16="http://schemas.microsoft.com/office/drawing/2014/main" id="{6D4CAAFF-7E44-A84A-9D05-DEC71725A448}"/>
              </a:ext>
            </a:extLst>
          </p:cNvPr>
          <p:cNvSpPr/>
          <p:nvPr userDrawn="1"/>
        </p:nvSpPr>
        <p:spPr>
          <a:xfrm>
            <a:off x="315595" y="192367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7" name="Rechthoek 56">
            <a:extLst>
              <a:ext uri="{FF2B5EF4-FFF2-40B4-BE49-F238E27FC236}">
                <a16:creationId xmlns:a16="http://schemas.microsoft.com/office/drawing/2014/main" id="{FCACAD34-BB1C-B34D-B44A-7EE7791A01D2}"/>
              </a:ext>
            </a:extLst>
          </p:cNvPr>
          <p:cNvSpPr/>
          <p:nvPr userDrawn="1"/>
        </p:nvSpPr>
        <p:spPr>
          <a:xfrm>
            <a:off x="1034214" y="120433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8" name="Rechthoek 57">
            <a:extLst>
              <a:ext uri="{FF2B5EF4-FFF2-40B4-BE49-F238E27FC236}">
                <a16:creationId xmlns:a16="http://schemas.microsoft.com/office/drawing/2014/main" id="{CEDB2AFF-30A2-CB4C-8D2F-DCAB4F469C92}"/>
              </a:ext>
            </a:extLst>
          </p:cNvPr>
          <p:cNvSpPr/>
          <p:nvPr userDrawn="1"/>
        </p:nvSpPr>
        <p:spPr>
          <a:xfrm>
            <a:off x="315595" y="120433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9" name="Rechthoek 58">
            <a:extLst>
              <a:ext uri="{FF2B5EF4-FFF2-40B4-BE49-F238E27FC236}">
                <a16:creationId xmlns:a16="http://schemas.microsoft.com/office/drawing/2014/main" id="{F6A17F82-F18E-E543-88F6-9BDE48A01C02}"/>
              </a:ext>
            </a:extLst>
          </p:cNvPr>
          <p:cNvSpPr/>
          <p:nvPr userDrawn="1"/>
        </p:nvSpPr>
        <p:spPr>
          <a:xfrm>
            <a:off x="1034214" y="48500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0" name="Rechthoek 59">
            <a:extLst>
              <a:ext uri="{FF2B5EF4-FFF2-40B4-BE49-F238E27FC236}">
                <a16:creationId xmlns:a16="http://schemas.microsoft.com/office/drawing/2014/main" id="{0657BB3F-BD41-3D49-A10F-C6FECE67FA7A}"/>
              </a:ext>
            </a:extLst>
          </p:cNvPr>
          <p:cNvSpPr/>
          <p:nvPr userDrawn="1"/>
        </p:nvSpPr>
        <p:spPr>
          <a:xfrm>
            <a:off x="315595" y="48500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154D4B33-D735-6A41-AA43-41036980D673}"/>
              </a:ext>
            </a:extLst>
          </p:cNvPr>
          <p:cNvSpPr/>
          <p:nvPr userDrawn="1"/>
        </p:nvSpPr>
        <p:spPr>
          <a:xfrm>
            <a:off x="1034214" y="408169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8A8CE4E9-3812-074F-A39C-B4AA6A857B1E}"/>
              </a:ext>
            </a:extLst>
          </p:cNvPr>
          <p:cNvSpPr/>
          <p:nvPr userDrawn="1"/>
        </p:nvSpPr>
        <p:spPr>
          <a:xfrm>
            <a:off x="315595" y="4081690"/>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3" name="Rechthoek 62">
            <a:extLst>
              <a:ext uri="{FF2B5EF4-FFF2-40B4-BE49-F238E27FC236}">
                <a16:creationId xmlns:a16="http://schemas.microsoft.com/office/drawing/2014/main" id="{1DFB2FFD-6DDD-0649-A326-3EA1BC8DE7D1}"/>
              </a:ext>
            </a:extLst>
          </p:cNvPr>
          <p:cNvSpPr/>
          <p:nvPr userDrawn="1"/>
        </p:nvSpPr>
        <p:spPr>
          <a:xfrm>
            <a:off x="1034214" y="3362352"/>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4" name="Rechthoek 63">
            <a:extLst>
              <a:ext uri="{FF2B5EF4-FFF2-40B4-BE49-F238E27FC236}">
                <a16:creationId xmlns:a16="http://schemas.microsoft.com/office/drawing/2014/main" id="{9561380F-EC63-BC4B-9A48-F061BDBD9630}"/>
              </a:ext>
            </a:extLst>
          </p:cNvPr>
          <p:cNvSpPr/>
          <p:nvPr userDrawn="1"/>
        </p:nvSpPr>
        <p:spPr>
          <a:xfrm>
            <a:off x="315595" y="3362352"/>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5" name="Rechthoek 64">
            <a:extLst>
              <a:ext uri="{FF2B5EF4-FFF2-40B4-BE49-F238E27FC236}">
                <a16:creationId xmlns:a16="http://schemas.microsoft.com/office/drawing/2014/main" id="{3BC9D2B0-7C47-8044-8E59-F9F12E947F8E}"/>
              </a:ext>
            </a:extLst>
          </p:cNvPr>
          <p:cNvSpPr/>
          <p:nvPr userDrawn="1"/>
        </p:nvSpPr>
        <p:spPr>
          <a:xfrm>
            <a:off x="1034214" y="2643014"/>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6" name="Rechthoek 65">
            <a:extLst>
              <a:ext uri="{FF2B5EF4-FFF2-40B4-BE49-F238E27FC236}">
                <a16:creationId xmlns:a16="http://schemas.microsoft.com/office/drawing/2014/main" id="{84852337-9FC1-3B44-8D82-714CF2523988}"/>
              </a:ext>
            </a:extLst>
          </p:cNvPr>
          <p:cNvSpPr/>
          <p:nvPr userDrawn="1"/>
        </p:nvSpPr>
        <p:spPr>
          <a:xfrm>
            <a:off x="315595" y="2643014"/>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7" name="Rechthoek 66">
            <a:extLst>
              <a:ext uri="{FF2B5EF4-FFF2-40B4-BE49-F238E27FC236}">
                <a16:creationId xmlns:a16="http://schemas.microsoft.com/office/drawing/2014/main" id="{5A4738C0-AA6B-7345-B975-75C030850C9F}"/>
              </a:ext>
            </a:extLst>
          </p:cNvPr>
          <p:cNvSpPr/>
          <p:nvPr userDrawn="1"/>
        </p:nvSpPr>
        <p:spPr>
          <a:xfrm>
            <a:off x="1034214" y="480102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8" name="Rechthoek 67">
            <a:extLst>
              <a:ext uri="{FF2B5EF4-FFF2-40B4-BE49-F238E27FC236}">
                <a16:creationId xmlns:a16="http://schemas.microsoft.com/office/drawing/2014/main" id="{285842C8-55F2-EA46-9C8B-E67DA3B13ACC}"/>
              </a:ext>
            </a:extLst>
          </p:cNvPr>
          <p:cNvSpPr/>
          <p:nvPr userDrawn="1"/>
        </p:nvSpPr>
        <p:spPr>
          <a:xfrm>
            <a:off x="315595" y="4801028"/>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9" name="Rechthoek 68">
            <a:extLst>
              <a:ext uri="{FF2B5EF4-FFF2-40B4-BE49-F238E27FC236}">
                <a16:creationId xmlns:a16="http://schemas.microsoft.com/office/drawing/2014/main" id="{CBDA7FA3-22A9-D746-9BFC-2C37EDE45710}"/>
              </a:ext>
            </a:extLst>
          </p:cNvPr>
          <p:cNvSpPr/>
          <p:nvPr userDrawn="1"/>
        </p:nvSpPr>
        <p:spPr>
          <a:xfrm>
            <a:off x="1034214" y="552036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70" name="Rechthoek 69">
            <a:extLst>
              <a:ext uri="{FF2B5EF4-FFF2-40B4-BE49-F238E27FC236}">
                <a16:creationId xmlns:a16="http://schemas.microsoft.com/office/drawing/2014/main" id="{06876919-29E8-2E4F-A56E-5B3461C184C5}"/>
              </a:ext>
            </a:extLst>
          </p:cNvPr>
          <p:cNvSpPr/>
          <p:nvPr userDrawn="1"/>
        </p:nvSpPr>
        <p:spPr>
          <a:xfrm>
            <a:off x="315595" y="5520366"/>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71" name="Rechthoek 70">
            <a:extLst>
              <a:ext uri="{FF2B5EF4-FFF2-40B4-BE49-F238E27FC236}">
                <a16:creationId xmlns:a16="http://schemas.microsoft.com/office/drawing/2014/main" id="{DCF42037-772D-E84E-8F5F-57BE8B1D4CFC}"/>
              </a:ext>
            </a:extLst>
          </p:cNvPr>
          <p:cNvSpPr/>
          <p:nvPr userDrawn="1"/>
        </p:nvSpPr>
        <p:spPr>
          <a:xfrm>
            <a:off x="1034214" y="6239701"/>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72" name="Rechthoek 71">
            <a:extLst>
              <a:ext uri="{FF2B5EF4-FFF2-40B4-BE49-F238E27FC236}">
                <a16:creationId xmlns:a16="http://schemas.microsoft.com/office/drawing/2014/main" id="{93BC1843-2C7B-0D46-A4E7-71825E38A981}"/>
              </a:ext>
            </a:extLst>
          </p:cNvPr>
          <p:cNvSpPr/>
          <p:nvPr userDrawn="1"/>
        </p:nvSpPr>
        <p:spPr>
          <a:xfrm>
            <a:off x="315595" y="6239701"/>
            <a:ext cx="72014" cy="7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Tree>
    <p:extLst>
      <p:ext uri="{BB962C8B-B14F-4D97-AF65-F5344CB8AC3E}">
        <p14:creationId xmlns:p14="http://schemas.microsoft.com/office/powerpoint/2010/main" val="5614392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structions Margin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62F7B5-5A30-4C04-93AB-F91BF00945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47760" y="1723390"/>
            <a:ext cx="6678101" cy="3620991"/>
          </a:xfrm>
          <a:prstGeom prst="rect">
            <a:avLst/>
          </a:prstGeom>
        </p:spPr>
      </p:pic>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tx1"/>
                </a:solidFill>
              </a:defRPr>
            </a:lvl1pPr>
          </a:lstStyle>
          <a:p>
            <a:fld id="{53B4D68B-692C-4BB8-B3E4-81324E3E6F37}"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i="0">
                <a:solidFill>
                  <a:schemeClr val="tx1"/>
                </a:solidFill>
                <a:latin typeface="Arial" panose="020B0604020202020204" pitchFamily="34" charset="0"/>
                <a:cs typeface="Arial" panose="020B0604020202020204" pitchFamily="34" charset="0"/>
              </a:defRPr>
            </a:lvl1pPr>
          </a:lstStyle>
          <a:p>
            <a:r>
              <a:rPr lang="en-GB" noProof="0"/>
              <a:t>Confidentiality</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tx1"/>
                </a:solidFill>
              </a:defRPr>
            </a:lvl1pPr>
          </a:lstStyle>
          <a:p>
            <a:fld id="{3B0AF0F1-83F4-0746-A551-EEC1F1FEC0BD}" type="slidenum">
              <a:rPr lang="en-GB" noProof="0" smtClean="0"/>
              <a:pPr/>
              <a:t>‹Nr.›</a:t>
            </a:fld>
            <a:endParaRPr lang="en-GB" noProof="0"/>
          </a:p>
        </p:txBody>
      </p:sp>
      <p:sp>
        <p:nvSpPr>
          <p:cNvPr id="43" name="Tekstvak 42">
            <a:extLst>
              <a:ext uri="{FF2B5EF4-FFF2-40B4-BE49-F238E27FC236}">
                <a16:creationId xmlns:a16="http://schemas.microsoft.com/office/drawing/2014/main" id="{8F45E970-8CB7-B448-BAC3-756ED7408B10}"/>
              </a:ext>
            </a:extLst>
          </p:cNvPr>
          <p:cNvSpPr txBox="1"/>
          <p:nvPr userDrawn="1"/>
        </p:nvSpPr>
        <p:spPr>
          <a:xfrm>
            <a:off x="1347476" y="518400"/>
            <a:ext cx="10389600" cy="430503"/>
          </a:xfrm>
          <a:prstGeom prst="rect">
            <a:avLst/>
          </a:prstGeom>
          <a:noFill/>
        </p:spPr>
        <p:txBody>
          <a:bodyPr wrap="square" lIns="0" tIns="0" rIns="0" bIns="0" rtlCol="0" anchor="t">
            <a:noAutofit/>
          </a:bodyPr>
          <a:lstStyle/>
          <a:p>
            <a:pPr>
              <a:lnSpc>
                <a:spcPct val="90000"/>
              </a:lnSpc>
            </a:pPr>
            <a:r>
              <a:rPr lang="en-GB" sz="3000" b="1" noProof="0" dirty="0">
                <a:solidFill>
                  <a:schemeClr val="tx1"/>
                </a:solidFill>
              </a:rPr>
              <a:t>Check the margins for PowerPoint instructions</a:t>
            </a:r>
          </a:p>
        </p:txBody>
      </p:sp>
      <p:sp>
        <p:nvSpPr>
          <p:cNvPr id="16" name="TextBox 5">
            <a:extLst>
              <a:ext uri="{FF2B5EF4-FFF2-40B4-BE49-F238E27FC236}">
                <a16:creationId xmlns:a16="http://schemas.microsoft.com/office/drawing/2014/main" id="{78B22CD1-2DF5-4312-B081-80E3AB32B85D}"/>
              </a:ext>
            </a:extLst>
          </p:cNvPr>
          <p:cNvSpPr txBox="1"/>
          <p:nvPr userDrawn="1"/>
        </p:nvSpPr>
        <p:spPr>
          <a:xfrm>
            <a:off x="9617950" y="3617973"/>
            <a:ext cx="1033544" cy="323090"/>
          </a:xfrm>
          <a:prstGeom prst="rect">
            <a:avLst/>
          </a:prstGeom>
          <a:solidFill>
            <a:schemeClr val="accent6"/>
          </a:solidFill>
        </p:spPr>
        <p:txBody>
          <a:bodyPr wrap="square" lIns="0" tIns="0" rIns="0" bIns="0" rtlCol="0" anchor="ctr">
            <a:noAutofit/>
          </a:bodyPr>
          <a:lstStyle/>
          <a:p>
            <a:pPr algn="ctr">
              <a:spcAft>
                <a:spcPts val="1200"/>
              </a:spcAft>
            </a:pPr>
            <a:r>
              <a:rPr lang="en-GB" sz="1400" noProof="0">
                <a:solidFill>
                  <a:schemeClr val="bg1"/>
                </a:solidFill>
              </a:rPr>
              <a:t>Instructions</a:t>
            </a:r>
          </a:p>
        </p:txBody>
      </p:sp>
      <p:cxnSp>
        <p:nvCxnSpPr>
          <p:cNvPr id="19" name="Gebogen verbindingslijn 12">
            <a:extLst>
              <a:ext uri="{FF2B5EF4-FFF2-40B4-BE49-F238E27FC236}">
                <a16:creationId xmlns:a16="http://schemas.microsoft.com/office/drawing/2014/main" id="{F66209A4-71D7-4383-BCC4-E1B0CD8AE4D4}"/>
              </a:ext>
            </a:extLst>
          </p:cNvPr>
          <p:cNvCxnSpPr>
            <a:cxnSpLocks/>
          </p:cNvCxnSpPr>
          <p:nvPr userDrawn="1"/>
        </p:nvCxnSpPr>
        <p:spPr>
          <a:xfrm rot="10800000">
            <a:off x="8748229" y="5431845"/>
            <a:ext cx="1051042" cy="472563"/>
          </a:xfrm>
          <a:prstGeom prst="bentConnector3">
            <a:avLst>
              <a:gd name="adj1" fmla="val 100054"/>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5">
            <a:extLst>
              <a:ext uri="{FF2B5EF4-FFF2-40B4-BE49-F238E27FC236}">
                <a16:creationId xmlns:a16="http://schemas.microsoft.com/office/drawing/2014/main" id="{2C1E4CD7-C81D-4921-8F08-8383B846C70D}"/>
              </a:ext>
            </a:extLst>
          </p:cNvPr>
          <p:cNvSpPr txBox="1"/>
          <p:nvPr userDrawn="1"/>
        </p:nvSpPr>
        <p:spPr>
          <a:xfrm>
            <a:off x="9799271" y="5626525"/>
            <a:ext cx="2122864" cy="555768"/>
          </a:xfrm>
          <a:prstGeom prst="rect">
            <a:avLst/>
          </a:prstGeom>
          <a:solidFill>
            <a:schemeClr val="bg1"/>
          </a:solidFill>
        </p:spPr>
        <p:txBody>
          <a:bodyPr wrap="square" lIns="180000" tIns="72000" rIns="0" bIns="0" rtlCol="0" anchor="t">
            <a:noAutofit/>
          </a:bodyPr>
          <a:lstStyle/>
          <a:p>
            <a:pPr algn="l">
              <a:spcAft>
                <a:spcPts val="1200"/>
              </a:spcAft>
            </a:pPr>
            <a:r>
              <a:rPr lang="en-GB" sz="1400" noProof="0">
                <a:solidFill>
                  <a:schemeClr val="accent6"/>
                </a:solidFill>
              </a:rPr>
              <a:t>Zoom out to see the PowerPoint instructions</a:t>
            </a:r>
          </a:p>
        </p:txBody>
      </p:sp>
      <p:sp>
        <p:nvSpPr>
          <p:cNvPr id="22" name="TextBox 5">
            <a:extLst>
              <a:ext uri="{FF2B5EF4-FFF2-40B4-BE49-F238E27FC236}">
                <a16:creationId xmlns:a16="http://schemas.microsoft.com/office/drawing/2014/main" id="{5243E103-B66E-4B22-AE25-97D07F0C266A}"/>
              </a:ext>
            </a:extLst>
          </p:cNvPr>
          <p:cNvSpPr txBox="1"/>
          <p:nvPr userDrawn="1"/>
        </p:nvSpPr>
        <p:spPr>
          <a:xfrm>
            <a:off x="1540506" y="3617973"/>
            <a:ext cx="1033544" cy="323090"/>
          </a:xfrm>
          <a:prstGeom prst="rect">
            <a:avLst/>
          </a:prstGeom>
          <a:solidFill>
            <a:schemeClr val="accent6"/>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400" noProof="0">
                <a:solidFill>
                  <a:schemeClr val="bg1"/>
                </a:solidFill>
              </a:rPr>
              <a:t>Instructions</a:t>
            </a:r>
          </a:p>
        </p:txBody>
      </p:sp>
      <p:sp>
        <p:nvSpPr>
          <p:cNvPr id="23" name="Rechthoek 22">
            <a:extLst>
              <a:ext uri="{FF2B5EF4-FFF2-40B4-BE49-F238E27FC236}">
                <a16:creationId xmlns:a16="http://schemas.microsoft.com/office/drawing/2014/main" id="{3941DBC9-C283-4F03-9D91-2071560CAE13}"/>
              </a:ext>
            </a:extLst>
          </p:cNvPr>
          <p:cNvSpPr/>
          <p:nvPr userDrawn="1"/>
        </p:nvSpPr>
        <p:spPr>
          <a:xfrm>
            <a:off x="8413061" y="2648891"/>
            <a:ext cx="808449" cy="2083026"/>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24" name="Rechte verbindingslijn met pijl 23">
            <a:extLst>
              <a:ext uri="{FF2B5EF4-FFF2-40B4-BE49-F238E27FC236}">
                <a16:creationId xmlns:a16="http://schemas.microsoft.com/office/drawing/2014/main" id="{BA5BF14D-E18A-4EB3-8E6E-377E92E8378C}"/>
              </a:ext>
            </a:extLst>
          </p:cNvPr>
          <p:cNvCxnSpPr>
            <a:cxnSpLocks/>
            <a:stCxn id="16" idx="1"/>
          </p:cNvCxnSpPr>
          <p:nvPr userDrawn="1"/>
        </p:nvCxnSpPr>
        <p:spPr>
          <a:xfrm flipH="1">
            <a:off x="9221510" y="3779518"/>
            <a:ext cx="396440"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5" name="Rechte verbindingslijn met pijl 24">
            <a:extLst>
              <a:ext uri="{FF2B5EF4-FFF2-40B4-BE49-F238E27FC236}">
                <a16:creationId xmlns:a16="http://schemas.microsoft.com/office/drawing/2014/main" id="{AA2E90A0-8AD6-4BD1-8C24-D5B6E27797A3}"/>
              </a:ext>
            </a:extLst>
          </p:cNvPr>
          <p:cNvCxnSpPr>
            <a:cxnSpLocks/>
            <a:stCxn id="22" idx="3"/>
          </p:cNvCxnSpPr>
          <p:nvPr userDrawn="1"/>
        </p:nvCxnSpPr>
        <p:spPr>
          <a:xfrm>
            <a:off x="2574050" y="3779518"/>
            <a:ext cx="1215061"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6" name="Rechthoek 22">
            <a:extLst>
              <a:ext uri="{FF2B5EF4-FFF2-40B4-BE49-F238E27FC236}">
                <a16:creationId xmlns:a16="http://schemas.microsoft.com/office/drawing/2014/main" id="{62D72172-2DE8-4ABD-AEAB-4435E3DCFFBB}"/>
              </a:ext>
            </a:extLst>
          </p:cNvPr>
          <p:cNvSpPr/>
          <p:nvPr userDrawn="1"/>
        </p:nvSpPr>
        <p:spPr>
          <a:xfrm>
            <a:off x="3789111" y="2648891"/>
            <a:ext cx="808449" cy="2083026"/>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983470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p>
            <a:fld id="{C0AA1C45-183C-46C2-BF39-FD5ED49CA406}" type="datetime4">
              <a:rPr lang="en-GB" noProof="0" smtClean="0"/>
              <a:t>23 January 2025</a:t>
            </a:fld>
            <a:endParaRPr lang="en-GB" noProof="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a:lvl1pPr>
          </a:lstStyle>
          <a:p>
            <a:r>
              <a:rPr lang="en-GB" noProof="0"/>
              <a:t>Confidentiality</a:t>
            </a:r>
            <a:endParaRPr lang="en-GB" b="1" noProof="0"/>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p>
            <a:fld id="{3B0AF0F1-83F4-0746-A551-EEC1F1FEC0BD}" type="slidenum">
              <a:rPr lang="en-GB" noProof="0" smtClean="0"/>
              <a:t>‹Nr.›</a:t>
            </a:fld>
            <a:endParaRPr lang="en-GB" noProof="0"/>
          </a:p>
        </p:txBody>
      </p:sp>
      <p:sp>
        <p:nvSpPr>
          <p:cNvPr id="2" name="Titel 1">
            <a:extLst>
              <a:ext uri="{FF2B5EF4-FFF2-40B4-BE49-F238E27FC236}">
                <a16:creationId xmlns:a16="http://schemas.microsoft.com/office/drawing/2014/main" id="{61F1B79E-2B92-7E4E-81D7-C8B718D42786}"/>
              </a:ext>
            </a:extLst>
          </p:cNvPr>
          <p:cNvSpPr>
            <a:spLocks noGrp="1"/>
          </p:cNvSpPr>
          <p:nvPr>
            <p:ph type="title" hasCustomPrompt="1"/>
          </p:nvPr>
        </p:nvSpPr>
        <p:spPr/>
        <p:txBody>
          <a:bodyPr/>
          <a:lstStyle>
            <a:lvl1pPr marL="0" indent="0">
              <a:tabLst/>
              <a:defRPr/>
            </a:lvl1pPr>
          </a:lstStyle>
          <a:p>
            <a:r>
              <a:rPr lang="en-GB" noProof="0"/>
              <a:t>Agenda</a:t>
            </a:r>
          </a:p>
        </p:txBody>
      </p:sp>
      <p:sp>
        <p:nvSpPr>
          <p:cNvPr id="18" name="Tijdelijke aanduiding voor tekst 7">
            <a:extLst>
              <a:ext uri="{FF2B5EF4-FFF2-40B4-BE49-F238E27FC236}">
                <a16:creationId xmlns:a16="http://schemas.microsoft.com/office/drawing/2014/main" id="{BAFF020F-0665-C944-8B5A-424F96ABC099}"/>
              </a:ext>
            </a:extLst>
          </p:cNvPr>
          <p:cNvSpPr>
            <a:spLocks noGrp="1"/>
          </p:cNvSpPr>
          <p:nvPr>
            <p:ph type="body" sz="quarter" idx="19" hasCustomPrompt="1"/>
          </p:nvPr>
        </p:nvSpPr>
        <p:spPr>
          <a:xfrm>
            <a:off x="1347788" y="953522"/>
            <a:ext cx="10390187" cy="432000"/>
          </a:xfrm>
          <a:prstGeom prst="rect">
            <a:avLst/>
          </a:prstGeom>
        </p:spPr>
        <p:txBody>
          <a:bodyPr>
            <a:noAutofit/>
          </a:bodyPr>
          <a:lstStyle>
            <a:lvl1pPr marL="0" indent="0">
              <a:spcBef>
                <a:spcPts val="0"/>
              </a:spcBef>
              <a:buNone/>
              <a:tabLst/>
              <a:defRPr sz="3000" b="0"/>
            </a:lvl1pPr>
          </a:lstStyle>
          <a:p>
            <a:pPr lvl="0"/>
            <a:r>
              <a:rPr lang="en-GB" noProof="0"/>
              <a:t>Name event</a:t>
            </a:r>
          </a:p>
        </p:txBody>
      </p:sp>
      <p:sp>
        <p:nvSpPr>
          <p:cNvPr id="16" name="Tekstvak 15">
            <a:extLst>
              <a:ext uri="{FF2B5EF4-FFF2-40B4-BE49-F238E27FC236}">
                <a16:creationId xmlns:a16="http://schemas.microsoft.com/office/drawing/2014/main" id="{2599E6AB-41C2-5243-9274-33DD1FBCFC3F}"/>
              </a:ext>
            </a:extLst>
          </p:cNvPr>
          <p:cNvSpPr txBox="1"/>
          <p:nvPr userDrawn="1"/>
        </p:nvSpPr>
        <p:spPr bwMode="auto">
          <a:xfrm>
            <a:off x="-2921308" y="0"/>
            <a:ext cx="2670175" cy="6857999"/>
          </a:xfrm>
          <a:prstGeom prst="rect">
            <a:avLst/>
          </a:prstGeom>
          <a:solidFill>
            <a:schemeClr val="bg1">
              <a:lumMod val="95000"/>
            </a:schemeClr>
          </a:solidFill>
        </p:spPr>
        <p:txBody>
          <a:bodyPr lIns="90000"/>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noProof="0">
                <a:solidFill>
                  <a:schemeClr val="tx2"/>
                </a:solidFill>
              </a:rPr>
              <a:t>The text in the boxes </a:t>
            </a:r>
            <a:br>
              <a:rPr lang="en-GB" sz="1200" b="1" noProof="0">
                <a:solidFill>
                  <a:schemeClr val="tx2"/>
                </a:solidFill>
              </a:rPr>
            </a:br>
            <a:r>
              <a:rPr lang="en-GB" sz="1200" b="1" noProof="0">
                <a:solidFill>
                  <a:schemeClr val="tx2"/>
                </a:solidFill>
              </a:rPr>
              <a:t>has two levels:</a:t>
            </a:r>
          </a:p>
          <a:p>
            <a:pPr>
              <a:defRPr/>
            </a:pPr>
            <a:endParaRPr lang="en-GB" sz="1200" noProof="0">
              <a:solidFill>
                <a:schemeClr val="tx2"/>
              </a:solidFill>
            </a:endParaRPr>
          </a:p>
          <a:p>
            <a:pPr marL="0" indent="0">
              <a:buFont typeface="+mj-lt"/>
              <a:buNone/>
              <a:defRPr/>
            </a:pPr>
            <a:r>
              <a:rPr lang="en-GB" sz="1200" b="1" noProof="0">
                <a:solidFill>
                  <a:schemeClr val="tx2"/>
                </a:solidFill>
              </a:rPr>
              <a:t>Bold text (level 1)</a:t>
            </a:r>
            <a:br>
              <a:rPr lang="en-GB" sz="1200" noProof="0">
                <a:solidFill>
                  <a:schemeClr val="tx2"/>
                </a:solidFill>
              </a:rPr>
            </a:br>
            <a:r>
              <a:rPr lang="en-GB" sz="1200" noProof="0">
                <a:solidFill>
                  <a:schemeClr val="tx2"/>
                </a:solidFill>
              </a:rPr>
              <a:t>Arial, 16pt, White</a:t>
            </a:r>
          </a:p>
          <a:p>
            <a:pPr marL="108000" indent="-108000">
              <a:buFont typeface="Wingdings" pitchFamily="2" charset="2"/>
              <a:buChar char="§"/>
              <a:defRPr/>
            </a:pPr>
            <a:endParaRPr lang="en-GB" sz="900" noProof="0">
              <a:solidFill>
                <a:schemeClr val="tx2"/>
              </a:solidFill>
            </a:endParaRPr>
          </a:p>
          <a:p>
            <a:pPr marL="9525" indent="0">
              <a:buFont typeface="+mj-lt"/>
              <a:buNone/>
              <a:tabLst/>
              <a:defRPr/>
            </a:pPr>
            <a:r>
              <a:rPr lang="en-GB" sz="1200" noProof="0">
                <a:solidFill>
                  <a:schemeClr val="tx2"/>
                </a:solidFill>
              </a:rPr>
              <a:t>Regular text (level 2)</a:t>
            </a:r>
            <a:br>
              <a:rPr lang="en-GB" sz="1200" noProof="0">
                <a:solidFill>
                  <a:schemeClr val="tx2"/>
                </a:solidFill>
              </a:rPr>
            </a:br>
            <a:r>
              <a:rPr lang="en-GB" sz="1200" noProof="0">
                <a:solidFill>
                  <a:schemeClr val="tx2"/>
                </a:solidFill>
              </a:rPr>
              <a:t>Arial, 14pt, White</a:t>
            </a:r>
          </a:p>
        </p:txBody>
      </p:sp>
      <p:sp>
        <p:nvSpPr>
          <p:cNvPr id="29" name="Tijdelijke aanduiding voor tekst 14">
            <a:extLst>
              <a:ext uri="{FF2B5EF4-FFF2-40B4-BE49-F238E27FC236}">
                <a16:creationId xmlns:a16="http://schemas.microsoft.com/office/drawing/2014/main" id="{98AF3CC9-AE58-4593-950A-C5FCB27F71AF}"/>
              </a:ext>
            </a:extLst>
          </p:cNvPr>
          <p:cNvSpPr>
            <a:spLocks noGrp="1"/>
          </p:cNvSpPr>
          <p:nvPr>
            <p:ph type="body" sz="quarter" idx="20"/>
          </p:nvPr>
        </p:nvSpPr>
        <p:spPr>
          <a:xfrm>
            <a:off x="1347598" y="1822449"/>
            <a:ext cx="9535396" cy="466523"/>
          </a:xfrm>
          <a:custGeom>
            <a:avLst/>
            <a:gdLst>
              <a:gd name="connsiteX0" fmla="*/ 0 w 10393553"/>
              <a:gd name="connsiteY0" fmla="*/ 0 h 508509"/>
              <a:gd name="connsiteX1" fmla="*/ 1199660 w 10393553"/>
              <a:gd name="connsiteY1" fmla="*/ 0 h 508509"/>
              <a:gd name="connsiteX2" fmla="*/ 10393553 w 10393553"/>
              <a:gd name="connsiteY2" fmla="*/ 0 h 508509"/>
              <a:gd name="connsiteX3" fmla="*/ 10393553 w 10393553"/>
              <a:gd name="connsiteY3" fmla="*/ 356798 h 508509"/>
              <a:gd name="connsiteX4" fmla="*/ 10058947 w 10393553"/>
              <a:gd name="connsiteY4" fmla="*/ 508509 h 508509"/>
              <a:gd name="connsiteX5" fmla="*/ 1199660 w 10393553"/>
              <a:gd name="connsiteY5" fmla="*/ 508509 h 508509"/>
              <a:gd name="connsiteX6" fmla="*/ 0 w 10393553"/>
              <a:gd name="connsiteY6" fmla="*/ 508509 h 50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3553" h="508509">
                <a:moveTo>
                  <a:pt x="0" y="0"/>
                </a:moveTo>
                <a:lnTo>
                  <a:pt x="1199660" y="0"/>
                </a:lnTo>
                <a:lnTo>
                  <a:pt x="10393553" y="0"/>
                </a:lnTo>
                <a:lnTo>
                  <a:pt x="10393553" y="356798"/>
                </a:lnTo>
                <a:lnTo>
                  <a:pt x="10058947" y="508509"/>
                </a:lnTo>
                <a:lnTo>
                  <a:pt x="1199660" y="508509"/>
                </a:lnTo>
                <a:lnTo>
                  <a:pt x="0" y="508509"/>
                </a:lnTo>
                <a:close/>
              </a:path>
            </a:pathLst>
          </a:custGeom>
          <a:solidFill>
            <a:schemeClr val="accent3"/>
          </a:solidFill>
        </p:spPr>
        <p:txBody>
          <a:bodyPr wrap="square" lIns="180000" tIns="0" rIns="180000" bIns="0" anchor="ctr">
            <a:noAutofit/>
          </a:bodyPr>
          <a:lstStyle>
            <a:lvl1pPr marL="6350" indent="-6350">
              <a:spcBef>
                <a:spcPts val="0"/>
              </a:spcBef>
              <a:buNone/>
              <a:tabLst/>
              <a:defRPr sz="1600" b="1">
                <a:solidFill>
                  <a:schemeClr val="bg1"/>
                </a:solidFill>
              </a:defRPr>
            </a:lvl1pPr>
            <a:lvl2pPr marL="6350" indent="0">
              <a:spcBef>
                <a:spcPts val="0"/>
              </a:spcBef>
              <a:buNone/>
              <a:tabLst/>
              <a:defRPr sz="1400">
                <a:solidFill>
                  <a:schemeClr val="bg1"/>
                </a:solidFill>
              </a:defRPr>
            </a:lvl2pPr>
          </a:lstStyle>
          <a:p>
            <a:pPr lvl="0"/>
            <a:r>
              <a:rPr lang="de-DE" noProof="0"/>
              <a:t>Mastertextformat bearbeiten</a:t>
            </a:r>
          </a:p>
          <a:p>
            <a:pPr lvl="1"/>
            <a:r>
              <a:rPr lang="de-DE" noProof="0"/>
              <a:t>Zweite Ebene</a:t>
            </a:r>
          </a:p>
        </p:txBody>
      </p:sp>
      <p:sp>
        <p:nvSpPr>
          <p:cNvPr id="30" name="Tijdelijke aanduiding voor tekst 15">
            <a:extLst>
              <a:ext uri="{FF2B5EF4-FFF2-40B4-BE49-F238E27FC236}">
                <a16:creationId xmlns:a16="http://schemas.microsoft.com/office/drawing/2014/main" id="{EDDBDFD6-60CE-4AED-AF01-EC06DA6786CF}"/>
              </a:ext>
            </a:extLst>
          </p:cNvPr>
          <p:cNvSpPr>
            <a:spLocks noGrp="1"/>
          </p:cNvSpPr>
          <p:nvPr>
            <p:ph type="body" sz="quarter" idx="21"/>
          </p:nvPr>
        </p:nvSpPr>
        <p:spPr>
          <a:xfrm>
            <a:off x="1347598" y="2363622"/>
            <a:ext cx="9535396" cy="466523"/>
          </a:xfrm>
          <a:custGeom>
            <a:avLst/>
            <a:gdLst>
              <a:gd name="connsiteX0" fmla="*/ 0 w 10393553"/>
              <a:gd name="connsiteY0" fmla="*/ 0 h 508509"/>
              <a:gd name="connsiteX1" fmla="*/ 1199660 w 10393553"/>
              <a:gd name="connsiteY1" fmla="*/ 0 h 508509"/>
              <a:gd name="connsiteX2" fmla="*/ 10393553 w 10393553"/>
              <a:gd name="connsiteY2" fmla="*/ 0 h 508509"/>
              <a:gd name="connsiteX3" fmla="*/ 10393553 w 10393553"/>
              <a:gd name="connsiteY3" fmla="*/ 356798 h 508509"/>
              <a:gd name="connsiteX4" fmla="*/ 10058947 w 10393553"/>
              <a:gd name="connsiteY4" fmla="*/ 508509 h 508509"/>
              <a:gd name="connsiteX5" fmla="*/ 1199660 w 10393553"/>
              <a:gd name="connsiteY5" fmla="*/ 508509 h 508509"/>
              <a:gd name="connsiteX6" fmla="*/ 0 w 10393553"/>
              <a:gd name="connsiteY6" fmla="*/ 508509 h 50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3553" h="508509">
                <a:moveTo>
                  <a:pt x="0" y="0"/>
                </a:moveTo>
                <a:lnTo>
                  <a:pt x="1199660" y="0"/>
                </a:lnTo>
                <a:lnTo>
                  <a:pt x="10393553" y="0"/>
                </a:lnTo>
                <a:lnTo>
                  <a:pt x="10393553" y="356798"/>
                </a:lnTo>
                <a:lnTo>
                  <a:pt x="10058947" y="508509"/>
                </a:lnTo>
                <a:lnTo>
                  <a:pt x="1199660" y="508509"/>
                </a:lnTo>
                <a:lnTo>
                  <a:pt x="0" y="508509"/>
                </a:lnTo>
                <a:close/>
              </a:path>
            </a:pathLst>
          </a:custGeom>
          <a:solidFill>
            <a:schemeClr val="accent3"/>
          </a:solidFill>
        </p:spPr>
        <p:txBody>
          <a:bodyPr wrap="square" lIns="180000" tIns="0" rIns="180000" bIns="0" anchor="ctr">
            <a:noAutofit/>
          </a:bodyPr>
          <a:lstStyle>
            <a:lvl1pPr marL="6350" indent="-6350">
              <a:spcBef>
                <a:spcPts val="0"/>
              </a:spcBef>
              <a:buNone/>
              <a:tabLst/>
              <a:defRPr sz="1600" b="1">
                <a:solidFill>
                  <a:schemeClr val="bg1"/>
                </a:solidFill>
              </a:defRPr>
            </a:lvl1pPr>
            <a:lvl2pPr marL="6350" indent="0">
              <a:spcBef>
                <a:spcPts val="0"/>
              </a:spcBef>
              <a:buNone/>
              <a:tabLst/>
              <a:defRPr sz="1400">
                <a:solidFill>
                  <a:schemeClr val="bg1"/>
                </a:solidFill>
              </a:defRPr>
            </a:lvl2pPr>
          </a:lstStyle>
          <a:p>
            <a:pPr lvl="0"/>
            <a:r>
              <a:rPr lang="de-DE" noProof="0"/>
              <a:t>Mastertextformat bearbeiten</a:t>
            </a:r>
          </a:p>
          <a:p>
            <a:pPr lvl="1"/>
            <a:r>
              <a:rPr lang="de-DE" noProof="0"/>
              <a:t>Zweite Ebene</a:t>
            </a:r>
          </a:p>
        </p:txBody>
      </p:sp>
      <p:sp>
        <p:nvSpPr>
          <p:cNvPr id="34" name="Tijdelijke aanduiding voor tekst 16">
            <a:extLst>
              <a:ext uri="{FF2B5EF4-FFF2-40B4-BE49-F238E27FC236}">
                <a16:creationId xmlns:a16="http://schemas.microsoft.com/office/drawing/2014/main" id="{09216612-33D4-405F-A061-7221C1D71370}"/>
              </a:ext>
            </a:extLst>
          </p:cNvPr>
          <p:cNvSpPr>
            <a:spLocks noGrp="1"/>
          </p:cNvSpPr>
          <p:nvPr>
            <p:ph type="body" sz="quarter" idx="22"/>
          </p:nvPr>
        </p:nvSpPr>
        <p:spPr>
          <a:xfrm>
            <a:off x="1347598" y="2904795"/>
            <a:ext cx="9535396" cy="466523"/>
          </a:xfrm>
          <a:custGeom>
            <a:avLst/>
            <a:gdLst>
              <a:gd name="connsiteX0" fmla="*/ 0 w 10393553"/>
              <a:gd name="connsiteY0" fmla="*/ 0 h 508509"/>
              <a:gd name="connsiteX1" fmla="*/ 1199660 w 10393553"/>
              <a:gd name="connsiteY1" fmla="*/ 0 h 508509"/>
              <a:gd name="connsiteX2" fmla="*/ 10393553 w 10393553"/>
              <a:gd name="connsiteY2" fmla="*/ 0 h 508509"/>
              <a:gd name="connsiteX3" fmla="*/ 10393553 w 10393553"/>
              <a:gd name="connsiteY3" fmla="*/ 356798 h 508509"/>
              <a:gd name="connsiteX4" fmla="*/ 10058947 w 10393553"/>
              <a:gd name="connsiteY4" fmla="*/ 508509 h 508509"/>
              <a:gd name="connsiteX5" fmla="*/ 1199660 w 10393553"/>
              <a:gd name="connsiteY5" fmla="*/ 508509 h 508509"/>
              <a:gd name="connsiteX6" fmla="*/ 0 w 10393553"/>
              <a:gd name="connsiteY6" fmla="*/ 508509 h 50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3553" h="508509">
                <a:moveTo>
                  <a:pt x="0" y="0"/>
                </a:moveTo>
                <a:lnTo>
                  <a:pt x="1199660" y="0"/>
                </a:lnTo>
                <a:lnTo>
                  <a:pt x="10393553" y="0"/>
                </a:lnTo>
                <a:lnTo>
                  <a:pt x="10393553" y="356798"/>
                </a:lnTo>
                <a:lnTo>
                  <a:pt x="10058947" y="508509"/>
                </a:lnTo>
                <a:lnTo>
                  <a:pt x="1199660" y="508509"/>
                </a:lnTo>
                <a:lnTo>
                  <a:pt x="0" y="508509"/>
                </a:lnTo>
                <a:close/>
              </a:path>
            </a:pathLst>
          </a:custGeom>
          <a:solidFill>
            <a:schemeClr val="accent3"/>
          </a:solidFill>
        </p:spPr>
        <p:txBody>
          <a:bodyPr wrap="square" lIns="180000" tIns="0" rIns="180000" bIns="0" anchor="ctr">
            <a:noAutofit/>
          </a:bodyPr>
          <a:lstStyle>
            <a:lvl1pPr marL="6350" indent="-6350">
              <a:spcBef>
                <a:spcPts val="0"/>
              </a:spcBef>
              <a:buNone/>
              <a:tabLst/>
              <a:defRPr sz="1600" b="1">
                <a:solidFill>
                  <a:schemeClr val="bg1"/>
                </a:solidFill>
              </a:defRPr>
            </a:lvl1pPr>
            <a:lvl2pPr marL="6350" indent="0">
              <a:spcBef>
                <a:spcPts val="0"/>
              </a:spcBef>
              <a:buNone/>
              <a:tabLst/>
              <a:defRPr sz="1400">
                <a:solidFill>
                  <a:schemeClr val="bg1"/>
                </a:solidFill>
              </a:defRPr>
            </a:lvl2pPr>
          </a:lstStyle>
          <a:p>
            <a:pPr lvl="0"/>
            <a:r>
              <a:rPr lang="de-DE" noProof="0"/>
              <a:t>Mastertextformat bearbeiten</a:t>
            </a:r>
          </a:p>
          <a:p>
            <a:pPr lvl="1"/>
            <a:r>
              <a:rPr lang="de-DE" noProof="0"/>
              <a:t>Zweite Ebene</a:t>
            </a:r>
          </a:p>
        </p:txBody>
      </p:sp>
      <p:sp>
        <p:nvSpPr>
          <p:cNvPr id="35" name="Tijdelijke aanduiding voor tekst 18">
            <a:extLst>
              <a:ext uri="{FF2B5EF4-FFF2-40B4-BE49-F238E27FC236}">
                <a16:creationId xmlns:a16="http://schemas.microsoft.com/office/drawing/2014/main" id="{FFBCA7EF-A62B-4BCC-8322-F262834DF006}"/>
              </a:ext>
            </a:extLst>
          </p:cNvPr>
          <p:cNvSpPr>
            <a:spLocks noGrp="1"/>
          </p:cNvSpPr>
          <p:nvPr>
            <p:ph type="body" sz="quarter" idx="23"/>
          </p:nvPr>
        </p:nvSpPr>
        <p:spPr>
          <a:xfrm>
            <a:off x="1347598" y="3445968"/>
            <a:ext cx="9535396" cy="466523"/>
          </a:xfrm>
          <a:custGeom>
            <a:avLst/>
            <a:gdLst>
              <a:gd name="connsiteX0" fmla="*/ 0 w 10393553"/>
              <a:gd name="connsiteY0" fmla="*/ 0 h 508509"/>
              <a:gd name="connsiteX1" fmla="*/ 1199660 w 10393553"/>
              <a:gd name="connsiteY1" fmla="*/ 0 h 508509"/>
              <a:gd name="connsiteX2" fmla="*/ 10393553 w 10393553"/>
              <a:gd name="connsiteY2" fmla="*/ 0 h 508509"/>
              <a:gd name="connsiteX3" fmla="*/ 10393553 w 10393553"/>
              <a:gd name="connsiteY3" fmla="*/ 356798 h 508509"/>
              <a:gd name="connsiteX4" fmla="*/ 10058947 w 10393553"/>
              <a:gd name="connsiteY4" fmla="*/ 508509 h 508509"/>
              <a:gd name="connsiteX5" fmla="*/ 1199660 w 10393553"/>
              <a:gd name="connsiteY5" fmla="*/ 508509 h 508509"/>
              <a:gd name="connsiteX6" fmla="*/ 0 w 10393553"/>
              <a:gd name="connsiteY6" fmla="*/ 508509 h 50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3553" h="508509">
                <a:moveTo>
                  <a:pt x="0" y="0"/>
                </a:moveTo>
                <a:lnTo>
                  <a:pt x="1199660" y="0"/>
                </a:lnTo>
                <a:lnTo>
                  <a:pt x="10393553" y="0"/>
                </a:lnTo>
                <a:lnTo>
                  <a:pt x="10393553" y="356798"/>
                </a:lnTo>
                <a:lnTo>
                  <a:pt x="10058947" y="508509"/>
                </a:lnTo>
                <a:lnTo>
                  <a:pt x="1199660" y="508509"/>
                </a:lnTo>
                <a:lnTo>
                  <a:pt x="0" y="508509"/>
                </a:lnTo>
                <a:close/>
              </a:path>
            </a:pathLst>
          </a:custGeom>
          <a:solidFill>
            <a:schemeClr val="accent3"/>
          </a:solidFill>
        </p:spPr>
        <p:txBody>
          <a:bodyPr wrap="square" lIns="180000" tIns="0" rIns="180000" bIns="0" anchor="ctr">
            <a:noAutofit/>
          </a:bodyPr>
          <a:lstStyle>
            <a:lvl1pPr marL="6350" indent="-6350">
              <a:spcBef>
                <a:spcPts val="0"/>
              </a:spcBef>
              <a:buNone/>
              <a:tabLst/>
              <a:defRPr sz="1600" b="1">
                <a:solidFill>
                  <a:schemeClr val="bg1"/>
                </a:solidFill>
              </a:defRPr>
            </a:lvl1pPr>
            <a:lvl2pPr marL="6350" indent="0">
              <a:spcBef>
                <a:spcPts val="0"/>
              </a:spcBef>
              <a:buNone/>
              <a:tabLst/>
              <a:defRPr sz="1400">
                <a:solidFill>
                  <a:schemeClr val="bg1"/>
                </a:solidFill>
              </a:defRPr>
            </a:lvl2pPr>
          </a:lstStyle>
          <a:p>
            <a:pPr lvl="0"/>
            <a:r>
              <a:rPr lang="de-DE" noProof="0"/>
              <a:t>Mastertextformat bearbeiten</a:t>
            </a:r>
          </a:p>
          <a:p>
            <a:pPr lvl="1"/>
            <a:r>
              <a:rPr lang="de-DE" noProof="0"/>
              <a:t>Zweite Ebene</a:t>
            </a:r>
          </a:p>
        </p:txBody>
      </p:sp>
      <p:sp>
        <p:nvSpPr>
          <p:cNvPr id="36" name="Tijdelijke aanduiding voor tekst 19">
            <a:extLst>
              <a:ext uri="{FF2B5EF4-FFF2-40B4-BE49-F238E27FC236}">
                <a16:creationId xmlns:a16="http://schemas.microsoft.com/office/drawing/2014/main" id="{C6A9D100-EE12-49E1-BD86-AC27A8E25B80}"/>
              </a:ext>
            </a:extLst>
          </p:cNvPr>
          <p:cNvSpPr>
            <a:spLocks noGrp="1"/>
          </p:cNvSpPr>
          <p:nvPr>
            <p:ph type="body" sz="quarter" idx="24"/>
          </p:nvPr>
        </p:nvSpPr>
        <p:spPr>
          <a:xfrm>
            <a:off x="1347598" y="3987141"/>
            <a:ext cx="9535396" cy="466523"/>
          </a:xfrm>
          <a:custGeom>
            <a:avLst/>
            <a:gdLst>
              <a:gd name="connsiteX0" fmla="*/ 0 w 10393553"/>
              <a:gd name="connsiteY0" fmla="*/ 0 h 508509"/>
              <a:gd name="connsiteX1" fmla="*/ 1199660 w 10393553"/>
              <a:gd name="connsiteY1" fmla="*/ 0 h 508509"/>
              <a:gd name="connsiteX2" fmla="*/ 10393553 w 10393553"/>
              <a:gd name="connsiteY2" fmla="*/ 0 h 508509"/>
              <a:gd name="connsiteX3" fmla="*/ 10393553 w 10393553"/>
              <a:gd name="connsiteY3" fmla="*/ 356798 h 508509"/>
              <a:gd name="connsiteX4" fmla="*/ 10058947 w 10393553"/>
              <a:gd name="connsiteY4" fmla="*/ 508509 h 508509"/>
              <a:gd name="connsiteX5" fmla="*/ 1199660 w 10393553"/>
              <a:gd name="connsiteY5" fmla="*/ 508509 h 508509"/>
              <a:gd name="connsiteX6" fmla="*/ 0 w 10393553"/>
              <a:gd name="connsiteY6" fmla="*/ 508509 h 50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3553" h="508509">
                <a:moveTo>
                  <a:pt x="0" y="0"/>
                </a:moveTo>
                <a:lnTo>
                  <a:pt x="1199660" y="0"/>
                </a:lnTo>
                <a:lnTo>
                  <a:pt x="10393553" y="0"/>
                </a:lnTo>
                <a:lnTo>
                  <a:pt x="10393553" y="356798"/>
                </a:lnTo>
                <a:lnTo>
                  <a:pt x="10058947" y="508509"/>
                </a:lnTo>
                <a:lnTo>
                  <a:pt x="1199660" y="508509"/>
                </a:lnTo>
                <a:lnTo>
                  <a:pt x="0" y="508509"/>
                </a:lnTo>
                <a:close/>
              </a:path>
            </a:pathLst>
          </a:custGeom>
          <a:solidFill>
            <a:schemeClr val="accent3"/>
          </a:solidFill>
        </p:spPr>
        <p:txBody>
          <a:bodyPr wrap="square" lIns="180000" tIns="0" rIns="180000" bIns="0" anchor="ctr">
            <a:noAutofit/>
          </a:bodyPr>
          <a:lstStyle>
            <a:lvl1pPr marL="6350" indent="-6350">
              <a:spcBef>
                <a:spcPts val="0"/>
              </a:spcBef>
              <a:buNone/>
              <a:tabLst/>
              <a:defRPr sz="1600" b="1">
                <a:solidFill>
                  <a:schemeClr val="bg1"/>
                </a:solidFill>
              </a:defRPr>
            </a:lvl1pPr>
            <a:lvl2pPr marL="6350" indent="0">
              <a:spcBef>
                <a:spcPts val="0"/>
              </a:spcBef>
              <a:buNone/>
              <a:tabLst/>
              <a:defRPr sz="1400">
                <a:solidFill>
                  <a:schemeClr val="bg1"/>
                </a:solidFill>
              </a:defRPr>
            </a:lvl2pPr>
          </a:lstStyle>
          <a:p>
            <a:pPr lvl="0"/>
            <a:r>
              <a:rPr lang="de-DE" noProof="0"/>
              <a:t>Mastertextformat bearbeiten</a:t>
            </a:r>
          </a:p>
          <a:p>
            <a:pPr lvl="1"/>
            <a:r>
              <a:rPr lang="de-DE" noProof="0"/>
              <a:t>Zweite Ebene</a:t>
            </a:r>
          </a:p>
        </p:txBody>
      </p:sp>
      <p:sp>
        <p:nvSpPr>
          <p:cNvPr id="37" name="Tijdelijke aanduiding voor tekst 20">
            <a:extLst>
              <a:ext uri="{FF2B5EF4-FFF2-40B4-BE49-F238E27FC236}">
                <a16:creationId xmlns:a16="http://schemas.microsoft.com/office/drawing/2014/main" id="{8CF0FE0B-C6A8-458C-A63F-AADC000C1BC1}"/>
              </a:ext>
            </a:extLst>
          </p:cNvPr>
          <p:cNvSpPr>
            <a:spLocks noGrp="1"/>
          </p:cNvSpPr>
          <p:nvPr>
            <p:ph type="body" sz="quarter" idx="25"/>
          </p:nvPr>
        </p:nvSpPr>
        <p:spPr>
          <a:xfrm>
            <a:off x="1347598" y="4528314"/>
            <a:ext cx="9535396" cy="466523"/>
          </a:xfrm>
          <a:custGeom>
            <a:avLst/>
            <a:gdLst>
              <a:gd name="connsiteX0" fmla="*/ 0 w 10393553"/>
              <a:gd name="connsiteY0" fmla="*/ 0 h 508509"/>
              <a:gd name="connsiteX1" fmla="*/ 1199660 w 10393553"/>
              <a:gd name="connsiteY1" fmla="*/ 0 h 508509"/>
              <a:gd name="connsiteX2" fmla="*/ 10393553 w 10393553"/>
              <a:gd name="connsiteY2" fmla="*/ 0 h 508509"/>
              <a:gd name="connsiteX3" fmla="*/ 10393553 w 10393553"/>
              <a:gd name="connsiteY3" fmla="*/ 356798 h 508509"/>
              <a:gd name="connsiteX4" fmla="*/ 10058947 w 10393553"/>
              <a:gd name="connsiteY4" fmla="*/ 508509 h 508509"/>
              <a:gd name="connsiteX5" fmla="*/ 1199660 w 10393553"/>
              <a:gd name="connsiteY5" fmla="*/ 508509 h 508509"/>
              <a:gd name="connsiteX6" fmla="*/ 0 w 10393553"/>
              <a:gd name="connsiteY6" fmla="*/ 508509 h 50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3553" h="508509">
                <a:moveTo>
                  <a:pt x="0" y="0"/>
                </a:moveTo>
                <a:lnTo>
                  <a:pt x="1199660" y="0"/>
                </a:lnTo>
                <a:lnTo>
                  <a:pt x="10393553" y="0"/>
                </a:lnTo>
                <a:lnTo>
                  <a:pt x="10393553" y="356798"/>
                </a:lnTo>
                <a:lnTo>
                  <a:pt x="10058947" y="508509"/>
                </a:lnTo>
                <a:lnTo>
                  <a:pt x="1199660" y="508509"/>
                </a:lnTo>
                <a:lnTo>
                  <a:pt x="0" y="508509"/>
                </a:lnTo>
                <a:close/>
              </a:path>
            </a:pathLst>
          </a:custGeom>
          <a:solidFill>
            <a:schemeClr val="accent3"/>
          </a:solidFill>
        </p:spPr>
        <p:txBody>
          <a:bodyPr wrap="square" lIns="180000" tIns="0" rIns="180000" bIns="0" anchor="ctr">
            <a:noAutofit/>
          </a:bodyPr>
          <a:lstStyle>
            <a:lvl1pPr marL="6350" indent="-6350">
              <a:spcBef>
                <a:spcPts val="0"/>
              </a:spcBef>
              <a:buNone/>
              <a:tabLst/>
              <a:defRPr sz="1600" b="1">
                <a:solidFill>
                  <a:schemeClr val="bg1"/>
                </a:solidFill>
              </a:defRPr>
            </a:lvl1pPr>
            <a:lvl2pPr marL="6350" indent="0">
              <a:spcBef>
                <a:spcPts val="0"/>
              </a:spcBef>
              <a:buNone/>
              <a:tabLst/>
              <a:defRPr sz="1400">
                <a:solidFill>
                  <a:schemeClr val="bg1"/>
                </a:solidFill>
              </a:defRPr>
            </a:lvl2pPr>
          </a:lstStyle>
          <a:p>
            <a:pPr lvl="0"/>
            <a:r>
              <a:rPr lang="de-DE" noProof="0"/>
              <a:t>Mastertextformat bearbeiten</a:t>
            </a:r>
          </a:p>
          <a:p>
            <a:pPr lvl="1"/>
            <a:r>
              <a:rPr lang="de-DE" noProof="0"/>
              <a:t>Zweite Ebene</a:t>
            </a:r>
          </a:p>
        </p:txBody>
      </p:sp>
      <p:sp>
        <p:nvSpPr>
          <p:cNvPr id="38" name="Tijdelijke aanduiding voor tekst 27">
            <a:extLst>
              <a:ext uri="{FF2B5EF4-FFF2-40B4-BE49-F238E27FC236}">
                <a16:creationId xmlns:a16="http://schemas.microsoft.com/office/drawing/2014/main" id="{65E3FBE4-32F6-4A61-A8C2-FEBC261EE2E8}"/>
              </a:ext>
            </a:extLst>
          </p:cNvPr>
          <p:cNvSpPr>
            <a:spLocks noGrp="1"/>
          </p:cNvSpPr>
          <p:nvPr>
            <p:ph type="body" sz="quarter" idx="26"/>
          </p:nvPr>
        </p:nvSpPr>
        <p:spPr>
          <a:xfrm>
            <a:off x="1347598" y="5069487"/>
            <a:ext cx="9535396" cy="466523"/>
          </a:xfrm>
          <a:custGeom>
            <a:avLst/>
            <a:gdLst>
              <a:gd name="connsiteX0" fmla="*/ 0 w 10393553"/>
              <a:gd name="connsiteY0" fmla="*/ 0 h 508509"/>
              <a:gd name="connsiteX1" fmla="*/ 1199660 w 10393553"/>
              <a:gd name="connsiteY1" fmla="*/ 0 h 508509"/>
              <a:gd name="connsiteX2" fmla="*/ 10393553 w 10393553"/>
              <a:gd name="connsiteY2" fmla="*/ 0 h 508509"/>
              <a:gd name="connsiteX3" fmla="*/ 10393553 w 10393553"/>
              <a:gd name="connsiteY3" fmla="*/ 356798 h 508509"/>
              <a:gd name="connsiteX4" fmla="*/ 10058947 w 10393553"/>
              <a:gd name="connsiteY4" fmla="*/ 508509 h 508509"/>
              <a:gd name="connsiteX5" fmla="*/ 1199660 w 10393553"/>
              <a:gd name="connsiteY5" fmla="*/ 508509 h 508509"/>
              <a:gd name="connsiteX6" fmla="*/ 0 w 10393553"/>
              <a:gd name="connsiteY6" fmla="*/ 508509 h 50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3553" h="508509">
                <a:moveTo>
                  <a:pt x="0" y="0"/>
                </a:moveTo>
                <a:lnTo>
                  <a:pt x="1199660" y="0"/>
                </a:lnTo>
                <a:lnTo>
                  <a:pt x="10393553" y="0"/>
                </a:lnTo>
                <a:lnTo>
                  <a:pt x="10393553" y="356798"/>
                </a:lnTo>
                <a:lnTo>
                  <a:pt x="10058947" y="508509"/>
                </a:lnTo>
                <a:lnTo>
                  <a:pt x="1199660" y="508509"/>
                </a:lnTo>
                <a:lnTo>
                  <a:pt x="0" y="508509"/>
                </a:lnTo>
                <a:close/>
              </a:path>
            </a:pathLst>
          </a:custGeom>
          <a:solidFill>
            <a:schemeClr val="accent3"/>
          </a:solidFill>
        </p:spPr>
        <p:txBody>
          <a:bodyPr wrap="square" lIns="180000" tIns="0" rIns="180000" bIns="0" anchor="ctr">
            <a:noAutofit/>
          </a:bodyPr>
          <a:lstStyle>
            <a:lvl1pPr marL="6350" indent="-6350">
              <a:spcBef>
                <a:spcPts val="0"/>
              </a:spcBef>
              <a:buNone/>
              <a:tabLst/>
              <a:defRPr sz="1600" b="1">
                <a:solidFill>
                  <a:schemeClr val="bg1"/>
                </a:solidFill>
              </a:defRPr>
            </a:lvl1pPr>
            <a:lvl2pPr marL="6350" indent="0">
              <a:spcBef>
                <a:spcPts val="0"/>
              </a:spcBef>
              <a:buNone/>
              <a:tabLst/>
              <a:defRPr sz="1400">
                <a:solidFill>
                  <a:schemeClr val="bg1"/>
                </a:solidFill>
              </a:defRPr>
            </a:lvl2pPr>
          </a:lstStyle>
          <a:p>
            <a:pPr lvl="0"/>
            <a:r>
              <a:rPr lang="de-DE" noProof="0"/>
              <a:t>Mastertextformat bearbeiten</a:t>
            </a:r>
          </a:p>
          <a:p>
            <a:pPr lvl="1"/>
            <a:r>
              <a:rPr lang="de-DE" noProof="0"/>
              <a:t>Zweite Ebene</a:t>
            </a:r>
          </a:p>
        </p:txBody>
      </p:sp>
      <p:sp>
        <p:nvSpPr>
          <p:cNvPr id="39" name="Tijdelijke aanduiding voor tekst 28">
            <a:extLst>
              <a:ext uri="{FF2B5EF4-FFF2-40B4-BE49-F238E27FC236}">
                <a16:creationId xmlns:a16="http://schemas.microsoft.com/office/drawing/2014/main" id="{11E78912-4555-4864-BD34-6B512C6801A7}"/>
              </a:ext>
            </a:extLst>
          </p:cNvPr>
          <p:cNvSpPr>
            <a:spLocks noGrp="1"/>
          </p:cNvSpPr>
          <p:nvPr>
            <p:ph type="body" sz="quarter" idx="27"/>
          </p:nvPr>
        </p:nvSpPr>
        <p:spPr>
          <a:xfrm>
            <a:off x="1347598" y="5610657"/>
            <a:ext cx="9535396" cy="466523"/>
          </a:xfrm>
          <a:custGeom>
            <a:avLst/>
            <a:gdLst>
              <a:gd name="connsiteX0" fmla="*/ 0 w 10393553"/>
              <a:gd name="connsiteY0" fmla="*/ 0 h 508509"/>
              <a:gd name="connsiteX1" fmla="*/ 1199660 w 10393553"/>
              <a:gd name="connsiteY1" fmla="*/ 0 h 508509"/>
              <a:gd name="connsiteX2" fmla="*/ 10393553 w 10393553"/>
              <a:gd name="connsiteY2" fmla="*/ 0 h 508509"/>
              <a:gd name="connsiteX3" fmla="*/ 10393553 w 10393553"/>
              <a:gd name="connsiteY3" fmla="*/ 356798 h 508509"/>
              <a:gd name="connsiteX4" fmla="*/ 10058947 w 10393553"/>
              <a:gd name="connsiteY4" fmla="*/ 508509 h 508509"/>
              <a:gd name="connsiteX5" fmla="*/ 1199660 w 10393553"/>
              <a:gd name="connsiteY5" fmla="*/ 508509 h 508509"/>
              <a:gd name="connsiteX6" fmla="*/ 0 w 10393553"/>
              <a:gd name="connsiteY6" fmla="*/ 508509 h 50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3553" h="508509">
                <a:moveTo>
                  <a:pt x="0" y="0"/>
                </a:moveTo>
                <a:lnTo>
                  <a:pt x="1199660" y="0"/>
                </a:lnTo>
                <a:lnTo>
                  <a:pt x="10393553" y="0"/>
                </a:lnTo>
                <a:lnTo>
                  <a:pt x="10393553" y="356798"/>
                </a:lnTo>
                <a:lnTo>
                  <a:pt x="10058947" y="508509"/>
                </a:lnTo>
                <a:lnTo>
                  <a:pt x="1199660" y="508509"/>
                </a:lnTo>
                <a:lnTo>
                  <a:pt x="0" y="508509"/>
                </a:lnTo>
                <a:close/>
              </a:path>
            </a:pathLst>
          </a:custGeom>
          <a:solidFill>
            <a:schemeClr val="accent3"/>
          </a:solidFill>
        </p:spPr>
        <p:txBody>
          <a:bodyPr wrap="square" lIns="180000" tIns="0" rIns="180000" bIns="0" anchor="ctr">
            <a:noAutofit/>
          </a:bodyPr>
          <a:lstStyle>
            <a:lvl1pPr marL="6350" indent="-6350">
              <a:spcBef>
                <a:spcPts val="0"/>
              </a:spcBef>
              <a:buNone/>
              <a:tabLst/>
              <a:defRPr sz="1600" b="1">
                <a:solidFill>
                  <a:schemeClr val="bg1"/>
                </a:solidFill>
              </a:defRPr>
            </a:lvl1pPr>
            <a:lvl2pPr marL="6350" indent="0">
              <a:spcBef>
                <a:spcPts val="0"/>
              </a:spcBef>
              <a:buNone/>
              <a:tabLst/>
              <a:defRPr sz="1400">
                <a:solidFill>
                  <a:schemeClr val="bg1"/>
                </a:solidFill>
              </a:defRPr>
            </a:lvl2pPr>
          </a:lstStyle>
          <a:p>
            <a:pPr lvl="0"/>
            <a:r>
              <a:rPr lang="de-DE" noProof="0"/>
              <a:t>Mastertextformat bearbeiten</a:t>
            </a:r>
          </a:p>
          <a:p>
            <a:pPr lvl="1"/>
            <a:r>
              <a:rPr lang="de-DE" noProof="0"/>
              <a:t>Zweite Ebene</a:t>
            </a:r>
          </a:p>
        </p:txBody>
      </p:sp>
    </p:spTree>
    <p:extLst>
      <p:ext uri="{BB962C8B-B14F-4D97-AF65-F5344CB8AC3E}">
        <p14:creationId xmlns:p14="http://schemas.microsoft.com/office/powerpoint/2010/main" val="34560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bg1"/>
        </a:soli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46C84DE8-FA10-4EAC-8B43-2B610C1D6CDC}"/>
              </a:ext>
            </a:extLst>
          </p:cNvPr>
          <p:cNvSpPr>
            <a:spLocks noGrp="1"/>
          </p:cNvSpPr>
          <p:nvPr>
            <p:ph type="pic" sz="quarter" idx="13"/>
          </p:nvPr>
        </p:nvSpPr>
        <p:spPr>
          <a:xfrm>
            <a:off x="25" y="15"/>
            <a:ext cx="12191977" cy="6875987"/>
          </a:xfrm>
          <a:custGeom>
            <a:avLst/>
            <a:gdLst>
              <a:gd name="connsiteX0" fmla="*/ 11039450 w 12191977"/>
              <a:gd name="connsiteY0" fmla="*/ 6562712 h 6875987"/>
              <a:gd name="connsiteX1" fmla="*/ 11033964 w 12191977"/>
              <a:gd name="connsiteY1" fmla="*/ 6564070 h 6875987"/>
              <a:gd name="connsiteX2" fmla="*/ 10915320 w 12191977"/>
              <a:gd name="connsiteY2" fmla="*/ 6583750 h 6875987"/>
              <a:gd name="connsiteX3" fmla="*/ 10909834 w 12191977"/>
              <a:gd name="connsiteY3" fmla="*/ 6585786 h 6875987"/>
              <a:gd name="connsiteX4" fmla="*/ 10878973 w 12191977"/>
              <a:gd name="connsiteY4" fmla="*/ 6608859 h 6875987"/>
              <a:gd name="connsiteX5" fmla="*/ 10993501 w 12191977"/>
              <a:gd name="connsiteY5" fmla="*/ 6608859 h 6875987"/>
              <a:gd name="connsiteX6" fmla="*/ 10981843 w 12191977"/>
              <a:gd name="connsiteY6" fmla="*/ 6615645 h 6875987"/>
              <a:gd name="connsiteX7" fmla="*/ 10894746 w 12191977"/>
              <a:gd name="connsiteY7" fmla="*/ 6630575 h 6875987"/>
              <a:gd name="connsiteX8" fmla="*/ 10889260 w 12191977"/>
              <a:gd name="connsiteY8" fmla="*/ 6632611 h 6875987"/>
              <a:gd name="connsiteX9" fmla="*/ 10868000 w 12191977"/>
              <a:gd name="connsiteY9" fmla="*/ 6648898 h 6875987"/>
              <a:gd name="connsiteX10" fmla="*/ 10937266 w 12191977"/>
              <a:gd name="connsiteY10" fmla="*/ 6644147 h 6875987"/>
              <a:gd name="connsiteX11" fmla="*/ 11039450 w 12191977"/>
              <a:gd name="connsiteY11" fmla="*/ 6562712 h 6875987"/>
              <a:gd name="connsiteX12" fmla="*/ 10791870 w 12191977"/>
              <a:gd name="connsiteY12" fmla="*/ 6557949 h 6875987"/>
              <a:gd name="connsiteX13" fmla="*/ 10790489 w 12191977"/>
              <a:gd name="connsiteY13" fmla="*/ 6594008 h 6875987"/>
              <a:gd name="connsiteX14" fmla="*/ 10866413 w 12191977"/>
              <a:gd name="connsiteY14" fmla="*/ 6648437 h 6875987"/>
              <a:gd name="connsiteX15" fmla="*/ 10866413 w 12191977"/>
              <a:gd name="connsiteY15" fmla="*/ 6557949 h 6875987"/>
              <a:gd name="connsiteX16" fmla="*/ 10791870 w 12191977"/>
              <a:gd name="connsiteY16" fmla="*/ 6557949 h 6875987"/>
              <a:gd name="connsiteX17" fmla="*/ 11578407 w 12191977"/>
              <a:gd name="connsiteY17" fmla="*/ 6519848 h 6875987"/>
              <a:gd name="connsiteX18" fmla="*/ 11604601 w 12191977"/>
              <a:gd name="connsiteY18" fmla="*/ 6542999 h 6875987"/>
              <a:gd name="connsiteX19" fmla="*/ 11599900 w 12191977"/>
              <a:gd name="connsiteY19" fmla="*/ 6551598 h 6875987"/>
              <a:gd name="connsiteX20" fmla="*/ 11552213 w 12191977"/>
              <a:gd name="connsiteY20" fmla="*/ 6551598 h 6875987"/>
              <a:gd name="connsiteX21" fmla="*/ 11552885 w 12191977"/>
              <a:gd name="connsiteY21" fmla="*/ 6543661 h 6875987"/>
              <a:gd name="connsiteX22" fmla="*/ 11578407 w 12191977"/>
              <a:gd name="connsiteY22" fmla="*/ 6519848 h 6875987"/>
              <a:gd name="connsiteX23" fmla="*/ 11218837 w 12191977"/>
              <a:gd name="connsiteY23" fmla="*/ 6519848 h 6875987"/>
              <a:gd name="connsiteX24" fmla="*/ 11245825 w 12191977"/>
              <a:gd name="connsiteY24" fmla="*/ 6542999 h 6875987"/>
              <a:gd name="connsiteX25" fmla="*/ 11240289 w 12191977"/>
              <a:gd name="connsiteY25" fmla="*/ 6551598 h 6875987"/>
              <a:gd name="connsiteX26" fmla="*/ 11191850 w 12191977"/>
              <a:gd name="connsiteY26" fmla="*/ 6551598 h 6875987"/>
              <a:gd name="connsiteX27" fmla="*/ 11191850 w 12191977"/>
              <a:gd name="connsiteY27" fmla="*/ 6543661 h 6875987"/>
              <a:gd name="connsiteX28" fmla="*/ 11218837 w 12191977"/>
              <a:gd name="connsiteY28" fmla="*/ 6519848 h 6875987"/>
              <a:gd name="connsiteX29" fmla="*/ 11625238 w 12191977"/>
              <a:gd name="connsiteY29" fmla="*/ 6503974 h 6875987"/>
              <a:gd name="connsiteX30" fmla="*/ 11640358 w 12191977"/>
              <a:gd name="connsiteY30" fmla="*/ 6520405 h 6875987"/>
              <a:gd name="connsiteX31" fmla="*/ 11674034 w 12191977"/>
              <a:gd name="connsiteY31" fmla="*/ 6520405 h 6875987"/>
              <a:gd name="connsiteX32" fmla="*/ 11674034 w 12191977"/>
              <a:gd name="connsiteY32" fmla="*/ 6613512 h 6875987"/>
              <a:gd name="connsiteX33" fmla="*/ 11700151 w 12191977"/>
              <a:gd name="connsiteY33" fmla="*/ 6613512 h 6875987"/>
              <a:gd name="connsiteX34" fmla="*/ 11700151 w 12191977"/>
              <a:gd name="connsiteY34" fmla="*/ 6520405 h 6875987"/>
              <a:gd name="connsiteX35" fmla="*/ 11737951 w 12191977"/>
              <a:gd name="connsiteY35" fmla="*/ 6520405 h 6875987"/>
              <a:gd name="connsiteX36" fmla="*/ 11737951 w 12191977"/>
              <a:gd name="connsiteY36" fmla="*/ 6503974 h 6875987"/>
              <a:gd name="connsiteX37" fmla="*/ 11625238 w 12191977"/>
              <a:gd name="connsiteY37" fmla="*/ 6503974 h 6875987"/>
              <a:gd name="connsiteX38" fmla="*/ 11426931 w 12191977"/>
              <a:gd name="connsiteY38" fmla="*/ 6503974 h 6875987"/>
              <a:gd name="connsiteX39" fmla="*/ 11407750 w 12191977"/>
              <a:gd name="connsiteY39" fmla="*/ 6523143 h 6875987"/>
              <a:gd name="connsiteX40" fmla="*/ 11407750 w 12191977"/>
              <a:gd name="connsiteY40" fmla="*/ 6613512 h 6875987"/>
              <a:gd name="connsiteX41" fmla="*/ 11433781 w 12191977"/>
              <a:gd name="connsiteY41" fmla="*/ 6613512 h 6875987"/>
              <a:gd name="connsiteX42" fmla="*/ 11433781 w 12191977"/>
              <a:gd name="connsiteY42" fmla="*/ 6525197 h 6875987"/>
              <a:gd name="connsiteX43" fmla="*/ 11439261 w 12191977"/>
              <a:gd name="connsiteY43" fmla="*/ 6520405 h 6875987"/>
              <a:gd name="connsiteX44" fmla="*/ 11459812 w 12191977"/>
              <a:gd name="connsiteY44" fmla="*/ 6520405 h 6875987"/>
              <a:gd name="connsiteX45" fmla="*/ 11481732 w 12191977"/>
              <a:gd name="connsiteY45" fmla="*/ 6543682 h 6875987"/>
              <a:gd name="connsiteX46" fmla="*/ 11481732 w 12191977"/>
              <a:gd name="connsiteY46" fmla="*/ 6613512 h 6875987"/>
              <a:gd name="connsiteX47" fmla="*/ 11507763 w 12191977"/>
              <a:gd name="connsiteY47" fmla="*/ 6613512 h 6875987"/>
              <a:gd name="connsiteX48" fmla="*/ 11507763 w 12191977"/>
              <a:gd name="connsiteY48" fmla="*/ 6541628 h 6875987"/>
              <a:gd name="connsiteX49" fmla="*/ 11463922 w 12191977"/>
              <a:gd name="connsiteY49" fmla="*/ 6503974 h 6875987"/>
              <a:gd name="connsiteX50" fmla="*/ 11426931 w 12191977"/>
              <a:gd name="connsiteY50" fmla="*/ 6503974 h 6875987"/>
              <a:gd name="connsiteX51" fmla="*/ 11307869 w 12191977"/>
              <a:gd name="connsiteY51" fmla="*/ 6503974 h 6875987"/>
              <a:gd name="connsiteX52" fmla="*/ 11288688 w 12191977"/>
              <a:gd name="connsiteY52" fmla="*/ 6523143 h 6875987"/>
              <a:gd name="connsiteX53" fmla="*/ 11288688 w 12191977"/>
              <a:gd name="connsiteY53" fmla="*/ 6613512 h 6875987"/>
              <a:gd name="connsiteX54" fmla="*/ 11314719 w 12191977"/>
              <a:gd name="connsiteY54" fmla="*/ 6613512 h 6875987"/>
              <a:gd name="connsiteX55" fmla="*/ 11314719 w 12191977"/>
              <a:gd name="connsiteY55" fmla="*/ 6525197 h 6875987"/>
              <a:gd name="connsiteX56" fmla="*/ 11320199 w 12191977"/>
              <a:gd name="connsiteY56" fmla="*/ 6520405 h 6875987"/>
              <a:gd name="connsiteX57" fmla="*/ 11340750 w 12191977"/>
              <a:gd name="connsiteY57" fmla="*/ 6520405 h 6875987"/>
              <a:gd name="connsiteX58" fmla="*/ 11362670 w 12191977"/>
              <a:gd name="connsiteY58" fmla="*/ 6543682 h 6875987"/>
              <a:gd name="connsiteX59" fmla="*/ 11362670 w 12191977"/>
              <a:gd name="connsiteY59" fmla="*/ 6613512 h 6875987"/>
              <a:gd name="connsiteX60" fmla="*/ 11388701 w 12191977"/>
              <a:gd name="connsiteY60" fmla="*/ 6613512 h 6875987"/>
              <a:gd name="connsiteX61" fmla="*/ 11388701 w 12191977"/>
              <a:gd name="connsiteY61" fmla="*/ 6541628 h 6875987"/>
              <a:gd name="connsiteX62" fmla="*/ 11344860 w 12191977"/>
              <a:gd name="connsiteY62" fmla="*/ 6503974 h 6875987"/>
              <a:gd name="connsiteX63" fmla="*/ 11307869 w 12191977"/>
              <a:gd name="connsiteY63" fmla="*/ 6503974 h 6875987"/>
              <a:gd name="connsiteX64" fmla="*/ 11055325 w 12191977"/>
              <a:gd name="connsiteY64" fmla="*/ 6503974 h 6875987"/>
              <a:gd name="connsiteX65" fmla="*/ 11062838 w 12191977"/>
              <a:gd name="connsiteY65" fmla="*/ 6520405 h 6875987"/>
              <a:gd name="connsiteX66" fmla="*/ 11098354 w 12191977"/>
              <a:gd name="connsiteY66" fmla="*/ 6520405 h 6875987"/>
              <a:gd name="connsiteX67" fmla="*/ 11098354 w 12191977"/>
              <a:gd name="connsiteY67" fmla="*/ 6613512 h 6875987"/>
              <a:gd name="connsiteX68" fmla="*/ 11124990 w 12191977"/>
              <a:gd name="connsiteY68" fmla="*/ 6613512 h 6875987"/>
              <a:gd name="connsiteX69" fmla="*/ 11124990 w 12191977"/>
              <a:gd name="connsiteY69" fmla="*/ 6520405 h 6875987"/>
              <a:gd name="connsiteX70" fmla="*/ 11158457 w 12191977"/>
              <a:gd name="connsiteY70" fmla="*/ 6520405 h 6875987"/>
              <a:gd name="connsiteX71" fmla="*/ 11172800 w 12191977"/>
              <a:gd name="connsiteY71" fmla="*/ 6503974 h 6875987"/>
              <a:gd name="connsiteX72" fmla="*/ 11055325 w 12191977"/>
              <a:gd name="connsiteY72" fmla="*/ 6503974 h 6875987"/>
              <a:gd name="connsiteX73" fmla="*/ 11576733 w 12191977"/>
              <a:gd name="connsiteY73" fmla="*/ 6503124 h 6875987"/>
              <a:gd name="connsiteX74" fmla="*/ 11539165 w 12191977"/>
              <a:gd name="connsiteY74" fmla="*/ 6516902 h 6875987"/>
              <a:gd name="connsiteX75" fmla="*/ 11533004 w 12191977"/>
              <a:gd name="connsiteY75" fmla="*/ 6593782 h 6875987"/>
              <a:gd name="connsiteX76" fmla="*/ 11548065 w 12191977"/>
              <a:gd name="connsiteY76" fmla="*/ 6608750 h 6875987"/>
              <a:gd name="connsiteX77" fmla="*/ 11570657 w 12191977"/>
              <a:gd name="connsiteY77" fmla="*/ 6613512 h 6875987"/>
              <a:gd name="connsiteX78" fmla="*/ 11628165 w 12191977"/>
              <a:gd name="connsiteY78" fmla="*/ 6613512 h 6875987"/>
              <a:gd name="connsiteX79" fmla="*/ 11628165 w 12191977"/>
              <a:gd name="connsiteY79" fmla="*/ 6597864 h 6875987"/>
              <a:gd name="connsiteX80" fmla="*/ 11574765 w 12191977"/>
              <a:gd name="connsiteY80" fmla="*/ 6597864 h 6875987"/>
              <a:gd name="connsiteX81" fmla="*/ 11552858 w 12191977"/>
              <a:gd name="connsiteY81" fmla="*/ 6572010 h 6875987"/>
              <a:gd name="connsiteX82" fmla="*/ 11552173 w 12191977"/>
              <a:gd name="connsiteY82" fmla="*/ 6567928 h 6875987"/>
              <a:gd name="connsiteX83" fmla="*/ 11609680 w 12191977"/>
              <a:gd name="connsiteY83" fmla="*/ 6567928 h 6875987"/>
              <a:gd name="connsiteX84" fmla="*/ 11619265 w 12191977"/>
              <a:gd name="connsiteY84" fmla="*/ 6567248 h 6875987"/>
              <a:gd name="connsiteX85" fmla="*/ 11631588 w 12191977"/>
              <a:gd name="connsiteY85" fmla="*/ 6546837 h 6875987"/>
              <a:gd name="connsiteX86" fmla="*/ 11615842 w 12191977"/>
              <a:gd name="connsiteY86" fmla="*/ 6512819 h 6875987"/>
              <a:gd name="connsiteX87" fmla="*/ 11576733 w 12191977"/>
              <a:gd name="connsiteY87" fmla="*/ 6503124 h 6875987"/>
              <a:gd name="connsiteX88" fmla="*/ 11215923 w 12191977"/>
              <a:gd name="connsiteY88" fmla="*/ 6503124 h 6875987"/>
              <a:gd name="connsiteX89" fmla="*/ 11177463 w 12191977"/>
              <a:gd name="connsiteY89" fmla="*/ 6516902 h 6875987"/>
              <a:gd name="connsiteX90" fmla="*/ 11171213 w 12191977"/>
              <a:gd name="connsiteY90" fmla="*/ 6593782 h 6875987"/>
              <a:gd name="connsiteX91" fmla="*/ 11187187 w 12191977"/>
              <a:gd name="connsiteY91" fmla="*/ 6608750 h 6875987"/>
              <a:gd name="connsiteX92" fmla="*/ 11209412 w 12191977"/>
              <a:gd name="connsiteY92" fmla="*/ 6613512 h 6875987"/>
              <a:gd name="connsiteX93" fmla="*/ 11267752 w 12191977"/>
              <a:gd name="connsiteY93" fmla="*/ 6613512 h 6875987"/>
              <a:gd name="connsiteX94" fmla="*/ 11267752 w 12191977"/>
              <a:gd name="connsiteY94" fmla="*/ 6597864 h 6875987"/>
              <a:gd name="connsiteX95" fmla="*/ 11213579 w 12191977"/>
              <a:gd name="connsiteY95" fmla="*/ 6597864 h 6875987"/>
              <a:gd name="connsiteX96" fmla="*/ 11191354 w 12191977"/>
              <a:gd name="connsiteY96" fmla="*/ 6572010 h 6875987"/>
              <a:gd name="connsiteX97" fmla="*/ 11191354 w 12191977"/>
              <a:gd name="connsiteY97" fmla="*/ 6567928 h 6875987"/>
              <a:gd name="connsiteX98" fmla="*/ 11249695 w 12191977"/>
              <a:gd name="connsiteY98" fmla="*/ 6567928 h 6875987"/>
              <a:gd name="connsiteX99" fmla="*/ 11258723 w 12191977"/>
              <a:gd name="connsiteY99" fmla="*/ 6567248 h 6875987"/>
              <a:gd name="connsiteX100" fmla="*/ 11271225 w 12191977"/>
              <a:gd name="connsiteY100" fmla="*/ 6546837 h 6875987"/>
              <a:gd name="connsiteX101" fmla="*/ 11255945 w 12191977"/>
              <a:gd name="connsiteY101" fmla="*/ 6512819 h 6875987"/>
              <a:gd name="connsiteX102" fmla="*/ 11215923 w 12191977"/>
              <a:gd name="connsiteY102" fmla="*/ 6503124 h 6875987"/>
              <a:gd name="connsiteX103" fmla="*/ 10943104 w 12191977"/>
              <a:gd name="connsiteY103" fmla="*/ 6471550 h 6875987"/>
              <a:gd name="connsiteX104" fmla="*/ 10892653 w 12191977"/>
              <a:gd name="connsiteY104" fmla="*/ 6477979 h 6875987"/>
              <a:gd name="connsiteX105" fmla="*/ 10798150 w 12191977"/>
              <a:gd name="connsiteY105" fmla="*/ 6544279 h 6875987"/>
              <a:gd name="connsiteX106" fmla="*/ 10954970 w 12191977"/>
              <a:gd name="connsiteY106" fmla="*/ 6519673 h 6875987"/>
              <a:gd name="connsiteX107" fmla="*/ 10904295 w 12191977"/>
              <a:gd name="connsiteY107" fmla="*/ 6557949 h 6875987"/>
              <a:gd name="connsiteX108" fmla="*/ 11039886 w 12191977"/>
              <a:gd name="connsiteY108" fmla="*/ 6557949 h 6875987"/>
              <a:gd name="connsiteX109" fmla="*/ 11039886 w 12191977"/>
              <a:gd name="connsiteY109" fmla="*/ 6527875 h 6875987"/>
              <a:gd name="connsiteX110" fmla="*/ 10943104 w 12191977"/>
              <a:gd name="connsiteY110" fmla="*/ 6471550 h 6875987"/>
              <a:gd name="connsiteX111" fmla="*/ 0 w 12191977"/>
              <a:gd name="connsiteY111" fmla="*/ 6277493 h 6875987"/>
              <a:gd name="connsiteX112" fmla="*/ 297394 w 12191977"/>
              <a:gd name="connsiteY112" fmla="*/ 6277493 h 6875987"/>
              <a:gd name="connsiteX113" fmla="*/ 297394 w 12191977"/>
              <a:gd name="connsiteY113" fmla="*/ 6329880 h 6875987"/>
              <a:gd name="connsiteX114" fmla="*/ 405767 w 12191977"/>
              <a:gd name="connsiteY114" fmla="*/ 6329880 h 6875987"/>
              <a:gd name="connsiteX115" fmla="*/ 405767 w 12191977"/>
              <a:gd name="connsiteY115" fmla="*/ 6277493 h 6875987"/>
              <a:gd name="connsiteX116" fmla="*/ 1016013 w 12191977"/>
              <a:gd name="connsiteY116" fmla="*/ 6277493 h 6875987"/>
              <a:gd name="connsiteX117" fmla="*/ 1016013 w 12191977"/>
              <a:gd name="connsiteY117" fmla="*/ 6329880 h 6875987"/>
              <a:gd name="connsiteX118" fmla="*/ 1124387 w 12191977"/>
              <a:gd name="connsiteY118" fmla="*/ 6329880 h 6875987"/>
              <a:gd name="connsiteX119" fmla="*/ 1124387 w 12191977"/>
              <a:gd name="connsiteY119" fmla="*/ 6277493 h 6875987"/>
              <a:gd name="connsiteX120" fmla="*/ 1734633 w 12191977"/>
              <a:gd name="connsiteY120" fmla="*/ 6277493 h 6875987"/>
              <a:gd name="connsiteX121" fmla="*/ 1734633 w 12191977"/>
              <a:gd name="connsiteY121" fmla="*/ 6329880 h 6875987"/>
              <a:gd name="connsiteX122" fmla="*/ 1843005 w 12191977"/>
              <a:gd name="connsiteY122" fmla="*/ 6329880 h 6875987"/>
              <a:gd name="connsiteX123" fmla="*/ 1843005 w 12191977"/>
              <a:gd name="connsiteY123" fmla="*/ 6277493 h 6875987"/>
              <a:gd name="connsiteX124" fmla="*/ 2453253 w 12191977"/>
              <a:gd name="connsiteY124" fmla="*/ 6277493 h 6875987"/>
              <a:gd name="connsiteX125" fmla="*/ 2453253 w 12191977"/>
              <a:gd name="connsiteY125" fmla="*/ 6329880 h 6875987"/>
              <a:gd name="connsiteX126" fmla="*/ 2561625 w 12191977"/>
              <a:gd name="connsiteY126" fmla="*/ 6329880 h 6875987"/>
              <a:gd name="connsiteX127" fmla="*/ 2561625 w 12191977"/>
              <a:gd name="connsiteY127" fmla="*/ 6277493 h 6875987"/>
              <a:gd name="connsiteX128" fmla="*/ 3171872 w 12191977"/>
              <a:gd name="connsiteY128" fmla="*/ 6277493 h 6875987"/>
              <a:gd name="connsiteX129" fmla="*/ 3171872 w 12191977"/>
              <a:gd name="connsiteY129" fmla="*/ 6329880 h 6875987"/>
              <a:gd name="connsiteX130" fmla="*/ 3280246 w 12191977"/>
              <a:gd name="connsiteY130" fmla="*/ 6329880 h 6875987"/>
              <a:gd name="connsiteX131" fmla="*/ 3280246 w 12191977"/>
              <a:gd name="connsiteY131" fmla="*/ 6277493 h 6875987"/>
              <a:gd name="connsiteX132" fmla="*/ 3890491 w 12191977"/>
              <a:gd name="connsiteY132" fmla="*/ 6277493 h 6875987"/>
              <a:gd name="connsiteX133" fmla="*/ 3890491 w 12191977"/>
              <a:gd name="connsiteY133" fmla="*/ 6329880 h 6875987"/>
              <a:gd name="connsiteX134" fmla="*/ 3998863 w 12191977"/>
              <a:gd name="connsiteY134" fmla="*/ 6329880 h 6875987"/>
              <a:gd name="connsiteX135" fmla="*/ 3998863 w 12191977"/>
              <a:gd name="connsiteY135" fmla="*/ 6277493 h 6875987"/>
              <a:gd name="connsiteX136" fmla="*/ 4609108 w 12191977"/>
              <a:gd name="connsiteY136" fmla="*/ 6277493 h 6875987"/>
              <a:gd name="connsiteX137" fmla="*/ 4609108 w 12191977"/>
              <a:gd name="connsiteY137" fmla="*/ 6329880 h 6875987"/>
              <a:gd name="connsiteX138" fmla="*/ 4717481 w 12191977"/>
              <a:gd name="connsiteY138" fmla="*/ 6329880 h 6875987"/>
              <a:gd name="connsiteX139" fmla="*/ 4717481 w 12191977"/>
              <a:gd name="connsiteY139" fmla="*/ 6277493 h 6875987"/>
              <a:gd name="connsiteX140" fmla="*/ 5327727 w 12191977"/>
              <a:gd name="connsiteY140" fmla="*/ 6277493 h 6875987"/>
              <a:gd name="connsiteX141" fmla="*/ 5327727 w 12191977"/>
              <a:gd name="connsiteY141" fmla="*/ 6329880 h 6875987"/>
              <a:gd name="connsiteX142" fmla="*/ 5436099 w 12191977"/>
              <a:gd name="connsiteY142" fmla="*/ 6329880 h 6875987"/>
              <a:gd name="connsiteX143" fmla="*/ 5436099 w 12191977"/>
              <a:gd name="connsiteY143" fmla="*/ 6277493 h 6875987"/>
              <a:gd name="connsiteX144" fmla="*/ 6046344 w 12191977"/>
              <a:gd name="connsiteY144" fmla="*/ 6277493 h 6875987"/>
              <a:gd name="connsiteX145" fmla="*/ 6046344 w 12191977"/>
              <a:gd name="connsiteY145" fmla="*/ 6329880 h 6875987"/>
              <a:gd name="connsiteX146" fmla="*/ 6154716 w 12191977"/>
              <a:gd name="connsiteY146" fmla="*/ 6329880 h 6875987"/>
              <a:gd name="connsiteX147" fmla="*/ 6154716 w 12191977"/>
              <a:gd name="connsiteY147" fmla="*/ 6277493 h 6875987"/>
              <a:gd name="connsiteX148" fmla="*/ 6764962 w 12191977"/>
              <a:gd name="connsiteY148" fmla="*/ 6277493 h 6875987"/>
              <a:gd name="connsiteX149" fmla="*/ 6764962 w 12191977"/>
              <a:gd name="connsiteY149" fmla="*/ 6329880 h 6875987"/>
              <a:gd name="connsiteX150" fmla="*/ 6873335 w 12191977"/>
              <a:gd name="connsiteY150" fmla="*/ 6329880 h 6875987"/>
              <a:gd name="connsiteX151" fmla="*/ 6873335 w 12191977"/>
              <a:gd name="connsiteY151" fmla="*/ 6277493 h 6875987"/>
              <a:gd name="connsiteX152" fmla="*/ 7483581 w 12191977"/>
              <a:gd name="connsiteY152" fmla="*/ 6277493 h 6875987"/>
              <a:gd name="connsiteX153" fmla="*/ 7483581 w 12191977"/>
              <a:gd name="connsiteY153" fmla="*/ 6329880 h 6875987"/>
              <a:gd name="connsiteX154" fmla="*/ 7591954 w 12191977"/>
              <a:gd name="connsiteY154" fmla="*/ 6329880 h 6875987"/>
              <a:gd name="connsiteX155" fmla="*/ 7591954 w 12191977"/>
              <a:gd name="connsiteY155" fmla="*/ 6277493 h 6875987"/>
              <a:gd name="connsiteX156" fmla="*/ 8202200 w 12191977"/>
              <a:gd name="connsiteY156" fmla="*/ 6277493 h 6875987"/>
              <a:gd name="connsiteX157" fmla="*/ 8202200 w 12191977"/>
              <a:gd name="connsiteY157" fmla="*/ 6329880 h 6875987"/>
              <a:gd name="connsiteX158" fmla="*/ 8310573 w 12191977"/>
              <a:gd name="connsiteY158" fmla="*/ 6329880 h 6875987"/>
              <a:gd name="connsiteX159" fmla="*/ 8310573 w 12191977"/>
              <a:gd name="connsiteY159" fmla="*/ 6277493 h 6875987"/>
              <a:gd name="connsiteX160" fmla="*/ 8920819 w 12191977"/>
              <a:gd name="connsiteY160" fmla="*/ 6277493 h 6875987"/>
              <a:gd name="connsiteX161" fmla="*/ 8920819 w 12191977"/>
              <a:gd name="connsiteY161" fmla="*/ 6329880 h 6875987"/>
              <a:gd name="connsiteX162" fmla="*/ 9029192 w 12191977"/>
              <a:gd name="connsiteY162" fmla="*/ 6329880 h 6875987"/>
              <a:gd name="connsiteX163" fmla="*/ 9029192 w 12191977"/>
              <a:gd name="connsiteY163" fmla="*/ 6277493 h 6875987"/>
              <a:gd name="connsiteX164" fmla="*/ 9639438 w 12191977"/>
              <a:gd name="connsiteY164" fmla="*/ 6277493 h 6875987"/>
              <a:gd name="connsiteX165" fmla="*/ 9639438 w 12191977"/>
              <a:gd name="connsiteY165" fmla="*/ 6329880 h 6875987"/>
              <a:gd name="connsiteX166" fmla="*/ 9747811 w 12191977"/>
              <a:gd name="connsiteY166" fmla="*/ 6329880 h 6875987"/>
              <a:gd name="connsiteX167" fmla="*/ 9747811 w 12191977"/>
              <a:gd name="connsiteY167" fmla="*/ 6277493 h 6875987"/>
              <a:gd name="connsiteX168" fmla="*/ 10358057 w 12191977"/>
              <a:gd name="connsiteY168" fmla="*/ 6277493 h 6875987"/>
              <a:gd name="connsiteX169" fmla="*/ 10358057 w 12191977"/>
              <a:gd name="connsiteY169" fmla="*/ 6329880 h 6875987"/>
              <a:gd name="connsiteX170" fmla="*/ 10466430 w 12191977"/>
              <a:gd name="connsiteY170" fmla="*/ 6329880 h 6875987"/>
              <a:gd name="connsiteX171" fmla="*/ 10466430 w 12191977"/>
              <a:gd name="connsiteY171" fmla="*/ 6277493 h 6875987"/>
              <a:gd name="connsiteX172" fmla="*/ 11076676 w 12191977"/>
              <a:gd name="connsiteY172" fmla="*/ 6277493 h 6875987"/>
              <a:gd name="connsiteX173" fmla="*/ 11076676 w 12191977"/>
              <a:gd name="connsiteY173" fmla="*/ 6329880 h 6875987"/>
              <a:gd name="connsiteX174" fmla="*/ 11185049 w 12191977"/>
              <a:gd name="connsiteY174" fmla="*/ 6329880 h 6875987"/>
              <a:gd name="connsiteX175" fmla="*/ 11185049 w 12191977"/>
              <a:gd name="connsiteY175" fmla="*/ 6277493 h 6875987"/>
              <a:gd name="connsiteX176" fmla="*/ 11795302 w 12191977"/>
              <a:gd name="connsiteY176" fmla="*/ 6277493 h 6875987"/>
              <a:gd name="connsiteX177" fmla="*/ 11795302 w 12191977"/>
              <a:gd name="connsiteY177" fmla="*/ 6329880 h 6875987"/>
              <a:gd name="connsiteX178" fmla="*/ 11903675 w 12191977"/>
              <a:gd name="connsiteY178" fmla="*/ 6329880 h 6875987"/>
              <a:gd name="connsiteX179" fmla="*/ 11903675 w 12191977"/>
              <a:gd name="connsiteY179" fmla="*/ 6277493 h 6875987"/>
              <a:gd name="connsiteX180" fmla="*/ 12191977 w 12191977"/>
              <a:gd name="connsiteY180" fmla="*/ 6277493 h 6875987"/>
              <a:gd name="connsiteX181" fmla="*/ 12191977 w 12191977"/>
              <a:gd name="connsiteY181" fmla="*/ 6875987 h 6875987"/>
              <a:gd name="connsiteX182" fmla="*/ 11 w 12191977"/>
              <a:gd name="connsiteY182" fmla="*/ 6875987 h 6875987"/>
              <a:gd name="connsiteX183" fmla="*/ 11 w 12191977"/>
              <a:gd name="connsiteY183" fmla="*/ 6875980 h 6875987"/>
              <a:gd name="connsiteX184" fmla="*/ 0 w 12191977"/>
              <a:gd name="connsiteY184" fmla="*/ 6875980 h 6875987"/>
              <a:gd name="connsiteX185" fmla="*/ 11903675 w 12191977"/>
              <a:gd name="connsiteY185" fmla="*/ 5558158 h 6875987"/>
              <a:gd name="connsiteX186" fmla="*/ 12191977 w 12191977"/>
              <a:gd name="connsiteY186" fmla="*/ 5558158 h 6875987"/>
              <a:gd name="connsiteX187" fmla="*/ 12191977 w 12191977"/>
              <a:gd name="connsiteY187" fmla="*/ 6273893 h 6875987"/>
              <a:gd name="connsiteX188" fmla="*/ 11903675 w 12191977"/>
              <a:gd name="connsiteY188" fmla="*/ 6273893 h 6875987"/>
              <a:gd name="connsiteX189" fmla="*/ 11903675 w 12191977"/>
              <a:gd name="connsiteY189" fmla="*/ 6221507 h 6875987"/>
              <a:gd name="connsiteX190" fmla="*/ 11851288 w 12191977"/>
              <a:gd name="connsiteY190" fmla="*/ 6221507 h 6875987"/>
              <a:gd name="connsiteX191" fmla="*/ 11851288 w 12191977"/>
              <a:gd name="connsiteY191" fmla="*/ 5610545 h 6875987"/>
              <a:gd name="connsiteX192" fmla="*/ 11903675 w 12191977"/>
              <a:gd name="connsiteY192" fmla="*/ 5610545 h 6875987"/>
              <a:gd name="connsiteX193" fmla="*/ 11185049 w 12191977"/>
              <a:gd name="connsiteY193" fmla="*/ 5558158 h 6875987"/>
              <a:gd name="connsiteX194" fmla="*/ 11795302 w 12191977"/>
              <a:gd name="connsiteY194" fmla="*/ 5558158 h 6875987"/>
              <a:gd name="connsiteX195" fmla="*/ 11795302 w 12191977"/>
              <a:gd name="connsiteY195" fmla="*/ 5610545 h 6875987"/>
              <a:gd name="connsiteX196" fmla="*/ 11847688 w 12191977"/>
              <a:gd name="connsiteY196" fmla="*/ 5610545 h 6875987"/>
              <a:gd name="connsiteX197" fmla="*/ 11847688 w 12191977"/>
              <a:gd name="connsiteY197" fmla="*/ 6221507 h 6875987"/>
              <a:gd name="connsiteX198" fmla="*/ 11795302 w 12191977"/>
              <a:gd name="connsiteY198" fmla="*/ 6221507 h 6875987"/>
              <a:gd name="connsiteX199" fmla="*/ 11795302 w 12191977"/>
              <a:gd name="connsiteY199" fmla="*/ 6273893 h 6875987"/>
              <a:gd name="connsiteX200" fmla="*/ 11185049 w 12191977"/>
              <a:gd name="connsiteY200" fmla="*/ 6273893 h 6875987"/>
              <a:gd name="connsiteX201" fmla="*/ 11185049 w 12191977"/>
              <a:gd name="connsiteY201" fmla="*/ 6221507 h 6875987"/>
              <a:gd name="connsiteX202" fmla="*/ 11132662 w 12191977"/>
              <a:gd name="connsiteY202" fmla="*/ 6221507 h 6875987"/>
              <a:gd name="connsiteX203" fmla="*/ 11132662 w 12191977"/>
              <a:gd name="connsiteY203" fmla="*/ 5610545 h 6875987"/>
              <a:gd name="connsiteX204" fmla="*/ 11185049 w 12191977"/>
              <a:gd name="connsiteY204" fmla="*/ 5610545 h 6875987"/>
              <a:gd name="connsiteX205" fmla="*/ 10466430 w 12191977"/>
              <a:gd name="connsiteY205" fmla="*/ 5558158 h 6875987"/>
              <a:gd name="connsiteX206" fmla="*/ 11076676 w 12191977"/>
              <a:gd name="connsiteY206" fmla="*/ 5558158 h 6875987"/>
              <a:gd name="connsiteX207" fmla="*/ 11076676 w 12191977"/>
              <a:gd name="connsiteY207" fmla="*/ 5610545 h 6875987"/>
              <a:gd name="connsiteX208" fmla="*/ 11129062 w 12191977"/>
              <a:gd name="connsiteY208" fmla="*/ 5610545 h 6875987"/>
              <a:gd name="connsiteX209" fmla="*/ 11129062 w 12191977"/>
              <a:gd name="connsiteY209" fmla="*/ 6221507 h 6875987"/>
              <a:gd name="connsiteX210" fmla="*/ 11076676 w 12191977"/>
              <a:gd name="connsiteY210" fmla="*/ 6221507 h 6875987"/>
              <a:gd name="connsiteX211" fmla="*/ 11076676 w 12191977"/>
              <a:gd name="connsiteY211" fmla="*/ 6273893 h 6875987"/>
              <a:gd name="connsiteX212" fmla="*/ 10466430 w 12191977"/>
              <a:gd name="connsiteY212" fmla="*/ 6273893 h 6875987"/>
              <a:gd name="connsiteX213" fmla="*/ 10466430 w 12191977"/>
              <a:gd name="connsiteY213" fmla="*/ 6221507 h 6875987"/>
              <a:gd name="connsiteX214" fmla="*/ 10414043 w 12191977"/>
              <a:gd name="connsiteY214" fmla="*/ 6221507 h 6875987"/>
              <a:gd name="connsiteX215" fmla="*/ 10414043 w 12191977"/>
              <a:gd name="connsiteY215" fmla="*/ 5610545 h 6875987"/>
              <a:gd name="connsiteX216" fmla="*/ 10466430 w 12191977"/>
              <a:gd name="connsiteY216" fmla="*/ 5610545 h 6875987"/>
              <a:gd name="connsiteX217" fmla="*/ 9747811 w 12191977"/>
              <a:gd name="connsiteY217" fmla="*/ 5558158 h 6875987"/>
              <a:gd name="connsiteX218" fmla="*/ 10358057 w 12191977"/>
              <a:gd name="connsiteY218" fmla="*/ 5558158 h 6875987"/>
              <a:gd name="connsiteX219" fmla="*/ 10358057 w 12191977"/>
              <a:gd name="connsiteY219" fmla="*/ 5610545 h 6875987"/>
              <a:gd name="connsiteX220" fmla="*/ 10410443 w 12191977"/>
              <a:gd name="connsiteY220" fmla="*/ 5610545 h 6875987"/>
              <a:gd name="connsiteX221" fmla="*/ 10410443 w 12191977"/>
              <a:gd name="connsiteY221" fmla="*/ 6221507 h 6875987"/>
              <a:gd name="connsiteX222" fmla="*/ 10358057 w 12191977"/>
              <a:gd name="connsiteY222" fmla="*/ 6221507 h 6875987"/>
              <a:gd name="connsiteX223" fmla="*/ 10358057 w 12191977"/>
              <a:gd name="connsiteY223" fmla="*/ 6273893 h 6875987"/>
              <a:gd name="connsiteX224" fmla="*/ 9747811 w 12191977"/>
              <a:gd name="connsiteY224" fmla="*/ 6273893 h 6875987"/>
              <a:gd name="connsiteX225" fmla="*/ 9747811 w 12191977"/>
              <a:gd name="connsiteY225" fmla="*/ 6221507 h 6875987"/>
              <a:gd name="connsiteX226" fmla="*/ 9695424 w 12191977"/>
              <a:gd name="connsiteY226" fmla="*/ 6221507 h 6875987"/>
              <a:gd name="connsiteX227" fmla="*/ 9695424 w 12191977"/>
              <a:gd name="connsiteY227" fmla="*/ 5610545 h 6875987"/>
              <a:gd name="connsiteX228" fmla="*/ 9747811 w 12191977"/>
              <a:gd name="connsiteY228" fmla="*/ 5610545 h 6875987"/>
              <a:gd name="connsiteX229" fmla="*/ 9029192 w 12191977"/>
              <a:gd name="connsiteY229" fmla="*/ 5558158 h 6875987"/>
              <a:gd name="connsiteX230" fmla="*/ 9639438 w 12191977"/>
              <a:gd name="connsiteY230" fmla="*/ 5558158 h 6875987"/>
              <a:gd name="connsiteX231" fmla="*/ 9639438 w 12191977"/>
              <a:gd name="connsiteY231" fmla="*/ 5610545 h 6875987"/>
              <a:gd name="connsiteX232" fmla="*/ 9691824 w 12191977"/>
              <a:gd name="connsiteY232" fmla="*/ 5610545 h 6875987"/>
              <a:gd name="connsiteX233" fmla="*/ 9691824 w 12191977"/>
              <a:gd name="connsiteY233" fmla="*/ 6221507 h 6875987"/>
              <a:gd name="connsiteX234" fmla="*/ 9639438 w 12191977"/>
              <a:gd name="connsiteY234" fmla="*/ 6221507 h 6875987"/>
              <a:gd name="connsiteX235" fmla="*/ 9639438 w 12191977"/>
              <a:gd name="connsiteY235" fmla="*/ 6273893 h 6875987"/>
              <a:gd name="connsiteX236" fmla="*/ 9029192 w 12191977"/>
              <a:gd name="connsiteY236" fmla="*/ 6273893 h 6875987"/>
              <a:gd name="connsiteX237" fmla="*/ 9029192 w 12191977"/>
              <a:gd name="connsiteY237" fmla="*/ 6221507 h 6875987"/>
              <a:gd name="connsiteX238" fmla="*/ 8976805 w 12191977"/>
              <a:gd name="connsiteY238" fmla="*/ 6221507 h 6875987"/>
              <a:gd name="connsiteX239" fmla="*/ 8976805 w 12191977"/>
              <a:gd name="connsiteY239" fmla="*/ 5610545 h 6875987"/>
              <a:gd name="connsiteX240" fmla="*/ 9029192 w 12191977"/>
              <a:gd name="connsiteY240" fmla="*/ 5610545 h 6875987"/>
              <a:gd name="connsiteX241" fmla="*/ 8310573 w 12191977"/>
              <a:gd name="connsiteY241" fmla="*/ 5558158 h 6875987"/>
              <a:gd name="connsiteX242" fmla="*/ 8920819 w 12191977"/>
              <a:gd name="connsiteY242" fmla="*/ 5558158 h 6875987"/>
              <a:gd name="connsiteX243" fmla="*/ 8920819 w 12191977"/>
              <a:gd name="connsiteY243" fmla="*/ 5610545 h 6875987"/>
              <a:gd name="connsiteX244" fmla="*/ 8973205 w 12191977"/>
              <a:gd name="connsiteY244" fmla="*/ 5610545 h 6875987"/>
              <a:gd name="connsiteX245" fmla="*/ 8973205 w 12191977"/>
              <a:gd name="connsiteY245" fmla="*/ 6221507 h 6875987"/>
              <a:gd name="connsiteX246" fmla="*/ 8920819 w 12191977"/>
              <a:gd name="connsiteY246" fmla="*/ 6221507 h 6875987"/>
              <a:gd name="connsiteX247" fmla="*/ 8920819 w 12191977"/>
              <a:gd name="connsiteY247" fmla="*/ 6273893 h 6875987"/>
              <a:gd name="connsiteX248" fmla="*/ 8310573 w 12191977"/>
              <a:gd name="connsiteY248" fmla="*/ 6273893 h 6875987"/>
              <a:gd name="connsiteX249" fmla="*/ 8310573 w 12191977"/>
              <a:gd name="connsiteY249" fmla="*/ 6221507 h 6875987"/>
              <a:gd name="connsiteX250" fmla="*/ 8258187 w 12191977"/>
              <a:gd name="connsiteY250" fmla="*/ 6221507 h 6875987"/>
              <a:gd name="connsiteX251" fmla="*/ 8258187 w 12191977"/>
              <a:gd name="connsiteY251" fmla="*/ 5610545 h 6875987"/>
              <a:gd name="connsiteX252" fmla="*/ 8310573 w 12191977"/>
              <a:gd name="connsiteY252" fmla="*/ 5610545 h 6875987"/>
              <a:gd name="connsiteX253" fmla="*/ 7591954 w 12191977"/>
              <a:gd name="connsiteY253" fmla="*/ 5558158 h 6875987"/>
              <a:gd name="connsiteX254" fmla="*/ 8202200 w 12191977"/>
              <a:gd name="connsiteY254" fmla="*/ 5558158 h 6875987"/>
              <a:gd name="connsiteX255" fmla="*/ 8202200 w 12191977"/>
              <a:gd name="connsiteY255" fmla="*/ 5610545 h 6875987"/>
              <a:gd name="connsiteX256" fmla="*/ 8254587 w 12191977"/>
              <a:gd name="connsiteY256" fmla="*/ 5610545 h 6875987"/>
              <a:gd name="connsiteX257" fmla="*/ 8254587 w 12191977"/>
              <a:gd name="connsiteY257" fmla="*/ 6221507 h 6875987"/>
              <a:gd name="connsiteX258" fmla="*/ 8202200 w 12191977"/>
              <a:gd name="connsiteY258" fmla="*/ 6221507 h 6875987"/>
              <a:gd name="connsiteX259" fmla="*/ 8202200 w 12191977"/>
              <a:gd name="connsiteY259" fmla="*/ 6273893 h 6875987"/>
              <a:gd name="connsiteX260" fmla="*/ 7591954 w 12191977"/>
              <a:gd name="connsiteY260" fmla="*/ 6273893 h 6875987"/>
              <a:gd name="connsiteX261" fmla="*/ 7591954 w 12191977"/>
              <a:gd name="connsiteY261" fmla="*/ 6221507 h 6875987"/>
              <a:gd name="connsiteX262" fmla="*/ 7539568 w 12191977"/>
              <a:gd name="connsiteY262" fmla="*/ 6221507 h 6875987"/>
              <a:gd name="connsiteX263" fmla="*/ 7539568 w 12191977"/>
              <a:gd name="connsiteY263" fmla="*/ 5610545 h 6875987"/>
              <a:gd name="connsiteX264" fmla="*/ 7591954 w 12191977"/>
              <a:gd name="connsiteY264" fmla="*/ 5610545 h 6875987"/>
              <a:gd name="connsiteX265" fmla="*/ 6873335 w 12191977"/>
              <a:gd name="connsiteY265" fmla="*/ 5558158 h 6875987"/>
              <a:gd name="connsiteX266" fmla="*/ 7483581 w 12191977"/>
              <a:gd name="connsiteY266" fmla="*/ 5558158 h 6875987"/>
              <a:gd name="connsiteX267" fmla="*/ 7483581 w 12191977"/>
              <a:gd name="connsiteY267" fmla="*/ 5610545 h 6875987"/>
              <a:gd name="connsiteX268" fmla="*/ 7535968 w 12191977"/>
              <a:gd name="connsiteY268" fmla="*/ 5610545 h 6875987"/>
              <a:gd name="connsiteX269" fmla="*/ 7535968 w 12191977"/>
              <a:gd name="connsiteY269" fmla="*/ 6221507 h 6875987"/>
              <a:gd name="connsiteX270" fmla="*/ 7483581 w 12191977"/>
              <a:gd name="connsiteY270" fmla="*/ 6221507 h 6875987"/>
              <a:gd name="connsiteX271" fmla="*/ 7483581 w 12191977"/>
              <a:gd name="connsiteY271" fmla="*/ 6273893 h 6875987"/>
              <a:gd name="connsiteX272" fmla="*/ 6873335 w 12191977"/>
              <a:gd name="connsiteY272" fmla="*/ 6273893 h 6875987"/>
              <a:gd name="connsiteX273" fmla="*/ 6873335 w 12191977"/>
              <a:gd name="connsiteY273" fmla="*/ 6221507 h 6875987"/>
              <a:gd name="connsiteX274" fmla="*/ 6820949 w 12191977"/>
              <a:gd name="connsiteY274" fmla="*/ 6221507 h 6875987"/>
              <a:gd name="connsiteX275" fmla="*/ 6820949 w 12191977"/>
              <a:gd name="connsiteY275" fmla="*/ 5610545 h 6875987"/>
              <a:gd name="connsiteX276" fmla="*/ 6873335 w 12191977"/>
              <a:gd name="connsiteY276" fmla="*/ 5610545 h 6875987"/>
              <a:gd name="connsiteX277" fmla="*/ 6154716 w 12191977"/>
              <a:gd name="connsiteY277" fmla="*/ 5558158 h 6875987"/>
              <a:gd name="connsiteX278" fmla="*/ 6764962 w 12191977"/>
              <a:gd name="connsiteY278" fmla="*/ 5558158 h 6875987"/>
              <a:gd name="connsiteX279" fmla="*/ 6764962 w 12191977"/>
              <a:gd name="connsiteY279" fmla="*/ 5610545 h 6875987"/>
              <a:gd name="connsiteX280" fmla="*/ 6817349 w 12191977"/>
              <a:gd name="connsiteY280" fmla="*/ 5610545 h 6875987"/>
              <a:gd name="connsiteX281" fmla="*/ 6817349 w 12191977"/>
              <a:gd name="connsiteY281" fmla="*/ 6221507 h 6875987"/>
              <a:gd name="connsiteX282" fmla="*/ 6764962 w 12191977"/>
              <a:gd name="connsiteY282" fmla="*/ 6221507 h 6875987"/>
              <a:gd name="connsiteX283" fmla="*/ 6764962 w 12191977"/>
              <a:gd name="connsiteY283" fmla="*/ 6273893 h 6875987"/>
              <a:gd name="connsiteX284" fmla="*/ 6154716 w 12191977"/>
              <a:gd name="connsiteY284" fmla="*/ 6273893 h 6875987"/>
              <a:gd name="connsiteX285" fmla="*/ 6154716 w 12191977"/>
              <a:gd name="connsiteY285" fmla="*/ 6221507 h 6875987"/>
              <a:gd name="connsiteX286" fmla="*/ 6102330 w 12191977"/>
              <a:gd name="connsiteY286" fmla="*/ 6221507 h 6875987"/>
              <a:gd name="connsiteX287" fmla="*/ 6102330 w 12191977"/>
              <a:gd name="connsiteY287" fmla="*/ 5610545 h 6875987"/>
              <a:gd name="connsiteX288" fmla="*/ 6154716 w 12191977"/>
              <a:gd name="connsiteY288" fmla="*/ 5610545 h 6875987"/>
              <a:gd name="connsiteX289" fmla="*/ 5436101 w 12191977"/>
              <a:gd name="connsiteY289" fmla="*/ 5558158 h 6875987"/>
              <a:gd name="connsiteX290" fmla="*/ 6046344 w 12191977"/>
              <a:gd name="connsiteY290" fmla="*/ 5558158 h 6875987"/>
              <a:gd name="connsiteX291" fmla="*/ 6046344 w 12191977"/>
              <a:gd name="connsiteY291" fmla="*/ 5610545 h 6875987"/>
              <a:gd name="connsiteX292" fmla="*/ 6098730 w 12191977"/>
              <a:gd name="connsiteY292" fmla="*/ 5610545 h 6875987"/>
              <a:gd name="connsiteX293" fmla="*/ 6098730 w 12191977"/>
              <a:gd name="connsiteY293" fmla="*/ 6221507 h 6875987"/>
              <a:gd name="connsiteX294" fmla="*/ 6046344 w 12191977"/>
              <a:gd name="connsiteY294" fmla="*/ 6221507 h 6875987"/>
              <a:gd name="connsiteX295" fmla="*/ 6046344 w 12191977"/>
              <a:gd name="connsiteY295" fmla="*/ 6273893 h 6875987"/>
              <a:gd name="connsiteX296" fmla="*/ 5436099 w 12191977"/>
              <a:gd name="connsiteY296" fmla="*/ 6273893 h 6875987"/>
              <a:gd name="connsiteX297" fmla="*/ 5436099 w 12191977"/>
              <a:gd name="connsiteY297" fmla="*/ 6221507 h 6875987"/>
              <a:gd name="connsiteX298" fmla="*/ 5383726 w 12191977"/>
              <a:gd name="connsiteY298" fmla="*/ 6221507 h 6875987"/>
              <a:gd name="connsiteX299" fmla="*/ 5383726 w 12191977"/>
              <a:gd name="connsiteY299" fmla="*/ 5610545 h 6875987"/>
              <a:gd name="connsiteX300" fmla="*/ 5436101 w 12191977"/>
              <a:gd name="connsiteY300" fmla="*/ 5610545 h 6875987"/>
              <a:gd name="connsiteX301" fmla="*/ 4717481 w 12191977"/>
              <a:gd name="connsiteY301" fmla="*/ 5558158 h 6875987"/>
              <a:gd name="connsiteX302" fmla="*/ 5327729 w 12191977"/>
              <a:gd name="connsiteY302" fmla="*/ 5558158 h 6875987"/>
              <a:gd name="connsiteX303" fmla="*/ 5327729 w 12191977"/>
              <a:gd name="connsiteY303" fmla="*/ 5610545 h 6875987"/>
              <a:gd name="connsiteX304" fmla="*/ 5380126 w 12191977"/>
              <a:gd name="connsiteY304" fmla="*/ 5610545 h 6875987"/>
              <a:gd name="connsiteX305" fmla="*/ 5380126 w 12191977"/>
              <a:gd name="connsiteY305" fmla="*/ 6221507 h 6875987"/>
              <a:gd name="connsiteX306" fmla="*/ 5327727 w 12191977"/>
              <a:gd name="connsiteY306" fmla="*/ 6221507 h 6875987"/>
              <a:gd name="connsiteX307" fmla="*/ 5327727 w 12191977"/>
              <a:gd name="connsiteY307" fmla="*/ 6273893 h 6875987"/>
              <a:gd name="connsiteX308" fmla="*/ 4717481 w 12191977"/>
              <a:gd name="connsiteY308" fmla="*/ 6273893 h 6875987"/>
              <a:gd name="connsiteX309" fmla="*/ 4717481 w 12191977"/>
              <a:gd name="connsiteY309" fmla="*/ 6221507 h 6875987"/>
              <a:gd name="connsiteX310" fmla="*/ 4665104 w 12191977"/>
              <a:gd name="connsiteY310" fmla="*/ 6221507 h 6875987"/>
              <a:gd name="connsiteX311" fmla="*/ 4665104 w 12191977"/>
              <a:gd name="connsiteY311" fmla="*/ 5610545 h 6875987"/>
              <a:gd name="connsiteX312" fmla="*/ 4717481 w 12191977"/>
              <a:gd name="connsiteY312" fmla="*/ 5610545 h 6875987"/>
              <a:gd name="connsiteX313" fmla="*/ 3998867 w 12191977"/>
              <a:gd name="connsiteY313" fmla="*/ 5558158 h 6875987"/>
              <a:gd name="connsiteX314" fmla="*/ 4609108 w 12191977"/>
              <a:gd name="connsiteY314" fmla="*/ 5558158 h 6875987"/>
              <a:gd name="connsiteX315" fmla="*/ 4609108 w 12191977"/>
              <a:gd name="connsiteY315" fmla="*/ 5610545 h 6875987"/>
              <a:gd name="connsiteX316" fmla="*/ 4661503 w 12191977"/>
              <a:gd name="connsiteY316" fmla="*/ 5610545 h 6875987"/>
              <a:gd name="connsiteX317" fmla="*/ 4661503 w 12191977"/>
              <a:gd name="connsiteY317" fmla="*/ 6221507 h 6875987"/>
              <a:gd name="connsiteX318" fmla="*/ 4609108 w 12191977"/>
              <a:gd name="connsiteY318" fmla="*/ 6221507 h 6875987"/>
              <a:gd name="connsiteX319" fmla="*/ 4609108 w 12191977"/>
              <a:gd name="connsiteY319" fmla="*/ 6273893 h 6875987"/>
              <a:gd name="connsiteX320" fmla="*/ 3998863 w 12191977"/>
              <a:gd name="connsiteY320" fmla="*/ 6273893 h 6875987"/>
              <a:gd name="connsiteX321" fmla="*/ 3998863 w 12191977"/>
              <a:gd name="connsiteY321" fmla="*/ 6221507 h 6875987"/>
              <a:gd name="connsiteX322" fmla="*/ 3946494 w 12191977"/>
              <a:gd name="connsiteY322" fmla="*/ 6221507 h 6875987"/>
              <a:gd name="connsiteX323" fmla="*/ 3946494 w 12191977"/>
              <a:gd name="connsiteY323" fmla="*/ 5610545 h 6875987"/>
              <a:gd name="connsiteX324" fmla="*/ 3998867 w 12191977"/>
              <a:gd name="connsiteY324" fmla="*/ 5610545 h 6875987"/>
              <a:gd name="connsiteX325" fmla="*/ 3280248 w 12191977"/>
              <a:gd name="connsiteY325" fmla="*/ 5558158 h 6875987"/>
              <a:gd name="connsiteX326" fmla="*/ 3890493 w 12191977"/>
              <a:gd name="connsiteY326" fmla="*/ 5558158 h 6875987"/>
              <a:gd name="connsiteX327" fmla="*/ 3890493 w 12191977"/>
              <a:gd name="connsiteY327" fmla="*/ 5610545 h 6875987"/>
              <a:gd name="connsiteX328" fmla="*/ 3942897 w 12191977"/>
              <a:gd name="connsiteY328" fmla="*/ 5610545 h 6875987"/>
              <a:gd name="connsiteX329" fmla="*/ 3942897 w 12191977"/>
              <a:gd name="connsiteY329" fmla="*/ 6221507 h 6875987"/>
              <a:gd name="connsiteX330" fmla="*/ 3890491 w 12191977"/>
              <a:gd name="connsiteY330" fmla="*/ 6221507 h 6875987"/>
              <a:gd name="connsiteX331" fmla="*/ 3890491 w 12191977"/>
              <a:gd name="connsiteY331" fmla="*/ 6273893 h 6875987"/>
              <a:gd name="connsiteX332" fmla="*/ 3280246 w 12191977"/>
              <a:gd name="connsiteY332" fmla="*/ 6273893 h 6875987"/>
              <a:gd name="connsiteX333" fmla="*/ 3280246 w 12191977"/>
              <a:gd name="connsiteY333" fmla="*/ 6221507 h 6875987"/>
              <a:gd name="connsiteX334" fmla="*/ 3227879 w 12191977"/>
              <a:gd name="connsiteY334" fmla="*/ 6221507 h 6875987"/>
              <a:gd name="connsiteX335" fmla="*/ 3227879 w 12191977"/>
              <a:gd name="connsiteY335" fmla="*/ 5610545 h 6875987"/>
              <a:gd name="connsiteX336" fmla="*/ 3280248 w 12191977"/>
              <a:gd name="connsiteY336" fmla="*/ 5610545 h 6875987"/>
              <a:gd name="connsiteX337" fmla="*/ 2561628 w 12191977"/>
              <a:gd name="connsiteY337" fmla="*/ 5558158 h 6875987"/>
              <a:gd name="connsiteX338" fmla="*/ 3171876 w 12191977"/>
              <a:gd name="connsiteY338" fmla="*/ 5558158 h 6875987"/>
              <a:gd name="connsiteX339" fmla="*/ 3171876 w 12191977"/>
              <a:gd name="connsiteY339" fmla="*/ 5610545 h 6875987"/>
              <a:gd name="connsiteX340" fmla="*/ 3224280 w 12191977"/>
              <a:gd name="connsiteY340" fmla="*/ 5610545 h 6875987"/>
              <a:gd name="connsiteX341" fmla="*/ 3224280 w 12191977"/>
              <a:gd name="connsiteY341" fmla="*/ 6221507 h 6875987"/>
              <a:gd name="connsiteX342" fmla="*/ 3171872 w 12191977"/>
              <a:gd name="connsiteY342" fmla="*/ 6221507 h 6875987"/>
              <a:gd name="connsiteX343" fmla="*/ 3171872 w 12191977"/>
              <a:gd name="connsiteY343" fmla="*/ 6273893 h 6875987"/>
              <a:gd name="connsiteX344" fmla="*/ 2561625 w 12191977"/>
              <a:gd name="connsiteY344" fmla="*/ 6273893 h 6875987"/>
              <a:gd name="connsiteX345" fmla="*/ 2561625 w 12191977"/>
              <a:gd name="connsiteY345" fmla="*/ 6221507 h 6875987"/>
              <a:gd name="connsiteX346" fmla="*/ 2509260 w 12191977"/>
              <a:gd name="connsiteY346" fmla="*/ 6221507 h 6875987"/>
              <a:gd name="connsiteX347" fmla="*/ 2509260 w 12191977"/>
              <a:gd name="connsiteY347" fmla="*/ 5610545 h 6875987"/>
              <a:gd name="connsiteX348" fmla="*/ 2561628 w 12191977"/>
              <a:gd name="connsiteY348" fmla="*/ 5610545 h 6875987"/>
              <a:gd name="connsiteX349" fmla="*/ 1843007 w 12191977"/>
              <a:gd name="connsiteY349" fmla="*/ 5558158 h 6875987"/>
              <a:gd name="connsiteX350" fmla="*/ 2453255 w 12191977"/>
              <a:gd name="connsiteY350" fmla="*/ 5558158 h 6875987"/>
              <a:gd name="connsiteX351" fmla="*/ 2453255 w 12191977"/>
              <a:gd name="connsiteY351" fmla="*/ 5610545 h 6875987"/>
              <a:gd name="connsiteX352" fmla="*/ 2505660 w 12191977"/>
              <a:gd name="connsiteY352" fmla="*/ 5610545 h 6875987"/>
              <a:gd name="connsiteX353" fmla="*/ 2505660 w 12191977"/>
              <a:gd name="connsiteY353" fmla="*/ 6221507 h 6875987"/>
              <a:gd name="connsiteX354" fmla="*/ 2453253 w 12191977"/>
              <a:gd name="connsiteY354" fmla="*/ 6221507 h 6875987"/>
              <a:gd name="connsiteX355" fmla="*/ 2453253 w 12191977"/>
              <a:gd name="connsiteY355" fmla="*/ 6273893 h 6875987"/>
              <a:gd name="connsiteX356" fmla="*/ 1843005 w 12191977"/>
              <a:gd name="connsiteY356" fmla="*/ 6273893 h 6875987"/>
              <a:gd name="connsiteX357" fmla="*/ 1843005 w 12191977"/>
              <a:gd name="connsiteY357" fmla="*/ 6221507 h 6875987"/>
              <a:gd name="connsiteX358" fmla="*/ 1790634 w 12191977"/>
              <a:gd name="connsiteY358" fmla="*/ 6221507 h 6875987"/>
              <a:gd name="connsiteX359" fmla="*/ 1790634 w 12191977"/>
              <a:gd name="connsiteY359" fmla="*/ 5610545 h 6875987"/>
              <a:gd name="connsiteX360" fmla="*/ 1843007 w 12191977"/>
              <a:gd name="connsiteY360" fmla="*/ 5610545 h 6875987"/>
              <a:gd name="connsiteX361" fmla="*/ 1124389 w 12191977"/>
              <a:gd name="connsiteY361" fmla="*/ 5558158 h 6875987"/>
              <a:gd name="connsiteX362" fmla="*/ 1734635 w 12191977"/>
              <a:gd name="connsiteY362" fmla="*/ 5558158 h 6875987"/>
              <a:gd name="connsiteX363" fmla="*/ 1734635 w 12191977"/>
              <a:gd name="connsiteY363" fmla="*/ 5610545 h 6875987"/>
              <a:gd name="connsiteX364" fmla="*/ 1787035 w 12191977"/>
              <a:gd name="connsiteY364" fmla="*/ 5610545 h 6875987"/>
              <a:gd name="connsiteX365" fmla="*/ 1787035 w 12191977"/>
              <a:gd name="connsiteY365" fmla="*/ 6221507 h 6875987"/>
              <a:gd name="connsiteX366" fmla="*/ 1734633 w 12191977"/>
              <a:gd name="connsiteY366" fmla="*/ 6221507 h 6875987"/>
              <a:gd name="connsiteX367" fmla="*/ 1734633 w 12191977"/>
              <a:gd name="connsiteY367" fmla="*/ 6273893 h 6875987"/>
              <a:gd name="connsiteX368" fmla="*/ 1124387 w 12191977"/>
              <a:gd name="connsiteY368" fmla="*/ 6273893 h 6875987"/>
              <a:gd name="connsiteX369" fmla="*/ 1124387 w 12191977"/>
              <a:gd name="connsiteY369" fmla="*/ 6221507 h 6875987"/>
              <a:gd name="connsiteX370" fmla="*/ 1072016 w 12191977"/>
              <a:gd name="connsiteY370" fmla="*/ 6221507 h 6875987"/>
              <a:gd name="connsiteX371" fmla="*/ 1072016 w 12191977"/>
              <a:gd name="connsiteY371" fmla="*/ 5610545 h 6875987"/>
              <a:gd name="connsiteX372" fmla="*/ 1124389 w 12191977"/>
              <a:gd name="connsiteY372" fmla="*/ 5610545 h 6875987"/>
              <a:gd name="connsiteX373" fmla="*/ 405770 w 12191977"/>
              <a:gd name="connsiteY373" fmla="*/ 5558158 h 6875987"/>
              <a:gd name="connsiteX374" fmla="*/ 1016016 w 12191977"/>
              <a:gd name="connsiteY374" fmla="*/ 5558158 h 6875987"/>
              <a:gd name="connsiteX375" fmla="*/ 1016016 w 12191977"/>
              <a:gd name="connsiteY375" fmla="*/ 5610545 h 6875987"/>
              <a:gd name="connsiteX376" fmla="*/ 1068417 w 12191977"/>
              <a:gd name="connsiteY376" fmla="*/ 5610545 h 6875987"/>
              <a:gd name="connsiteX377" fmla="*/ 1068417 w 12191977"/>
              <a:gd name="connsiteY377" fmla="*/ 6221507 h 6875987"/>
              <a:gd name="connsiteX378" fmla="*/ 1016013 w 12191977"/>
              <a:gd name="connsiteY378" fmla="*/ 6221507 h 6875987"/>
              <a:gd name="connsiteX379" fmla="*/ 1016013 w 12191977"/>
              <a:gd name="connsiteY379" fmla="*/ 6273893 h 6875987"/>
              <a:gd name="connsiteX380" fmla="*/ 405767 w 12191977"/>
              <a:gd name="connsiteY380" fmla="*/ 6273893 h 6875987"/>
              <a:gd name="connsiteX381" fmla="*/ 405767 w 12191977"/>
              <a:gd name="connsiteY381" fmla="*/ 6221507 h 6875987"/>
              <a:gd name="connsiteX382" fmla="*/ 353399 w 12191977"/>
              <a:gd name="connsiteY382" fmla="*/ 6221507 h 6875987"/>
              <a:gd name="connsiteX383" fmla="*/ 353399 w 12191977"/>
              <a:gd name="connsiteY383" fmla="*/ 5610545 h 6875987"/>
              <a:gd name="connsiteX384" fmla="*/ 405770 w 12191977"/>
              <a:gd name="connsiteY384" fmla="*/ 5610545 h 6875987"/>
              <a:gd name="connsiteX385" fmla="*/ 0 w 12191977"/>
              <a:gd name="connsiteY385" fmla="*/ 5558158 h 6875987"/>
              <a:gd name="connsiteX386" fmla="*/ 297397 w 12191977"/>
              <a:gd name="connsiteY386" fmla="*/ 5558158 h 6875987"/>
              <a:gd name="connsiteX387" fmla="*/ 297397 w 12191977"/>
              <a:gd name="connsiteY387" fmla="*/ 5610545 h 6875987"/>
              <a:gd name="connsiteX388" fmla="*/ 349799 w 12191977"/>
              <a:gd name="connsiteY388" fmla="*/ 5610545 h 6875987"/>
              <a:gd name="connsiteX389" fmla="*/ 349799 w 12191977"/>
              <a:gd name="connsiteY389" fmla="*/ 6221507 h 6875987"/>
              <a:gd name="connsiteX390" fmla="*/ 297394 w 12191977"/>
              <a:gd name="connsiteY390" fmla="*/ 6221507 h 6875987"/>
              <a:gd name="connsiteX391" fmla="*/ 297394 w 12191977"/>
              <a:gd name="connsiteY391" fmla="*/ 6273893 h 6875987"/>
              <a:gd name="connsiteX392" fmla="*/ 0 w 12191977"/>
              <a:gd name="connsiteY392" fmla="*/ 6273893 h 6875987"/>
              <a:gd name="connsiteX393" fmla="*/ 11903675 w 12191977"/>
              <a:gd name="connsiteY393" fmla="*/ 4838820 h 6875987"/>
              <a:gd name="connsiteX394" fmla="*/ 12191977 w 12191977"/>
              <a:gd name="connsiteY394" fmla="*/ 4838820 h 6875987"/>
              <a:gd name="connsiteX395" fmla="*/ 12191977 w 12191977"/>
              <a:gd name="connsiteY395" fmla="*/ 5554558 h 6875987"/>
              <a:gd name="connsiteX396" fmla="*/ 11903675 w 12191977"/>
              <a:gd name="connsiteY396" fmla="*/ 5554558 h 6875987"/>
              <a:gd name="connsiteX397" fmla="*/ 11903675 w 12191977"/>
              <a:gd name="connsiteY397" fmla="*/ 5502172 h 6875987"/>
              <a:gd name="connsiteX398" fmla="*/ 11851288 w 12191977"/>
              <a:gd name="connsiteY398" fmla="*/ 5502172 h 6875987"/>
              <a:gd name="connsiteX399" fmla="*/ 11851288 w 12191977"/>
              <a:gd name="connsiteY399" fmla="*/ 4891207 h 6875987"/>
              <a:gd name="connsiteX400" fmla="*/ 11903675 w 12191977"/>
              <a:gd name="connsiteY400" fmla="*/ 4891207 h 6875987"/>
              <a:gd name="connsiteX401" fmla="*/ 11185049 w 12191977"/>
              <a:gd name="connsiteY401" fmla="*/ 4838820 h 6875987"/>
              <a:gd name="connsiteX402" fmla="*/ 11795302 w 12191977"/>
              <a:gd name="connsiteY402" fmla="*/ 4838820 h 6875987"/>
              <a:gd name="connsiteX403" fmla="*/ 11795302 w 12191977"/>
              <a:gd name="connsiteY403" fmla="*/ 4891207 h 6875987"/>
              <a:gd name="connsiteX404" fmla="*/ 11847688 w 12191977"/>
              <a:gd name="connsiteY404" fmla="*/ 4891207 h 6875987"/>
              <a:gd name="connsiteX405" fmla="*/ 11847688 w 12191977"/>
              <a:gd name="connsiteY405" fmla="*/ 5502172 h 6875987"/>
              <a:gd name="connsiteX406" fmla="*/ 11795302 w 12191977"/>
              <a:gd name="connsiteY406" fmla="*/ 5502172 h 6875987"/>
              <a:gd name="connsiteX407" fmla="*/ 11795302 w 12191977"/>
              <a:gd name="connsiteY407" fmla="*/ 5554558 h 6875987"/>
              <a:gd name="connsiteX408" fmla="*/ 11185049 w 12191977"/>
              <a:gd name="connsiteY408" fmla="*/ 5554558 h 6875987"/>
              <a:gd name="connsiteX409" fmla="*/ 11185049 w 12191977"/>
              <a:gd name="connsiteY409" fmla="*/ 5502172 h 6875987"/>
              <a:gd name="connsiteX410" fmla="*/ 11132662 w 12191977"/>
              <a:gd name="connsiteY410" fmla="*/ 5502172 h 6875987"/>
              <a:gd name="connsiteX411" fmla="*/ 11132662 w 12191977"/>
              <a:gd name="connsiteY411" fmla="*/ 4891207 h 6875987"/>
              <a:gd name="connsiteX412" fmla="*/ 11185049 w 12191977"/>
              <a:gd name="connsiteY412" fmla="*/ 4891207 h 6875987"/>
              <a:gd name="connsiteX413" fmla="*/ 10466430 w 12191977"/>
              <a:gd name="connsiteY413" fmla="*/ 4838820 h 6875987"/>
              <a:gd name="connsiteX414" fmla="*/ 11076676 w 12191977"/>
              <a:gd name="connsiteY414" fmla="*/ 4838820 h 6875987"/>
              <a:gd name="connsiteX415" fmla="*/ 11076676 w 12191977"/>
              <a:gd name="connsiteY415" fmla="*/ 4891207 h 6875987"/>
              <a:gd name="connsiteX416" fmla="*/ 11129062 w 12191977"/>
              <a:gd name="connsiteY416" fmla="*/ 4891207 h 6875987"/>
              <a:gd name="connsiteX417" fmla="*/ 11129062 w 12191977"/>
              <a:gd name="connsiteY417" fmla="*/ 5502172 h 6875987"/>
              <a:gd name="connsiteX418" fmla="*/ 11076676 w 12191977"/>
              <a:gd name="connsiteY418" fmla="*/ 5502172 h 6875987"/>
              <a:gd name="connsiteX419" fmla="*/ 11076676 w 12191977"/>
              <a:gd name="connsiteY419" fmla="*/ 5554558 h 6875987"/>
              <a:gd name="connsiteX420" fmla="*/ 10466430 w 12191977"/>
              <a:gd name="connsiteY420" fmla="*/ 5554558 h 6875987"/>
              <a:gd name="connsiteX421" fmla="*/ 10466430 w 12191977"/>
              <a:gd name="connsiteY421" fmla="*/ 5502172 h 6875987"/>
              <a:gd name="connsiteX422" fmla="*/ 10414043 w 12191977"/>
              <a:gd name="connsiteY422" fmla="*/ 5502172 h 6875987"/>
              <a:gd name="connsiteX423" fmla="*/ 10414043 w 12191977"/>
              <a:gd name="connsiteY423" fmla="*/ 4891207 h 6875987"/>
              <a:gd name="connsiteX424" fmla="*/ 10466430 w 12191977"/>
              <a:gd name="connsiteY424" fmla="*/ 4891207 h 6875987"/>
              <a:gd name="connsiteX425" fmla="*/ 9747811 w 12191977"/>
              <a:gd name="connsiteY425" fmla="*/ 4838820 h 6875987"/>
              <a:gd name="connsiteX426" fmla="*/ 10358057 w 12191977"/>
              <a:gd name="connsiteY426" fmla="*/ 4838820 h 6875987"/>
              <a:gd name="connsiteX427" fmla="*/ 10358057 w 12191977"/>
              <a:gd name="connsiteY427" fmla="*/ 4891207 h 6875987"/>
              <a:gd name="connsiteX428" fmla="*/ 10410443 w 12191977"/>
              <a:gd name="connsiteY428" fmla="*/ 4891207 h 6875987"/>
              <a:gd name="connsiteX429" fmla="*/ 10410443 w 12191977"/>
              <a:gd name="connsiteY429" fmla="*/ 5502172 h 6875987"/>
              <a:gd name="connsiteX430" fmla="*/ 10358057 w 12191977"/>
              <a:gd name="connsiteY430" fmla="*/ 5502172 h 6875987"/>
              <a:gd name="connsiteX431" fmla="*/ 10358057 w 12191977"/>
              <a:gd name="connsiteY431" fmla="*/ 5554558 h 6875987"/>
              <a:gd name="connsiteX432" fmla="*/ 9747811 w 12191977"/>
              <a:gd name="connsiteY432" fmla="*/ 5554558 h 6875987"/>
              <a:gd name="connsiteX433" fmla="*/ 9747811 w 12191977"/>
              <a:gd name="connsiteY433" fmla="*/ 5502172 h 6875987"/>
              <a:gd name="connsiteX434" fmla="*/ 9695424 w 12191977"/>
              <a:gd name="connsiteY434" fmla="*/ 5502172 h 6875987"/>
              <a:gd name="connsiteX435" fmla="*/ 9695424 w 12191977"/>
              <a:gd name="connsiteY435" fmla="*/ 4891207 h 6875987"/>
              <a:gd name="connsiteX436" fmla="*/ 9747811 w 12191977"/>
              <a:gd name="connsiteY436" fmla="*/ 4891207 h 6875987"/>
              <a:gd name="connsiteX437" fmla="*/ 9029192 w 12191977"/>
              <a:gd name="connsiteY437" fmla="*/ 4838820 h 6875987"/>
              <a:gd name="connsiteX438" fmla="*/ 9639438 w 12191977"/>
              <a:gd name="connsiteY438" fmla="*/ 4838820 h 6875987"/>
              <a:gd name="connsiteX439" fmla="*/ 9639438 w 12191977"/>
              <a:gd name="connsiteY439" fmla="*/ 4891207 h 6875987"/>
              <a:gd name="connsiteX440" fmla="*/ 9691824 w 12191977"/>
              <a:gd name="connsiteY440" fmla="*/ 4891207 h 6875987"/>
              <a:gd name="connsiteX441" fmla="*/ 9691824 w 12191977"/>
              <a:gd name="connsiteY441" fmla="*/ 5502172 h 6875987"/>
              <a:gd name="connsiteX442" fmla="*/ 9639438 w 12191977"/>
              <a:gd name="connsiteY442" fmla="*/ 5502172 h 6875987"/>
              <a:gd name="connsiteX443" fmla="*/ 9639438 w 12191977"/>
              <a:gd name="connsiteY443" fmla="*/ 5554558 h 6875987"/>
              <a:gd name="connsiteX444" fmla="*/ 9029192 w 12191977"/>
              <a:gd name="connsiteY444" fmla="*/ 5554558 h 6875987"/>
              <a:gd name="connsiteX445" fmla="*/ 9029192 w 12191977"/>
              <a:gd name="connsiteY445" fmla="*/ 5502172 h 6875987"/>
              <a:gd name="connsiteX446" fmla="*/ 8976805 w 12191977"/>
              <a:gd name="connsiteY446" fmla="*/ 5502172 h 6875987"/>
              <a:gd name="connsiteX447" fmla="*/ 8976805 w 12191977"/>
              <a:gd name="connsiteY447" fmla="*/ 4891207 h 6875987"/>
              <a:gd name="connsiteX448" fmla="*/ 9029192 w 12191977"/>
              <a:gd name="connsiteY448" fmla="*/ 4891207 h 6875987"/>
              <a:gd name="connsiteX449" fmla="*/ 8310573 w 12191977"/>
              <a:gd name="connsiteY449" fmla="*/ 4838820 h 6875987"/>
              <a:gd name="connsiteX450" fmla="*/ 8920819 w 12191977"/>
              <a:gd name="connsiteY450" fmla="*/ 4838820 h 6875987"/>
              <a:gd name="connsiteX451" fmla="*/ 8920819 w 12191977"/>
              <a:gd name="connsiteY451" fmla="*/ 4891207 h 6875987"/>
              <a:gd name="connsiteX452" fmla="*/ 8973205 w 12191977"/>
              <a:gd name="connsiteY452" fmla="*/ 4891207 h 6875987"/>
              <a:gd name="connsiteX453" fmla="*/ 8973205 w 12191977"/>
              <a:gd name="connsiteY453" fmla="*/ 5502172 h 6875987"/>
              <a:gd name="connsiteX454" fmla="*/ 8920819 w 12191977"/>
              <a:gd name="connsiteY454" fmla="*/ 5502172 h 6875987"/>
              <a:gd name="connsiteX455" fmla="*/ 8920819 w 12191977"/>
              <a:gd name="connsiteY455" fmla="*/ 5554558 h 6875987"/>
              <a:gd name="connsiteX456" fmla="*/ 8310573 w 12191977"/>
              <a:gd name="connsiteY456" fmla="*/ 5554558 h 6875987"/>
              <a:gd name="connsiteX457" fmla="*/ 8310573 w 12191977"/>
              <a:gd name="connsiteY457" fmla="*/ 5502172 h 6875987"/>
              <a:gd name="connsiteX458" fmla="*/ 8258187 w 12191977"/>
              <a:gd name="connsiteY458" fmla="*/ 5502172 h 6875987"/>
              <a:gd name="connsiteX459" fmla="*/ 8258187 w 12191977"/>
              <a:gd name="connsiteY459" fmla="*/ 4891207 h 6875987"/>
              <a:gd name="connsiteX460" fmla="*/ 8310573 w 12191977"/>
              <a:gd name="connsiteY460" fmla="*/ 4891207 h 6875987"/>
              <a:gd name="connsiteX461" fmla="*/ 7591954 w 12191977"/>
              <a:gd name="connsiteY461" fmla="*/ 4838820 h 6875987"/>
              <a:gd name="connsiteX462" fmla="*/ 8202200 w 12191977"/>
              <a:gd name="connsiteY462" fmla="*/ 4838820 h 6875987"/>
              <a:gd name="connsiteX463" fmla="*/ 8202200 w 12191977"/>
              <a:gd name="connsiteY463" fmla="*/ 4891207 h 6875987"/>
              <a:gd name="connsiteX464" fmla="*/ 8254587 w 12191977"/>
              <a:gd name="connsiteY464" fmla="*/ 4891207 h 6875987"/>
              <a:gd name="connsiteX465" fmla="*/ 8254587 w 12191977"/>
              <a:gd name="connsiteY465" fmla="*/ 5502172 h 6875987"/>
              <a:gd name="connsiteX466" fmla="*/ 8202200 w 12191977"/>
              <a:gd name="connsiteY466" fmla="*/ 5502172 h 6875987"/>
              <a:gd name="connsiteX467" fmla="*/ 8202200 w 12191977"/>
              <a:gd name="connsiteY467" fmla="*/ 5554558 h 6875987"/>
              <a:gd name="connsiteX468" fmla="*/ 7591954 w 12191977"/>
              <a:gd name="connsiteY468" fmla="*/ 5554558 h 6875987"/>
              <a:gd name="connsiteX469" fmla="*/ 7591954 w 12191977"/>
              <a:gd name="connsiteY469" fmla="*/ 5502172 h 6875987"/>
              <a:gd name="connsiteX470" fmla="*/ 7539568 w 12191977"/>
              <a:gd name="connsiteY470" fmla="*/ 5502172 h 6875987"/>
              <a:gd name="connsiteX471" fmla="*/ 7539568 w 12191977"/>
              <a:gd name="connsiteY471" fmla="*/ 4891207 h 6875987"/>
              <a:gd name="connsiteX472" fmla="*/ 7591954 w 12191977"/>
              <a:gd name="connsiteY472" fmla="*/ 4891207 h 6875987"/>
              <a:gd name="connsiteX473" fmla="*/ 6873335 w 12191977"/>
              <a:gd name="connsiteY473" fmla="*/ 4838820 h 6875987"/>
              <a:gd name="connsiteX474" fmla="*/ 7483581 w 12191977"/>
              <a:gd name="connsiteY474" fmla="*/ 4838820 h 6875987"/>
              <a:gd name="connsiteX475" fmla="*/ 7483581 w 12191977"/>
              <a:gd name="connsiteY475" fmla="*/ 4891207 h 6875987"/>
              <a:gd name="connsiteX476" fmla="*/ 7535968 w 12191977"/>
              <a:gd name="connsiteY476" fmla="*/ 4891207 h 6875987"/>
              <a:gd name="connsiteX477" fmla="*/ 7535968 w 12191977"/>
              <a:gd name="connsiteY477" fmla="*/ 5502172 h 6875987"/>
              <a:gd name="connsiteX478" fmla="*/ 7483581 w 12191977"/>
              <a:gd name="connsiteY478" fmla="*/ 5502172 h 6875987"/>
              <a:gd name="connsiteX479" fmla="*/ 7483581 w 12191977"/>
              <a:gd name="connsiteY479" fmla="*/ 5554558 h 6875987"/>
              <a:gd name="connsiteX480" fmla="*/ 6873335 w 12191977"/>
              <a:gd name="connsiteY480" fmla="*/ 5554558 h 6875987"/>
              <a:gd name="connsiteX481" fmla="*/ 6873335 w 12191977"/>
              <a:gd name="connsiteY481" fmla="*/ 5502172 h 6875987"/>
              <a:gd name="connsiteX482" fmla="*/ 6820949 w 12191977"/>
              <a:gd name="connsiteY482" fmla="*/ 5502172 h 6875987"/>
              <a:gd name="connsiteX483" fmla="*/ 6820949 w 12191977"/>
              <a:gd name="connsiteY483" fmla="*/ 4891207 h 6875987"/>
              <a:gd name="connsiteX484" fmla="*/ 6873335 w 12191977"/>
              <a:gd name="connsiteY484" fmla="*/ 4891207 h 6875987"/>
              <a:gd name="connsiteX485" fmla="*/ 6154716 w 12191977"/>
              <a:gd name="connsiteY485" fmla="*/ 4838820 h 6875987"/>
              <a:gd name="connsiteX486" fmla="*/ 6764962 w 12191977"/>
              <a:gd name="connsiteY486" fmla="*/ 4838820 h 6875987"/>
              <a:gd name="connsiteX487" fmla="*/ 6764962 w 12191977"/>
              <a:gd name="connsiteY487" fmla="*/ 4891207 h 6875987"/>
              <a:gd name="connsiteX488" fmla="*/ 6817349 w 12191977"/>
              <a:gd name="connsiteY488" fmla="*/ 4891207 h 6875987"/>
              <a:gd name="connsiteX489" fmla="*/ 6817349 w 12191977"/>
              <a:gd name="connsiteY489" fmla="*/ 5502172 h 6875987"/>
              <a:gd name="connsiteX490" fmla="*/ 6764962 w 12191977"/>
              <a:gd name="connsiteY490" fmla="*/ 5502172 h 6875987"/>
              <a:gd name="connsiteX491" fmla="*/ 6764962 w 12191977"/>
              <a:gd name="connsiteY491" fmla="*/ 5554558 h 6875987"/>
              <a:gd name="connsiteX492" fmla="*/ 6154716 w 12191977"/>
              <a:gd name="connsiteY492" fmla="*/ 5554558 h 6875987"/>
              <a:gd name="connsiteX493" fmla="*/ 6154716 w 12191977"/>
              <a:gd name="connsiteY493" fmla="*/ 5502172 h 6875987"/>
              <a:gd name="connsiteX494" fmla="*/ 6102330 w 12191977"/>
              <a:gd name="connsiteY494" fmla="*/ 5502172 h 6875987"/>
              <a:gd name="connsiteX495" fmla="*/ 6102330 w 12191977"/>
              <a:gd name="connsiteY495" fmla="*/ 4891207 h 6875987"/>
              <a:gd name="connsiteX496" fmla="*/ 6154716 w 12191977"/>
              <a:gd name="connsiteY496" fmla="*/ 4891207 h 6875987"/>
              <a:gd name="connsiteX497" fmla="*/ 5436103 w 12191977"/>
              <a:gd name="connsiteY497" fmla="*/ 4838820 h 6875987"/>
              <a:gd name="connsiteX498" fmla="*/ 6046344 w 12191977"/>
              <a:gd name="connsiteY498" fmla="*/ 4838820 h 6875987"/>
              <a:gd name="connsiteX499" fmla="*/ 6046344 w 12191977"/>
              <a:gd name="connsiteY499" fmla="*/ 4891207 h 6875987"/>
              <a:gd name="connsiteX500" fmla="*/ 6098730 w 12191977"/>
              <a:gd name="connsiteY500" fmla="*/ 4891207 h 6875987"/>
              <a:gd name="connsiteX501" fmla="*/ 6098730 w 12191977"/>
              <a:gd name="connsiteY501" fmla="*/ 5502172 h 6875987"/>
              <a:gd name="connsiteX502" fmla="*/ 6046344 w 12191977"/>
              <a:gd name="connsiteY502" fmla="*/ 5502172 h 6875987"/>
              <a:gd name="connsiteX503" fmla="*/ 6046344 w 12191977"/>
              <a:gd name="connsiteY503" fmla="*/ 5554558 h 6875987"/>
              <a:gd name="connsiteX504" fmla="*/ 5436101 w 12191977"/>
              <a:gd name="connsiteY504" fmla="*/ 5554558 h 6875987"/>
              <a:gd name="connsiteX505" fmla="*/ 5436101 w 12191977"/>
              <a:gd name="connsiteY505" fmla="*/ 5502172 h 6875987"/>
              <a:gd name="connsiteX506" fmla="*/ 5383726 w 12191977"/>
              <a:gd name="connsiteY506" fmla="*/ 5502172 h 6875987"/>
              <a:gd name="connsiteX507" fmla="*/ 5383726 w 12191977"/>
              <a:gd name="connsiteY507" fmla="*/ 4891207 h 6875987"/>
              <a:gd name="connsiteX508" fmla="*/ 5436103 w 12191977"/>
              <a:gd name="connsiteY508" fmla="*/ 4891207 h 6875987"/>
              <a:gd name="connsiteX509" fmla="*/ 4717481 w 12191977"/>
              <a:gd name="connsiteY509" fmla="*/ 4838820 h 6875987"/>
              <a:gd name="connsiteX510" fmla="*/ 5327731 w 12191977"/>
              <a:gd name="connsiteY510" fmla="*/ 4838820 h 6875987"/>
              <a:gd name="connsiteX511" fmla="*/ 5327731 w 12191977"/>
              <a:gd name="connsiteY511" fmla="*/ 4891207 h 6875987"/>
              <a:gd name="connsiteX512" fmla="*/ 5380126 w 12191977"/>
              <a:gd name="connsiteY512" fmla="*/ 4891207 h 6875987"/>
              <a:gd name="connsiteX513" fmla="*/ 5380126 w 12191977"/>
              <a:gd name="connsiteY513" fmla="*/ 5502172 h 6875987"/>
              <a:gd name="connsiteX514" fmla="*/ 5327729 w 12191977"/>
              <a:gd name="connsiteY514" fmla="*/ 5502172 h 6875987"/>
              <a:gd name="connsiteX515" fmla="*/ 5327729 w 12191977"/>
              <a:gd name="connsiteY515" fmla="*/ 5554558 h 6875987"/>
              <a:gd name="connsiteX516" fmla="*/ 4717481 w 12191977"/>
              <a:gd name="connsiteY516" fmla="*/ 5554558 h 6875987"/>
              <a:gd name="connsiteX517" fmla="*/ 4717481 w 12191977"/>
              <a:gd name="connsiteY517" fmla="*/ 5502172 h 6875987"/>
              <a:gd name="connsiteX518" fmla="*/ 4665104 w 12191977"/>
              <a:gd name="connsiteY518" fmla="*/ 5502172 h 6875987"/>
              <a:gd name="connsiteX519" fmla="*/ 4665104 w 12191977"/>
              <a:gd name="connsiteY519" fmla="*/ 4891207 h 6875987"/>
              <a:gd name="connsiteX520" fmla="*/ 4717481 w 12191977"/>
              <a:gd name="connsiteY520" fmla="*/ 4891207 h 6875987"/>
              <a:gd name="connsiteX521" fmla="*/ 3998869 w 12191977"/>
              <a:gd name="connsiteY521" fmla="*/ 4838820 h 6875987"/>
              <a:gd name="connsiteX522" fmla="*/ 4609110 w 12191977"/>
              <a:gd name="connsiteY522" fmla="*/ 4838820 h 6875987"/>
              <a:gd name="connsiteX523" fmla="*/ 4609110 w 12191977"/>
              <a:gd name="connsiteY523" fmla="*/ 4891207 h 6875987"/>
              <a:gd name="connsiteX524" fmla="*/ 4661503 w 12191977"/>
              <a:gd name="connsiteY524" fmla="*/ 4891207 h 6875987"/>
              <a:gd name="connsiteX525" fmla="*/ 4661503 w 12191977"/>
              <a:gd name="connsiteY525" fmla="*/ 5502172 h 6875987"/>
              <a:gd name="connsiteX526" fmla="*/ 4609108 w 12191977"/>
              <a:gd name="connsiteY526" fmla="*/ 5502172 h 6875987"/>
              <a:gd name="connsiteX527" fmla="*/ 4609108 w 12191977"/>
              <a:gd name="connsiteY527" fmla="*/ 5554558 h 6875987"/>
              <a:gd name="connsiteX528" fmla="*/ 3998867 w 12191977"/>
              <a:gd name="connsiteY528" fmla="*/ 5554558 h 6875987"/>
              <a:gd name="connsiteX529" fmla="*/ 3998867 w 12191977"/>
              <a:gd name="connsiteY529" fmla="*/ 5502172 h 6875987"/>
              <a:gd name="connsiteX530" fmla="*/ 3946494 w 12191977"/>
              <a:gd name="connsiteY530" fmla="*/ 5502172 h 6875987"/>
              <a:gd name="connsiteX531" fmla="*/ 3946494 w 12191977"/>
              <a:gd name="connsiteY531" fmla="*/ 4891207 h 6875987"/>
              <a:gd name="connsiteX532" fmla="*/ 3998869 w 12191977"/>
              <a:gd name="connsiteY532" fmla="*/ 4891207 h 6875987"/>
              <a:gd name="connsiteX533" fmla="*/ 3280252 w 12191977"/>
              <a:gd name="connsiteY533" fmla="*/ 4838820 h 6875987"/>
              <a:gd name="connsiteX534" fmla="*/ 3890495 w 12191977"/>
              <a:gd name="connsiteY534" fmla="*/ 4838820 h 6875987"/>
              <a:gd name="connsiteX535" fmla="*/ 3890495 w 12191977"/>
              <a:gd name="connsiteY535" fmla="*/ 4891207 h 6875987"/>
              <a:gd name="connsiteX536" fmla="*/ 3942897 w 12191977"/>
              <a:gd name="connsiteY536" fmla="*/ 4891207 h 6875987"/>
              <a:gd name="connsiteX537" fmla="*/ 3942897 w 12191977"/>
              <a:gd name="connsiteY537" fmla="*/ 5502172 h 6875987"/>
              <a:gd name="connsiteX538" fmla="*/ 3890493 w 12191977"/>
              <a:gd name="connsiteY538" fmla="*/ 5502172 h 6875987"/>
              <a:gd name="connsiteX539" fmla="*/ 3890493 w 12191977"/>
              <a:gd name="connsiteY539" fmla="*/ 5554558 h 6875987"/>
              <a:gd name="connsiteX540" fmla="*/ 3280248 w 12191977"/>
              <a:gd name="connsiteY540" fmla="*/ 5554558 h 6875987"/>
              <a:gd name="connsiteX541" fmla="*/ 3280248 w 12191977"/>
              <a:gd name="connsiteY541" fmla="*/ 5502172 h 6875987"/>
              <a:gd name="connsiteX542" fmla="*/ 3227879 w 12191977"/>
              <a:gd name="connsiteY542" fmla="*/ 5502172 h 6875987"/>
              <a:gd name="connsiteX543" fmla="*/ 3227879 w 12191977"/>
              <a:gd name="connsiteY543" fmla="*/ 4891207 h 6875987"/>
              <a:gd name="connsiteX544" fmla="*/ 3280252 w 12191977"/>
              <a:gd name="connsiteY544" fmla="*/ 4891207 h 6875987"/>
              <a:gd name="connsiteX545" fmla="*/ 2561632 w 12191977"/>
              <a:gd name="connsiteY545" fmla="*/ 4838820 h 6875987"/>
              <a:gd name="connsiteX546" fmla="*/ 3171878 w 12191977"/>
              <a:gd name="connsiteY546" fmla="*/ 4838820 h 6875987"/>
              <a:gd name="connsiteX547" fmla="*/ 3171878 w 12191977"/>
              <a:gd name="connsiteY547" fmla="*/ 4891207 h 6875987"/>
              <a:gd name="connsiteX548" fmla="*/ 3224280 w 12191977"/>
              <a:gd name="connsiteY548" fmla="*/ 4891207 h 6875987"/>
              <a:gd name="connsiteX549" fmla="*/ 3224280 w 12191977"/>
              <a:gd name="connsiteY549" fmla="*/ 5502172 h 6875987"/>
              <a:gd name="connsiteX550" fmla="*/ 3171876 w 12191977"/>
              <a:gd name="connsiteY550" fmla="*/ 5502172 h 6875987"/>
              <a:gd name="connsiteX551" fmla="*/ 3171876 w 12191977"/>
              <a:gd name="connsiteY551" fmla="*/ 5554558 h 6875987"/>
              <a:gd name="connsiteX552" fmla="*/ 2561628 w 12191977"/>
              <a:gd name="connsiteY552" fmla="*/ 5554558 h 6875987"/>
              <a:gd name="connsiteX553" fmla="*/ 2561628 w 12191977"/>
              <a:gd name="connsiteY553" fmla="*/ 5502172 h 6875987"/>
              <a:gd name="connsiteX554" fmla="*/ 2509260 w 12191977"/>
              <a:gd name="connsiteY554" fmla="*/ 5502172 h 6875987"/>
              <a:gd name="connsiteX555" fmla="*/ 2509260 w 12191977"/>
              <a:gd name="connsiteY555" fmla="*/ 4891207 h 6875987"/>
              <a:gd name="connsiteX556" fmla="*/ 2561632 w 12191977"/>
              <a:gd name="connsiteY556" fmla="*/ 4891207 h 6875987"/>
              <a:gd name="connsiteX557" fmla="*/ 1843011 w 12191977"/>
              <a:gd name="connsiteY557" fmla="*/ 4838820 h 6875987"/>
              <a:gd name="connsiteX558" fmla="*/ 2453259 w 12191977"/>
              <a:gd name="connsiteY558" fmla="*/ 4838820 h 6875987"/>
              <a:gd name="connsiteX559" fmla="*/ 2453259 w 12191977"/>
              <a:gd name="connsiteY559" fmla="*/ 4891207 h 6875987"/>
              <a:gd name="connsiteX560" fmla="*/ 2505660 w 12191977"/>
              <a:gd name="connsiteY560" fmla="*/ 4891207 h 6875987"/>
              <a:gd name="connsiteX561" fmla="*/ 2505660 w 12191977"/>
              <a:gd name="connsiteY561" fmla="*/ 5502172 h 6875987"/>
              <a:gd name="connsiteX562" fmla="*/ 2453255 w 12191977"/>
              <a:gd name="connsiteY562" fmla="*/ 5502172 h 6875987"/>
              <a:gd name="connsiteX563" fmla="*/ 2453255 w 12191977"/>
              <a:gd name="connsiteY563" fmla="*/ 5554558 h 6875987"/>
              <a:gd name="connsiteX564" fmla="*/ 1843007 w 12191977"/>
              <a:gd name="connsiteY564" fmla="*/ 5554558 h 6875987"/>
              <a:gd name="connsiteX565" fmla="*/ 1843007 w 12191977"/>
              <a:gd name="connsiteY565" fmla="*/ 5502172 h 6875987"/>
              <a:gd name="connsiteX566" fmla="*/ 1790634 w 12191977"/>
              <a:gd name="connsiteY566" fmla="*/ 5502172 h 6875987"/>
              <a:gd name="connsiteX567" fmla="*/ 1790634 w 12191977"/>
              <a:gd name="connsiteY567" fmla="*/ 4891207 h 6875987"/>
              <a:gd name="connsiteX568" fmla="*/ 1843011 w 12191977"/>
              <a:gd name="connsiteY568" fmla="*/ 4891207 h 6875987"/>
              <a:gd name="connsiteX569" fmla="*/ 1124392 w 12191977"/>
              <a:gd name="connsiteY569" fmla="*/ 4838820 h 6875987"/>
              <a:gd name="connsiteX570" fmla="*/ 1734637 w 12191977"/>
              <a:gd name="connsiteY570" fmla="*/ 4838820 h 6875987"/>
              <a:gd name="connsiteX571" fmla="*/ 1734637 w 12191977"/>
              <a:gd name="connsiteY571" fmla="*/ 4891207 h 6875987"/>
              <a:gd name="connsiteX572" fmla="*/ 1787035 w 12191977"/>
              <a:gd name="connsiteY572" fmla="*/ 4891207 h 6875987"/>
              <a:gd name="connsiteX573" fmla="*/ 1787035 w 12191977"/>
              <a:gd name="connsiteY573" fmla="*/ 5502172 h 6875987"/>
              <a:gd name="connsiteX574" fmla="*/ 1734635 w 12191977"/>
              <a:gd name="connsiteY574" fmla="*/ 5502172 h 6875987"/>
              <a:gd name="connsiteX575" fmla="*/ 1734635 w 12191977"/>
              <a:gd name="connsiteY575" fmla="*/ 5554558 h 6875987"/>
              <a:gd name="connsiteX576" fmla="*/ 1124389 w 12191977"/>
              <a:gd name="connsiteY576" fmla="*/ 5554558 h 6875987"/>
              <a:gd name="connsiteX577" fmla="*/ 1124389 w 12191977"/>
              <a:gd name="connsiteY577" fmla="*/ 5502172 h 6875987"/>
              <a:gd name="connsiteX578" fmla="*/ 1072016 w 12191977"/>
              <a:gd name="connsiteY578" fmla="*/ 5502172 h 6875987"/>
              <a:gd name="connsiteX579" fmla="*/ 1072016 w 12191977"/>
              <a:gd name="connsiteY579" fmla="*/ 4891207 h 6875987"/>
              <a:gd name="connsiteX580" fmla="*/ 1124392 w 12191977"/>
              <a:gd name="connsiteY580" fmla="*/ 4891207 h 6875987"/>
              <a:gd name="connsiteX581" fmla="*/ 405773 w 12191977"/>
              <a:gd name="connsiteY581" fmla="*/ 4838820 h 6875987"/>
              <a:gd name="connsiteX582" fmla="*/ 1016019 w 12191977"/>
              <a:gd name="connsiteY582" fmla="*/ 4838820 h 6875987"/>
              <a:gd name="connsiteX583" fmla="*/ 1016019 w 12191977"/>
              <a:gd name="connsiteY583" fmla="*/ 4891207 h 6875987"/>
              <a:gd name="connsiteX584" fmla="*/ 1068417 w 12191977"/>
              <a:gd name="connsiteY584" fmla="*/ 4891207 h 6875987"/>
              <a:gd name="connsiteX585" fmla="*/ 1068417 w 12191977"/>
              <a:gd name="connsiteY585" fmla="*/ 5502172 h 6875987"/>
              <a:gd name="connsiteX586" fmla="*/ 1016016 w 12191977"/>
              <a:gd name="connsiteY586" fmla="*/ 5502172 h 6875987"/>
              <a:gd name="connsiteX587" fmla="*/ 1016016 w 12191977"/>
              <a:gd name="connsiteY587" fmla="*/ 5554558 h 6875987"/>
              <a:gd name="connsiteX588" fmla="*/ 405770 w 12191977"/>
              <a:gd name="connsiteY588" fmla="*/ 5554558 h 6875987"/>
              <a:gd name="connsiteX589" fmla="*/ 405770 w 12191977"/>
              <a:gd name="connsiteY589" fmla="*/ 5502172 h 6875987"/>
              <a:gd name="connsiteX590" fmla="*/ 353399 w 12191977"/>
              <a:gd name="connsiteY590" fmla="*/ 5502172 h 6875987"/>
              <a:gd name="connsiteX591" fmla="*/ 353399 w 12191977"/>
              <a:gd name="connsiteY591" fmla="*/ 4891207 h 6875987"/>
              <a:gd name="connsiteX592" fmla="*/ 405773 w 12191977"/>
              <a:gd name="connsiteY592" fmla="*/ 4891207 h 6875987"/>
              <a:gd name="connsiteX593" fmla="*/ 0 w 12191977"/>
              <a:gd name="connsiteY593" fmla="*/ 4838820 h 6875987"/>
              <a:gd name="connsiteX594" fmla="*/ 297400 w 12191977"/>
              <a:gd name="connsiteY594" fmla="*/ 4838820 h 6875987"/>
              <a:gd name="connsiteX595" fmla="*/ 297400 w 12191977"/>
              <a:gd name="connsiteY595" fmla="*/ 4891207 h 6875987"/>
              <a:gd name="connsiteX596" fmla="*/ 349799 w 12191977"/>
              <a:gd name="connsiteY596" fmla="*/ 4891207 h 6875987"/>
              <a:gd name="connsiteX597" fmla="*/ 349799 w 12191977"/>
              <a:gd name="connsiteY597" fmla="*/ 5502172 h 6875987"/>
              <a:gd name="connsiteX598" fmla="*/ 297397 w 12191977"/>
              <a:gd name="connsiteY598" fmla="*/ 5502172 h 6875987"/>
              <a:gd name="connsiteX599" fmla="*/ 297397 w 12191977"/>
              <a:gd name="connsiteY599" fmla="*/ 5554558 h 6875987"/>
              <a:gd name="connsiteX600" fmla="*/ 0 w 12191977"/>
              <a:gd name="connsiteY600" fmla="*/ 5554558 h 6875987"/>
              <a:gd name="connsiteX601" fmla="*/ 11903675 w 12191977"/>
              <a:gd name="connsiteY601" fmla="*/ 4119482 h 6875987"/>
              <a:gd name="connsiteX602" fmla="*/ 12191977 w 12191977"/>
              <a:gd name="connsiteY602" fmla="*/ 4119482 h 6875987"/>
              <a:gd name="connsiteX603" fmla="*/ 12191977 w 12191977"/>
              <a:gd name="connsiteY603" fmla="*/ 4835220 h 6875987"/>
              <a:gd name="connsiteX604" fmla="*/ 11903675 w 12191977"/>
              <a:gd name="connsiteY604" fmla="*/ 4835220 h 6875987"/>
              <a:gd name="connsiteX605" fmla="*/ 11903675 w 12191977"/>
              <a:gd name="connsiteY605" fmla="*/ 4782834 h 6875987"/>
              <a:gd name="connsiteX606" fmla="*/ 11851288 w 12191977"/>
              <a:gd name="connsiteY606" fmla="*/ 4782834 h 6875987"/>
              <a:gd name="connsiteX607" fmla="*/ 11851288 w 12191977"/>
              <a:gd name="connsiteY607" fmla="*/ 4171869 h 6875987"/>
              <a:gd name="connsiteX608" fmla="*/ 11903675 w 12191977"/>
              <a:gd name="connsiteY608" fmla="*/ 4171869 h 6875987"/>
              <a:gd name="connsiteX609" fmla="*/ 11185049 w 12191977"/>
              <a:gd name="connsiteY609" fmla="*/ 4119482 h 6875987"/>
              <a:gd name="connsiteX610" fmla="*/ 11795302 w 12191977"/>
              <a:gd name="connsiteY610" fmla="*/ 4119482 h 6875987"/>
              <a:gd name="connsiteX611" fmla="*/ 11795302 w 12191977"/>
              <a:gd name="connsiteY611" fmla="*/ 4171869 h 6875987"/>
              <a:gd name="connsiteX612" fmla="*/ 11847688 w 12191977"/>
              <a:gd name="connsiteY612" fmla="*/ 4171869 h 6875987"/>
              <a:gd name="connsiteX613" fmla="*/ 11847688 w 12191977"/>
              <a:gd name="connsiteY613" fmla="*/ 4782834 h 6875987"/>
              <a:gd name="connsiteX614" fmla="*/ 11795302 w 12191977"/>
              <a:gd name="connsiteY614" fmla="*/ 4782834 h 6875987"/>
              <a:gd name="connsiteX615" fmla="*/ 11795302 w 12191977"/>
              <a:gd name="connsiteY615" fmla="*/ 4835220 h 6875987"/>
              <a:gd name="connsiteX616" fmla="*/ 11185049 w 12191977"/>
              <a:gd name="connsiteY616" fmla="*/ 4835220 h 6875987"/>
              <a:gd name="connsiteX617" fmla="*/ 11185049 w 12191977"/>
              <a:gd name="connsiteY617" fmla="*/ 4782834 h 6875987"/>
              <a:gd name="connsiteX618" fmla="*/ 11132662 w 12191977"/>
              <a:gd name="connsiteY618" fmla="*/ 4782834 h 6875987"/>
              <a:gd name="connsiteX619" fmla="*/ 11132662 w 12191977"/>
              <a:gd name="connsiteY619" fmla="*/ 4171869 h 6875987"/>
              <a:gd name="connsiteX620" fmla="*/ 11185049 w 12191977"/>
              <a:gd name="connsiteY620" fmla="*/ 4171869 h 6875987"/>
              <a:gd name="connsiteX621" fmla="*/ 10466430 w 12191977"/>
              <a:gd name="connsiteY621" fmla="*/ 4119482 h 6875987"/>
              <a:gd name="connsiteX622" fmla="*/ 11076676 w 12191977"/>
              <a:gd name="connsiteY622" fmla="*/ 4119482 h 6875987"/>
              <a:gd name="connsiteX623" fmla="*/ 11076676 w 12191977"/>
              <a:gd name="connsiteY623" fmla="*/ 4171869 h 6875987"/>
              <a:gd name="connsiteX624" fmla="*/ 11129062 w 12191977"/>
              <a:gd name="connsiteY624" fmla="*/ 4171869 h 6875987"/>
              <a:gd name="connsiteX625" fmla="*/ 11129062 w 12191977"/>
              <a:gd name="connsiteY625" fmla="*/ 4782834 h 6875987"/>
              <a:gd name="connsiteX626" fmla="*/ 11076676 w 12191977"/>
              <a:gd name="connsiteY626" fmla="*/ 4782834 h 6875987"/>
              <a:gd name="connsiteX627" fmla="*/ 11076676 w 12191977"/>
              <a:gd name="connsiteY627" fmla="*/ 4835220 h 6875987"/>
              <a:gd name="connsiteX628" fmla="*/ 10466430 w 12191977"/>
              <a:gd name="connsiteY628" fmla="*/ 4835220 h 6875987"/>
              <a:gd name="connsiteX629" fmla="*/ 10466430 w 12191977"/>
              <a:gd name="connsiteY629" fmla="*/ 4782834 h 6875987"/>
              <a:gd name="connsiteX630" fmla="*/ 10414043 w 12191977"/>
              <a:gd name="connsiteY630" fmla="*/ 4782834 h 6875987"/>
              <a:gd name="connsiteX631" fmla="*/ 10414043 w 12191977"/>
              <a:gd name="connsiteY631" fmla="*/ 4171869 h 6875987"/>
              <a:gd name="connsiteX632" fmla="*/ 10466430 w 12191977"/>
              <a:gd name="connsiteY632" fmla="*/ 4171869 h 6875987"/>
              <a:gd name="connsiteX633" fmla="*/ 9747811 w 12191977"/>
              <a:gd name="connsiteY633" fmla="*/ 4119482 h 6875987"/>
              <a:gd name="connsiteX634" fmla="*/ 10358057 w 12191977"/>
              <a:gd name="connsiteY634" fmla="*/ 4119482 h 6875987"/>
              <a:gd name="connsiteX635" fmla="*/ 10358057 w 12191977"/>
              <a:gd name="connsiteY635" fmla="*/ 4171869 h 6875987"/>
              <a:gd name="connsiteX636" fmla="*/ 10410443 w 12191977"/>
              <a:gd name="connsiteY636" fmla="*/ 4171869 h 6875987"/>
              <a:gd name="connsiteX637" fmla="*/ 10410443 w 12191977"/>
              <a:gd name="connsiteY637" fmla="*/ 4782834 h 6875987"/>
              <a:gd name="connsiteX638" fmla="*/ 10358057 w 12191977"/>
              <a:gd name="connsiteY638" fmla="*/ 4782834 h 6875987"/>
              <a:gd name="connsiteX639" fmla="*/ 10358057 w 12191977"/>
              <a:gd name="connsiteY639" fmla="*/ 4835220 h 6875987"/>
              <a:gd name="connsiteX640" fmla="*/ 9747811 w 12191977"/>
              <a:gd name="connsiteY640" fmla="*/ 4835220 h 6875987"/>
              <a:gd name="connsiteX641" fmla="*/ 9747811 w 12191977"/>
              <a:gd name="connsiteY641" fmla="*/ 4782834 h 6875987"/>
              <a:gd name="connsiteX642" fmla="*/ 9695424 w 12191977"/>
              <a:gd name="connsiteY642" fmla="*/ 4782834 h 6875987"/>
              <a:gd name="connsiteX643" fmla="*/ 9695424 w 12191977"/>
              <a:gd name="connsiteY643" fmla="*/ 4171869 h 6875987"/>
              <a:gd name="connsiteX644" fmla="*/ 9747811 w 12191977"/>
              <a:gd name="connsiteY644" fmla="*/ 4171869 h 6875987"/>
              <a:gd name="connsiteX645" fmla="*/ 9029192 w 12191977"/>
              <a:gd name="connsiteY645" fmla="*/ 4119482 h 6875987"/>
              <a:gd name="connsiteX646" fmla="*/ 9639438 w 12191977"/>
              <a:gd name="connsiteY646" fmla="*/ 4119482 h 6875987"/>
              <a:gd name="connsiteX647" fmla="*/ 9639438 w 12191977"/>
              <a:gd name="connsiteY647" fmla="*/ 4171869 h 6875987"/>
              <a:gd name="connsiteX648" fmla="*/ 9691824 w 12191977"/>
              <a:gd name="connsiteY648" fmla="*/ 4171869 h 6875987"/>
              <a:gd name="connsiteX649" fmla="*/ 9691824 w 12191977"/>
              <a:gd name="connsiteY649" fmla="*/ 4782834 h 6875987"/>
              <a:gd name="connsiteX650" fmla="*/ 9639438 w 12191977"/>
              <a:gd name="connsiteY650" fmla="*/ 4782834 h 6875987"/>
              <a:gd name="connsiteX651" fmla="*/ 9639438 w 12191977"/>
              <a:gd name="connsiteY651" fmla="*/ 4835220 h 6875987"/>
              <a:gd name="connsiteX652" fmla="*/ 9029192 w 12191977"/>
              <a:gd name="connsiteY652" fmla="*/ 4835220 h 6875987"/>
              <a:gd name="connsiteX653" fmla="*/ 9029192 w 12191977"/>
              <a:gd name="connsiteY653" fmla="*/ 4782834 h 6875987"/>
              <a:gd name="connsiteX654" fmla="*/ 8976805 w 12191977"/>
              <a:gd name="connsiteY654" fmla="*/ 4782834 h 6875987"/>
              <a:gd name="connsiteX655" fmla="*/ 8976805 w 12191977"/>
              <a:gd name="connsiteY655" fmla="*/ 4171869 h 6875987"/>
              <a:gd name="connsiteX656" fmla="*/ 9029192 w 12191977"/>
              <a:gd name="connsiteY656" fmla="*/ 4171869 h 6875987"/>
              <a:gd name="connsiteX657" fmla="*/ 8310573 w 12191977"/>
              <a:gd name="connsiteY657" fmla="*/ 4119482 h 6875987"/>
              <a:gd name="connsiteX658" fmla="*/ 8920819 w 12191977"/>
              <a:gd name="connsiteY658" fmla="*/ 4119482 h 6875987"/>
              <a:gd name="connsiteX659" fmla="*/ 8920819 w 12191977"/>
              <a:gd name="connsiteY659" fmla="*/ 4171869 h 6875987"/>
              <a:gd name="connsiteX660" fmla="*/ 8973205 w 12191977"/>
              <a:gd name="connsiteY660" fmla="*/ 4171869 h 6875987"/>
              <a:gd name="connsiteX661" fmla="*/ 8973205 w 12191977"/>
              <a:gd name="connsiteY661" fmla="*/ 4782834 h 6875987"/>
              <a:gd name="connsiteX662" fmla="*/ 8920819 w 12191977"/>
              <a:gd name="connsiteY662" fmla="*/ 4782834 h 6875987"/>
              <a:gd name="connsiteX663" fmla="*/ 8920819 w 12191977"/>
              <a:gd name="connsiteY663" fmla="*/ 4835220 h 6875987"/>
              <a:gd name="connsiteX664" fmla="*/ 8310573 w 12191977"/>
              <a:gd name="connsiteY664" fmla="*/ 4835220 h 6875987"/>
              <a:gd name="connsiteX665" fmla="*/ 8310573 w 12191977"/>
              <a:gd name="connsiteY665" fmla="*/ 4782834 h 6875987"/>
              <a:gd name="connsiteX666" fmla="*/ 8258187 w 12191977"/>
              <a:gd name="connsiteY666" fmla="*/ 4782834 h 6875987"/>
              <a:gd name="connsiteX667" fmla="*/ 8258187 w 12191977"/>
              <a:gd name="connsiteY667" fmla="*/ 4171869 h 6875987"/>
              <a:gd name="connsiteX668" fmla="*/ 8310573 w 12191977"/>
              <a:gd name="connsiteY668" fmla="*/ 4171869 h 6875987"/>
              <a:gd name="connsiteX669" fmla="*/ 7591954 w 12191977"/>
              <a:gd name="connsiteY669" fmla="*/ 4119482 h 6875987"/>
              <a:gd name="connsiteX670" fmla="*/ 8202200 w 12191977"/>
              <a:gd name="connsiteY670" fmla="*/ 4119482 h 6875987"/>
              <a:gd name="connsiteX671" fmla="*/ 8202200 w 12191977"/>
              <a:gd name="connsiteY671" fmla="*/ 4171869 h 6875987"/>
              <a:gd name="connsiteX672" fmla="*/ 8254587 w 12191977"/>
              <a:gd name="connsiteY672" fmla="*/ 4171869 h 6875987"/>
              <a:gd name="connsiteX673" fmla="*/ 8254587 w 12191977"/>
              <a:gd name="connsiteY673" fmla="*/ 4782834 h 6875987"/>
              <a:gd name="connsiteX674" fmla="*/ 8202200 w 12191977"/>
              <a:gd name="connsiteY674" fmla="*/ 4782834 h 6875987"/>
              <a:gd name="connsiteX675" fmla="*/ 8202200 w 12191977"/>
              <a:gd name="connsiteY675" fmla="*/ 4835220 h 6875987"/>
              <a:gd name="connsiteX676" fmla="*/ 7591954 w 12191977"/>
              <a:gd name="connsiteY676" fmla="*/ 4835220 h 6875987"/>
              <a:gd name="connsiteX677" fmla="*/ 7591954 w 12191977"/>
              <a:gd name="connsiteY677" fmla="*/ 4782834 h 6875987"/>
              <a:gd name="connsiteX678" fmla="*/ 7539568 w 12191977"/>
              <a:gd name="connsiteY678" fmla="*/ 4782834 h 6875987"/>
              <a:gd name="connsiteX679" fmla="*/ 7539568 w 12191977"/>
              <a:gd name="connsiteY679" fmla="*/ 4171869 h 6875987"/>
              <a:gd name="connsiteX680" fmla="*/ 7591954 w 12191977"/>
              <a:gd name="connsiteY680" fmla="*/ 4171869 h 6875987"/>
              <a:gd name="connsiteX681" fmla="*/ 6873335 w 12191977"/>
              <a:gd name="connsiteY681" fmla="*/ 4119482 h 6875987"/>
              <a:gd name="connsiteX682" fmla="*/ 7483581 w 12191977"/>
              <a:gd name="connsiteY682" fmla="*/ 4119482 h 6875987"/>
              <a:gd name="connsiteX683" fmla="*/ 7483581 w 12191977"/>
              <a:gd name="connsiteY683" fmla="*/ 4171869 h 6875987"/>
              <a:gd name="connsiteX684" fmla="*/ 7535968 w 12191977"/>
              <a:gd name="connsiteY684" fmla="*/ 4171869 h 6875987"/>
              <a:gd name="connsiteX685" fmla="*/ 7535968 w 12191977"/>
              <a:gd name="connsiteY685" fmla="*/ 4782834 h 6875987"/>
              <a:gd name="connsiteX686" fmla="*/ 7483581 w 12191977"/>
              <a:gd name="connsiteY686" fmla="*/ 4782834 h 6875987"/>
              <a:gd name="connsiteX687" fmla="*/ 7483581 w 12191977"/>
              <a:gd name="connsiteY687" fmla="*/ 4835220 h 6875987"/>
              <a:gd name="connsiteX688" fmla="*/ 6873335 w 12191977"/>
              <a:gd name="connsiteY688" fmla="*/ 4835220 h 6875987"/>
              <a:gd name="connsiteX689" fmla="*/ 6873335 w 12191977"/>
              <a:gd name="connsiteY689" fmla="*/ 4782834 h 6875987"/>
              <a:gd name="connsiteX690" fmla="*/ 6820949 w 12191977"/>
              <a:gd name="connsiteY690" fmla="*/ 4782834 h 6875987"/>
              <a:gd name="connsiteX691" fmla="*/ 6820949 w 12191977"/>
              <a:gd name="connsiteY691" fmla="*/ 4171869 h 6875987"/>
              <a:gd name="connsiteX692" fmla="*/ 6873335 w 12191977"/>
              <a:gd name="connsiteY692" fmla="*/ 4171869 h 6875987"/>
              <a:gd name="connsiteX693" fmla="*/ 6102330 w 12191977"/>
              <a:gd name="connsiteY693" fmla="*/ 4119482 h 6875987"/>
              <a:gd name="connsiteX694" fmla="*/ 6764962 w 12191977"/>
              <a:gd name="connsiteY694" fmla="*/ 4119482 h 6875987"/>
              <a:gd name="connsiteX695" fmla="*/ 6764962 w 12191977"/>
              <a:gd name="connsiteY695" fmla="*/ 4171869 h 6875987"/>
              <a:gd name="connsiteX696" fmla="*/ 6817349 w 12191977"/>
              <a:gd name="connsiteY696" fmla="*/ 4171869 h 6875987"/>
              <a:gd name="connsiteX697" fmla="*/ 6817349 w 12191977"/>
              <a:gd name="connsiteY697" fmla="*/ 4782834 h 6875987"/>
              <a:gd name="connsiteX698" fmla="*/ 6764962 w 12191977"/>
              <a:gd name="connsiteY698" fmla="*/ 4782834 h 6875987"/>
              <a:gd name="connsiteX699" fmla="*/ 6764962 w 12191977"/>
              <a:gd name="connsiteY699" fmla="*/ 4835220 h 6875987"/>
              <a:gd name="connsiteX700" fmla="*/ 6154716 w 12191977"/>
              <a:gd name="connsiteY700" fmla="*/ 4835220 h 6875987"/>
              <a:gd name="connsiteX701" fmla="*/ 6154716 w 12191977"/>
              <a:gd name="connsiteY701" fmla="*/ 4782834 h 6875987"/>
              <a:gd name="connsiteX702" fmla="*/ 6102330 w 12191977"/>
              <a:gd name="connsiteY702" fmla="*/ 4782834 h 6875987"/>
              <a:gd name="connsiteX703" fmla="*/ 5383726 w 12191977"/>
              <a:gd name="connsiteY703" fmla="*/ 4119482 h 6875987"/>
              <a:gd name="connsiteX704" fmla="*/ 6098730 w 12191977"/>
              <a:gd name="connsiteY704" fmla="*/ 4119482 h 6875987"/>
              <a:gd name="connsiteX705" fmla="*/ 6098730 w 12191977"/>
              <a:gd name="connsiteY705" fmla="*/ 4782834 h 6875987"/>
              <a:gd name="connsiteX706" fmla="*/ 6046344 w 12191977"/>
              <a:gd name="connsiteY706" fmla="*/ 4782834 h 6875987"/>
              <a:gd name="connsiteX707" fmla="*/ 6046344 w 12191977"/>
              <a:gd name="connsiteY707" fmla="*/ 4835220 h 6875987"/>
              <a:gd name="connsiteX708" fmla="*/ 5436103 w 12191977"/>
              <a:gd name="connsiteY708" fmla="*/ 4835220 h 6875987"/>
              <a:gd name="connsiteX709" fmla="*/ 5436103 w 12191977"/>
              <a:gd name="connsiteY709" fmla="*/ 4782834 h 6875987"/>
              <a:gd name="connsiteX710" fmla="*/ 5383726 w 12191977"/>
              <a:gd name="connsiteY710" fmla="*/ 4782834 h 6875987"/>
              <a:gd name="connsiteX711" fmla="*/ 4665104 w 12191977"/>
              <a:gd name="connsiteY711" fmla="*/ 4119482 h 6875987"/>
              <a:gd name="connsiteX712" fmla="*/ 5380126 w 12191977"/>
              <a:gd name="connsiteY712" fmla="*/ 4119482 h 6875987"/>
              <a:gd name="connsiteX713" fmla="*/ 5380126 w 12191977"/>
              <a:gd name="connsiteY713" fmla="*/ 4782834 h 6875987"/>
              <a:gd name="connsiteX714" fmla="*/ 5327731 w 12191977"/>
              <a:gd name="connsiteY714" fmla="*/ 4782834 h 6875987"/>
              <a:gd name="connsiteX715" fmla="*/ 5327731 w 12191977"/>
              <a:gd name="connsiteY715" fmla="*/ 4835220 h 6875987"/>
              <a:gd name="connsiteX716" fmla="*/ 4717481 w 12191977"/>
              <a:gd name="connsiteY716" fmla="*/ 4835220 h 6875987"/>
              <a:gd name="connsiteX717" fmla="*/ 4717481 w 12191977"/>
              <a:gd name="connsiteY717" fmla="*/ 4782834 h 6875987"/>
              <a:gd name="connsiteX718" fmla="*/ 4665104 w 12191977"/>
              <a:gd name="connsiteY718" fmla="*/ 4782834 h 6875987"/>
              <a:gd name="connsiteX719" fmla="*/ 3946494 w 12191977"/>
              <a:gd name="connsiteY719" fmla="*/ 4119482 h 6875987"/>
              <a:gd name="connsiteX720" fmla="*/ 4661503 w 12191977"/>
              <a:gd name="connsiteY720" fmla="*/ 4119482 h 6875987"/>
              <a:gd name="connsiteX721" fmla="*/ 4661503 w 12191977"/>
              <a:gd name="connsiteY721" fmla="*/ 4782834 h 6875987"/>
              <a:gd name="connsiteX722" fmla="*/ 4609110 w 12191977"/>
              <a:gd name="connsiteY722" fmla="*/ 4782834 h 6875987"/>
              <a:gd name="connsiteX723" fmla="*/ 4609110 w 12191977"/>
              <a:gd name="connsiteY723" fmla="*/ 4835220 h 6875987"/>
              <a:gd name="connsiteX724" fmla="*/ 3998869 w 12191977"/>
              <a:gd name="connsiteY724" fmla="*/ 4835220 h 6875987"/>
              <a:gd name="connsiteX725" fmla="*/ 3998869 w 12191977"/>
              <a:gd name="connsiteY725" fmla="*/ 4782834 h 6875987"/>
              <a:gd name="connsiteX726" fmla="*/ 3946494 w 12191977"/>
              <a:gd name="connsiteY726" fmla="*/ 4782834 h 6875987"/>
              <a:gd name="connsiteX727" fmla="*/ 3227879 w 12191977"/>
              <a:gd name="connsiteY727" fmla="*/ 4119482 h 6875987"/>
              <a:gd name="connsiteX728" fmla="*/ 3942897 w 12191977"/>
              <a:gd name="connsiteY728" fmla="*/ 4119482 h 6875987"/>
              <a:gd name="connsiteX729" fmla="*/ 3942897 w 12191977"/>
              <a:gd name="connsiteY729" fmla="*/ 4782834 h 6875987"/>
              <a:gd name="connsiteX730" fmla="*/ 3890495 w 12191977"/>
              <a:gd name="connsiteY730" fmla="*/ 4782834 h 6875987"/>
              <a:gd name="connsiteX731" fmla="*/ 3890495 w 12191977"/>
              <a:gd name="connsiteY731" fmla="*/ 4835220 h 6875987"/>
              <a:gd name="connsiteX732" fmla="*/ 3280252 w 12191977"/>
              <a:gd name="connsiteY732" fmla="*/ 4835220 h 6875987"/>
              <a:gd name="connsiteX733" fmla="*/ 3280252 w 12191977"/>
              <a:gd name="connsiteY733" fmla="*/ 4782834 h 6875987"/>
              <a:gd name="connsiteX734" fmla="*/ 3227879 w 12191977"/>
              <a:gd name="connsiteY734" fmla="*/ 4782834 h 6875987"/>
              <a:gd name="connsiteX735" fmla="*/ 2509260 w 12191977"/>
              <a:gd name="connsiteY735" fmla="*/ 4119482 h 6875987"/>
              <a:gd name="connsiteX736" fmla="*/ 3224280 w 12191977"/>
              <a:gd name="connsiteY736" fmla="*/ 4119482 h 6875987"/>
              <a:gd name="connsiteX737" fmla="*/ 3224280 w 12191977"/>
              <a:gd name="connsiteY737" fmla="*/ 4782834 h 6875987"/>
              <a:gd name="connsiteX738" fmla="*/ 3171878 w 12191977"/>
              <a:gd name="connsiteY738" fmla="*/ 4782834 h 6875987"/>
              <a:gd name="connsiteX739" fmla="*/ 3171878 w 12191977"/>
              <a:gd name="connsiteY739" fmla="*/ 4835220 h 6875987"/>
              <a:gd name="connsiteX740" fmla="*/ 2561632 w 12191977"/>
              <a:gd name="connsiteY740" fmla="*/ 4835220 h 6875987"/>
              <a:gd name="connsiteX741" fmla="*/ 2561632 w 12191977"/>
              <a:gd name="connsiteY741" fmla="*/ 4782834 h 6875987"/>
              <a:gd name="connsiteX742" fmla="*/ 2509260 w 12191977"/>
              <a:gd name="connsiteY742" fmla="*/ 4782834 h 6875987"/>
              <a:gd name="connsiteX743" fmla="*/ 1790634 w 12191977"/>
              <a:gd name="connsiteY743" fmla="*/ 4119482 h 6875987"/>
              <a:gd name="connsiteX744" fmla="*/ 2505660 w 12191977"/>
              <a:gd name="connsiteY744" fmla="*/ 4119482 h 6875987"/>
              <a:gd name="connsiteX745" fmla="*/ 2505660 w 12191977"/>
              <a:gd name="connsiteY745" fmla="*/ 4782834 h 6875987"/>
              <a:gd name="connsiteX746" fmla="*/ 2453259 w 12191977"/>
              <a:gd name="connsiteY746" fmla="*/ 4782834 h 6875987"/>
              <a:gd name="connsiteX747" fmla="*/ 2453259 w 12191977"/>
              <a:gd name="connsiteY747" fmla="*/ 4835220 h 6875987"/>
              <a:gd name="connsiteX748" fmla="*/ 1843011 w 12191977"/>
              <a:gd name="connsiteY748" fmla="*/ 4835220 h 6875987"/>
              <a:gd name="connsiteX749" fmla="*/ 1843011 w 12191977"/>
              <a:gd name="connsiteY749" fmla="*/ 4782834 h 6875987"/>
              <a:gd name="connsiteX750" fmla="*/ 1790634 w 12191977"/>
              <a:gd name="connsiteY750" fmla="*/ 4782834 h 6875987"/>
              <a:gd name="connsiteX751" fmla="*/ 1072016 w 12191977"/>
              <a:gd name="connsiteY751" fmla="*/ 4119482 h 6875987"/>
              <a:gd name="connsiteX752" fmla="*/ 1787035 w 12191977"/>
              <a:gd name="connsiteY752" fmla="*/ 4119482 h 6875987"/>
              <a:gd name="connsiteX753" fmla="*/ 1787035 w 12191977"/>
              <a:gd name="connsiteY753" fmla="*/ 4782834 h 6875987"/>
              <a:gd name="connsiteX754" fmla="*/ 1734637 w 12191977"/>
              <a:gd name="connsiteY754" fmla="*/ 4782834 h 6875987"/>
              <a:gd name="connsiteX755" fmla="*/ 1734637 w 12191977"/>
              <a:gd name="connsiteY755" fmla="*/ 4835220 h 6875987"/>
              <a:gd name="connsiteX756" fmla="*/ 1124392 w 12191977"/>
              <a:gd name="connsiteY756" fmla="*/ 4835220 h 6875987"/>
              <a:gd name="connsiteX757" fmla="*/ 1124392 w 12191977"/>
              <a:gd name="connsiteY757" fmla="*/ 4782834 h 6875987"/>
              <a:gd name="connsiteX758" fmla="*/ 1072016 w 12191977"/>
              <a:gd name="connsiteY758" fmla="*/ 4782834 h 6875987"/>
              <a:gd name="connsiteX759" fmla="*/ 353399 w 12191977"/>
              <a:gd name="connsiteY759" fmla="*/ 4119482 h 6875987"/>
              <a:gd name="connsiteX760" fmla="*/ 1068417 w 12191977"/>
              <a:gd name="connsiteY760" fmla="*/ 4119482 h 6875987"/>
              <a:gd name="connsiteX761" fmla="*/ 1068417 w 12191977"/>
              <a:gd name="connsiteY761" fmla="*/ 4782834 h 6875987"/>
              <a:gd name="connsiteX762" fmla="*/ 1016019 w 12191977"/>
              <a:gd name="connsiteY762" fmla="*/ 4782834 h 6875987"/>
              <a:gd name="connsiteX763" fmla="*/ 1016019 w 12191977"/>
              <a:gd name="connsiteY763" fmla="*/ 4835220 h 6875987"/>
              <a:gd name="connsiteX764" fmla="*/ 405773 w 12191977"/>
              <a:gd name="connsiteY764" fmla="*/ 4835220 h 6875987"/>
              <a:gd name="connsiteX765" fmla="*/ 405773 w 12191977"/>
              <a:gd name="connsiteY765" fmla="*/ 4782834 h 6875987"/>
              <a:gd name="connsiteX766" fmla="*/ 353399 w 12191977"/>
              <a:gd name="connsiteY766" fmla="*/ 4782834 h 6875987"/>
              <a:gd name="connsiteX767" fmla="*/ 0 w 12191977"/>
              <a:gd name="connsiteY767" fmla="*/ 4119482 h 6875987"/>
              <a:gd name="connsiteX768" fmla="*/ 349799 w 12191977"/>
              <a:gd name="connsiteY768" fmla="*/ 4119482 h 6875987"/>
              <a:gd name="connsiteX769" fmla="*/ 349799 w 12191977"/>
              <a:gd name="connsiteY769" fmla="*/ 4782834 h 6875987"/>
              <a:gd name="connsiteX770" fmla="*/ 297400 w 12191977"/>
              <a:gd name="connsiteY770" fmla="*/ 4782834 h 6875987"/>
              <a:gd name="connsiteX771" fmla="*/ 297400 w 12191977"/>
              <a:gd name="connsiteY771" fmla="*/ 4835220 h 6875987"/>
              <a:gd name="connsiteX772" fmla="*/ 0 w 12191977"/>
              <a:gd name="connsiteY772" fmla="*/ 4835220 h 6875987"/>
              <a:gd name="connsiteX773" fmla="*/ 11903675 w 12191977"/>
              <a:gd name="connsiteY773" fmla="*/ 3400148 h 6875987"/>
              <a:gd name="connsiteX774" fmla="*/ 12191977 w 12191977"/>
              <a:gd name="connsiteY774" fmla="*/ 3400148 h 6875987"/>
              <a:gd name="connsiteX775" fmla="*/ 12191977 w 12191977"/>
              <a:gd name="connsiteY775" fmla="*/ 4115882 h 6875987"/>
              <a:gd name="connsiteX776" fmla="*/ 11903675 w 12191977"/>
              <a:gd name="connsiteY776" fmla="*/ 4115882 h 6875987"/>
              <a:gd name="connsiteX777" fmla="*/ 11903675 w 12191977"/>
              <a:gd name="connsiteY777" fmla="*/ 4063496 h 6875987"/>
              <a:gd name="connsiteX778" fmla="*/ 11851288 w 12191977"/>
              <a:gd name="connsiteY778" fmla="*/ 4063496 h 6875987"/>
              <a:gd name="connsiteX779" fmla="*/ 11851288 w 12191977"/>
              <a:gd name="connsiteY779" fmla="*/ 3452531 h 6875987"/>
              <a:gd name="connsiteX780" fmla="*/ 11903675 w 12191977"/>
              <a:gd name="connsiteY780" fmla="*/ 3452531 h 6875987"/>
              <a:gd name="connsiteX781" fmla="*/ 11185049 w 12191977"/>
              <a:gd name="connsiteY781" fmla="*/ 3400148 h 6875987"/>
              <a:gd name="connsiteX782" fmla="*/ 11795302 w 12191977"/>
              <a:gd name="connsiteY782" fmla="*/ 3400148 h 6875987"/>
              <a:gd name="connsiteX783" fmla="*/ 11795302 w 12191977"/>
              <a:gd name="connsiteY783" fmla="*/ 3452531 h 6875987"/>
              <a:gd name="connsiteX784" fmla="*/ 11847688 w 12191977"/>
              <a:gd name="connsiteY784" fmla="*/ 3452531 h 6875987"/>
              <a:gd name="connsiteX785" fmla="*/ 11847688 w 12191977"/>
              <a:gd name="connsiteY785" fmla="*/ 4063496 h 6875987"/>
              <a:gd name="connsiteX786" fmla="*/ 11795302 w 12191977"/>
              <a:gd name="connsiteY786" fmla="*/ 4063496 h 6875987"/>
              <a:gd name="connsiteX787" fmla="*/ 11795302 w 12191977"/>
              <a:gd name="connsiteY787" fmla="*/ 4115882 h 6875987"/>
              <a:gd name="connsiteX788" fmla="*/ 11185049 w 12191977"/>
              <a:gd name="connsiteY788" fmla="*/ 4115882 h 6875987"/>
              <a:gd name="connsiteX789" fmla="*/ 11185049 w 12191977"/>
              <a:gd name="connsiteY789" fmla="*/ 4063496 h 6875987"/>
              <a:gd name="connsiteX790" fmla="*/ 11132662 w 12191977"/>
              <a:gd name="connsiteY790" fmla="*/ 4063496 h 6875987"/>
              <a:gd name="connsiteX791" fmla="*/ 11132662 w 12191977"/>
              <a:gd name="connsiteY791" fmla="*/ 3452531 h 6875987"/>
              <a:gd name="connsiteX792" fmla="*/ 11185049 w 12191977"/>
              <a:gd name="connsiteY792" fmla="*/ 3452531 h 6875987"/>
              <a:gd name="connsiteX793" fmla="*/ 10466430 w 12191977"/>
              <a:gd name="connsiteY793" fmla="*/ 3400148 h 6875987"/>
              <a:gd name="connsiteX794" fmla="*/ 11076676 w 12191977"/>
              <a:gd name="connsiteY794" fmla="*/ 3400148 h 6875987"/>
              <a:gd name="connsiteX795" fmla="*/ 11076676 w 12191977"/>
              <a:gd name="connsiteY795" fmla="*/ 3452531 h 6875987"/>
              <a:gd name="connsiteX796" fmla="*/ 11129062 w 12191977"/>
              <a:gd name="connsiteY796" fmla="*/ 3452531 h 6875987"/>
              <a:gd name="connsiteX797" fmla="*/ 11129062 w 12191977"/>
              <a:gd name="connsiteY797" fmla="*/ 4063496 h 6875987"/>
              <a:gd name="connsiteX798" fmla="*/ 11076676 w 12191977"/>
              <a:gd name="connsiteY798" fmla="*/ 4063496 h 6875987"/>
              <a:gd name="connsiteX799" fmla="*/ 11076676 w 12191977"/>
              <a:gd name="connsiteY799" fmla="*/ 4115882 h 6875987"/>
              <a:gd name="connsiteX800" fmla="*/ 10466430 w 12191977"/>
              <a:gd name="connsiteY800" fmla="*/ 4115882 h 6875987"/>
              <a:gd name="connsiteX801" fmla="*/ 10466430 w 12191977"/>
              <a:gd name="connsiteY801" fmla="*/ 4063496 h 6875987"/>
              <a:gd name="connsiteX802" fmla="*/ 10414043 w 12191977"/>
              <a:gd name="connsiteY802" fmla="*/ 4063496 h 6875987"/>
              <a:gd name="connsiteX803" fmla="*/ 10414043 w 12191977"/>
              <a:gd name="connsiteY803" fmla="*/ 3452531 h 6875987"/>
              <a:gd name="connsiteX804" fmla="*/ 10466430 w 12191977"/>
              <a:gd name="connsiteY804" fmla="*/ 3452531 h 6875987"/>
              <a:gd name="connsiteX805" fmla="*/ 9747811 w 12191977"/>
              <a:gd name="connsiteY805" fmla="*/ 3400148 h 6875987"/>
              <a:gd name="connsiteX806" fmla="*/ 10358057 w 12191977"/>
              <a:gd name="connsiteY806" fmla="*/ 3400148 h 6875987"/>
              <a:gd name="connsiteX807" fmla="*/ 10358057 w 12191977"/>
              <a:gd name="connsiteY807" fmla="*/ 3452531 h 6875987"/>
              <a:gd name="connsiteX808" fmla="*/ 10410443 w 12191977"/>
              <a:gd name="connsiteY808" fmla="*/ 3452531 h 6875987"/>
              <a:gd name="connsiteX809" fmla="*/ 10410443 w 12191977"/>
              <a:gd name="connsiteY809" fmla="*/ 4063496 h 6875987"/>
              <a:gd name="connsiteX810" fmla="*/ 10358057 w 12191977"/>
              <a:gd name="connsiteY810" fmla="*/ 4063496 h 6875987"/>
              <a:gd name="connsiteX811" fmla="*/ 10358057 w 12191977"/>
              <a:gd name="connsiteY811" fmla="*/ 4115882 h 6875987"/>
              <a:gd name="connsiteX812" fmla="*/ 9747811 w 12191977"/>
              <a:gd name="connsiteY812" fmla="*/ 4115882 h 6875987"/>
              <a:gd name="connsiteX813" fmla="*/ 9747811 w 12191977"/>
              <a:gd name="connsiteY813" fmla="*/ 4063496 h 6875987"/>
              <a:gd name="connsiteX814" fmla="*/ 9695424 w 12191977"/>
              <a:gd name="connsiteY814" fmla="*/ 4063496 h 6875987"/>
              <a:gd name="connsiteX815" fmla="*/ 9695424 w 12191977"/>
              <a:gd name="connsiteY815" fmla="*/ 3452531 h 6875987"/>
              <a:gd name="connsiteX816" fmla="*/ 9747811 w 12191977"/>
              <a:gd name="connsiteY816" fmla="*/ 3452531 h 6875987"/>
              <a:gd name="connsiteX817" fmla="*/ 9029192 w 12191977"/>
              <a:gd name="connsiteY817" fmla="*/ 3400148 h 6875987"/>
              <a:gd name="connsiteX818" fmla="*/ 9639438 w 12191977"/>
              <a:gd name="connsiteY818" fmla="*/ 3400148 h 6875987"/>
              <a:gd name="connsiteX819" fmla="*/ 9639438 w 12191977"/>
              <a:gd name="connsiteY819" fmla="*/ 3452531 h 6875987"/>
              <a:gd name="connsiteX820" fmla="*/ 9691824 w 12191977"/>
              <a:gd name="connsiteY820" fmla="*/ 3452531 h 6875987"/>
              <a:gd name="connsiteX821" fmla="*/ 9691824 w 12191977"/>
              <a:gd name="connsiteY821" fmla="*/ 4063496 h 6875987"/>
              <a:gd name="connsiteX822" fmla="*/ 9639438 w 12191977"/>
              <a:gd name="connsiteY822" fmla="*/ 4063496 h 6875987"/>
              <a:gd name="connsiteX823" fmla="*/ 9639438 w 12191977"/>
              <a:gd name="connsiteY823" fmla="*/ 4115882 h 6875987"/>
              <a:gd name="connsiteX824" fmla="*/ 9029192 w 12191977"/>
              <a:gd name="connsiteY824" fmla="*/ 4115882 h 6875987"/>
              <a:gd name="connsiteX825" fmla="*/ 9029192 w 12191977"/>
              <a:gd name="connsiteY825" fmla="*/ 4063496 h 6875987"/>
              <a:gd name="connsiteX826" fmla="*/ 8976805 w 12191977"/>
              <a:gd name="connsiteY826" fmla="*/ 4063496 h 6875987"/>
              <a:gd name="connsiteX827" fmla="*/ 8976805 w 12191977"/>
              <a:gd name="connsiteY827" fmla="*/ 3452531 h 6875987"/>
              <a:gd name="connsiteX828" fmla="*/ 9029192 w 12191977"/>
              <a:gd name="connsiteY828" fmla="*/ 3452531 h 6875987"/>
              <a:gd name="connsiteX829" fmla="*/ 8310573 w 12191977"/>
              <a:gd name="connsiteY829" fmla="*/ 3400148 h 6875987"/>
              <a:gd name="connsiteX830" fmla="*/ 8920819 w 12191977"/>
              <a:gd name="connsiteY830" fmla="*/ 3400148 h 6875987"/>
              <a:gd name="connsiteX831" fmla="*/ 8920819 w 12191977"/>
              <a:gd name="connsiteY831" fmla="*/ 3452531 h 6875987"/>
              <a:gd name="connsiteX832" fmla="*/ 8973205 w 12191977"/>
              <a:gd name="connsiteY832" fmla="*/ 3452531 h 6875987"/>
              <a:gd name="connsiteX833" fmla="*/ 8973205 w 12191977"/>
              <a:gd name="connsiteY833" fmla="*/ 4063496 h 6875987"/>
              <a:gd name="connsiteX834" fmla="*/ 8920819 w 12191977"/>
              <a:gd name="connsiteY834" fmla="*/ 4063496 h 6875987"/>
              <a:gd name="connsiteX835" fmla="*/ 8920819 w 12191977"/>
              <a:gd name="connsiteY835" fmla="*/ 4115882 h 6875987"/>
              <a:gd name="connsiteX836" fmla="*/ 8310573 w 12191977"/>
              <a:gd name="connsiteY836" fmla="*/ 4115882 h 6875987"/>
              <a:gd name="connsiteX837" fmla="*/ 8310573 w 12191977"/>
              <a:gd name="connsiteY837" fmla="*/ 4063496 h 6875987"/>
              <a:gd name="connsiteX838" fmla="*/ 8258187 w 12191977"/>
              <a:gd name="connsiteY838" fmla="*/ 4063496 h 6875987"/>
              <a:gd name="connsiteX839" fmla="*/ 8258187 w 12191977"/>
              <a:gd name="connsiteY839" fmla="*/ 3452531 h 6875987"/>
              <a:gd name="connsiteX840" fmla="*/ 8310573 w 12191977"/>
              <a:gd name="connsiteY840" fmla="*/ 3452531 h 6875987"/>
              <a:gd name="connsiteX841" fmla="*/ 7591954 w 12191977"/>
              <a:gd name="connsiteY841" fmla="*/ 3400148 h 6875987"/>
              <a:gd name="connsiteX842" fmla="*/ 8202200 w 12191977"/>
              <a:gd name="connsiteY842" fmla="*/ 3400148 h 6875987"/>
              <a:gd name="connsiteX843" fmla="*/ 8202200 w 12191977"/>
              <a:gd name="connsiteY843" fmla="*/ 3452531 h 6875987"/>
              <a:gd name="connsiteX844" fmla="*/ 8254587 w 12191977"/>
              <a:gd name="connsiteY844" fmla="*/ 3452531 h 6875987"/>
              <a:gd name="connsiteX845" fmla="*/ 8254587 w 12191977"/>
              <a:gd name="connsiteY845" fmla="*/ 4063496 h 6875987"/>
              <a:gd name="connsiteX846" fmla="*/ 8202200 w 12191977"/>
              <a:gd name="connsiteY846" fmla="*/ 4063496 h 6875987"/>
              <a:gd name="connsiteX847" fmla="*/ 8202200 w 12191977"/>
              <a:gd name="connsiteY847" fmla="*/ 4115882 h 6875987"/>
              <a:gd name="connsiteX848" fmla="*/ 7591954 w 12191977"/>
              <a:gd name="connsiteY848" fmla="*/ 4115882 h 6875987"/>
              <a:gd name="connsiteX849" fmla="*/ 7591954 w 12191977"/>
              <a:gd name="connsiteY849" fmla="*/ 4063496 h 6875987"/>
              <a:gd name="connsiteX850" fmla="*/ 7539568 w 12191977"/>
              <a:gd name="connsiteY850" fmla="*/ 4063496 h 6875987"/>
              <a:gd name="connsiteX851" fmla="*/ 7539568 w 12191977"/>
              <a:gd name="connsiteY851" fmla="*/ 3452531 h 6875987"/>
              <a:gd name="connsiteX852" fmla="*/ 7591954 w 12191977"/>
              <a:gd name="connsiteY852" fmla="*/ 3452531 h 6875987"/>
              <a:gd name="connsiteX853" fmla="*/ 6873335 w 12191977"/>
              <a:gd name="connsiteY853" fmla="*/ 3400148 h 6875987"/>
              <a:gd name="connsiteX854" fmla="*/ 7483581 w 12191977"/>
              <a:gd name="connsiteY854" fmla="*/ 3400148 h 6875987"/>
              <a:gd name="connsiteX855" fmla="*/ 7483581 w 12191977"/>
              <a:gd name="connsiteY855" fmla="*/ 3452531 h 6875987"/>
              <a:gd name="connsiteX856" fmla="*/ 7535968 w 12191977"/>
              <a:gd name="connsiteY856" fmla="*/ 3452531 h 6875987"/>
              <a:gd name="connsiteX857" fmla="*/ 7535968 w 12191977"/>
              <a:gd name="connsiteY857" fmla="*/ 4063496 h 6875987"/>
              <a:gd name="connsiteX858" fmla="*/ 7483581 w 12191977"/>
              <a:gd name="connsiteY858" fmla="*/ 4063496 h 6875987"/>
              <a:gd name="connsiteX859" fmla="*/ 7483581 w 12191977"/>
              <a:gd name="connsiteY859" fmla="*/ 4115882 h 6875987"/>
              <a:gd name="connsiteX860" fmla="*/ 6873335 w 12191977"/>
              <a:gd name="connsiteY860" fmla="*/ 4115882 h 6875987"/>
              <a:gd name="connsiteX861" fmla="*/ 6873335 w 12191977"/>
              <a:gd name="connsiteY861" fmla="*/ 4063496 h 6875987"/>
              <a:gd name="connsiteX862" fmla="*/ 6820949 w 12191977"/>
              <a:gd name="connsiteY862" fmla="*/ 4063496 h 6875987"/>
              <a:gd name="connsiteX863" fmla="*/ 6820949 w 12191977"/>
              <a:gd name="connsiteY863" fmla="*/ 3452531 h 6875987"/>
              <a:gd name="connsiteX864" fmla="*/ 6873335 w 12191977"/>
              <a:gd name="connsiteY864" fmla="*/ 3452531 h 6875987"/>
              <a:gd name="connsiteX865" fmla="*/ 6102330 w 12191977"/>
              <a:gd name="connsiteY865" fmla="*/ 3400148 h 6875987"/>
              <a:gd name="connsiteX866" fmla="*/ 6764962 w 12191977"/>
              <a:gd name="connsiteY866" fmla="*/ 3400148 h 6875987"/>
              <a:gd name="connsiteX867" fmla="*/ 6764962 w 12191977"/>
              <a:gd name="connsiteY867" fmla="*/ 3452531 h 6875987"/>
              <a:gd name="connsiteX868" fmla="*/ 6817349 w 12191977"/>
              <a:gd name="connsiteY868" fmla="*/ 3452531 h 6875987"/>
              <a:gd name="connsiteX869" fmla="*/ 6817349 w 12191977"/>
              <a:gd name="connsiteY869" fmla="*/ 4063496 h 6875987"/>
              <a:gd name="connsiteX870" fmla="*/ 6764962 w 12191977"/>
              <a:gd name="connsiteY870" fmla="*/ 4063496 h 6875987"/>
              <a:gd name="connsiteX871" fmla="*/ 6764962 w 12191977"/>
              <a:gd name="connsiteY871" fmla="*/ 4115882 h 6875987"/>
              <a:gd name="connsiteX872" fmla="*/ 6102330 w 12191977"/>
              <a:gd name="connsiteY872" fmla="*/ 4115882 h 6875987"/>
              <a:gd name="connsiteX873" fmla="*/ 5383726 w 12191977"/>
              <a:gd name="connsiteY873" fmla="*/ 3400148 h 6875987"/>
              <a:gd name="connsiteX874" fmla="*/ 6098730 w 12191977"/>
              <a:gd name="connsiteY874" fmla="*/ 3400148 h 6875987"/>
              <a:gd name="connsiteX875" fmla="*/ 6098730 w 12191977"/>
              <a:gd name="connsiteY875" fmla="*/ 4115882 h 6875987"/>
              <a:gd name="connsiteX876" fmla="*/ 5383726 w 12191977"/>
              <a:gd name="connsiteY876" fmla="*/ 4115882 h 6875987"/>
              <a:gd name="connsiteX877" fmla="*/ 4665104 w 12191977"/>
              <a:gd name="connsiteY877" fmla="*/ 3400148 h 6875987"/>
              <a:gd name="connsiteX878" fmla="*/ 5380126 w 12191977"/>
              <a:gd name="connsiteY878" fmla="*/ 3400148 h 6875987"/>
              <a:gd name="connsiteX879" fmla="*/ 5380126 w 12191977"/>
              <a:gd name="connsiteY879" fmla="*/ 4115882 h 6875987"/>
              <a:gd name="connsiteX880" fmla="*/ 4665104 w 12191977"/>
              <a:gd name="connsiteY880" fmla="*/ 4115882 h 6875987"/>
              <a:gd name="connsiteX881" fmla="*/ 3946494 w 12191977"/>
              <a:gd name="connsiteY881" fmla="*/ 3400148 h 6875987"/>
              <a:gd name="connsiteX882" fmla="*/ 4661503 w 12191977"/>
              <a:gd name="connsiteY882" fmla="*/ 3400148 h 6875987"/>
              <a:gd name="connsiteX883" fmla="*/ 4661503 w 12191977"/>
              <a:gd name="connsiteY883" fmla="*/ 4115882 h 6875987"/>
              <a:gd name="connsiteX884" fmla="*/ 3946494 w 12191977"/>
              <a:gd name="connsiteY884" fmla="*/ 4115882 h 6875987"/>
              <a:gd name="connsiteX885" fmla="*/ 3227879 w 12191977"/>
              <a:gd name="connsiteY885" fmla="*/ 3400148 h 6875987"/>
              <a:gd name="connsiteX886" fmla="*/ 3942897 w 12191977"/>
              <a:gd name="connsiteY886" fmla="*/ 3400148 h 6875987"/>
              <a:gd name="connsiteX887" fmla="*/ 3942897 w 12191977"/>
              <a:gd name="connsiteY887" fmla="*/ 4115882 h 6875987"/>
              <a:gd name="connsiteX888" fmla="*/ 3227879 w 12191977"/>
              <a:gd name="connsiteY888" fmla="*/ 4115882 h 6875987"/>
              <a:gd name="connsiteX889" fmla="*/ 2509260 w 12191977"/>
              <a:gd name="connsiteY889" fmla="*/ 3400148 h 6875987"/>
              <a:gd name="connsiteX890" fmla="*/ 3224280 w 12191977"/>
              <a:gd name="connsiteY890" fmla="*/ 3400148 h 6875987"/>
              <a:gd name="connsiteX891" fmla="*/ 3224280 w 12191977"/>
              <a:gd name="connsiteY891" fmla="*/ 4115882 h 6875987"/>
              <a:gd name="connsiteX892" fmla="*/ 2509260 w 12191977"/>
              <a:gd name="connsiteY892" fmla="*/ 4115882 h 6875987"/>
              <a:gd name="connsiteX893" fmla="*/ 1790634 w 12191977"/>
              <a:gd name="connsiteY893" fmla="*/ 3400148 h 6875987"/>
              <a:gd name="connsiteX894" fmla="*/ 2505660 w 12191977"/>
              <a:gd name="connsiteY894" fmla="*/ 3400148 h 6875987"/>
              <a:gd name="connsiteX895" fmla="*/ 2505660 w 12191977"/>
              <a:gd name="connsiteY895" fmla="*/ 4115882 h 6875987"/>
              <a:gd name="connsiteX896" fmla="*/ 1790634 w 12191977"/>
              <a:gd name="connsiteY896" fmla="*/ 4115882 h 6875987"/>
              <a:gd name="connsiteX897" fmla="*/ 1072016 w 12191977"/>
              <a:gd name="connsiteY897" fmla="*/ 3400148 h 6875987"/>
              <a:gd name="connsiteX898" fmla="*/ 1787035 w 12191977"/>
              <a:gd name="connsiteY898" fmla="*/ 3400148 h 6875987"/>
              <a:gd name="connsiteX899" fmla="*/ 1787035 w 12191977"/>
              <a:gd name="connsiteY899" fmla="*/ 4115882 h 6875987"/>
              <a:gd name="connsiteX900" fmla="*/ 1072016 w 12191977"/>
              <a:gd name="connsiteY900" fmla="*/ 4115882 h 6875987"/>
              <a:gd name="connsiteX901" fmla="*/ 353399 w 12191977"/>
              <a:gd name="connsiteY901" fmla="*/ 3400148 h 6875987"/>
              <a:gd name="connsiteX902" fmla="*/ 1068417 w 12191977"/>
              <a:gd name="connsiteY902" fmla="*/ 3400148 h 6875987"/>
              <a:gd name="connsiteX903" fmla="*/ 1068417 w 12191977"/>
              <a:gd name="connsiteY903" fmla="*/ 4115882 h 6875987"/>
              <a:gd name="connsiteX904" fmla="*/ 353399 w 12191977"/>
              <a:gd name="connsiteY904" fmla="*/ 4115882 h 6875987"/>
              <a:gd name="connsiteX905" fmla="*/ 0 w 12191977"/>
              <a:gd name="connsiteY905" fmla="*/ 3400148 h 6875987"/>
              <a:gd name="connsiteX906" fmla="*/ 349799 w 12191977"/>
              <a:gd name="connsiteY906" fmla="*/ 3400148 h 6875987"/>
              <a:gd name="connsiteX907" fmla="*/ 349799 w 12191977"/>
              <a:gd name="connsiteY907" fmla="*/ 4115882 h 6875987"/>
              <a:gd name="connsiteX908" fmla="*/ 0 w 12191977"/>
              <a:gd name="connsiteY908" fmla="*/ 4115882 h 6875987"/>
              <a:gd name="connsiteX909" fmla="*/ 11903675 w 12191977"/>
              <a:gd name="connsiteY909" fmla="*/ 2680814 h 6875987"/>
              <a:gd name="connsiteX910" fmla="*/ 12191977 w 12191977"/>
              <a:gd name="connsiteY910" fmla="*/ 2680814 h 6875987"/>
              <a:gd name="connsiteX911" fmla="*/ 12191977 w 12191977"/>
              <a:gd name="connsiteY911" fmla="*/ 3396548 h 6875987"/>
              <a:gd name="connsiteX912" fmla="*/ 11903675 w 12191977"/>
              <a:gd name="connsiteY912" fmla="*/ 3396548 h 6875987"/>
              <a:gd name="connsiteX913" fmla="*/ 11903675 w 12191977"/>
              <a:gd name="connsiteY913" fmla="*/ 3344162 h 6875987"/>
              <a:gd name="connsiteX914" fmla="*/ 11851288 w 12191977"/>
              <a:gd name="connsiteY914" fmla="*/ 3344162 h 6875987"/>
              <a:gd name="connsiteX915" fmla="*/ 11851288 w 12191977"/>
              <a:gd name="connsiteY915" fmla="*/ 2733199 h 6875987"/>
              <a:gd name="connsiteX916" fmla="*/ 11903675 w 12191977"/>
              <a:gd name="connsiteY916" fmla="*/ 2733199 h 6875987"/>
              <a:gd name="connsiteX917" fmla="*/ 11185049 w 12191977"/>
              <a:gd name="connsiteY917" fmla="*/ 2680814 h 6875987"/>
              <a:gd name="connsiteX918" fmla="*/ 11795302 w 12191977"/>
              <a:gd name="connsiteY918" fmla="*/ 2680814 h 6875987"/>
              <a:gd name="connsiteX919" fmla="*/ 11795302 w 12191977"/>
              <a:gd name="connsiteY919" fmla="*/ 2733199 h 6875987"/>
              <a:gd name="connsiteX920" fmla="*/ 11847688 w 12191977"/>
              <a:gd name="connsiteY920" fmla="*/ 2733199 h 6875987"/>
              <a:gd name="connsiteX921" fmla="*/ 11847688 w 12191977"/>
              <a:gd name="connsiteY921" fmla="*/ 3344162 h 6875987"/>
              <a:gd name="connsiteX922" fmla="*/ 11795302 w 12191977"/>
              <a:gd name="connsiteY922" fmla="*/ 3344162 h 6875987"/>
              <a:gd name="connsiteX923" fmla="*/ 11795302 w 12191977"/>
              <a:gd name="connsiteY923" fmla="*/ 3396548 h 6875987"/>
              <a:gd name="connsiteX924" fmla="*/ 11185049 w 12191977"/>
              <a:gd name="connsiteY924" fmla="*/ 3396548 h 6875987"/>
              <a:gd name="connsiteX925" fmla="*/ 11185049 w 12191977"/>
              <a:gd name="connsiteY925" fmla="*/ 3344162 h 6875987"/>
              <a:gd name="connsiteX926" fmla="*/ 11132662 w 12191977"/>
              <a:gd name="connsiteY926" fmla="*/ 3344162 h 6875987"/>
              <a:gd name="connsiteX927" fmla="*/ 11132662 w 12191977"/>
              <a:gd name="connsiteY927" fmla="*/ 2733199 h 6875987"/>
              <a:gd name="connsiteX928" fmla="*/ 11185049 w 12191977"/>
              <a:gd name="connsiteY928" fmla="*/ 2733199 h 6875987"/>
              <a:gd name="connsiteX929" fmla="*/ 10466430 w 12191977"/>
              <a:gd name="connsiteY929" fmla="*/ 2680814 h 6875987"/>
              <a:gd name="connsiteX930" fmla="*/ 11076676 w 12191977"/>
              <a:gd name="connsiteY930" fmla="*/ 2680814 h 6875987"/>
              <a:gd name="connsiteX931" fmla="*/ 11076676 w 12191977"/>
              <a:gd name="connsiteY931" fmla="*/ 2733199 h 6875987"/>
              <a:gd name="connsiteX932" fmla="*/ 11129062 w 12191977"/>
              <a:gd name="connsiteY932" fmla="*/ 2733199 h 6875987"/>
              <a:gd name="connsiteX933" fmla="*/ 11129062 w 12191977"/>
              <a:gd name="connsiteY933" fmla="*/ 3344162 h 6875987"/>
              <a:gd name="connsiteX934" fmla="*/ 11076676 w 12191977"/>
              <a:gd name="connsiteY934" fmla="*/ 3344162 h 6875987"/>
              <a:gd name="connsiteX935" fmla="*/ 11076676 w 12191977"/>
              <a:gd name="connsiteY935" fmla="*/ 3396548 h 6875987"/>
              <a:gd name="connsiteX936" fmla="*/ 10466430 w 12191977"/>
              <a:gd name="connsiteY936" fmla="*/ 3396548 h 6875987"/>
              <a:gd name="connsiteX937" fmla="*/ 10466430 w 12191977"/>
              <a:gd name="connsiteY937" fmla="*/ 3344162 h 6875987"/>
              <a:gd name="connsiteX938" fmla="*/ 10414043 w 12191977"/>
              <a:gd name="connsiteY938" fmla="*/ 3344162 h 6875987"/>
              <a:gd name="connsiteX939" fmla="*/ 10414043 w 12191977"/>
              <a:gd name="connsiteY939" fmla="*/ 2733199 h 6875987"/>
              <a:gd name="connsiteX940" fmla="*/ 10466430 w 12191977"/>
              <a:gd name="connsiteY940" fmla="*/ 2733199 h 6875987"/>
              <a:gd name="connsiteX941" fmla="*/ 9747811 w 12191977"/>
              <a:gd name="connsiteY941" fmla="*/ 2680814 h 6875987"/>
              <a:gd name="connsiteX942" fmla="*/ 10358057 w 12191977"/>
              <a:gd name="connsiteY942" fmla="*/ 2680814 h 6875987"/>
              <a:gd name="connsiteX943" fmla="*/ 10358057 w 12191977"/>
              <a:gd name="connsiteY943" fmla="*/ 2733199 h 6875987"/>
              <a:gd name="connsiteX944" fmla="*/ 10410443 w 12191977"/>
              <a:gd name="connsiteY944" fmla="*/ 2733199 h 6875987"/>
              <a:gd name="connsiteX945" fmla="*/ 10410443 w 12191977"/>
              <a:gd name="connsiteY945" fmla="*/ 3344162 h 6875987"/>
              <a:gd name="connsiteX946" fmla="*/ 10358057 w 12191977"/>
              <a:gd name="connsiteY946" fmla="*/ 3344162 h 6875987"/>
              <a:gd name="connsiteX947" fmla="*/ 10358057 w 12191977"/>
              <a:gd name="connsiteY947" fmla="*/ 3396548 h 6875987"/>
              <a:gd name="connsiteX948" fmla="*/ 9747811 w 12191977"/>
              <a:gd name="connsiteY948" fmla="*/ 3396548 h 6875987"/>
              <a:gd name="connsiteX949" fmla="*/ 9747811 w 12191977"/>
              <a:gd name="connsiteY949" fmla="*/ 3344162 h 6875987"/>
              <a:gd name="connsiteX950" fmla="*/ 9695424 w 12191977"/>
              <a:gd name="connsiteY950" fmla="*/ 3344162 h 6875987"/>
              <a:gd name="connsiteX951" fmla="*/ 9695424 w 12191977"/>
              <a:gd name="connsiteY951" fmla="*/ 2733199 h 6875987"/>
              <a:gd name="connsiteX952" fmla="*/ 9747811 w 12191977"/>
              <a:gd name="connsiteY952" fmla="*/ 2733199 h 6875987"/>
              <a:gd name="connsiteX953" fmla="*/ 9029192 w 12191977"/>
              <a:gd name="connsiteY953" fmla="*/ 2680814 h 6875987"/>
              <a:gd name="connsiteX954" fmla="*/ 9639438 w 12191977"/>
              <a:gd name="connsiteY954" fmla="*/ 2680814 h 6875987"/>
              <a:gd name="connsiteX955" fmla="*/ 9639438 w 12191977"/>
              <a:gd name="connsiteY955" fmla="*/ 2733199 h 6875987"/>
              <a:gd name="connsiteX956" fmla="*/ 9691824 w 12191977"/>
              <a:gd name="connsiteY956" fmla="*/ 2733199 h 6875987"/>
              <a:gd name="connsiteX957" fmla="*/ 9691824 w 12191977"/>
              <a:gd name="connsiteY957" fmla="*/ 3344162 h 6875987"/>
              <a:gd name="connsiteX958" fmla="*/ 9639438 w 12191977"/>
              <a:gd name="connsiteY958" fmla="*/ 3344162 h 6875987"/>
              <a:gd name="connsiteX959" fmla="*/ 9639438 w 12191977"/>
              <a:gd name="connsiteY959" fmla="*/ 3396548 h 6875987"/>
              <a:gd name="connsiteX960" fmla="*/ 9029192 w 12191977"/>
              <a:gd name="connsiteY960" fmla="*/ 3396548 h 6875987"/>
              <a:gd name="connsiteX961" fmla="*/ 9029192 w 12191977"/>
              <a:gd name="connsiteY961" fmla="*/ 3344162 h 6875987"/>
              <a:gd name="connsiteX962" fmla="*/ 8976805 w 12191977"/>
              <a:gd name="connsiteY962" fmla="*/ 3344162 h 6875987"/>
              <a:gd name="connsiteX963" fmla="*/ 8976805 w 12191977"/>
              <a:gd name="connsiteY963" fmla="*/ 2733199 h 6875987"/>
              <a:gd name="connsiteX964" fmla="*/ 9029192 w 12191977"/>
              <a:gd name="connsiteY964" fmla="*/ 2733199 h 6875987"/>
              <a:gd name="connsiteX965" fmla="*/ 8310573 w 12191977"/>
              <a:gd name="connsiteY965" fmla="*/ 2680814 h 6875987"/>
              <a:gd name="connsiteX966" fmla="*/ 8920819 w 12191977"/>
              <a:gd name="connsiteY966" fmla="*/ 2680814 h 6875987"/>
              <a:gd name="connsiteX967" fmla="*/ 8920819 w 12191977"/>
              <a:gd name="connsiteY967" fmla="*/ 2733199 h 6875987"/>
              <a:gd name="connsiteX968" fmla="*/ 8973205 w 12191977"/>
              <a:gd name="connsiteY968" fmla="*/ 2733199 h 6875987"/>
              <a:gd name="connsiteX969" fmla="*/ 8973205 w 12191977"/>
              <a:gd name="connsiteY969" fmla="*/ 3344162 h 6875987"/>
              <a:gd name="connsiteX970" fmla="*/ 8920819 w 12191977"/>
              <a:gd name="connsiteY970" fmla="*/ 3344162 h 6875987"/>
              <a:gd name="connsiteX971" fmla="*/ 8920819 w 12191977"/>
              <a:gd name="connsiteY971" fmla="*/ 3396548 h 6875987"/>
              <a:gd name="connsiteX972" fmla="*/ 8310573 w 12191977"/>
              <a:gd name="connsiteY972" fmla="*/ 3396548 h 6875987"/>
              <a:gd name="connsiteX973" fmla="*/ 8310573 w 12191977"/>
              <a:gd name="connsiteY973" fmla="*/ 3344162 h 6875987"/>
              <a:gd name="connsiteX974" fmla="*/ 8258187 w 12191977"/>
              <a:gd name="connsiteY974" fmla="*/ 3344162 h 6875987"/>
              <a:gd name="connsiteX975" fmla="*/ 8258187 w 12191977"/>
              <a:gd name="connsiteY975" fmla="*/ 2733199 h 6875987"/>
              <a:gd name="connsiteX976" fmla="*/ 8310573 w 12191977"/>
              <a:gd name="connsiteY976" fmla="*/ 2733199 h 6875987"/>
              <a:gd name="connsiteX977" fmla="*/ 7591954 w 12191977"/>
              <a:gd name="connsiteY977" fmla="*/ 2680814 h 6875987"/>
              <a:gd name="connsiteX978" fmla="*/ 8202200 w 12191977"/>
              <a:gd name="connsiteY978" fmla="*/ 2680814 h 6875987"/>
              <a:gd name="connsiteX979" fmla="*/ 8202200 w 12191977"/>
              <a:gd name="connsiteY979" fmla="*/ 2733199 h 6875987"/>
              <a:gd name="connsiteX980" fmla="*/ 8254587 w 12191977"/>
              <a:gd name="connsiteY980" fmla="*/ 2733199 h 6875987"/>
              <a:gd name="connsiteX981" fmla="*/ 8254587 w 12191977"/>
              <a:gd name="connsiteY981" fmla="*/ 3344162 h 6875987"/>
              <a:gd name="connsiteX982" fmla="*/ 8202200 w 12191977"/>
              <a:gd name="connsiteY982" fmla="*/ 3344162 h 6875987"/>
              <a:gd name="connsiteX983" fmla="*/ 8202200 w 12191977"/>
              <a:gd name="connsiteY983" fmla="*/ 3396548 h 6875987"/>
              <a:gd name="connsiteX984" fmla="*/ 7591954 w 12191977"/>
              <a:gd name="connsiteY984" fmla="*/ 3396548 h 6875987"/>
              <a:gd name="connsiteX985" fmla="*/ 7591954 w 12191977"/>
              <a:gd name="connsiteY985" fmla="*/ 3344162 h 6875987"/>
              <a:gd name="connsiteX986" fmla="*/ 7539568 w 12191977"/>
              <a:gd name="connsiteY986" fmla="*/ 3344162 h 6875987"/>
              <a:gd name="connsiteX987" fmla="*/ 7539568 w 12191977"/>
              <a:gd name="connsiteY987" fmla="*/ 2733199 h 6875987"/>
              <a:gd name="connsiteX988" fmla="*/ 7591954 w 12191977"/>
              <a:gd name="connsiteY988" fmla="*/ 2733199 h 6875987"/>
              <a:gd name="connsiteX989" fmla="*/ 6873335 w 12191977"/>
              <a:gd name="connsiteY989" fmla="*/ 2680814 h 6875987"/>
              <a:gd name="connsiteX990" fmla="*/ 7483581 w 12191977"/>
              <a:gd name="connsiteY990" fmla="*/ 2680814 h 6875987"/>
              <a:gd name="connsiteX991" fmla="*/ 7483581 w 12191977"/>
              <a:gd name="connsiteY991" fmla="*/ 2733199 h 6875987"/>
              <a:gd name="connsiteX992" fmla="*/ 7535968 w 12191977"/>
              <a:gd name="connsiteY992" fmla="*/ 2733199 h 6875987"/>
              <a:gd name="connsiteX993" fmla="*/ 7535968 w 12191977"/>
              <a:gd name="connsiteY993" fmla="*/ 3344162 h 6875987"/>
              <a:gd name="connsiteX994" fmla="*/ 7483581 w 12191977"/>
              <a:gd name="connsiteY994" fmla="*/ 3344162 h 6875987"/>
              <a:gd name="connsiteX995" fmla="*/ 7483581 w 12191977"/>
              <a:gd name="connsiteY995" fmla="*/ 3396548 h 6875987"/>
              <a:gd name="connsiteX996" fmla="*/ 6873335 w 12191977"/>
              <a:gd name="connsiteY996" fmla="*/ 3396548 h 6875987"/>
              <a:gd name="connsiteX997" fmla="*/ 6873335 w 12191977"/>
              <a:gd name="connsiteY997" fmla="*/ 3344162 h 6875987"/>
              <a:gd name="connsiteX998" fmla="*/ 6820949 w 12191977"/>
              <a:gd name="connsiteY998" fmla="*/ 3344162 h 6875987"/>
              <a:gd name="connsiteX999" fmla="*/ 6820949 w 12191977"/>
              <a:gd name="connsiteY999" fmla="*/ 2733200 h 6875987"/>
              <a:gd name="connsiteX1000" fmla="*/ 6873335 w 12191977"/>
              <a:gd name="connsiteY1000" fmla="*/ 2733200 h 6875987"/>
              <a:gd name="connsiteX1001" fmla="*/ 6102330 w 12191977"/>
              <a:gd name="connsiteY1001" fmla="*/ 2680814 h 6875987"/>
              <a:gd name="connsiteX1002" fmla="*/ 6764962 w 12191977"/>
              <a:gd name="connsiteY1002" fmla="*/ 2680814 h 6875987"/>
              <a:gd name="connsiteX1003" fmla="*/ 6764962 w 12191977"/>
              <a:gd name="connsiteY1003" fmla="*/ 2733200 h 6875987"/>
              <a:gd name="connsiteX1004" fmla="*/ 6817349 w 12191977"/>
              <a:gd name="connsiteY1004" fmla="*/ 2733200 h 6875987"/>
              <a:gd name="connsiteX1005" fmla="*/ 6817349 w 12191977"/>
              <a:gd name="connsiteY1005" fmla="*/ 3344162 h 6875987"/>
              <a:gd name="connsiteX1006" fmla="*/ 6764962 w 12191977"/>
              <a:gd name="connsiteY1006" fmla="*/ 3344162 h 6875987"/>
              <a:gd name="connsiteX1007" fmla="*/ 6764962 w 12191977"/>
              <a:gd name="connsiteY1007" fmla="*/ 3396548 h 6875987"/>
              <a:gd name="connsiteX1008" fmla="*/ 6102330 w 12191977"/>
              <a:gd name="connsiteY1008" fmla="*/ 3396548 h 6875987"/>
              <a:gd name="connsiteX1009" fmla="*/ 5383726 w 12191977"/>
              <a:gd name="connsiteY1009" fmla="*/ 2680814 h 6875987"/>
              <a:gd name="connsiteX1010" fmla="*/ 6098730 w 12191977"/>
              <a:gd name="connsiteY1010" fmla="*/ 2680814 h 6875987"/>
              <a:gd name="connsiteX1011" fmla="*/ 6098730 w 12191977"/>
              <a:gd name="connsiteY1011" fmla="*/ 3396548 h 6875987"/>
              <a:gd name="connsiteX1012" fmla="*/ 5383726 w 12191977"/>
              <a:gd name="connsiteY1012" fmla="*/ 3396548 h 6875987"/>
              <a:gd name="connsiteX1013" fmla="*/ 4665104 w 12191977"/>
              <a:gd name="connsiteY1013" fmla="*/ 2680814 h 6875987"/>
              <a:gd name="connsiteX1014" fmla="*/ 5380126 w 12191977"/>
              <a:gd name="connsiteY1014" fmla="*/ 2680814 h 6875987"/>
              <a:gd name="connsiteX1015" fmla="*/ 5380126 w 12191977"/>
              <a:gd name="connsiteY1015" fmla="*/ 3396548 h 6875987"/>
              <a:gd name="connsiteX1016" fmla="*/ 4665104 w 12191977"/>
              <a:gd name="connsiteY1016" fmla="*/ 3396548 h 6875987"/>
              <a:gd name="connsiteX1017" fmla="*/ 3946494 w 12191977"/>
              <a:gd name="connsiteY1017" fmla="*/ 2680814 h 6875987"/>
              <a:gd name="connsiteX1018" fmla="*/ 4661503 w 12191977"/>
              <a:gd name="connsiteY1018" fmla="*/ 2680814 h 6875987"/>
              <a:gd name="connsiteX1019" fmla="*/ 4661503 w 12191977"/>
              <a:gd name="connsiteY1019" fmla="*/ 3396548 h 6875987"/>
              <a:gd name="connsiteX1020" fmla="*/ 3946494 w 12191977"/>
              <a:gd name="connsiteY1020" fmla="*/ 3396548 h 6875987"/>
              <a:gd name="connsiteX1021" fmla="*/ 3227879 w 12191977"/>
              <a:gd name="connsiteY1021" fmla="*/ 2680814 h 6875987"/>
              <a:gd name="connsiteX1022" fmla="*/ 3942897 w 12191977"/>
              <a:gd name="connsiteY1022" fmla="*/ 2680814 h 6875987"/>
              <a:gd name="connsiteX1023" fmla="*/ 3942897 w 12191977"/>
              <a:gd name="connsiteY1023" fmla="*/ 3396548 h 6875987"/>
              <a:gd name="connsiteX1024" fmla="*/ 3227879 w 12191977"/>
              <a:gd name="connsiteY1024" fmla="*/ 3396548 h 6875987"/>
              <a:gd name="connsiteX1025" fmla="*/ 2509260 w 12191977"/>
              <a:gd name="connsiteY1025" fmla="*/ 2680814 h 6875987"/>
              <a:gd name="connsiteX1026" fmla="*/ 3224280 w 12191977"/>
              <a:gd name="connsiteY1026" fmla="*/ 2680814 h 6875987"/>
              <a:gd name="connsiteX1027" fmla="*/ 3224280 w 12191977"/>
              <a:gd name="connsiteY1027" fmla="*/ 3396548 h 6875987"/>
              <a:gd name="connsiteX1028" fmla="*/ 2509260 w 12191977"/>
              <a:gd name="connsiteY1028" fmla="*/ 3396548 h 6875987"/>
              <a:gd name="connsiteX1029" fmla="*/ 1790634 w 12191977"/>
              <a:gd name="connsiteY1029" fmla="*/ 2680814 h 6875987"/>
              <a:gd name="connsiteX1030" fmla="*/ 2505660 w 12191977"/>
              <a:gd name="connsiteY1030" fmla="*/ 2680814 h 6875987"/>
              <a:gd name="connsiteX1031" fmla="*/ 2505660 w 12191977"/>
              <a:gd name="connsiteY1031" fmla="*/ 3396548 h 6875987"/>
              <a:gd name="connsiteX1032" fmla="*/ 1790634 w 12191977"/>
              <a:gd name="connsiteY1032" fmla="*/ 3396548 h 6875987"/>
              <a:gd name="connsiteX1033" fmla="*/ 1072016 w 12191977"/>
              <a:gd name="connsiteY1033" fmla="*/ 2680814 h 6875987"/>
              <a:gd name="connsiteX1034" fmla="*/ 1787035 w 12191977"/>
              <a:gd name="connsiteY1034" fmla="*/ 2680814 h 6875987"/>
              <a:gd name="connsiteX1035" fmla="*/ 1787035 w 12191977"/>
              <a:gd name="connsiteY1035" fmla="*/ 3396548 h 6875987"/>
              <a:gd name="connsiteX1036" fmla="*/ 1072016 w 12191977"/>
              <a:gd name="connsiteY1036" fmla="*/ 3396548 h 6875987"/>
              <a:gd name="connsiteX1037" fmla="*/ 353399 w 12191977"/>
              <a:gd name="connsiteY1037" fmla="*/ 2680814 h 6875987"/>
              <a:gd name="connsiteX1038" fmla="*/ 1068417 w 12191977"/>
              <a:gd name="connsiteY1038" fmla="*/ 2680814 h 6875987"/>
              <a:gd name="connsiteX1039" fmla="*/ 1068417 w 12191977"/>
              <a:gd name="connsiteY1039" fmla="*/ 3396548 h 6875987"/>
              <a:gd name="connsiteX1040" fmla="*/ 353399 w 12191977"/>
              <a:gd name="connsiteY1040" fmla="*/ 3396548 h 6875987"/>
              <a:gd name="connsiteX1041" fmla="*/ 0 w 12191977"/>
              <a:gd name="connsiteY1041" fmla="*/ 2680814 h 6875987"/>
              <a:gd name="connsiteX1042" fmla="*/ 349799 w 12191977"/>
              <a:gd name="connsiteY1042" fmla="*/ 2680814 h 6875987"/>
              <a:gd name="connsiteX1043" fmla="*/ 349799 w 12191977"/>
              <a:gd name="connsiteY1043" fmla="*/ 3396548 h 6875987"/>
              <a:gd name="connsiteX1044" fmla="*/ 0 w 12191977"/>
              <a:gd name="connsiteY1044" fmla="*/ 3396548 h 6875987"/>
              <a:gd name="connsiteX1045" fmla="*/ 11903675 w 12191977"/>
              <a:gd name="connsiteY1045" fmla="*/ 1961483 h 6875987"/>
              <a:gd name="connsiteX1046" fmla="*/ 12191977 w 12191977"/>
              <a:gd name="connsiteY1046" fmla="*/ 1961483 h 6875987"/>
              <a:gd name="connsiteX1047" fmla="*/ 12191977 w 12191977"/>
              <a:gd name="connsiteY1047" fmla="*/ 2677213 h 6875987"/>
              <a:gd name="connsiteX1048" fmla="*/ 11903675 w 12191977"/>
              <a:gd name="connsiteY1048" fmla="*/ 2677213 h 6875987"/>
              <a:gd name="connsiteX1049" fmla="*/ 11903675 w 12191977"/>
              <a:gd name="connsiteY1049" fmla="*/ 2624827 h 6875987"/>
              <a:gd name="connsiteX1050" fmla="*/ 11851288 w 12191977"/>
              <a:gd name="connsiteY1050" fmla="*/ 2624827 h 6875987"/>
              <a:gd name="connsiteX1051" fmla="*/ 11851288 w 12191977"/>
              <a:gd name="connsiteY1051" fmla="*/ 2013867 h 6875987"/>
              <a:gd name="connsiteX1052" fmla="*/ 11903675 w 12191977"/>
              <a:gd name="connsiteY1052" fmla="*/ 2013867 h 6875987"/>
              <a:gd name="connsiteX1053" fmla="*/ 11185049 w 12191977"/>
              <a:gd name="connsiteY1053" fmla="*/ 1961483 h 6875987"/>
              <a:gd name="connsiteX1054" fmla="*/ 11795302 w 12191977"/>
              <a:gd name="connsiteY1054" fmla="*/ 1961483 h 6875987"/>
              <a:gd name="connsiteX1055" fmla="*/ 11795302 w 12191977"/>
              <a:gd name="connsiteY1055" fmla="*/ 2013867 h 6875987"/>
              <a:gd name="connsiteX1056" fmla="*/ 11847688 w 12191977"/>
              <a:gd name="connsiteY1056" fmla="*/ 2013867 h 6875987"/>
              <a:gd name="connsiteX1057" fmla="*/ 11847688 w 12191977"/>
              <a:gd name="connsiteY1057" fmla="*/ 2624827 h 6875987"/>
              <a:gd name="connsiteX1058" fmla="*/ 11795302 w 12191977"/>
              <a:gd name="connsiteY1058" fmla="*/ 2624827 h 6875987"/>
              <a:gd name="connsiteX1059" fmla="*/ 11795302 w 12191977"/>
              <a:gd name="connsiteY1059" fmla="*/ 2677213 h 6875987"/>
              <a:gd name="connsiteX1060" fmla="*/ 11185049 w 12191977"/>
              <a:gd name="connsiteY1060" fmla="*/ 2677213 h 6875987"/>
              <a:gd name="connsiteX1061" fmla="*/ 11185049 w 12191977"/>
              <a:gd name="connsiteY1061" fmla="*/ 2624827 h 6875987"/>
              <a:gd name="connsiteX1062" fmla="*/ 11132662 w 12191977"/>
              <a:gd name="connsiteY1062" fmla="*/ 2624827 h 6875987"/>
              <a:gd name="connsiteX1063" fmla="*/ 11132662 w 12191977"/>
              <a:gd name="connsiteY1063" fmla="*/ 2013867 h 6875987"/>
              <a:gd name="connsiteX1064" fmla="*/ 11185049 w 12191977"/>
              <a:gd name="connsiteY1064" fmla="*/ 2013867 h 6875987"/>
              <a:gd name="connsiteX1065" fmla="*/ 10466430 w 12191977"/>
              <a:gd name="connsiteY1065" fmla="*/ 1961483 h 6875987"/>
              <a:gd name="connsiteX1066" fmla="*/ 11076676 w 12191977"/>
              <a:gd name="connsiteY1066" fmla="*/ 1961483 h 6875987"/>
              <a:gd name="connsiteX1067" fmla="*/ 11076676 w 12191977"/>
              <a:gd name="connsiteY1067" fmla="*/ 2013867 h 6875987"/>
              <a:gd name="connsiteX1068" fmla="*/ 11129062 w 12191977"/>
              <a:gd name="connsiteY1068" fmla="*/ 2013867 h 6875987"/>
              <a:gd name="connsiteX1069" fmla="*/ 11129062 w 12191977"/>
              <a:gd name="connsiteY1069" fmla="*/ 2624827 h 6875987"/>
              <a:gd name="connsiteX1070" fmla="*/ 11076676 w 12191977"/>
              <a:gd name="connsiteY1070" fmla="*/ 2624827 h 6875987"/>
              <a:gd name="connsiteX1071" fmla="*/ 11076676 w 12191977"/>
              <a:gd name="connsiteY1071" fmla="*/ 2677213 h 6875987"/>
              <a:gd name="connsiteX1072" fmla="*/ 10466430 w 12191977"/>
              <a:gd name="connsiteY1072" fmla="*/ 2677213 h 6875987"/>
              <a:gd name="connsiteX1073" fmla="*/ 10466430 w 12191977"/>
              <a:gd name="connsiteY1073" fmla="*/ 2624827 h 6875987"/>
              <a:gd name="connsiteX1074" fmla="*/ 10414043 w 12191977"/>
              <a:gd name="connsiteY1074" fmla="*/ 2624827 h 6875987"/>
              <a:gd name="connsiteX1075" fmla="*/ 10414043 w 12191977"/>
              <a:gd name="connsiteY1075" fmla="*/ 2013867 h 6875987"/>
              <a:gd name="connsiteX1076" fmla="*/ 10466430 w 12191977"/>
              <a:gd name="connsiteY1076" fmla="*/ 2013867 h 6875987"/>
              <a:gd name="connsiteX1077" fmla="*/ 9747811 w 12191977"/>
              <a:gd name="connsiteY1077" fmla="*/ 1961483 h 6875987"/>
              <a:gd name="connsiteX1078" fmla="*/ 10358057 w 12191977"/>
              <a:gd name="connsiteY1078" fmla="*/ 1961483 h 6875987"/>
              <a:gd name="connsiteX1079" fmla="*/ 10358057 w 12191977"/>
              <a:gd name="connsiteY1079" fmla="*/ 2013867 h 6875987"/>
              <a:gd name="connsiteX1080" fmla="*/ 10410443 w 12191977"/>
              <a:gd name="connsiteY1080" fmla="*/ 2013867 h 6875987"/>
              <a:gd name="connsiteX1081" fmla="*/ 10410443 w 12191977"/>
              <a:gd name="connsiteY1081" fmla="*/ 2624827 h 6875987"/>
              <a:gd name="connsiteX1082" fmla="*/ 10358057 w 12191977"/>
              <a:gd name="connsiteY1082" fmla="*/ 2624827 h 6875987"/>
              <a:gd name="connsiteX1083" fmla="*/ 10358057 w 12191977"/>
              <a:gd name="connsiteY1083" fmla="*/ 2677213 h 6875987"/>
              <a:gd name="connsiteX1084" fmla="*/ 9747811 w 12191977"/>
              <a:gd name="connsiteY1084" fmla="*/ 2677213 h 6875987"/>
              <a:gd name="connsiteX1085" fmla="*/ 9747811 w 12191977"/>
              <a:gd name="connsiteY1085" fmla="*/ 2624827 h 6875987"/>
              <a:gd name="connsiteX1086" fmla="*/ 9695424 w 12191977"/>
              <a:gd name="connsiteY1086" fmla="*/ 2624827 h 6875987"/>
              <a:gd name="connsiteX1087" fmla="*/ 9695424 w 12191977"/>
              <a:gd name="connsiteY1087" fmla="*/ 2013867 h 6875987"/>
              <a:gd name="connsiteX1088" fmla="*/ 9747811 w 12191977"/>
              <a:gd name="connsiteY1088" fmla="*/ 2013867 h 6875987"/>
              <a:gd name="connsiteX1089" fmla="*/ 9029192 w 12191977"/>
              <a:gd name="connsiteY1089" fmla="*/ 1961483 h 6875987"/>
              <a:gd name="connsiteX1090" fmla="*/ 9639438 w 12191977"/>
              <a:gd name="connsiteY1090" fmla="*/ 1961483 h 6875987"/>
              <a:gd name="connsiteX1091" fmla="*/ 9639438 w 12191977"/>
              <a:gd name="connsiteY1091" fmla="*/ 2013867 h 6875987"/>
              <a:gd name="connsiteX1092" fmla="*/ 9691824 w 12191977"/>
              <a:gd name="connsiteY1092" fmla="*/ 2013867 h 6875987"/>
              <a:gd name="connsiteX1093" fmla="*/ 9691824 w 12191977"/>
              <a:gd name="connsiteY1093" fmla="*/ 2624827 h 6875987"/>
              <a:gd name="connsiteX1094" fmla="*/ 9639438 w 12191977"/>
              <a:gd name="connsiteY1094" fmla="*/ 2624827 h 6875987"/>
              <a:gd name="connsiteX1095" fmla="*/ 9639438 w 12191977"/>
              <a:gd name="connsiteY1095" fmla="*/ 2677213 h 6875987"/>
              <a:gd name="connsiteX1096" fmla="*/ 9029192 w 12191977"/>
              <a:gd name="connsiteY1096" fmla="*/ 2677213 h 6875987"/>
              <a:gd name="connsiteX1097" fmla="*/ 9029192 w 12191977"/>
              <a:gd name="connsiteY1097" fmla="*/ 2624827 h 6875987"/>
              <a:gd name="connsiteX1098" fmla="*/ 8976805 w 12191977"/>
              <a:gd name="connsiteY1098" fmla="*/ 2624827 h 6875987"/>
              <a:gd name="connsiteX1099" fmla="*/ 8976805 w 12191977"/>
              <a:gd name="connsiteY1099" fmla="*/ 2013867 h 6875987"/>
              <a:gd name="connsiteX1100" fmla="*/ 9029192 w 12191977"/>
              <a:gd name="connsiteY1100" fmla="*/ 2013867 h 6875987"/>
              <a:gd name="connsiteX1101" fmla="*/ 8310573 w 12191977"/>
              <a:gd name="connsiteY1101" fmla="*/ 1961483 h 6875987"/>
              <a:gd name="connsiteX1102" fmla="*/ 8920819 w 12191977"/>
              <a:gd name="connsiteY1102" fmla="*/ 1961483 h 6875987"/>
              <a:gd name="connsiteX1103" fmla="*/ 8920819 w 12191977"/>
              <a:gd name="connsiteY1103" fmla="*/ 2013867 h 6875987"/>
              <a:gd name="connsiteX1104" fmla="*/ 8973205 w 12191977"/>
              <a:gd name="connsiteY1104" fmla="*/ 2013867 h 6875987"/>
              <a:gd name="connsiteX1105" fmla="*/ 8973205 w 12191977"/>
              <a:gd name="connsiteY1105" fmla="*/ 2624827 h 6875987"/>
              <a:gd name="connsiteX1106" fmla="*/ 8920819 w 12191977"/>
              <a:gd name="connsiteY1106" fmla="*/ 2624827 h 6875987"/>
              <a:gd name="connsiteX1107" fmla="*/ 8920819 w 12191977"/>
              <a:gd name="connsiteY1107" fmla="*/ 2677213 h 6875987"/>
              <a:gd name="connsiteX1108" fmla="*/ 8310573 w 12191977"/>
              <a:gd name="connsiteY1108" fmla="*/ 2677213 h 6875987"/>
              <a:gd name="connsiteX1109" fmla="*/ 8310573 w 12191977"/>
              <a:gd name="connsiteY1109" fmla="*/ 2624827 h 6875987"/>
              <a:gd name="connsiteX1110" fmla="*/ 8258187 w 12191977"/>
              <a:gd name="connsiteY1110" fmla="*/ 2624827 h 6875987"/>
              <a:gd name="connsiteX1111" fmla="*/ 8258187 w 12191977"/>
              <a:gd name="connsiteY1111" fmla="*/ 2013867 h 6875987"/>
              <a:gd name="connsiteX1112" fmla="*/ 8310573 w 12191977"/>
              <a:gd name="connsiteY1112" fmla="*/ 2013867 h 6875987"/>
              <a:gd name="connsiteX1113" fmla="*/ 7591954 w 12191977"/>
              <a:gd name="connsiteY1113" fmla="*/ 1961483 h 6875987"/>
              <a:gd name="connsiteX1114" fmla="*/ 8202200 w 12191977"/>
              <a:gd name="connsiteY1114" fmla="*/ 1961483 h 6875987"/>
              <a:gd name="connsiteX1115" fmla="*/ 8202200 w 12191977"/>
              <a:gd name="connsiteY1115" fmla="*/ 2013867 h 6875987"/>
              <a:gd name="connsiteX1116" fmla="*/ 8254587 w 12191977"/>
              <a:gd name="connsiteY1116" fmla="*/ 2013867 h 6875987"/>
              <a:gd name="connsiteX1117" fmla="*/ 8254587 w 12191977"/>
              <a:gd name="connsiteY1117" fmla="*/ 2624827 h 6875987"/>
              <a:gd name="connsiteX1118" fmla="*/ 8202200 w 12191977"/>
              <a:gd name="connsiteY1118" fmla="*/ 2624827 h 6875987"/>
              <a:gd name="connsiteX1119" fmla="*/ 8202200 w 12191977"/>
              <a:gd name="connsiteY1119" fmla="*/ 2677213 h 6875987"/>
              <a:gd name="connsiteX1120" fmla="*/ 7591954 w 12191977"/>
              <a:gd name="connsiteY1120" fmla="*/ 2677213 h 6875987"/>
              <a:gd name="connsiteX1121" fmla="*/ 7591954 w 12191977"/>
              <a:gd name="connsiteY1121" fmla="*/ 2624827 h 6875987"/>
              <a:gd name="connsiteX1122" fmla="*/ 7539568 w 12191977"/>
              <a:gd name="connsiteY1122" fmla="*/ 2624827 h 6875987"/>
              <a:gd name="connsiteX1123" fmla="*/ 7539568 w 12191977"/>
              <a:gd name="connsiteY1123" fmla="*/ 2013868 h 6875987"/>
              <a:gd name="connsiteX1124" fmla="*/ 7591954 w 12191977"/>
              <a:gd name="connsiteY1124" fmla="*/ 2013868 h 6875987"/>
              <a:gd name="connsiteX1125" fmla="*/ 6873335 w 12191977"/>
              <a:gd name="connsiteY1125" fmla="*/ 1961483 h 6875987"/>
              <a:gd name="connsiteX1126" fmla="*/ 7483581 w 12191977"/>
              <a:gd name="connsiteY1126" fmla="*/ 1961483 h 6875987"/>
              <a:gd name="connsiteX1127" fmla="*/ 7483581 w 12191977"/>
              <a:gd name="connsiteY1127" fmla="*/ 2013868 h 6875987"/>
              <a:gd name="connsiteX1128" fmla="*/ 7535968 w 12191977"/>
              <a:gd name="connsiteY1128" fmla="*/ 2013868 h 6875987"/>
              <a:gd name="connsiteX1129" fmla="*/ 7535968 w 12191977"/>
              <a:gd name="connsiteY1129" fmla="*/ 2624827 h 6875987"/>
              <a:gd name="connsiteX1130" fmla="*/ 7483581 w 12191977"/>
              <a:gd name="connsiteY1130" fmla="*/ 2624827 h 6875987"/>
              <a:gd name="connsiteX1131" fmla="*/ 7483581 w 12191977"/>
              <a:gd name="connsiteY1131" fmla="*/ 2677213 h 6875987"/>
              <a:gd name="connsiteX1132" fmla="*/ 6873335 w 12191977"/>
              <a:gd name="connsiteY1132" fmla="*/ 2677213 h 6875987"/>
              <a:gd name="connsiteX1133" fmla="*/ 6873335 w 12191977"/>
              <a:gd name="connsiteY1133" fmla="*/ 2624827 h 6875987"/>
              <a:gd name="connsiteX1134" fmla="*/ 6820949 w 12191977"/>
              <a:gd name="connsiteY1134" fmla="*/ 2624827 h 6875987"/>
              <a:gd name="connsiteX1135" fmla="*/ 6820949 w 12191977"/>
              <a:gd name="connsiteY1135" fmla="*/ 2013868 h 6875987"/>
              <a:gd name="connsiteX1136" fmla="*/ 6873335 w 12191977"/>
              <a:gd name="connsiteY1136" fmla="*/ 2013868 h 6875987"/>
              <a:gd name="connsiteX1137" fmla="*/ 6102330 w 12191977"/>
              <a:gd name="connsiteY1137" fmla="*/ 1961483 h 6875987"/>
              <a:gd name="connsiteX1138" fmla="*/ 6764962 w 12191977"/>
              <a:gd name="connsiteY1138" fmla="*/ 1961483 h 6875987"/>
              <a:gd name="connsiteX1139" fmla="*/ 6764962 w 12191977"/>
              <a:gd name="connsiteY1139" fmla="*/ 2013868 h 6875987"/>
              <a:gd name="connsiteX1140" fmla="*/ 6817349 w 12191977"/>
              <a:gd name="connsiteY1140" fmla="*/ 2013868 h 6875987"/>
              <a:gd name="connsiteX1141" fmla="*/ 6817349 w 12191977"/>
              <a:gd name="connsiteY1141" fmla="*/ 2624827 h 6875987"/>
              <a:gd name="connsiteX1142" fmla="*/ 6764962 w 12191977"/>
              <a:gd name="connsiteY1142" fmla="*/ 2624827 h 6875987"/>
              <a:gd name="connsiteX1143" fmla="*/ 6764962 w 12191977"/>
              <a:gd name="connsiteY1143" fmla="*/ 2677213 h 6875987"/>
              <a:gd name="connsiteX1144" fmla="*/ 6102330 w 12191977"/>
              <a:gd name="connsiteY1144" fmla="*/ 2677213 h 6875987"/>
              <a:gd name="connsiteX1145" fmla="*/ 5383726 w 12191977"/>
              <a:gd name="connsiteY1145" fmla="*/ 1961483 h 6875987"/>
              <a:gd name="connsiteX1146" fmla="*/ 6098730 w 12191977"/>
              <a:gd name="connsiteY1146" fmla="*/ 1961483 h 6875987"/>
              <a:gd name="connsiteX1147" fmla="*/ 6098730 w 12191977"/>
              <a:gd name="connsiteY1147" fmla="*/ 2677213 h 6875987"/>
              <a:gd name="connsiteX1148" fmla="*/ 5383726 w 12191977"/>
              <a:gd name="connsiteY1148" fmla="*/ 2677213 h 6875987"/>
              <a:gd name="connsiteX1149" fmla="*/ 4665104 w 12191977"/>
              <a:gd name="connsiteY1149" fmla="*/ 1961483 h 6875987"/>
              <a:gd name="connsiteX1150" fmla="*/ 5380126 w 12191977"/>
              <a:gd name="connsiteY1150" fmla="*/ 1961483 h 6875987"/>
              <a:gd name="connsiteX1151" fmla="*/ 5380126 w 12191977"/>
              <a:gd name="connsiteY1151" fmla="*/ 2677213 h 6875987"/>
              <a:gd name="connsiteX1152" fmla="*/ 4665104 w 12191977"/>
              <a:gd name="connsiteY1152" fmla="*/ 2677213 h 6875987"/>
              <a:gd name="connsiteX1153" fmla="*/ 3946494 w 12191977"/>
              <a:gd name="connsiteY1153" fmla="*/ 1961483 h 6875987"/>
              <a:gd name="connsiteX1154" fmla="*/ 4661503 w 12191977"/>
              <a:gd name="connsiteY1154" fmla="*/ 1961483 h 6875987"/>
              <a:gd name="connsiteX1155" fmla="*/ 4661503 w 12191977"/>
              <a:gd name="connsiteY1155" fmla="*/ 2677213 h 6875987"/>
              <a:gd name="connsiteX1156" fmla="*/ 3946494 w 12191977"/>
              <a:gd name="connsiteY1156" fmla="*/ 2677213 h 6875987"/>
              <a:gd name="connsiteX1157" fmla="*/ 3227879 w 12191977"/>
              <a:gd name="connsiteY1157" fmla="*/ 1961483 h 6875987"/>
              <a:gd name="connsiteX1158" fmla="*/ 3942897 w 12191977"/>
              <a:gd name="connsiteY1158" fmla="*/ 1961483 h 6875987"/>
              <a:gd name="connsiteX1159" fmla="*/ 3942897 w 12191977"/>
              <a:gd name="connsiteY1159" fmla="*/ 2677213 h 6875987"/>
              <a:gd name="connsiteX1160" fmla="*/ 3227879 w 12191977"/>
              <a:gd name="connsiteY1160" fmla="*/ 2677213 h 6875987"/>
              <a:gd name="connsiteX1161" fmla="*/ 2509260 w 12191977"/>
              <a:gd name="connsiteY1161" fmla="*/ 1961483 h 6875987"/>
              <a:gd name="connsiteX1162" fmla="*/ 3224280 w 12191977"/>
              <a:gd name="connsiteY1162" fmla="*/ 1961483 h 6875987"/>
              <a:gd name="connsiteX1163" fmla="*/ 3224280 w 12191977"/>
              <a:gd name="connsiteY1163" fmla="*/ 2677213 h 6875987"/>
              <a:gd name="connsiteX1164" fmla="*/ 2509260 w 12191977"/>
              <a:gd name="connsiteY1164" fmla="*/ 2677213 h 6875987"/>
              <a:gd name="connsiteX1165" fmla="*/ 1790634 w 12191977"/>
              <a:gd name="connsiteY1165" fmla="*/ 1961483 h 6875987"/>
              <a:gd name="connsiteX1166" fmla="*/ 2505660 w 12191977"/>
              <a:gd name="connsiteY1166" fmla="*/ 1961483 h 6875987"/>
              <a:gd name="connsiteX1167" fmla="*/ 2505660 w 12191977"/>
              <a:gd name="connsiteY1167" fmla="*/ 2677213 h 6875987"/>
              <a:gd name="connsiteX1168" fmla="*/ 1790634 w 12191977"/>
              <a:gd name="connsiteY1168" fmla="*/ 2677213 h 6875987"/>
              <a:gd name="connsiteX1169" fmla="*/ 1072016 w 12191977"/>
              <a:gd name="connsiteY1169" fmla="*/ 1961483 h 6875987"/>
              <a:gd name="connsiteX1170" fmla="*/ 1787035 w 12191977"/>
              <a:gd name="connsiteY1170" fmla="*/ 1961483 h 6875987"/>
              <a:gd name="connsiteX1171" fmla="*/ 1787035 w 12191977"/>
              <a:gd name="connsiteY1171" fmla="*/ 2677213 h 6875987"/>
              <a:gd name="connsiteX1172" fmla="*/ 1072016 w 12191977"/>
              <a:gd name="connsiteY1172" fmla="*/ 2677213 h 6875987"/>
              <a:gd name="connsiteX1173" fmla="*/ 353399 w 12191977"/>
              <a:gd name="connsiteY1173" fmla="*/ 1961483 h 6875987"/>
              <a:gd name="connsiteX1174" fmla="*/ 1068417 w 12191977"/>
              <a:gd name="connsiteY1174" fmla="*/ 1961483 h 6875987"/>
              <a:gd name="connsiteX1175" fmla="*/ 1068417 w 12191977"/>
              <a:gd name="connsiteY1175" fmla="*/ 2677213 h 6875987"/>
              <a:gd name="connsiteX1176" fmla="*/ 353399 w 12191977"/>
              <a:gd name="connsiteY1176" fmla="*/ 2677213 h 6875987"/>
              <a:gd name="connsiteX1177" fmla="*/ 0 w 12191977"/>
              <a:gd name="connsiteY1177" fmla="*/ 1961483 h 6875987"/>
              <a:gd name="connsiteX1178" fmla="*/ 349799 w 12191977"/>
              <a:gd name="connsiteY1178" fmla="*/ 1961483 h 6875987"/>
              <a:gd name="connsiteX1179" fmla="*/ 349799 w 12191977"/>
              <a:gd name="connsiteY1179" fmla="*/ 2677213 h 6875987"/>
              <a:gd name="connsiteX1180" fmla="*/ 0 w 12191977"/>
              <a:gd name="connsiteY1180" fmla="*/ 2677213 h 6875987"/>
              <a:gd name="connsiteX1181" fmla="*/ 11903675 w 12191977"/>
              <a:gd name="connsiteY1181" fmla="*/ 1242143 h 6875987"/>
              <a:gd name="connsiteX1182" fmla="*/ 12191977 w 12191977"/>
              <a:gd name="connsiteY1182" fmla="*/ 1242143 h 6875987"/>
              <a:gd name="connsiteX1183" fmla="*/ 12191977 w 12191977"/>
              <a:gd name="connsiteY1183" fmla="*/ 1957883 h 6875987"/>
              <a:gd name="connsiteX1184" fmla="*/ 11903675 w 12191977"/>
              <a:gd name="connsiteY1184" fmla="*/ 1957883 h 6875987"/>
              <a:gd name="connsiteX1185" fmla="*/ 11903675 w 12191977"/>
              <a:gd name="connsiteY1185" fmla="*/ 1905494 h 6875987"/>
              <a:gd name="connsiteX1186" fmla="*/ 11851288 w 12191977"/>
              <a:gd name="connsiteY1186" fmla="*/ 1905494 h 6875987"/>
              <a:gd name="connsiteX1187" fmla="*/ 11851288 w 12191977"/>
              <a:gd name="connsiteY1187" fmla="*/ 1294526 h 6875987"/>
              <a:gd name="connsiteX1188" fmla="*/ 11903675 w 12191977"/>
              <a:gd name="connsiteY1188" fmla="*/ 1294526 h 6875987"/>
              <a:gd name="connsiteX1189" fmla="*/ 11185049 w 12191977"/>
              <a:gd name="connsiteY1189" fmla="*/ 1242143 h 6875987"/>
              <a:gd name="connsiteX1190" fmla="*/ 11795302 w 12191977"/>
              <a:gd name="connsiteY1190" fmla="*/ 1242143 h 6875987"/>
              <a:gd name="connsiteX1191" fmla="*/ 11795302 w 12191977"/>
              <a:gd name="connsiteY1191" fmla="*/ 1294526 h 6875987"/>
              <a:gd name="connsiteX1192" fmla="*/ 11847688 w 12191977"/>
              <a:gd name="connsiteY1192" fmla="*/ 1294526 h 6875987"/>
              <a:gd name="connsiteX1193" fmla="*/ 11847688 w 12191977"/>
              <a:gd name="connsiteY1193" fmla="*/ 1905494 h 6875987"/>
              <a:gd name="connsiteX1194" fmla="*/ 11795302 w 12191977"/>
              <a:gd name="connsiteY1194" fmla="*/ 1905494 h 6875987"/>
              <a:gd name="connsiteX1195" fmla="*/ 11795302 w 12191977"/>
              <a:gd name="connsiteY1195" fmla="*/ 1957883 h 6875987"/>
              <a:gd name="connsiteX1196" fmla="*/ 11185049 w 12191977"/>
              <a:gd name="connsiteY1196" fmla="*/ 1957883 h 6875987"/>
              <a:gd name="connsiteX1197" fmla="*/ 11185049 w 12191977"/>
              <a:gd name="connsiteY1197" fmla="*/ 1905495 h 6875987"/>
              <a:gd name="connsiteX1198" fmla="*/ 11132662 w 12191977"/>
              <a:gd name="connsiteY1198" fmla="*/ 1905495 h 6875987"/>
              <a:gd name="connsiteX1199" fmla="*/ 11132662 w 12191977"/>
              <a:gd name="connsiteY1199" fmla="*/ 1294526 h 6875987"/>
              <a:gd name="connsiteX1200" fmla="*/ 11185049 w 12191977"/>
              <a:gd name="connsiteY1200" fmla="*/ 1294526 h 6875987"/>
              <a:gd name="connsiteX1201" fmla="*/ 10466430 w 12191977"/>
              <a:gd name="connsiteY1201" fmla="*/ 1242143 h 6875987"/>
              <a:gd name="connsiteX1202" fmla="*/ 11076676 w 12191977"/>
              <a:gd name="connsiteY1202" fmla="*/ 1242143 h 6875987"/>
              <a:gd name="connsiteX1203" fmla="*/ 11076676 w 12191977"/>
              <a:gd name="connsiteY1203" fmla="*/ 1294526 h 6875987"/>
              <a:gd name="connsiteX1204" fmla="*/ 11129062 w 12191977"/>
              <a:gd name="connsiteY1204" fmla="*/ 1294526 h 6875987"/>
              <a:gd name="connsiteX1205" fmla="*/ 11129062 w 12191977"/>
              <a:gd name="connsiteY1205" fmla="*/ 1905495 h 6875987"/>
              <a:gd name="connsiteX1206" fmla="*/ 11076676 w 12191977"/>
              <a:gd name="connsiteY1206" fmla="*/ 1905495 h 6875987"/>
              <a:gd name="connsiteX1207" fmla="*/ 11076676 w 12191977"/>
              <a:gd name="connsiteY1207" fmla="*/ 1957883 h 6875987"/>
              <a:gd name="connsiteX1208" fmla="*/ 10466430 w 12191977"/>
              <a:gd name="connsiteY1208" fmla="*/ 1957883 h 6875987"/>
              <a:gd name="connsiteX1209" fmla="*/ 10466430 w 12191977"/>
              <a:gd name="connsiteY1209" fmla="*/ 1905495 h 6875987"/>
              <a:gd name="connsiteX1210" fmla="*/ 10414043 w 12191977"/>
              <a:gd name="connsiteY1210" fmla="*/ 1905495 h 6875987"/>
              <a:gd name="connsiteX1211" fmla="*/ 10414043 w 12191977"/>
              <a:gd name="connsiteY1211" fmla="*/ 1294526 h 6875987"/>
              <a:gd name="connsiteX1212" fmla="*/ 10466430 w 12191977"/>
              <a:gd name="connsiteY1212" fmla="*/ 1294526 h 6875987"/>
              <a:gd name="connsiteX1213" fmla="*/ 9747811 w 12191977"/>
              <a:gd name="connsiteY1213" fmla="*/ 1242143 h 6875987"/>
              <a:gd name="connsiteX1214" fmla="*/ 10358057 w 12191977"/>
              <a:gd name="connsiteY1214" fmla="*/ 1242143 h 6875987"/>
              <a:gd name="connsiteX1215" fmla="*/ 10358057 w 12191977"/>
              <a:gd name="connsiteY1215" fmla="*/ 1294526 h 6875987"/>
              <a:gd name="connsiteX1216" fmla="*/ 10410443 w 12191977"/>
              <a:gd name="connsiteY1216" fmla="*/ 1294526 h 6875987"/>
              <a:gd name="connsiteX1217" fmla="*/ 10410443 w 12191977"/>
              <a:gd name="connsiteY1217" fmla="*/ 1905495 h 6875987"/>
              <a:gd name="connsiteX1218" fmla="*/ 10358057 w 12191977"/>
              <a:gd name="connsiteY1218" fmla="*/ 1905495 h 6875987"/>
              <a:gd name="connsiteX1219" fmla="*/ 10358057 w 12191977"/>
              <a:gd name="connsiteY1219" fmla="*/ 1957883 h 6875987"/>
              <a:gd name="connsiteX1220" fmla="*/ 9747811 w 12191977"/>
              <a:gd name="connsiteY1220" fmla="*/ 1957883 h 6875987"/>
              <a:gd name="connsiteX1221" fmla="*/ 9747811 w 12191977"/>
              <a:gd name="connsiteY1221" fmla="*/ 1905495 h 6875987"/>
              <a:gd name="connsiteX1222" fmla="*/ 9695424 w 12191977"/>
              <a:gd name="connsiteY1222" fmla="*/ 1905495 h 6875987"/>
              <a:gd name="connsiteX1223" fmla="*/ 9695424 w 12191977"/>
              <a:gd name="connsiteY1223" fmla="*/ 1294526 h 6875987"/>
              <a:gd name="connsiteX1224" fmla="*/ 9747811 w 12191977"/>
              <a:gd name="connsiteY1224" fmla="*/ 1294526 h 6875987"/>
              <a:gd name="connsiteX1225" fmla="*/ 9029192 w 12191977"/>
              <a:gd name="connsiteY1225" fmla="*/ 1242143 h 6875987"/>
              <a:gd name="connsiteX1226" fmla="*/ 9639438 w 12191977"/>
              <a:gd name="connsiteY1226" fmla="*/ 1242143 h 6875987"/>
              <a:gd name="connsiteX1227" fmla="*/ 9639438 w 12191977"/>
              <a:gd name="connsiteY1227" fmla="*/ 1294526 h 6875987"/>
              <a:gd name="connsiteX1228" fmla="*/ 9691824 w 12191977"/>
              <a:gd name="connsiteY1228" fmla="*/ 1294526 h 6875987"/>
              <a:gd name="connsiteX1229" fmla="*/ 9691824 w 12191977"/>
              <a:gd name="connsiteY1229" fmla="*/ 1905495 h 6875987"/>
              <a:gd name="connsiteX1230" fmla="*/ 9639438 w 12191977"/>
              <a:gd name="connsiteY1230" fmla="*/ 1905495 h 6875987"/>
              <a:gd name="connsiteX1231" fmla="*/ 9639438 w 12191977"/>
              <a:gd name="connsiteY1231" fmla="*/ 1957883 h 6875987"/>
              <a:gd name="connsiteX1232" fmla="*/ 9029192 w 12191977"/>
              <a:gd name="connsiteY1232" fmla="*/ 1957883 h 6875987"/>
              <a:gd name="connsiteX1233" fmla="*/ 9029192 w 12191977"/>
              <a:gd name="connsiteY1233" fmla="*/ 1905495 h 6875987"/>
              <a:gd name="connsiteX1234" fmla="*/ 8976805 w 12191977"/>
              <a:gd name="connsiteY1234" fmla="*/ 1905495 h 6875987"/>
              <a:gd name="connsiteX1235" fmla="*/ 8976805 w 12191977"/>
              <a:gd name="connsiteY1235" fmla="*/ 1294526 h 6875987"/>
              <a:gd name="connsiteX1236" fmla="*/ 9029192 w 12191977"/>
              <a:gd name="connsiteY1236" fmla="*/ 1294526 h 6875987"/>
              <a:gd name="connsiteX1237" fmla="*/ 8310573 w 12191977"/>
              <a:gd name="connsiteY1237" fmla="*/ 1242143 h 6875987"/>
              <a:gd name="connsiteX1238" fmla="*/ 8920819 w 12191977"/>
              <a:gd name="connsiteY1238" fmla="*/ 1242143 h 6875987"/>
              <a:gd name="connsiteX1239" fmla="*/ 8920819 w 12191977"/>
              <a:gd name="connsiteY1239" fmla="*/ 1294526 h 6875987"/>
              <a:gd name="connsiteX1240" fmla="*/ 8973205 w 12191977"/>
              <a:gd name="connsiteY1240" fmla="*/ 1294526 h 6875987"/>
              <a:gd name="connsiteX1241" fmla="*/ 8973205 w 12191977"/>
              <a:gd name="connsiteY1241" fmla="*/ 1905495 h 6875987"/>
              <a:gd name="connsiteX1242" fmla="*/ 8920819 w 12191977"/>
              <a:gd name="connsiteY1242" fmla="*/ 1905495 h 6875987"/>
              <a:gd name="connsiteX1243" fmla="*/ 8920819 w 12191977"/>
              <a:gd name="connsiteY1243" fmla="*/ 1957883 h 6875987"/>
              <a:gd name="connsiteX1244" fmla="*/ 8310573 w 12191977"/>
              <a:gd name="connsiteY1244" fmla="*/ 1957883 h 6875987"/>
              <a:gd name="connsiteX1245" fmla="*/ 8310573 w 12191977"/>
              <a:gd name="connsiteY1245" fmla="*/ 1905495 h 6875987"/>
              <a:gd name="connsiteX1246" fmla="*/ 8258187 w 12191977"/>
              <a:gd name="connsiteY1246" fmla="*/ 1905495 h 6875987"/>
              <a:gd name="connsiteX1247" fmla="*/ 8258187 w 12191977"/>
              <a:gd name="connsiteY1247" fmla="*/ 1294526 h 6875987"/>
              <a:gd name="connsiteX1248" fmla="*/ 8310573 w 12191977"/>
              <a:gd name="connsiteY1248" fmla="*/ 1294526 h 6875987"/>
              <a:gd name="connsiteX1249" fmla="*/ 7591954 w 12191977"/>
              <a:gd name="connsiteY1249" fmla="*/ 1242143 h 6875987"/>
              <a:gd name="connsiteX1250" fmla="*/ 8202200 w 12191977"/>
              <a:gd name="connsiteY1250" fmla="*/ 1242143 h 6875987"/>
              <a:gd name="connsiteX1251" fmla="*/ 8202200 w 12191977"/>
              <a:gd name="connsiteY1251" fmla="*/ 1294526 h 6875987"/>
              <a:gd name="connsiteX1252" fmla="*/ 8254587 w 12191977"/>
              <a:gd name="connsiteY1252" fmla="*/ 1294526 h 6875987"/>
              <a:gd name="connsiteX1253" fmla="*/ 8254587 w 12191977"/>
              <a:gd name="connsiteY1253" fmla="*/ 1905495 h 6875987"/>
              <a:gd name="connsiteX1254" fmla="*/ 8202200 w 12191977"/>
              <a:gd name="connsiteY1254" fmla="*/ 1905495 h 6875987"/>
              <a:gd name="connsiteX1255" fmla="*/ 8202200 w 12191977"/>
              <a:gd name="connsiteY1255" fmla="*/ 1957883 h 6875987"/>
              <a:gd name="connsiteX1256" fmla="*/ 7591954 w 12191977"/>
              <a:gd name="connsiteY1256" fmla="*/ 1957883 h 6875987"/>
              <a:gd name="connsiteX1257" fmla="*/ 7591954 w 12191977"/>
              <a:gd name="connsiteY1257" fmla="*/ 1905495 h 6875987"/>
              <a:gd name="connsiteX1258" fmla="*/ 7539568 w 12191977"/>
              <a:gd name="connsiteY1258" fmla="*/ 1905495 h 6875987"/>
              <a:gd name="connsiteX1259" fmla="*/ 7539568 w 12191977"/>
              <a:gd name="connsiteY1259" fmla="*/ 1294526 h 6875987"/>
              <a:gd name="connsiteX1260" fmla="*/ 7591954 w 12191977"/>
              <a:gd name="connsiteY1260" fmla="*/ 1294526 h 6875987"/>
              <a:gd name="connsiteX1261" fmla="*/ 6873335 w 12191977"/>
              <a:gd name="connsiteY1261" fmla="*/ 1242143 h 6875987"/>
              <a:gd name="connsiteX1262" fmla="*/ 7483581 w 12191977"/>
              <a:gd name="connsiteY1262" fmla="*/ 1242143 h 6875987"/>
              <a:gd name="connsiteX1263" fmla="*/ 7483581 w 12191977"/>
              <a:gd name="connsiteY1263" fmla="*/ 1294526 h 6875987"/>
              <a:gd name="connsiteX1264" fmla="*/ 7535968 w 12191977"/>
              <a:gd name="connsiteY1264" fmla="*/ 1294526 h 6875987"/>
              <a:gd name="connsiteX1265" fmla="*/ 7535968 w 12191977"/>
              <a:gd name="connsiteY1265" fmla="*/ 1905495 h 6875987"/>
              <a:gd name="connsiteX1266" fmla="*/ 7483581 w 12191977"/>
              <a:gd name="connsiteY1266" fmla="*/ 1905495 h 6875987"/>
              <a:gd name="connsiteX1267" fmla="*/ 7483581 w 12191977"/>
              <a:gd name="connsiteY1267" fmla="*/ 1957883 h 6875987"/>
              <a:gd name="connsiteX1268" fmla="*/ 6873335 w 12191977"/>
              <a:gd name="connsiteY1268" fmla="*/ 1957883 h 6875987"/>
              <a:gd name="connsiteX1269" fmla="*/ 6873335 w 12191977"/>
              <a:gd name="connsiteY1269" fmla="*/ 1905495 h 6875987"/>
              <a:gd name="connsiteX1270" fmla="*/ 6820949 w 12191977"/>
              <a:gd name="connsiteY1270" fmla="*/ 1905495 h 6875987"/>
              <a:gd name="connsiteX1271" fmla="*/ 6820949 w 12191977"/>
              <a:gd name="connsiteY1271" fmla="*/ 1294526 h 6875987"/>
              <a:gd name="connsiteX1272" fmla="*/ 6873335 w 12191977"/>
              <a:gd name="connsiteY1272" fmla="*/ 1294526 h 6875987"/>
              <a:gd name="connsiteX1273" fmla="*/ 6102330 w 12191977"/>
              <a:gd name="connsiteY1273" fmla="*/ 1242143 h 6875987"/>
              <a:gd name="connsiteX1274" fmla="*/ 6764962 w 12191977"/>
              <a:gd name="connsiteY1274" fmla="*/ 1242143 h 6875987"/>
              <a:gd name="connsiteX1275" fmla="*/ 6764962 w 12191977"/>
              <a:gd name="connsiteY1275" fmla="*/ 1294526 h 6875987"/>
              <a:gd name="connsiteX1276" fmla="*/ 6817349 w 12191977"/>
              <a:gd name="connsiteY1276" fmla="*/ 1294526 h 6875987"/>
              <a:gd name="connsiteX1277" fmla="*/ 6817349 w 12191977"/>
              <a:gd name="connsiteY1277" fmla="*/ 1905495 h 6875987"/>
              <a:gd name="connsiteX1278" fmla="*/ 6764962 w 12191977"/>
              <a:gd name="connsiteY1278" fmla="*/ 1905495 h 6875987"/>
              <a:gd name="connsiteX1279" fmla="*/ 6764962 w 12191977"/>
              <a:gd name="connsiteY1279" fmla="*/ 1957883 h 6875987"/>
              <a:gd name="connsiteX1280" fmla="*/ 6102330 w 12191977"/>
              <a:gd name="connsiteY1280" fmla="*/ 1957883 h 6875987"/>
              <a:gd name="connsiteX1281" fmla="*/ 5383726 w 12191977"/>
              <a:gd name="connsiteY1281" fmla="*/ 1242143 h 6875987"/>
              <a:gd name="connsiteX1282" fmla="*/ 6098730 w 12191977"/>
              <a:gd name="connsiteY1282" fmla="*/ 1242143 h 6875987"/>
              <a:gd name="connsiteX1283" fmla="*/ 6098730 w 12191977"/>
              <a:gd name="connsiteY1283" fmla="*/ 1957883 h 6875987"/>
              <a:gd name="connsiteX1284" fmla="*/ 5383726 w 12191977"/>
              <a:gd name="connsiteY1284" fmla="*/ 1957883 h 6875987"/>
              <a:gd name="connsiteX1285" fmla="*/ 4665104 w 12191977"/>
              <a:gd name="connsiteY1285" fmla="*/ 1242143 h 6875987"/>
              <a:gd name="connsiteX1286" fmla="*/ 5380126 w 12191977"/>
              <a:gd name="connsiteY1286" fmla="*/ 1242143 h 6875987"/>
              <a:gd name="connsiteX1287" fmla="*/ 5380126 w 12191977"/>
              <a:gd name="connsiteY1287" fmla="*/ 1957883 h 6875987"/>
              <a:gd name="connsiteX1288" fmla="*/ 4665104 w 12191977"/>
              <a:gd name="connsiteY1288" fmla="*/ 1957883 h 6875987"/>
              <a:gd name="connsiteX1289" fmla="*/ 3946494 w 12191977"/>
              <a:gd name="connsiteY1289" fmla="*/ 1242143 h 6875987"/>
              <a:gd name="connsiteX1290" fmla="*/ 4661503 w 12191977"/>
              <a:gd name="connsiteY1290" fmla="*/ 1242143 h 6875987"/>
              <a:gd name="connsiteX1291" fmla="*/ 4661503 w 12191977"/>
              <a:gd name="connsiteY1291" fmla="*/ 1957883 h 6875987"/>
              <a:gd name="connsiteX1292" fmla="*/ 3946494 w 12191977"/>
              <a:gd name="connsiteY1292" fmla="*/ 1957883 h 6875987"/>
              <a:gd name="connsiteX1293" fmla="*/ 3227879 w 12191977"/>
              <a:gd name="connsiteY1293" fmla="*/ 1242143 h 6875987"/>
              <a:gd name="connsiteX1294" fmla="*/ 3942897 w 12191977"/>
              <a:gd name="connsiteY1294" fmla="*/ 1242143 h 6875987"/>
              <a:gd name="connsiteX1295" fmla="*/ 3942897 w 12191977"/>
              <a:gd name="connsiteY1295" fmla="*/ 1957883 h 6875987"/>
              <a:gd name="connsiteX1296" fmla="*/ 3227879 w 12191977"/>
              <a:gd name="connsiteY1296" fmla="*/ 1957883 h 6875987"/>
              <a:gd name="connsiteX1297" fmla="*/ 2509260 w 12191977"/>
              <a:gd name="connsiteY1297" fmla="*/ 1242143 h 6875987"/>
              <a:gd name="connsiteX1298" fmla="*/ 3224280 w 12191977"/>
              <a:gd name="connsiteY1298" fmla="*/ 1242143 h 6875987"/>
              <a:gd name="connsiteX1299" fmla="*/ 3224280 w 12191977"/>
              <a:gd name="connsiteY1299" fmla="*/ 1957883 h 6875987"/>
              <a:gd name="connsiteX1300" fmla="*/ 2509260 w 12191977"/>
              <a:gd name="connsiteY1300" fmla="*/ 1957883 h 6875987"/>
              <a:gd name="connsiteX1301" fmla="*/ 1790634 w 12191977"/>
              <a:gd name="connsiteY1301" fmla="*/ 1242143 h 6875987"/>
              <a:gd name="connsiteX1302" fmla="*/ 2505660 w 12191977"/>
              <a:gd name="connsiteY1302" fmla="*/ 1242143 h 6875987"/>
              <a:gd name="connsiteX1303" fmla="*/ 2505660 w 12191977"/>
              <a:gd name="connsiteY1303" fmla="*/ 1957883 h 6875987"/>
              <a:gd name="connsiteX1304" fmla="*/ 1790634 w 12191977"/>
              <a:gd name="connsiteY1304" fmla="*/ 1957883 h 6875987"/>
              <a:gd name="connsiteX1305" fmla="*/ 1072016 w 12191977"/>
              <a:gd name="connsiteY1305" fmla="*/ 1242143 h 6875987"/>
              <a:gd name="connsiteX1306" fmla="*/ 1787035 w 12191977"/>
              <a:gd name="connsiteY1306" fmla="*/ 1242143 h 6875987"/>
              <a:gd name="connsiteX1307" fmla="*/ 1787035 w 12191977"/>
              <a:gd name="connsiteY1307" fmla="*/ 1957883 h 6875987"/>
              <a:gd name="connsiteX1308" fmla="*/ 1072016 w 12191977"/>
              <a:gd name="connsiteY1308" fmla="*/ 1957883 h 6875987"/>
              <a:gd name="connsiteX1309" fmla="*/ 353399 w 12191977"/>
              <a:gd name="connsiteY1309" fmla="*/ 1242143 h 6875987"/>
              <a:gd name="connsiteX1310" fmla="*/ 1068417 w 12191977"/>
              <a:gd name="connsiteY1310" fmla="*/ 1242143 h 6875987"/>
              <a:gd name="connsiteX1311" fmla="*/ 1068417 w 12191977"/>
              <a:gd name="connsiteY1311" fmla="*/ 1957883 h 6875987"/>
              <a:gd name="connsiteX1312" fmla="*/ 353399 w 12191977"/>
              <a:gd name="connsiteY1312" fmla="*/ 1957883 h 6875987"/>
              <a:gd name="connsiteX1313" fmla="*/ 0 w 12191977"/>
              <a:gd name="connsiteY1313" fmla="*/ 1242143 h 6875987"/>
              <a:gd name="connsiteX1314" fmla="*/ 349799 w 12191977"/>
              <a:gd name="connsiteY1314" fmla="*/ 1242143 h 6875987"/>
              <a:gd name="connsiteX1315" fmla="*/ 349799 w 12191977"/>
              <a:gd name="connsiteY1315" fmla="*/ 1957883 h 6875987"/>
              <a:gd name="connsiteX1316" fmla="*/ 0 w 12191977"/>
              <a:gd name="connsiteY1316" fmla="*/ 1957883 h 6875987"/>
              <a:gd name="connsiteX1317" fmla="*/ 11903675 w 12191977"/>
              <a:gd name="connsiteY1317" fmla="*/ 522805 h 6875987"/>
              <a:gd name="connsiteX1318" fmla="*/ 12191977 w 12191977"/>
              <a:gd name="connsiteY1318" fmla="*/ 522805 h 6875987"/>
              <a:gd name="connsiteX1319" fmla="*/ 12191977 w 12191977"/>
              <a:gd name="connsiteY1319" fmla="*/ 1238545 h 6875987"/>
              <a:gd name="connsiteX1320" fmla="*/ 11903675 w 12191977"/>
              <a:gd name="connsiteY1320" fmla="*/ 1238545 h 6875987"/>
              <a:gd name="connsiteX1321" fmla="*/ 11903675 w 12191977"/>
              <a:gd name="connsiteY1321" fmla="*/ 1186154 h 6875987"/>
              <a:gd name="connsiteX1322" fmla="*/ 11851288 w 12191977"/>
              <a:gd name="connsiteY1322" fmla="*/ 1186154 h 6875987"/>
              <a:gd name="connsiteX1323" fmla="*/ 11851288 w 12191977"/>
              <a:gd name="connsiteY1323" fmla="*/ 575187 h 6875987"/>
              <a:gd name="connsiteX1324" fmla="*/ 11903675 w 12191977"/>
              <a:gd name="connsiteY1324" fmla="*/ 575187 h 6875987"/>
              <a:gd name="connsiteX1325" fmla="*/ 11185049 w 12191977"/>
              <a:gd name="connsiteY1325" fmla="*/ 522805 h 6875987"/>
              <a:gd name="connsiteX1326" fmla="*/ 11795302 w 12191977"/>
              <a:gd name="connsiteY1326" fmla="*/ 522805 h 6875987"/>
              <a:gd name="connsiteX1327" fmla="*/ 11795302 w 12191977"/>
              <a:gd name="connsiteY1327" fmla="*/ 575187 h 6875987"/>
              <a:gd name="connsiteX1328" fmla="*/ 11847688 w 12191977"/>
              <a:gd name="connsiteY1328" fmla="*/ 575187 h 6875987"/>
              <a:gd name="connsiteX1329" fmla="*/ 11847688 w 12191977"/>
              <a:gd name="connsiteY1329" fmla="*/ 1186154 h 6875987"/>
              <a:gd name="connsiteX1330" fmla="*/ 11795302 w 12191977"/>
              <a:gd name="connsiteY1330" fmla="*/ 1186154 h 6875987"/>
              <a:gd name="connsiteX1331" fmla="*/ 11795302 w 12191977"/>
              <a:gd name="connsiteY1331" fmla="*/ 1238545 h 6875987"/>
              <a:gd name="connsiteX1332" fmla="*/ 11185049 w 12191977"/>
              <a:gd name="connsiteY1332" fmla="*/ 1238545 h 6875987"/>
              <a:gd name="connsiteX1333" fmla="*/ 11185049 w 12191977"/>
              <a:gd name="connsiteY1333" fmla="*/ 1186154 h 6875987"/>
              <a:gd name="connsiteX1334" fmla="*/ 11132662 w 12191977"/>
              <a:gd name="connsiteY1334" fmla="*/ 1186154 h 6875987"/>
              <a:gd name="connsiteX1335" fmla="*/ 11132662 w 12191977"/>
              <a:gd name="connsiteY1335" fmla="*/ 575187 h 6875987"/>
              <a:gd name="connsiteX1336" fmla="*/ 11185049 w 12191977"/>
              <a:gd name="connsiteY1336" fmla="*/ 575187 h 6875987"/>
              <a:gd name="connsiteX1337" fmla="*/ 10466430 w 12191977"/>
              <a:gd name="connsiteY1337" fmla="*/ 522805 h 6875987"/>
              <a:gd name="connsiteX1338" fmla="*/ 11076676 w 12191977"/>
              <a:gd name="connsiteY1338" fmla="*/ 522805 h 6875987"/>
              <a:gd name="connsiteX1339" fmla="*/ 11076676 w 12191977"/>
              <a:gd name="connsiteY1339" fmla="*/ 575187 h 6875987"/>
              <a:gd name="connsiteX1340" fmla="*/ 11129062 w 12191977"/>
              <a:gd name="connsiteY1340" fmla="*/ 575187 h 6875987"/>
              <a:gd name="connsiteX1341" fmla="*/ 11129062 w 12191977"/>
              <a:gd name="connsiteY1341" fmla="*/ 1186154 h 6875987"/>
              <a:gd name="connsiteX1342" fmla="*/ 11076676 w 12191977"/>
              <a:gd name="connsiteY1342" fmla="*/ 1186154 h 6875987"/>
              <a:gd name="connsiteX1343" fmla="*/ 11076676 w 12191977"/>
              <a:gd name="connsiteY1343" fmla="*/ 1238545 h 6875987"/>
              <a:gd name="connsiteX1344" fmla="*/ 10466430 w 12191977"/>
              <a:gd name="connsiteY1344" fmla="*/ 1238545 h 6875987"/>
              <a:gd name="connsiteX1345" fmla="*/ 10466430 w 12191977"/>
              <a:gd name="connsiteY1345" fmla="*/ 1186154 h 6875987"/>
              <a:gd name="connsiteX1346" fmla="*/ 10414043 w 12191977"/>
              <a:gd name="connsiteY1346" fmla="*/ 1186154 h 6875987"/>
              <a:gd name="connsiteX1347" fmla="*/ 10414043 w 12191977"/>
              <a:gd name="connsiteY1347" fmla="*/ 575187 h 6875987"/>
              <a:gd name="connsiteX1348" fmla="*/ 10466430 w 12191977"/>
              <a:gd name="connsiteY1348" fmla="*/ 575187 h 6875987"/>
              <a:gd name="connsiteX1349" fmla="*/ 9747811 w 12191977"/>
              <a:gd name="connsiteY1349" fmla="*/ 522805 h 6875987"/>
              <a:gd name="connsiteX1350" fmla="*/ 10358057 w 12191977"/>
              <a:gd name="connsiteY1350" fmla="*/ 522805 h 6875987"/>
              <a:gd name="connsiteX1351" fmla="*/ 10358057 w 12191977"/>
              <a:gd name="connsiteY1351" fmla="*/ 575187 h 6875987"/>
              <a:gd name="connsiteX1352" fmla="*/ 10410443 w 12191977"/>
              <a:gd name="connsiteY1352" fmla="*/ 575187 h 6875987"/>
              <a:gd name="connsiteX1353" fmla="*/ 10410443 w 12191977"/>
              <a:gd name="connsiteY1353" fmla="*/ 1186154 h 6875987"/>
              <a:gd name="connsiteX1354" fmla="*/ 10358057 w 12191977"/>
              <a:gd name="connsiteY1354" fmla="*/ 1186154 h 6875987"/>
              <a:gd name="connsiteX1355" fmla="*/ 10358057 w 12191977"/>
              <a:gd name="connsiteY1355" fmla="*/ 1238545 h 6875987"/>
              <a:gd name="connsiteX1356" fmla="*/ 9747811 w 12191977"/>
              <a:gd name="connsiteY1356" fmla="*/ 1238545 h 6875987"/>
              <a:gd name="connsiteX1357" fmla="*/ 9747811 w 12191977"/>
              <a:gd name="connsiteY1357" fmla="*/ 1186155 h 6875987"/>
              <a:gd name="connsiteX1358" fmla="*/ 9695424 w 12191977"/>
              <a:gd name="connsiteY1358" fmla="*/ 1186155 h 6875987"/>
              <a:gd name="connsiteX1359" fmla="*/ 9695424 w 12191977"/>
              <a:gd name="connsiteY1359" fmla="*/ 575187 h 6875987"/>
              <a:gd name="connsiteX1360" fmla="*/ 9747811 w 12191977"/>
              <a:gd name="connsiteY1360" fmla="*/ 575187 h 6875987"/>
              <a:gd name="connsiteX1361" fmla="*/ 9029192 w 12191977"/>
              <a:gd name="connsiteY1361" fmla="*/ 522805 h 6875987"/>
              <a:gd name="connsiteX1362" fmla="*/ 9639438 w 12191977"/>
              <a:gd name="connsiteY1362" fmla="*/ 522805 h 6875987"/>
              <a:gd name="connsiteX1363" fmla="*/ 9639438 w 12191977"/>
              <a:gd name="connsiteY1363" fmla="*/ 575187 h 6875987"/>
              <a:gd name="connsiteX1364" fmla="*/ 9691824 w 12191977"/>
              <a:gd name="connsiteY1364" fmla="*/ 575187 h 6875987"/>
              <a:gd name="connsiteX1365" fmla="*/ 9691824 w 12191977"/>
              <a:gd name="connsiteY1365" fmla="*/ 1186155 h 6875987"/>
              <a:gd name="connsiteX1366" fmla="*/ 9639438 w 12191977"/>
              <a:gd name="connsiteY1366" fmla="*/ 1186155 h 6875987"/>
              <a:gd name="connsiteX1367" fmla="*/ 9639438 w 12191977"/>
              <a:gd name="connsiteY1367" fmla="*/ 1238545 h 6875987"/>
              <a:gd name="connsiteX1368" fmla="*/ 9029192 w 12191977"/>
              <a:gd name="connsiteY1368" fmla="*/ 1238545 h 6875987"/>
              <a:gd name="connsiteX1369" fmla="*/ 9029192 w 12191977"/>
              <a:gd name="connsiteY1369" fmla="*/ 1186155 h 6875987"/>
              <a:gd name="connsiteX1370" fmla="*/ 8976805 w 12191977"/>
              <a:gd name="connsiteY1370" fmla="*/ 1186155 h 6875987"/>
              <a:gd name="connsiteX1371" fmla="*/ 8976805 w 12191977"/>
              <a:gd name="connsiteY1371" fmla="*/ 575188 h 6875987"/>
              <a:gd name="connsiteX1372" fmla="*/ 9029192 w 12191977"/>
              <a:gd name="connsiteY1372" fmla="*/ 575188 h 6875987"/>
              <a:gd name="connsiteX1373" fmla="*/ 8310573 w 12191977"/>
              <a:gd name="connsiteY1373" fmla="*/ 522805 h 6875987"/>
              <a:gd name="connsiteX1374" fmla="*/ 8920819 w 12191977"/>
              <a:gd name="connsiteY1374" fmla="*/ 522805 h 6875987"/>
              <a:gd name="connsiteX1375" fmla="*/ 8920819 w 12191977"/>
              <a:gd name="connsiteY1375" fmla="*/ 575188 h 6875987"/>
              <a:gd name="connsiteX1376" fmla="*/ 8973205 w 12191977"/>
              <a:gd name="connsiteY1376" fmla="*/ 575188 h 6875987"/>
              <a:gd name="connsiteX1377" fmla="*/ 8973205 w 12191977"/>
              <a:gd name="connsiteY1377" fmla="*/ 1186155 h 6875987"/>
              <a:gd name="connsiteX1378" fmla="*/ 8920819 w 12191977"/>
              <a:gd name="connsiteY1378" fmla="*/ 1186155 h 6875987"/>
              <a:gd name="connsiteX1379" fmla="*/ 8920819 w 12191977"/>
              <a:gd name="connsiteY1379" fmla="*/ 1238545 h 6875987"/>
              <a:gd name="connsiteX1380" fmla="*/ 8310573 w 12191977"/>
              <a:gd name="connsiteY1380" fmla="*/ 1238545 h 6875987"/>
              <a:gd name="connsiteX1381" fmla="*/ 8310573 w 12191977"/>
              <a:gd name="connsiteY1381" fmla="*/ 1186155 h 6875987"/>
              <a:gd name="connsiteX1382" fmla="*/ 8258187 w 12191977"/>
              <a:gd name="connsiteY1382" fmla="*/ 1186155 h 6875987"/>
              <a:gd name="connsiteX1383" fmla="*/ 8258187 w 12191977"/>
              <a:gd name="connsiteY1383" fmla="*/ 575188 h 6875987"/>
              <a:gd name="connsiteX1384" fmla="*/ 8310573 w 12191977"/>
              <a:gd name="connsiteY1384" fmla="*/ 575188 h 6875987"/>
              <a:gd name="connsiteX1385" fmla="*/ 7591954 w 12191977"/>
              <a:gd name="connsiteY1385" fmla="*/ 522805 h 6875987"/>
              <a:gd name="connsiteX1386" fmla="*/ 8202200 w 12191977"/>
              <a:gd name="connsiteY1386" fmla="*/ 522805 h 6875987"/>
              <a:gd name="connsiteX1387" fmla="*/ 8202200 w 12191977"/>
              <a:gd name="connsiteY1387" fmla="*/ 575188 h 6875987"/>
              <a:gd name="connsiteX1388" fmla="*/ 8254587 w 12191977"/>
              <a:gd name="connsiteY1388" fmla="*/ 575188 h 6875987"/>
              <a:gd name="connsiteX1389" fmla="*/ 8254587 w 12191977"/>
              <a:gd name="connsiteY1389" fmla="*/ 1186155 h 6875987"/>
              <a:gd name="connsiteX1390" fmla="*/ 8202200 w 12191977"/>
              <a:gd name="connsiteY1390" fmla="*/ 1186155 h 6875987"/>
              <a:gd name="connsiteX1391" fmla="*/ 8202200 w 12191977"/>
              <a:gd name="connsiteY1391" fmla="*/ 1238545 h 6875987"/>
              <a:gd name="connsiteX1392" fmla="*/ 7591954 w 12191977"/>
              <a:gd name="connsiteY1392" fmla="*/ 1238545 h 6875987"/>
              <a:gd name="connsiteX1393" fmla="*/ 7591954 w 12191977"/>
              <a:gd name="connsiteY1393" fmla="*/ 1186155 h 6875987"/>
              <a:gd name="connsiteX1394" fmla="*/ 7539568 w 12191977"/>
              <a:gd name="connsiteY1394" fmla="*/ 1186155 h 6875987"/>
              <a:gd name="connsiteX1395" fmla="*/ 7539568 w 12191977"/>
              <a:gd name="connsiteY1395" fmla="*/ 575188 h 6875987"/>
              <a:gd name="connsiteX1396" fmla="*/ 7591954 w 12191977"/>
              <a:gd name="connsiteY1396" fmla="*/ 575188 h 6875987"/>
              <a:gd name="connsiteX1397" fmla="*/ 6873335 w 12191977"/>
              <a:gd name="connsiteY1397" fmla="*/ 522805 h 6875987"/>
              <a:gd name="connsiteX1398" fmla="*/ 7483581 w 12191977"/>
              <a:gd name="connsiteY1398" fmla="*/ 522805 h 6875987"/>
              <a:gd name="connsiteX1399" fmla="*/ 7483581 w 12191977"/>
              <a:gd name="connsiteY1399" fmla="*/ 575188 h 6875987"/>
              <a:gd name="connsiteX1400" fmla="*/ 7535968 w 12191977"/>
              <a:gd name="connsiteY1400" fmla="*/ 575188 h 6875987"/>
              <a:gd name="connsiteX1401" fmla="*/ 7535968 w 12191977"/>
              <a:gd name="connsiteY1401" fmla="*/ 1186155 h 6875987"/>
              <a:gd name="connsiteX1402" fmla="*/ 7483581 w 12191977"/>
              <a:gd name="connsiteY1402" fmla="*/ 1186155 h 6875987"/>
              <a:gd name="connsiteX1403" fmla="*/ 7483581 w 12191977"/>
              <a:gd name="connsiteY1403" fmla="*/ 1238545 h 6875987"/>
              <a:gd name="connsiteX1404" fmla="*/ 6873335 w 12191977"/>
              <a:gd name="connsiteY1404" fmla="*/ 1238545 h 6875987"/>
              <a:gd name="connsiteX1405" fmla="*/ 6873335 w 12191977"/>
              <a:gd name="connsiteY1405" fmla="*/ 1186155 h 6875987"/>
              <a:gd name="connsiteX1406" fmla="*/ 6820949 w 12191977"/>
              <a:gd name="connsiteY1406" fmla="*/ 1186155 h 6875987"/>
              <a:gd name="connsiteX1407" fmla="*/ 6820949 w 12191977"/>
              <a:gd name="connsiteY1407" fmla="*/ 575188 h 6875987"/>
              <a:gd name="connsiteX1408" fmla="*/ 6873335 w 12191977"/>
              <a:gd name="connsiteY1408" fmla="*/ 575188 h 6875987"/>
              <a:gd name="connsiteX1409" fmla="*/ 6102330 w 12191977"/>
              <a:gd name="connsiteY1409" fmla="*/ 522805 h 6875987"/>
              <a:gd name="connsiteX1410" fmla="*/ 6764962 w 12191977"/>
              <a:gd name="connsiteY1410" fmla="*/ 522805 h 6875987"/>
              <a:gd name="connsiteX1411" fmla="*/ 6764962 w 12191977"/>
              <a:gd name="connsiteY1411" fmla="*/ 575188 h 6875987"/>
              <a:gd name="connsiteX1412" fmla="*/ 6817349 w 12191977"/>
              <a:gd name="connsiteY1412" fmla="*/ 575188 h 6875987"/>
              <a:gd name="connsiteX1413" fmla="*/ 6817349 w 12191977"/>
              <a:gd name="connsiteY1413" fmla="*/ 1186155 h 6875987"/>
              <a:gd name="connsiteX1414" fmla="*/ 6764962 w 12191977"/>
              <a:gd name="connsiteY1414" fmla="*/ 1186155 h 6875987"/>
              <a:gd name="connsiteX1415" fmla="*/ 6764962 w 12191977"/>
              <a:gd name="connsiteY1415" fmla="*/ 1238545 h 6875987"/>
              <a:gd name="connsiteX1416" fmla="*/ 6102330 w 12191977"/>
              <a:gd name="connsiteY1416" fmla="*/ 1238545 h 6875987"/>
              <a:gd name="connsiteX1417" fmla="*/ 5383726 w 12191977"/>
              <a:gd name="connsiteY1417" fmla="*/ 522805 h 6875987"/>
              <a:gd name="connsiteX1418" fmla="*/ 6098730 w 12191977"/>
              <a:gd name="connsiteY1418" fmla="*/ 522805 h 6875987"/>
              <a:gd name="connsiteX1419" fmla="*/ 6098730 w 12191977"/>
              <a:gd name="connsiteY1419" fmla="*/ 1238545 h 6875987"/>
              <a:gd name="connsiteX1420" fmla="*/ 5383726 w 12191977"/>
              <a:gd name="connsiteY1420" fmla="*/ 1238545 h 6875987"/>
              <a:gd name="connsiteX1421" fmla="*/ 4665104 w 12191977"/>
              <a:gd name="connsiteY1421" fmla="*/ 522805 h 6875987"/>
              <a:gd name="connsiteX1422" fmla="*/ 5380126 w 12191977"/>
              <a:gd name="connsiteY1422" fmla="*/ 522805 h 6875987"/>
              <a:gd name="connsiteX1423" fmla="*/ 5380126 w 12191977"/>
              <a:gd name="connsiteY1423" fmla="*/ 1238545 h 6875987"/>
              <a:gd name="connsiteX1424" fmla="*/ 4665104 w 12191977"/>
              <a:gd name="connsiteY1424" fmla="*/ 1238545 h 6875987"/>
              <a:gd name="connsiteX1425" fmla="*/ 3946494 w 12191977"/>
              <a:gd name="connsiteY1425" fmla="*/ 522805 h 6875987"/>
              <a:gd name="connsiteX1426" fmla="*/ 4661503 w 12191977"/>
              <a:gd name="connsiteY1426" fmla="*/ 522805 h 6875987"/>
              <a:gd name="connsiteX1427" fmla="*/ 4661503 w 12191977"/>
              <a:gd name="connsiteY1427" fmla="*/ 1238545 h 6875987"/>
              <a:gd name="connsiteX1428" fmla="*/ 3946494 w 12191977"/>
              <a:gd name="connsiteY1428" fmla="*/ 1238545 h 6875987"/>
              <a:gd name="connsiteX1429" fmla="*/ 3227879 w 12191977"/>
              <a:gd name="connsiteY1429" fmla="*/ 522805 h 6875987"/>
              <a:gd name="connsiteX1430" fmla="*/ 3942897 w 12191977"/>
              <a:gd name="connsiteY1430" fmla="*/ 522805 h 6875987"/>
              <a:gd name="connsiteX1431" fmla="*/ 3942897 w 12191977"/>
              <a:gd name="connsiteY1431" fmla="*/ 1238545 h 6875987"/>
              <a:gd name="connsiteX1432" fmla="*/ 3227879 w 12191977"/>
              <a:gd name="connsiteY1432" fmla="*/ 1238545 h 6875987"/>
              <a:gd name="connsiteX1433" fmla="*/ 2509260 w 12191977"/>
              <a:gd name="connsiteY1433" fmla="*/ 522805 h 6875987"/>
              <a:gd name="connsiteX1434" fmla="*/ 3224280 w 12191977"/>
              <a:gd name="connsiteY1434" fmla="*/ 522805 h 6875987"/>
              <a:gd name="connsiteX1435" fmla="*/ 3224280 w 12191977"/>
              <a:gd name="connsiteY1435" fmla="*/ 1238545 h 6875987"/>
              <a:gd name="connsiteX1436" fmla="*/ 2509260 w 12191977"/>
              <a:gd name="connsiteY1436" fmla="*/ 1238545 h 6875987"/>
              <a:gd name="connsiteX1437" fmla="*/ 1790634 w 12191977"/>
              <a:gd name="connsiteY1437" fmla="*/ 522805 h 6875987"/>
              <a:gd name="connsiteX1438" fmla="*/ 2505660 w 12191977"/>
              <a:gd name="connsiteY1438" fmla="*/ 522805 h 6875987"/>
              <a:gd name="connsiteX1439" fmla="*/ 2505660 w 12191977"/>
              <a:gd name="connsiteY1439" fmla="*/ 1238545 h 6875987"/>
              <a:gd name="connsiteX1440" fmla="*/ 1790634 w 12191977"/>
              <a:gd name="connsiteY1440" fmla="*/ 1238545 h 6875987"/>
              <a:gd name="connsiteX1441" fmla="*/ 1072016 w 12191977"/>
              <a:gd name="connsiteY1441" fmla="*/ 522805 h 6875987"/>
              <a:gd name="connsiteX1442" fmla="*/ 1787035 w 12191977"/>
              <a:gd name="connsiteY1442" fmla="*/ 522805 h 6875987"/>
              <a:gd name="connsiteX1443" fmla="*/ 1787035 w 12191977"/>
              <a:gd name="connsiteY1443" fmla="*/ 1238545 h 6875987"/>
              <a:gd name="connsiteX1444" fmla="*/ 1072016 w 12191977"/>
              <a:gd name="connsiteY1444" fmla="*/ 1238545 h 6875987"/>
              <a:gd name="connsiteX1445" fmla="*/ 353399 w 12191977"/>
              <a:gd name="connsiteY1445" fmla="*/ 522805 h 6875987"/>
              <a:gd name="connsiteX1446" fmla="*/ 1068417 w 12191977"/>
              <a:gd name="connsiteY1446" fmla="*/ 522805 h 6875987"/>
              <a:gd name="connsiteX1447" fmla="*/ 1068417 w 12191977"/>
              <a:gd name="connsiteY1447" fmla="*/ 1238545 h 6875987"/>
              <a:gd name="connsiteX1448" fmla="*/ 353399 w 12191977"/>
              <a:gd name="connsiteY1448" fmla="*/ 1238545 h 6875987"/>
              <a:gd name="connsiteX1449" fmla="*/ 0 w 12191977"/>
              <a:gd name="connsiteY1449" fmla="*/ 522805 h 6875987"/>
              <a:gd name="connsiteX1450" fmla="*/ 349799 w 12191977"/>
              <a:gd name="connsiteY1450" fmla="*/ 522805 h 6875987"/>
              <a:gd name="connsiteX1451" fmla="*/ 349799 w 12191977"/>
              <a:gd name="connsiteY1451" fmla="*/ 1238545 h 6875987"/>
              <a:gd name="connsiteX1452" fmla="*/ 0 w 12191977"/>
              <a:gd name="connsiteY1452" fmla="*/ 1238545 h 6875987"/>
              <a:gd name="connsiteX1453" fmla="*/ 11851288 w 12191977"/>
              <a:gd name="connsiteY1453" fmla="*/ 6 h 6875987"/>
              <a:gd name="connsiteX1454" fmla="*/ 12191977 w 12191977"/>
              <a:gd name="connsiteY1454" fmla="*/ 6 h 6875987"/>
              <a:gd name="connsiteX1455" fmla="*/ 12191977 w 12191977"/>
              <a:gd name="connsiteY1455" fmla="*/ 519205 h 6875987"/>
              <a:gd name="connsiteX1456" fmla="*/ 11903675 w 12191977"/>
              <a:gd name="connsiteY1456" fmla="*/ 519205 h 6875987"/>
              <a:gd name="connsiteX1457" fmla="*/ 11903675 w 12191977"/>
              <a:gd name="connsiteY1457" fmla="*/ 466814 h 6875987"/>
              <a:gd name="connsiteX1458" fmla="*/ 11851288 w 12191977"/>
              <a:gd name="connsiteY1458" fmla="*/ 466814 h 6875987"/>
              <a:gd name="connsiteX1459" fmla="*/ 11132662 w 12191977"/>
              <a:gd name="connsiteY1459" fmla="*/ 6 h 6875987"/>
              <a:gd name="connsiteX1460" fmla="*/ 11847688 w 12191977"/>
              <a:gd name="connsiteY1460" fmla="*/ 6 h 6875987"/>
              <a:gd name="connsiteX1461" fmla="*/ 11847688 w 12191977"/>
              <a:gd name="connsiteY1461" fmla="*/ 466814 h 6875987"/>
              <a:gd name="connsiteX1462" fmla="*/ 11795302 w 12191977"/>
              <a:gd name="connsiteY1462" fmla="*/ 466814 h 6875987"/>
              <a:gd name="connsiteX1463" fmla="*/ 11795302 w 12191977"/>
              <a:gd name="connsiteY1463" fmla="*/ 519205 h 6875987"/>
              <a:gd name="connsiteX1464" fmla="*/ 11185049 w 12191977"/>
              <a:gd name="connsiteY1464" fmla="*/ 519205 h 6875987"/>
              <a:gd name="connsiteX1465" fmla="*/ 11185049 w 12191977"/>
              <a:gd name="connsiteY1465" fmla="*/ 466814 h 6875987"/>
              <a:gd name="connsiteX1466" fmla="*/ 11132662 w 12191977"/>
              <a:gd name="connsiteY1466" fmla="*/ 466814 h 6875987"/>
              <a:gd name="connsiteX1467" fmla="*/ 10414043 w 12191977"/>
              <a:gd name="connsiteY1467" fmla="*/ 6 h 6875987"/>
              <a:gd name="connsiteX1468" fmla="*/ 11129062 w 12191977"/>
              <a:gd name="connsiteY1468" fmla="*/ 6 h 6875987"/>
              <a:gd name="connsiteX1469" fmla="*/ 11129062 w 12191977"/>
              <a:gd name="connsiteY1469" fmla="*/ 466814 h 6875987"/>
              <a:gd name="connsiteX1470" fmla="*/ 11076676 w 12191977"/>
              <a:gd name="connsiteY1470" fmla="*/ 466814 h 6875987"/>
              <a:gd name="connsiteX1471" fmla="*/ 11076676 w 12191977"/>
              <a:gd name="connsiteY1471" fmla="*/ 519205 h 6875987"/>
              <a:gd name="connsiteX1472" fmla="*/ 10466430 w 12191977"/>
              <a:gd name="connsiteY1472" fmla="*/ 519205 h 6875987"/>
              <a:gd name="connsiteX1473" fmla="*/ 10466430 w 12191977"/>
              <a:gd name="connsiteY1473" fmla="*/ 466814 h 6875987"/>
              <a:gd name="connsiteX1474" fmla="*/ 10414043 w 12191977"/>
              <a:gd name="connsiteY1474" fmla="*/ 466814 h 6875987"/>
              <a:gd name="connsiteX1475" fmla="*/ 9695424 w 12191977"/>
              <a:gd name="connsiteY1475" fmla="*/ 6 h 6875987"/>
              <a:gd name="connsiteX1476" fmla="*/ 10410443 w 12191977"/>
              <a:gd name="connsiteY1476" fmla="*/ 6 h 6875987"/>
              <a:gd name="connsiteX1477" fmla="*/ 10410443 w 12191977"/>
              <a:gd name="connsiteY1477" fmla="*/ 466814 h 6875987"/>
              <a:gd name="connsiteX1478" fmla="*/ 10358057 w 12191977"/>
              <a:gd name="connsiteY1478" fmla="*/ 466814 h 6875987"/>
              <a:gd name="connsiteX1479" fmla="*/ 10358057 w 12191977"/>
              <a:gd name="connsiteY1479" fmla="*/ 519205 h 6875987"/>
              <a:gd name="connsiteX1480" fmla="*/ 9747811 w 12191977"/>
              <a:gd name="connsiteY1480" fmla="*/ 519205 h 6875987"/>
              <a:gd name="connsiteX1481" fmla="*/ 9747811 w 12191977"/>
              <a:gd name="connsiteY1481" fmla="*/ 466815 h 6875987"/>
              <a:gd name="connsiteX1482" fmla="*/ 9695424 w 12191977"/>
              <a:gd name="connsiteY1482" fmla="*/ 466815 h 6875987"/>
              <a:gd name="connsiteX1483" fmla="*/ 8976805 w 12191977"/>
              <a:gd name="connsiteY1483" fmla="*/ 6 h 6875987"/>
              <a:gd name="connsiteX1484" fmla="*/ 9691824 w 12191977"/>
              <a:gd name="connsiteY1484" fmla="*/ 6 h 6875987"/>
              <a:gd name="connsiteX1485" fmla="*/ 9691824 w 12191977"/>
              <a:gd name="connsiteY1485" fmla="*/ 466815 h 6875987"/>
              <a:gd name="connsiteX1486" fmla="*/ 9639438 w 12191977"/>
              <a:gd name="connsiteY1486" fmla="*/ 466815 h 6875987"/>
              <a:gd name="connsiteX1487" fmla="*/ 9639438 w 12191977"/>
              <a:gd name="connsiteY1487" fmla="*/ 519205 h 6875987"/>
              <a:gd name="connsiteX1488" fmla="*/ 9029192 w 12191977"/>
              <a:gd name="connsiteY1488" fmla="*/ 519205 h 6875987"/>
              <a:gd name="connsiteX1489" fmla="*/ 9029192 w 12191977"/>
              <a:gd name="connsiteY1489" fmla="*/ 466815 h 6875987"/>
              <a:gd name="connsiteX1490" fmla="*/ 8976805 w 12191977"/>
              <a:gd name="connsiteY1490" fmla="*/ 466815 h 6875987"/>
              <a:gd name="connsiteX1491" fmla="*/ 8258187 w 12191977"/>
              <a:gd name="connsiteY1491" fmla="*/ 6 h 6875987"/>
              <a:gd name="connsiteX1492" fmla="*/ 8973205 w 12191977"/>
              <a:gd name="connsiteY1492" fmla="*/ 6 h 6875987"/>
              <a:gd name="connsiteX1493" fmla="*/ 8973205 w 12191977"/>
              <a:gd name="connsiteY1493" fmla="*/ 466815 h 6875987"/>
              <a:gd name="connsiteX1494" fmla="*/ 8920819 w 12191977"/>
              <a:gd name="connsiteY1494" fmla="*/ 466815 h 6875987"/>
              <a:gd name="connsiteX1495" fmla="*/ 8920819 w 12191977"/>
              <a:gd name="connsiteY1495" fmla="*/ 519205 h 6875987"/>
              <a:gd name="connsiteX1496" fmla="*/ 8310573 w 12191977"/>
              <a:gd name="connsiteY1496" fmla="*/ 519205 h 6875987"/>
              <a:gd name="connsiteX1497" fmla="*/ 8310573 w 12191977"/>
              <a:gd name="connsiteY1497" fmla="*/ 466815 h 6875987"/>
              <a:gd name="connsiteX1498" fmla="*/ 8258187 w 12191977"/>
              <a:gd name="connsiteY1498" fmla="*/ 466815 h 6875987"/>
              <a:gd name="connsiteX1499" fmla="*/ 7539568 w 12191977"/>
              <a:gd name="connsiteY1499" fmla="*/ 6 h 6875987"/>
              <a:gd name="connsiteX1500" fmla="*/ 8254587 w 12191977"/>
              <a:gd name="connsiteY1500" fmla="*/ 6 h 6875987"/>
              <a:gd name="connsiteX1501" fmla="*/ 8254587 w 12191977"/>
              <a:gd name="connsiteY1501" fmla="*/ 466815 h 6875987"/>
              <a:gd name="connsiteX1502" fmla="*/ 8202200 w 12191977"/>
              <a:gd name="connsiteY1502" fmla="*/ 466815 h 6875987"/>
              <a:gd name="connsiteX1503" fmla="*/ 8202200 w 12191977"/>
              <a:gd name="connsiteY1503" fmla="*/ 519205 h 6875987"/>
              <a:gd name="connsiteX1504" fmla="*/ 7591954 w 12191977"/>
              <a:gd name="connsiteY1504" fmla="*/ 519205 h 6875987"/>
              <a:gd name="connsiteX1505" fmla="*/ 7591954 w 12191977"/>
              <a:gd name="connsiteY1505" fmla="*/ 466815 h 6875987"/>
              <a:gd name="connsiteX1506" fmla="*/ 7539568 w 12191977"/>
              <a:gd name="connsiteY1506" fmla="*/ 466815 h 6875987"/>
              <a:gd name="connsiteX1507" fmla="*/ 6820949 w 12191977"/>
              <a:gd name="connsiteY1507" fmla="*/ 6 h 6875987"/>
              <a:gd name="connsiteX1508" fmla="*/ 7535968 w 12191977"/>
              <a:gd name="connsiteY1508" fmla="*/ 6 h 6875987"/>
              <a:gd name="connsiteX1509" fmla="*/ 7535968 w 12191977"/>
              <a:gd name="connsiteY1509" fmla="*/ 466815 h 6875987"/>
              <a:gd name="connsiteX1510" fmla="*/ 7483581 w 12191977"/>
              <a:gd name="connsiteY1510" fmla="*/ 466815 h 6875987"/>
              <a:gd name="connsiteX1511" fmla="*/ 7483581 w 12191977"/>
              <a:gd name="connsiteY1511" fmla="*/ 519205 h 6875987"/>
              <a:gd name="connsiteX1512" fmla="*/ 6873335 w 12191977"/>
              <a:gd name="connsiteY1512" fmla="*/ 519205 h 6875987"/>
              <a:gd name="connsiteX1513" fmla="*/ 6873335 w 12191977"/>
              <a:gd name="connsiteY1513" fmla="*/ 466815 h 6875987"/>
              <a:gd name="connsiteX1514" fmla="*/ 6820949 w 12191977"/>
              <a:gd name="connsiteY1514" fmla="*/ 466815 h 6875987"/>
              <a:gd name="connsiteX1515" fmla="*/ 6102330 w 12191977"/>
              <a:gd name="connsiteY1515" fmla="*/ 6 h 6875987"/>
              <a:gd name="connsiteX1516" fmla="*/ 6817349 w 12191977"/>
              <a:gd name="connsiteY1516" fmla="*/ 6 h 6875987"/>
              <a:gd name="connsiteX1517" fmla="*/ 6817349 w 12191977"/>
              <a:gd name="connsiteY1517" fmla="*/ 466815 h 6875987"/>
              <a:gd name="connsiteX1518" fmla="*/ 6764962 w 12191977"/>
              <a:gd name="connsiteY1518" fmla="*/ 466815 h 6875987"/>
              <a:gd name="connsiteX1519" fmla="*/ 6764962 w 12191977"/>
              <a:gd name="connsiteY1519" fmla="*/ 519205 h 6875987"/>
              <a:gd name="connsiteX1520" fmla="*/ 6102330 w 12191977"/>
              <a:gd name="connsiteY1520" fmla="*/ 519205 h 6875987"/>
              <a:gd name="connsiteX1521" fmla="*/ 5383726 w 12191977"/>
              <a:gd name="connsiteY1521" fmla="*/ 6 h 6875987"/>
              <a:gd name="connsiteX1522" fmla="*/ 6098730 w 12191977"/>
              <a:gd name="connsiteY1522" fmla="*/ 6 h 6875987"/>
              <a:gd name="connsiteX1523" fmla="*/ 6098730 w 12191977"/>
              <a:gd name="connsiteY1523" fmla="*/ 519205 h 6875987"/>
              <a:gd name="connsiteX1524" fmla="*/ 5383726 w 12191977"/>
              <a:gd name="connsiteY1524" fmla="*/ 519205 h 6875987"/>
              <a:gd name="connsiteX1525" fmla="*/ 4665104 w 12191977"/>
              <a:gd name="connsiteY1525" fmla="*/ 6 h 6875987"/>
              <a:gd name="connsiteX1526" fmla="*/ 5380126 w 12191977"/>
              <a:gd name="connsiteY1526" fmla="*/ 6 h 6875987"/>
              <a:gd name="connsiteX1527" fmla="*/ 5380126 w 12191977"/>
              <a:gd name="connsiteY1527" fmla="*/ 519205 h 6875987"/>
              <a:gd name="connsiteX1528" fmla="*/ 4665104 w 12191977"/>
              <a:gd name="connsiteY1528" fmla="*/ 519205 h 6875987"/>
              <a:gd name="connsiteX1529" fmla="*/ 3946494 w 12191977"/>
              <a:gd name="connsiteY1529" fmla="*/ 6 h 6875987"/>
              <a:gd name="connsiteX1530" fmla="*/ 4661503 w 12191977"/>
              <a:gd name="connsiteY1530" fmla="*/ 6 h 6875987"/>
              <a:gd name="connsiteX1531" fmla="*/ 4661503 w 12191977"/>
              <a:gd name="connsiteY1531" fmla="*/ 519205 h 6875987"/>
              <a:gd name="connsiteX1532" fmla="*/ 3946494 w 12191977"/>
              <a:gd name="connsiteY1532" fmla="*/ 519205 h 6875987"/>
              <a:gd name="connsiteX1533" fmla="*/ 3227879 w 12191977"/>
              <a:gd name="connsiteY1533" fmla="*/ 6 h 6875987"/>
              <a:gd name="connsiteX1534" fmla="*/ 3942897 w 12191977"/>
              <a:gd name="connsiteY1534" fmla="*/ 6 h 6875987"/>
              <a:gd name="connsiteX1535" fmla="*/ 3942897 w 12191977"/>
              <a:gd name="connsiteY1535" fmla="*/ 519205 h 6875987"/>
              <a:gd name="connsiteX1536" fmla="*/ 3227879 w 12191977"/>
              <a:gd name="connsiteY1536" fmla="*/ 519205 h 6875987"/>
              <a:gd name="connsiteX1537" fmla="*/ 2509260 w 12191977"/>
              <a:gd name="connsiteY1537" fmla="*/ 6 h 6875987"/>
              <a:gd name="connsiteX1538" fmla="*/ 3224280 w 12191977"/>
              <a:gd name="connsiteY1538" fmla="*/ 6 h 6875987"/>
              <a:gd name="connsiteX1539" fmla="*/ 3224280 w 12191977"/>
              <a:gd name="connsiteY1539" fmla="*/ 519205 h 6875987"/>
              <a:gd name="connsiteX1540" fmla="*/ 2509260 w 12191977"/>
              <a:gd name="connsiteY1540" fmla="*/ 519205 h 6875987"/>
              <a:gd name="connsiteX1541" fmla="*/ 1790634 w 12191977"/>
              <a:gd name="connsiteY1541" fmla="*/ 6 h 6875987"/>
              <a:gd name="connsiteX1542" fmla="*/ 2505660 w 12191977"/>
              <a:gd name="connsiteY1542" fmla="*/ 6 h 6875987"/>
              <a:gd name="connsiteX1543" fmla="*/ 2505660 w 12191977"/>
              <a:gd name="connsiteY1543" fmla="*/ 519205 h 6875987"/>
              <a:gd name="connsiteX1544" fmla="*/ 1790634 w 12191977"/>
              <a:gd name="connsiteY1544" fmla="*/ 519205 h 6875987"/>
              <a:gd name="connsiteX1545" fmla="*/ 1072016 w 12191977"/>
              <a:gd name="connsiteY1545" fmla="*/ 0 h 6875987"/>
              <a:gd name="connsiteX1546" fmla="*/ 1152937 w 12191977"/>
              <a:gd name="connsiteY1546" fmla="*/ 0 h 6875987"/>
              <a:gd name="connsiteX1547" fmla="*/ 1152937 w 12191977"/>
              <a:gd name="connsiteY1547" fmla="*/ 6 h 6875987"/>
              <a:gd name="connsiteX1548" fmla="*/ 1787035 w 12191977"/>
              <a:gd name="connsiteY1548" fmla="*/ 6 h 6875987"/>
              <a:gd name="connsiteX1549" fmla="*/ 1787035 w 12191977"/>
              <a:gd name="connsiteY1549" fmla="*/ 519205 h 6875987"/>
              <a:gd name="connsiteX1550" fmla="*/ 1072016 w 12191977"/>
              <a:gd name="connsiteY1550" fmla="*/ 519205 h 6875987"/>
              <a:gd name="connsiteX1551" fmla="*/ 353399 w 12191977"/>
              <a:gd name="connsiteY1551" fmla="*/ 0 h 6875987"/>
              <a:gd name="connsiteX1552" fmla="*/ 1068417 w 12191977"/>
              <a:gd name="connsiteY1552" fmla="*/ 0 h 6875987"/>
              <a:gd name="connsiteX1553" fmla="*/ 1068417 w 12191977"/>
              <a:gd name="connsiteY1553" fmla="*/ 519205 h 6875987"/>
              <a:gd name="connsiteX1554" fmla="*/ 353399 w 12191977"/>
              <a:gd name="connsiteY1554" fmla="*/ 519205 h 6875987"/>
              <a:gd name="connsiteX1555" fmla="*/ 0 w 12191977"/>
              <a:gd name="connsiteY1555" fmla="*/ 0 h 6875987"/>
              <a:gd name="connsiteX1556" fmla="*/ 349799 w 12191977"/>
              <a:gd name="connsiteY1556" fmla="*/ 0 h 6875987"/>
              <a:gd name="connsiteX1557" fmla="*/ 349799 w 12191977"/>
              <a:gd name="connsiteY1557" fmla="*/ 519205 h 6875987"/>
              <a:gd name="connsiteX1558" fmla="*/ 0 w 12191977"/>
              <a:gd name="connsiteY1558" fmla="*/ 519205 h 687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Lst>
            <a:rect l="l" t="t" r="r" b="b"/>
            <a:pathLst>
              <a:path w="12191977" h="6875987">
                <a:moveTo>
                  <a:pt x="11039450" y="6562712"/>
                </a:moveTo>
                <a:cubicBezTo>
                  <a:pt x="11037393" y="6563391"/>
                  <a:pt x="11035335" y="6564070"/>
                  <a:pt x="11033964" y="6564070"/>
                </a:cubicBezTo>
                <a:lnTo>
                  <a:pt x="10915320" y="6583750"/>
                </a:lnTo>
                <a:cubicBezTo>
                  <a:pt x="10913949" y="6583750"/>
                  <a:pt x="10911205" y="6584428"/>
                  <a:pt x="10909834" y="6585786"/>
                </a:cubicBezTo>
                <a:cubicBezTo>
                  <a:pt x="10878973" y="6608859"/>
                  <a:pt x="10878973" y="6608859"/>
                  <a:pt x="10878973" y="6608859"/>
                </a:cubicBezTo>
                <a:cubicBezTo>
                  <a:pt x="10993501" y="6608859"/>
                  <a:pt x="10993501" y="6608859"/>
                  <a:pt x="10993501" y="6608859"/>
                </a:cubicBezTo>
                <a:cubicBezTo>
                  <a:pt x="10993501" y="6608859"/>
                  <a:pt x="10988701" y="6614288"/>
                  <a:pt x="10981843" y="6615645"/>
                </a:cubicBezTo>
                <a:cubicBezTo>
                  <a:pt x="10974985" y="6617002"/>
                  <a:pt x="10894746" y="6630575"/>
                  <a:pt x="10894746" y="6630575"/>
                </a:cubicBezTo>
                <a:cubicBezTo>
                  <a:pt x="10893375" y="6630575"/>
                  <a:pt x="10890631" y="6631932"/>
                  <a:pt x="10889260" y="6632611"/>
                </a:cubicBezTo>
                <a:cubicBezTo>
                  <a:pt x="10868000" y="6648898"/>
                  <a:pt x="10868000" y="6648898"/>
                  <a:pt x="10868000" y="6648898"/>
                </a:cubicBezTo>
                <a:cubicBezTo>
                  <a:pt x="10889260" y="6651612"/>
                  <a:pt x="10913263" y="6650255"/>
                  <a:pt x="10937266" y="6644147"/>
                </a:cubicBezTo>
                <a:cubicBezTo>
                  <a:pt x="10989387" y="6629896"/>
                  <a:pt x="11028477" y="6597322"/>
                  <a:pt x="11039450" y="6562712"/>
                </a:cubicBezTo>
                <a:close/>
                <a:moveTo>
                  <a:pt x="10791870" y="6557949"/>
                </a:moveTo>
                <a:cubicBezTo>
                  <a:pt x="10787728" y="6570196"/>
                  <a:pt x="10787038" y="6582442"/>
                  <a:pt x="10790489" y="6594008"/>
                </a:cubicBezTo>
                <a:cubicBezTo>
                  <a:pt x="10798081" y="6623264"/>
                  <a:pt x="10827761" y="6642994"/>
                  <a:pt x="10866413" y="6648437"/>
                </a:cubicBezTo>
                <a:cubicBezTo>
                  <a:pt x="10866413" y="6557949"/>
                  <a:pt x="10866413" y="6557949"/>
                  <a:pt x="10866413" y="6557949"/>
                </a:cubicBezTo>
                <a:cubicBezTo>
                  <a:pt x="10791870" y="6557949"/>
                  <a:pt x="10791870" y="6557949"/>
                  <a:pt x="10791870" y="6557949"/>
                </a:cubicBezTo>
                <a:close/>
                <a:moveTo>
                  <a:pt x="11578407" y="6519848"/>
                </a:moveTo>
                <a:cubicBezTo>
                  <a:pt x="11597885" y="6519848"/>
                  <a:pt x="11604601" y="6529109"/>
                  <a:pt x="11604601" y="6542999"/>
                </a:cubicBezTo>
                <a:cubicBezTo>
                  <a:pt x="11604601" y="6549614"/>
                  <a:pt x="11603929" y="6551598"/>
                  <a:pt x="11599900" y="6551598"/>
                </a:cubicBezTo>
                <a:cubicBezTo>
                  <a:pt x="11552213" y="6551598"/>
                  <a:pt x="11552213" y="6551598"/>
                  <a:pt x="11552213" y="6551598"/>
                </a:cubicBezTo>
                <a:cubicBezTo>
                  <a:pt x="11552213" y="6546968"/>
                  <a:pt x="11552885" y="6543661"/>
                  <a:pt x="11552885" y="6543661"/>
                </a:cubicBezTo>
                <a:cubicBezTo>
                  <a:pt x="11554228" y="6531093"/>
                  <a:pt x="11560273" y="6519848"/>
                  <a:pt x="11578407" y="6519848"/>
                </a:cubicBezTo>
                <a:close/>
                <a:moveTo>
                  <a:pt x="11218837" y="6519848"/>
                </a:moveTo>
                <a:cubicBezTo>
                  <a:pt x="11238213" y="6519848"/>
                  <a:pt x="11245825" y="6529109"/>
                  <a:pt x="11245825" y="6542999"/>
                </a:cubicBezTo>
                <a:cubicBezTo>
                  <a:pt x="11245133" y="6549614"/>
                  <a:pt x="11244441" y="6551598"/>
                  <a:pt x="11240289" y="6551598"/>
                </a:cubicBezTo>
                <a:cubicBezTo>
                  <a:pt x="11191850" y="6551598"/>
                  <a:pt x="11191850" y="6551598"/>
                  <a:pt x="11191850" y="6551598"/>
                </a:cubicBezTo>
                <a:cubicBezTo>
                  <a:pt x="11191850" y="6546968"/>
                  <a:pt x="11191850" y="6543661"/>
                  <a:pt x="11191850" y="6543661"/>
                </a:cubicBezTo>
                <a:cubicBezTo>
                  <a:pt x="11193234" y="6531093"/>
                  <a:pt x="11199462" y="6519848"/>
                  <a:pt x="11218837" y="6519848"/>
                </a:cubicBezTo>
                <a:close/>
                <a:moveTo>
                  <a:pt x="11625238" y="6503974"/>
                </a:moveTo>
                <a:cubicBezTo>
                  <a:pt x="11632111" y="6508082"/>
                  <a:pt x="11636922" y="6513559"/>
                  <a:pt x="11640358" y="6520405"/>
                </a:cubicBezTo>
                <a:cubicBezTo>
                  <a:pt x="11674034" y="6520405"/>
                  <a:pt x="11674034" y="6520405"/>
                  <a:pt x="11674034" y="6520405"/>
                </a:cubicBezTo>
                <a:cubicBezTo>
                  <a:pt x="11674034" y="6613512"/>
                  <a:pt x="11674034" y="6613512"/>
                  <a:pt x="11674034" y="6613512"/>
                </a:cubicBezTo>
                <a:cubicBezTo>
                  <a:pt x="11700151" y="6613512"/>
                  <a:pt x="11700151" y="6613512"/>
                  <a:pt x="11700151" y="6613512"/>
                </a:cubicBezTo>
                <a:cubicBezTo>
                  <a:pt x="11700151" y="6520405"/>
                  <a:pt x="11700151" y="6520405"/>
                  <a:pt x="11700151" y="6520405"/>
                </a:cubicBezTo>
                <a:lnTo>
                  <a:pt x="11737951" y="6520405"/>
                </a:lnTo>
                <a:cubicBezTo>
                  <a:pt x="11737951" y="6503974"/>
                  <a:pt x="11737951" y="6503974"/>
                  <a:pt x="11737951" y="6503974"/>
                </a:cubicBezTo>
                <a:cubicBezTo>
                  <a:pt x="11625238" y="6503974"/>
                  <a:pt x="11625238" y="6503974"/>
                  <a:pt x="11625238" y="6503974"/>
                </a:cubicBezTo>
                <a:close/>
                <a:moveTo>
                  <a:pt x="11426931" y="6503974"/>
                </a:moveTo>
                <a:cubicBezTo>
                  <a:pt x="11413915" y="6504659"/>
                  <a:pt x="11407750" y="6510820"/>
                  <a:pt x="11407750" y="6523143"/>
                </a:cubicBezTo>
                <a:cubicBezTo>
                  <a:pt x="11407750" y="6613512"/>
                  <a:pt x="11407750" y="6613512"/>
                  <a:pt x="11407750" y="6613512"/>
                </a:cubicBezTo>
                <a:cubicBezTo>
                  <a:pt x="11433781" y="6613512"/>
                  <a:pt x="11433781" y="6613512"/>
                  <a:pt x="11433781" y="6613512"/>
                </a:cubicBezTo>
                <a:cubicBezTo>
                  <a:pt x="11433781" y="6525197"/>
                  <a:pt x="11433781" y="6525197"/>
                  <a:pt x="11433781" y="6525197"/>
                </a:cubicBezTo>
                <a:cubicBezTo>
                  <a:pt x="11433781" y="6521774"/>
                  <a:pt x="11435151" y="6520405"/>
                  <a:pt x="11439261" y="6520405"/>
                </a:cubicBezTo>
                <a:cubicBezTo>
                  <a:pt x="11459812" y="6520405"/>
                  <a:pt x="11459812" y="6520405"/>
                  <a:pt x="11459812" y="6520405"/>
                </a:cubicBezTo>
                <a:cubicBezTo>
                  <a:pt x="11475567" y="6520405"/>
                  <a:pt x="11481732" y="6527936"/>
                  <a:pt x="11481732" y="6543682"/>
                </a:cubicBezTo>
                <a:cubicBezTo>
                  <a:pt x="11481732" y="6613512"/>
                  <a:pt x="11481732" y="6613512"/>
                  <a:pt x="11481732" y="6613512"/>
                </a:cubicBezTo>
                <a:cubicBezTo>
                  <a:pt x="11507763" y="6613512"/>
                  <a:pt x="11507763" y="6613512"/>
                  <a:pt x="11507763" y="6613512"/>
                </a:cubicBezTo>
                <a:cubicBezTo>
                  <a:pt x="11507763" y="6541628"/>
                  <a:pt x="11507763" y="6541628"/>
                  <a:pt x="11507763" y="6541628"/>
                </a:cubicBezTo>
                <a:cubicBezTo>
                  <a:pt x="11507763" y="6510136"/>
                  <a:pt x="11485842" y="6504659"/>
                  <a:pt x="11463922" y="6503974"/>
                </a:cubicBezTo>
                <a:cubicBezTo>
                  <a:pt x="11426931" y="6503974"/>
                  <a:pt x="11426931" y="6503974"/>
                  <a:pt x="11426931" y="6503974"/>
                </a:cubicBezTo>
                <a:close/>
                <a:moveTo>
                  <a:pt x="11307869" y="6503974"/>
                </a:moveTo>
                <a:cubicBezTo>
                  <a:pt x="11294853" y="6504659"/>
                  <a:pt x="11288688" y="6510820"/>
                  <a:pt x="11288688" y="6523143"/>
                </a:cubicBezTo>
                <a:cubicBezTo>
                  <a:pt x="11288688" y="6613512"/>
                  <a:pt x="11288688" y="6613512"/>
                  <a:pt x="11288688" y="6613512"/>
                </a:cubicBezTo>
                <a:cubicBezTo>
                  <a:pt x="11314719" y="6613512"/>
                  <a:pt x="11314719" y="6613512"/>
                  <a:pt x="11314719" y="6613512"/>
                </a:cubicBezTo>
                <a:cubicBezTo>
                  <a:pt x="11314719" y="6525197"/>
                  <a:pt x="11314719" y="6525197"/>
                  <a:pt x="11314719" y="6525197"/>
                </a:cubicBezTo>
                <a:cubicBezTo>
                  <a:pt x="11314719" y="6521774"/>
                  <a:pt x="11316089" y="6520405"/>
                  <a:pt x="11320199" y="6520405"/>
                </a:cubicBezTo>
                <a:cubicBezTo>
                  <a:pt x="11340750" y="6520405"/>
                  <a:pt x="11340750" y="6520405"/>
                  <a:pt x="11340750" y="6520405"/>
                </a:cubicBezTo>
                <a:cubicBezTo>
                  <a:pt x="11356505" y="6520405"/>
                  <a:pt x="11362670" y="6527936"/>
                  <a:pt x="11362670" y="6543682"/>
                </a:cubicBezTo>
                <a:cubicBezTo>
                  <a:pt x="11362670" y="6613512"/>
                  <a:pt x="11362670" y="6613512"/>
                  <a:pt x="11362670" y="6613512"/>
                </a:cubicBezTo>
                <a:cubicBezTo>
                  <a:pt x="11388701" y="6613512"/>
                  <a:pt x="11388701" y="6613512"/>
                  <a:pt x="11388701" y="6613512"/>
                </a:cubicBezTo>
                <a:cubicBezTo>
                  <a:pt x="11388701" y="6541628"/>
                  <a:pt x="11388701" y="6541628"/>
                  <a:pt x="11388701" y="6541628"/>
                </a:cubicBezTo>
                <a:cubicBezTo>
                  <a:pt x="11388701" y="6510136"/>
                  <a:pt x="11366780" y="6504659"/>
                  <a:pt x="11344860" y="6503974"/>
                </a:cubicBezTo>
                <a:cubicBezTo>
                  <a:pt x="11307869" y="6503974"/>
                  <a:pt x="11307869" y="6503974"/>
                  <a:pt x="11307869" y="6503974"/>
                </a:cubicBezTo>
                <a:close/>
                <a:moveTo>
                  <a:pt x="11055325" y="6503974"/>
                </a:moveTo>
                <a:cubicBezTo>
                  <a:pt x="11058740" y="6509451"/>
                  <a:pt x="11060106" y="6512874"/>
                  <a:pt x="11062838" y="6520405"/>
                </a:cubicBezTo>
                <a:lnTo>
                  <a:pt x="11098354" y="6520405"/>
                </a:lnTo>
                <a:cubicBezTo>
                  <a:pt x="11098354" y="6520405"/>
                  <a:pt x="11098354" y="6520405"/>
                  <a:pt x="11098354" y="6613512"/>
                </a:cubicBezTo>
                <a:cubicBezTo>
                  <a:pt x="11098354" y="6613512"/>
                  <a:pt x="11098354" y="6613512"/>
                  <a:pt x="11124990" y="6613512"/>
                </a:cubicBezTo>
                <a:cubicBezTo>
                  <a:pt x="11124990" y="6613512"/>
                  <a:pt x="11124990" y="6613512"/>
                  <a:pt x="11124990" y="6520405"/>
                </a:cubicBezTo>
                <a:cubicBezTo>
                  <a:pt x="11124990" y="6520405"/>
                  <a:pt x="11124990" y="6520405"/>
                  <a:pt x="11158457" y="6520405"/>
                </a:cubicBezTo>
                <a:cubicBezTo>
                  <a:pt x="11161189" y="6513559"/>
                  <a:pt x="11166653" y="6508082"/>
                  <a:pt x="11172800" y="6503974"/>
                </a:cubicBezTo>
                <a:cubicBezTo>
                  <a:pt x="11172800" y="6503974"/>
                  <a:pt x="11172800" y="6503974"/>
                  <a:pt x="11055325" y="6503974"/>
                </a:cubicBezTo>
                <a:close/>
                <a:moveTo>
                  <a:pt x="11576733" y="6503124"/>
                </a:moveTo>
                <a:cubicBezTo>
                  <a:pt x="11561929" y="6503635"/>
                  <a:pt x="11547381" y="6508057"/>
                  <a:pt x="11539165" y="6516902"/>
                </a:cubicBezTo>
                <a:cubicBezTo>
                  <a:pt x="11522050" y="6534591"/>
                  <a:pt x="11523419" y="6576093"/>
                  <a:pt x="11533004" y="6593782"/>
                </a:cubicBezTo>
                <a:cubicBezTo>
                  <a:pt x="11535058" y="6598544"/>
                  <a:pt x="11540535" y="6604668"/>
                  <a:pt x="11548065" y="6608750"/>
                </a:cubicBezTo>
                <a:cubicBezTo>
                  <a:pt x="11554227" y="6612152"/>
                  <a:pt x="11562442" y="6613512"/>
                  <a:pt x="11570657" y="6613512"/>
                </a:cubicBezTo>
                <a:cubicBezTo>
                  <a:pt x="11574081" y="6613512"/>
                  <a:pt x="11628165" y="6613512"/>
                  <a:pt x="11628165" y="6613512"/>
                </a:cubicBezTo>
                <a:cubicBezTo>
                  <a:pt x="11628165" y="6597864"/>
                  <a:pt x="11628165" y="6597864"/>
                  <a:pt x="11628165" y="6597864"/>
                </a:cubicBezTo>
                <a:cubicBezTo>
                  <a:pt x="11574765" y="6597864"/>
                  <a:pt x="11574765" y="6597864"/>
                  <a:pt x="11574765" y="6597864"/>
                </a:cubicBezTo>
                <a:cubicBezTo>
                  <a:pt x="11557650" y="6597864"/>
                  <a:pt x="11553542" y="6584937"/>
                  <a:pt x="11552858" y="6572010"/>
                </a:cubicBezTo>
                <a:cubicBezTo>
                  <a:pt x="11552858" y="6570650"/>
                  <a:pt x="11552173" y="6569969"/>
                  <a:pt x="11552173" y="6567928"/>
                </a:cubicBezTo>
                <a:cubicBezTo>
                  <a:pt x="11609680" y="6567928"/>
                  <a:pt x="11609680" y="6567928"/>
                  <a:pt x="11609680" y="6567928"/>
                </a:cubicBezTo>
                <a:cubicBezTo>
                  <a:pt x="11611050" y="6567928"/>
                  <a:pt x="11615842" y="6567928"/>
                  <a:pt x="11619265" y="6567248"/>
                </a:cubicBezTo>
                <a:cubicBezTo>
                  <a:pt x="11624742" y="6565887"/>
                  <a:pt x="11631588" y="6561125"/>
                  <a:pt x="11631588" y="6546837"/>
                </a:cubicBezTo>
                <a:cubicBezTo>
                  <a:pt x="11631588" y="6529828"/>
                  <a:pt x="11625426" y="6519623"/>
                  <a:pt x="11615842" y="6512819"/>
                </a:cubicBezTo>
                <a:cubicBezTo>
                  <a:pt x="11606600" y="6506016"/>
                  <a:pt x="11591538" y="6502614"/>
                  <a:pt x="11576733" y="6503124"/>
                </a:cubicBezTo>
                <a:close/>
                <a:moveTo>
                  <a:pt x="11215923" y="6503124"/>
                </a:moveTo>
                <a:cubicBezTo>
                  <a:pt x="11200904" y="6503635"/>
                  <a:pt x="11186145" y="6508057"/>
                  <a:pt x="11177463" y="6516902"/>
                </a:cubicBezTo>
                <a:cubicBezTo>
                  <a:pt x="11160100" y="6534591"/>
                  <a:pt x="11162184" y="6576093"/>
                  <a:pt x="11171213" y="6593782"/>
                </a:cubicBezTo>
                <a:cubicBezTo>
                  <a:pt x="11173991" y="6598544"/>
                  <a:pt x="11178852" y="6604668"/>
                  <a:pt x="11187187" y="6608750"/>
                </a:cubicBezTo>
                <a:cubicBezTo>
                  <a:pt x="11192743" y="6612152"/>
                  <a:pt x="11201077" y="6613512"/>
                  <a:pt x="11209412" y="6613512"/>
                </a:cubicBezTo>
                <a:cubicBezTo>
                  <a:pt x="11212884" y="6613512"/>
                  <a:pt x="11267752" y="6613512"/>
                  <a:pt x="11267752" y="6613512"/>
                </a:cubicBezTo>
                <a:cubicBezTo>
                  <a:pt x="11267752" y="6597864"/>
                  <a:pt x="11267752" y="6597864"/>
                  <a:pt x="11267752" y="6597864"/>
                </a:cubicBezTo>
                <a:cubicBezTo>
                  <a:pt x="11213579" y="6597864"/>
                  <a:pt x="11213579" y="6597864"/>
                  <a:pt x="11213579" y="6597864"/>
                </a:cubicBezTo>
                <a:cubicBezTo>
                  <a:pt x="11196216" y="6597864"/>
                  <a:pt x="11192048" y="6584937"/>
                  <a:pt x="11191354" y="6572010"/>
                </a:cubicBezTo>
                <a:cubicBezTo>
                  <a:pt x="11191354" y="6570650"/>
                  <a:pt x="11191354" y="6569969"/>
                  <a:pt x="11191354" y="6567928"/>
                </a:cubicBezTo>
                <a:cubicBezTo>
                  <a:pt x="11249695" y="6567928"/>
                  <a:pt x="11249695" y="6567928"/>
                  <a:pt x="11249695" y="6567928"/>
                </a:cubicBezTo>
                <a:cubicBezTo>
                  <a:pt x="11250389" y="6567928"/>
                  <a:pt x="11255945" y="6567928"/>
                  <a:pt x="11258723" y="6567248"/>
                </a:cubicBezTo>
                <a:cubicBezTo>
                  <a:pt x="11264974" y="6565887"/>
                  <a:pt x="11271225" y="6561125"/>
                  <a:pt x="11271225" y="6546837"/>
                </a:cubicBezTo>
                <a:cubicBezTo>
                  <a:pt x="11271225" y="6529828"/>
                  <a:pt x="11264974" y="6519623"/>
                  <a:pt x="11255945" y="6512819"/>
                </a:cubicBezTo>
                <a:cubicBezTo>
                  <a:pt x="11246221" y="6506016"/>
                  <a:pt x="11230942" y="6502614"/>
                  <a:pt x="11215923" y="6503124"/>
                </a:cubicBezTo>
                <a:close/>
                <a:moveTo>
                  <a:pt x="10943104" y="6471550"/>
                </a:moveTo>
                <a:cubicBezTo>
                  <a:pt x="10927021" y="6471315"/>
                  <a:pt x="10909944" y="6473365"/>
                  <a:pt x="10892653" y="6477979"/>
                </a:cubicBezTo>
                <a:cubicBezTo>
                  <a:pt x="10848825" y="6489599"/>
                  <a:pt x="10813900" y="6515572"/>
                  <a:pt x="10798150" y="6544279"/>
                </a:cubicBezTo>
                <a:cubicBezTo>
                  <a:pt x="10954970" y="6519673"/>
                  <a:pt x="10954970" y="6519673"/>
                  <a:pt x="10954970" y="6519673"/>
                </a:cubicBezTo>
                <a:cubicBezTo>
                  <a:pt x="10904295" y="6557949"/>
                  <a:pt x="10904295" y="6557949"/>
                  <a:pt x="10904295" y="6557949"/>
                </a:cubicBezTo>
                <a:cubicBezTo>
                  <a:pt x="11039886" y="6557949"/>
                  <a:pt x="11039886" y="6557949"/>
                  <a:pt x="11039886" y="6557949"/>
                </a:cubicBezTo>
                <a:cubicBezTo>
                  <a:pt x="11042625" y="6547697"/>
                  <a:pt x="11042625" y="6537444"/>
                  <a:pt x="11039886" y="6527875"/>
                </a:cubicBezTo>
                <a:cubicBezTo>
                  <a:pt x="11030641" y="6493528"/>
                  <a:pt x="10991350" y="6472254"/>
                  <a:pt x="10943104" y="6471550"/>
                </a:cubicBezTo>
                <a:close/>
                <a:moveTo>
                  <a:pt x="0" y="6277493"/>
                </a:moveTo>
                <a:lnTo>
                  <a:pt x="297394" y="6277493"/>
                </a:lnTo>
                <a:lnTo>
                  <a:pt x="297394" y="6329880"/>
                </a:lnTo>
                <a:lnTo>
                  <a:pt x="405767" y="6329880"/>
                </a:lnTo>
                <a:lnTo>
                  <a:pt x="405767" y="6277493"/>
                </a:lnTo>
                <a:lnTo>
                  <a:pt x="1016013" y="6277493"/>
                </a:lnTo>
                <a:lnTo>
                  <a:pt x="1016013" y="6329880"/>
                </a:lnTo>
                <a:lnTo>
                  <a:pt x="1124387" y="6329880"/>
                </a:lnTo>
                <a:lnTo>
                  <a:pt x="1124387" y="6277493"/>
                </a:lnTo>
                <a:lnTo>
                  <a:pt x="1734633" y="6277493"/>
                </a:lnTo>
                <a:lnTo>
                  <a:pt x="1734633" y="6329880"/>
                </a:lnTo>
                <a:lnTo>
                  <a:pt x="1843005" y="6329880"/>
                </a:lnTo>
                <a:lnTo>
                  <a:pt x="1843005" y="6277493"/>
                </a:lnTo>
                <a:lnTo>
                  <a:pt x="2453253" y="6277493"/>
                </a:lnTo>
                <a:lnTo>
                  <a:pt x="2453253" y="6329880"/>
                </a:lnTo>
                <a:lnTo>
                  <a:pt x="2561625" y="6329880"/>
                </a:lnTo>
                <a:lnTo>
                  <a:pt x="2561625" y="6277493"/>
                </a:lnTo>
                <a:lnTo>
                  <a:pt x="3171872" y="6277493"/>
                </a:lnTo>
                <a:lnTo>
                  <a:pt x="3171872" y="6329880"/>
                </a:lnTo>
                <a:lnTo>
                  <a:pt x="3280246" y="6329880"/>
                </a:lnTo>
                <a:lnTo>
                  <a:pt x="3280246" y="6277493"/>
                </a:lnTo>
                <a:lnTo>
                  <a:pt x="3890491" y="6277493"/>
                </a:lnTo>
                <a:lnTo>
                  <a:pt x="3890491" y="6329880"/>
                </a:lnTo>
                <a:lnTo>
                  <a:pt x="3998863" y="6329880"/>
                </a:lnTo>
                <a:lnTo>
                  <a:pt x="3998863" y="6277493"/>
                </a:lnTo>
                <a:lnTo>
                  <a:pt x="4609108" y="6277493"/>
                </a:lnTo>
                <a:lnTo>
                  <a:pt x="4609108" y="6329880"/>
                </a:lnTo>
                <a:lnTo>
                  <a:pt x="4717481" y="6329880"/>
                </a:lnTo>
                <a:lnTo>
                  <a:pt x="4717481" y="6277493"/>
                </a:lnTo>
                <a:lnTo>
                  <a:pt x="5327727" y="6277493"/>
                </a:lnTo>
                <a:lnTo>
                  <a:pt x="5327727" y="6329880"/>
                </a:lnTo>
                <a:lnTo>
                  <a:pt x="5436099" y="6329880"/>
                </a:lnTo>
                <a:lnTo>
                  <a:pt x="5436099" y="6277493"/>
                </a:lnTo>
                <a:lnTo>
                  <a:pt x="6046344" y="6277493"/>
                </a:lnTo>
                <a:lnTo>
                  <a:pt x="6046344" y="6329880"/>
                </a:lnTo>
                <a:lnTo>
                  <a:pt x="6154716" y="6329880"/>
                </a:lnTo>
                <a:lnTo>
                  <a:pt x="6154716" y="6277493"/>
                </a:lnTo>
                <a:lnTo>
                  <a:pt x="6764962" y="6277493"/>
                </a:lnTo>
                <a:lnTo>
                  <a:pt x="6764962" y="6329880"/>
                </a:lnTo>
                <a:lnTo>
                  <a:pt x="6873335" y="6329880"/>
                </a:lnTo>
                <a:lnTo>
                  <a:pt x="6873335" y="6277493"/>
                </a:lnTo>
                <a:lnTo>
                  <a:pt x="7483581" y="6277493"/>
                </a:lnTo>
                <a:lnTo>
                  <a:pt x="7483581" y="6329880"/>
                </a:lnTo>
                <a:lnTo>
                  <a:pt x="7591954" y="6329880"/>
                </a:lnTo>
                <a:lnTo>
                  <a:pt x="7591954" y="6277493"/>
                </a:lnTo>
                <a:lnTo>
                  <a:pt x="8202200" y="6277493"/>
                </a:lnTo>
                <a:lnTo>
                  <a:pt x="8202200" y="6329880"/>
                </a:lnTo>
                <a:lnTo>
                  <a:pt x="8310573" y="6329880"/>
                </a:lnTo>
                <a:lnTo>
                  <a:pt x="8310573" y="6277493"/>
                </a:lnTo>
                <a:lnTo>
                  <a:pt x="8920819" y="6277493"/>
                </a:lnTo>
                <a:lnTo>
                  <a:pt x="8920819" y="6329880"/>
                </a:lnTo>
                <a:lnTo>
                  <a:pt x="9029192" y="6329880"/>
                </a:lnTo>
                <a:lnTo>
                  <a:pt x="9029192" y="6277493"/>
                </a:lnTo>
                <a:lnTo>
                  <a:pt x="9639438" y="6277493"/>
                </a:lnTo>
                <a:lnTo>
                  <a:pt x="9639438" y="6329880"/>
                </a:lnTo>
                <a:lnTo>
                  <a:pt x="9747811" y="6329880"/>
                </a:lnTo>
                <a:lnTo>
                  <a:pt x="9747811" y="6277493"/>
                </a:lnTo>
                <a:lnTo>
                  <a:pt x="10358057" y="6277493"/>
                </a:lnTo>
                <a:lnTo>
                  <a:pt x="10358057" y="6329880"/>
                </a:lnTo>
                <a:lnTo>
                  <a:pt x="10466430" y="6329880"/>
                </a:lnTo>
                <a:lnTo>
                  <a:pt x="10466430" y="6277493"/>
                </a:lnTo>
                <a:lnTo>
                  <a:pt x="11076676" y="6277493"/>
                </a:lnTo>
                <a:lnTo>
                  <a:pt x="11076676" y="6329880"/>
                </a:lnTo>
                <a:lnTo>
                  <a:pt x="11185049" y="6329880"/>
                </a:lnTo>
                <a:lnTo>
                  <a:pt x="11185049" y="6277493"/>
                </a:lnTo>
                <a:lnTo>
                  <a:pt x="11795302" y="6277493"/>
                </a:lnTo>
                <a:lnTo>
                  <a:pt x="11795302" y="6329880"/>
                </a:lnTo>
                <a:lnTo>
                  <a:pt x="11903675" y="6329880"/>
                </a:lnTo>
                <a:lnTo>
                  <a:pt x="11903675" y="6277493"/>
                </a:lnTo>
                <a:lnTo>
                  <a:pt x="12191977" y="6277493"/>
                </a:lnTo>
                <a:lnTo>
                  <a:pt x="12191977" y="6875987"/>
                </a:lnTo>
                <a:lnTo>
                  <a:pt x="11" y="6875987"/>
                </a:lnTo>
                <a:lnTo>
                  <a:pt x="11" y="6875980"/>
                </a:lnTo>
                <a:lnTo>
                  <a:pt x="0" y="6875980"/>
                </a:lnTo>
                <a:close/>
                <a:moveTo>
                  <a:pt x="11903675" y="5558158"/>
                </a:moveTo>
                <a:lnTo>
                  <a:pt x="12191977" y="5558158"/>
                </a:lnTo>
                <a:lnTo>
                  <a:pt x="12191977" y="6273893"/>
                </a:lnTo>
                <a:lnTo>
                  <a:pt x="11903675" y="6273893"/>
                </a:lnTo>
                <a:lnTo>
                  <a:pt x="11903675" y="6221507"/>
                </a:lnTo>
                <a:lnTo>
                  <a:pt x="11851288" y="6221507"/>
                </a:lnTo>
                <a:lnTo>
                  <a:pt x="11851288" y="5610545"/>
                </a:lnTo>
                <a:lnTo>
                  <a:pt x="11903675" y="5610545"/>
                </a:lnTo>
                <a:close/>
                <a:moveTo>
                  <a:pt x="11185049" y="5558158"/>
                </a:moveTo>
                <a:lnTo>
                  <a:pt x="11795302" y="5558158"/>
                </a:lnTo>
                <a:lnTo>
                  <a:pt x="11795302" y="5610545"/>
                </a:lnTo>
                <a:lnTo>
                  <a:pt x="11847688" y="5610545"/>
                </a:lnTo>
                <a:lnTo>
                  <a:pt x="11847688" y="6221507"/>
                </a:lnTo>
                <a:lnTo>
                  <a:pt x="11795302" y="6221507"/>
                </a:lnTo>
                <a:lnTo>
                  <a:pt x="11795302" y="6273893"/>
                </a:lnTo>
                <a:lnTo>
                  <a:pt x="11185049" y="6273893"/>
                </a:lnTo>
                <a:lnTo>
                  <a:pt x="11185049" y="6221507"/>
                </a:lnTo>
                <a:lnTo>
                  <a:pt x="11132662" y="6221507"/>
                </a:lnTo>
                <a:lnTo>
                  <a:pt x="11132662" y="5610545"/>
                </a:lnTo>
                <a:lnTo>
                  <a:pt x="11185049" y="5610545"/>
                </a:lnTo>
                <a:close/>
                <a:moveTo>
                  <a:pt x="10466430" y="5558158"/>
                </a:moveTo>
                <a:lnTo>
                  <a:pt x="11076676" y="5558158"/>
                </a:lnTo>
                <a:lnTo>
                  <a:pt x="11076676" y="5610545"/>
                </a:lnTo>
                <a:lnTo>
                  <a:pt x="11129062" y="5610545"/>
                </a:lnTo>
                <a:lnTo>
                  <a:pt x="11129062" y="6221507"/>
                </a:lnTo>
                <a:lnTo>
                  <a:pt x="11076676" y="6221507"/>
                </a:lnTo>
                <a:lnTo>
                  <a:pt x="11076676" y="6273893"/>
                </a:lnTo>
                <a:lnTo>
                  <a:pt x="10466430" y="6273893"/>
                </a:lnTo>
                <a:lnTo>
                  <a:pt x="10466430" y="6221507"/>
                </a:lnTo>
                <a:lnTo>
                  <a:pt x="10414043" y="6221507"/>
                </a:lnTo>
                <a:lnTo>
                  <a:pt x="10414043" y="5610545"/>
                </a:lnTo>
                <a:lnTo>
                  <a:pt x="10466430" y="5610545"/>
                </a:lnTo>
                <a:close/>
                <a:moveTo>
                  <a:pt x="9747811" y="5558158"/>
                </a:moveTo>
                <a:lnTo>
                  <a:pt x="10358057" y="5558158"/>
                </a:lnTo>
                <a:lnTo>
                  <a:pt x="10358057" y="5610545"/>
                </a:lnTo>
                <a:lnTo>
                  <a:pt x="10410443" y="5610545"/>
                </a:lnTo>
                <a:lnTo>
                  <a:pt x="10410443" y="6221507"/>
                </a:lnTo>
                <a:lnTo>
                  <a:pt x="10358057" y="6221507"/>
                </a:lnTo>
                <a:lnTo>
                  <a:pt x="10358057" y="6273893"/>
                </a:lnTo>
                <a:lnTo>
                  <a:pt x="9747811" y="6273893"/>
                </a:lnTo>
                <a:lnTo>
                  <a:pt x="9747811" y="6221507"/>
                </a:lnTo>
                <a:lnTo>
                  <a:pt x="9695424" y="6221507"/>
                </a:lnTo>
                <a:lnTo>
                  <a:pt x="9695424" y="5610545"/>
                </a:lnTo>
                <a:lnTo>
                  <a:pt x="9747811" y="5610545"/>
                </a:lnTo>
                <a:close/>
                <a:moveTo>
                  <a:pt x="9029192" y="5558158"/>
                </a:moveTo>
                <a:lnTo>
                  <a:pt x="9639438" y="5558158"/>
                </a:lnTo>
                <a:lnTo>
                  <a:pt x="9639438" y="5610545"/>
                </a:lnTo>
                <a:lnTo>
                  <a:pt x="9691824" y="5610545"/>
                </a:lnTo>
                <a:lnTo>
                  <a:pt x="9691824" y="6221507"/>
                </a:lnTo>
                <a:lnTo>
                  <a:pt x="9639438" y="6221507"/>
                </a:lnTo>
                <a:lnTo>
                  <a:pt x="9639438" y="6273893"/>
                </a:lnTo>
                <a:lnTo>
                  <a:pt x="9029192" y="6273893"/>
                </a:lnTo>
                <a:lnTo>
                  <a:pt x="9029192" y="6221507"/>
                </a:lnTo>
                <a:lnTo>
                  <a:pt x="8976805" y="6221507"/>
                </a:lnTo>
                <a:lnTo>
                  <a:pt x="8976805" y="5610545"/>
                </a:lnTo>
                <a:lnTo>
                  <a:pt x="9029192" y="5610545"/>
                </a:lnTo>
                <a:close/>
                <a:moveTo>
                  <a:pt x="8310573" y="5558158"/>
                </a:moveTo>
                <a:lnTo>
                  <a:pt x="8920819" y="5558158"/>
                </a:lnTo>
                <a:lnTo>
                  <a:pt x="8920819" y="5610545"/>
                </a:lnTo>
                <a:lnTo>
                  <a:pt x="8973205" y="5610545"/>
                </a:lnTo>
                <a:lnTo>
                  <a:pt x="8973205" y="6221507"/>
                </a:lnTo>
                <a:lnTo>
                  <a:pt x="8920819" y="6221507"/>
                </a:lnTo>
                <a:lnTo>
                  <a:pt x="8920819" y="6273893"/>
                </a:lnTo>
                <a:lnTo>
                  <a:pt x="8310573" y="6273893"/>
                </a:lnTo>
                <a:lnTo>
                  <a:pt x="8310573" y="6221507"/>
                </a:lnTo>
                <a:lnTo>
                  <a:pt x="8258187" y="6221507"/>
                </a:lnTo>
                <a:lnTo>
                  <a:pt x="8258187" y="5610545"/>
                </a:lnTo>
                <a:lnTo>
                  <a:pt x="8310573" y="5610545"/>
                </a:lnTo>
                <a:close/>
                <a:moveTo>
                  <a:pt x="7591954" y="5558158"/>
                </a:moveTo>
                <a:lnTo>
                  <a:pt x="8202200" y="5558158"/>
                </a:lnTo>
                <a:lnTo>
                  <a:pt x="8202200" y="5610545"/>
                </a:lnTo>
                <a:lnTo>
                  <a:pt x="8254587" y="5610545"/>
                </a:lnTo>
                <a:lnTo>
                  <a:pt x="8254587" y="6221507"/>
                </a:lnTo>
                <a:lnTo>
                  <a:pt x="8202200" y="6221507"/>
                </a:lnTo>
                <a:lnTo>
                  <a:pt x="8202200" y="6273893"/>
                </a:lnTo>
                <a:lnTo>
                  <a:pt x="7591954" y="6273893"/>
                </a:lnTo>
                <a:lnTo>
                  <a:pt x="7591954" y="6221507"/>
                </a:lnTo>
                <a:lnTo>
                  <a:pt x="7539568" y="6221507"/>
                </a:lnTo>
                <a:lnTo>
                  <a:pt x="7539568" y="5610545"/>
                </a:lnTo>
                <a:lnTo>
                  <a:pt x="7591954" y="5610545"/>
                </a:lnTo>
                <a:close/>
                <a:moveTo>
                  <a:pt x="6873335" y="5558158"/>
                </a:moveTo>
                <a:lnTo>
                  <a:pt x="7483581" y="5558158"/>
                </a:lnTo>
                <a:lnTo>
                  <a:pt x="7483581" y="5610545"/>
                </a:lnTo>
                <a:lnTo>
                  <a:pt x="7535968" y="5610545"/>
                </a:lnTo>
                <a:lnTo>
                  <a:pt x="7535968" y="6221507"/>
                </a:lnTo>
                <a:lnTo>
                  <a:pt x="7483581" y="6221507"/>
                </a:lnTo>
                <a:lnTo>
                  <a:pt x="7483581" y="6273893"/>
                </a:lnTo>
                <a:lnTo>
                  <a:pt x="6873335" y="6273893"/>
                </a:lnTo>
                <a:lnTo>
                  <a:pt x="6873335" y="6221507"/>
                </a:lnTo>
                <a:lnTo>
                  <a:pt x="6820949" y="6221507"/>
                </a:lnTo>
                <a:lnTo>
                  <a:pt x="6820949" y="5610545"/>
                </a:lnTo>
                <a:lnTo>
                  <a:pt x="6873335" y="5610545"/>
                </a:lnTo>
                <a:close/>
                <a:moveTo>
                  <a:pt x="6154716" y="5558158"/>
                </a:moveTo>
                <a:lnTo>
                  <a:pt x="6764962" y="5558158"/>
                </a:lnTo>
                <a:lnTo>
                  <a:pt x="6764962" y="5610545"/>
                </a:lnTo>
                <a:lnTo>
                  <a:pt x="6817349" y="5610545"/>
                </a:lnTo>
                <a:lnTo>
                  <a:pt x="6817349" y="6221507"/>
                </a:lnTo>
                <a:lnTo>
                  <a:pt x="6764962" y="6221507"/>
                </a:lnTo>
                <a:lnTo>
                  <a:pt x="6764962" y="6273893"/>
                </a:lnTo>
                <a:lnTo>
                  <a:pt x="6154716" y="6273893"/>
                </a:lnTo>
                <a:lnTo>
                  <a:pt x="6154716" y="6221507"/>
                </a:lnTo>
                <a:lnTo>
                  <a:pt x="6102330" y="6221507"/>
                </a:lnTo>
                <a:lnTo>
                  <a:pt x="6102330" y="5610545"/>
                </a:lnTo>
                <a:lnTo>
                  <a:pt x="6154716" y="5610545"/>
                </a:lnTo>
                <a:close/>
                <a:moveTo>
                  <a:pt x="5436101" y="5558158"/>
                </a:moveTo>
                <a:lnTo>
                  <a:pt x="6046344" y="5558158"/>
                </a:lnTo>
                <a:lnTo>
                  <a:pt x="6046344" y="5610545"/>
                </a:lnTo>
                <a:lnTo>
                  <a:pt x="6098730" y="5610545"/>
                </a:lnTo>
                <a:lnTo>
                  <a:pt x="6098730" y="6221507"/>
                </a:lnTo>
                <a:lnTo>
                  <a:pt x="6046344" y="6221507"/>
                </a:lnTo>
                <a:lnTo>
                  <a:pt x="6046344" y="6273893"/>
                </a:lnTo>
                <a:lnTo>
                  <a:pt x="5436099" y="6273893"/>
                </a:lnTo>
                <a:lnTo>
                  <a:pt x="5436099" y="6221507"/>
                </a:lnTo>
                <a:lnTo>
                  <a:pt x="5383726" y="6221507"/>
                </a:lnTo>
                <a:lnTo>
                  <a:pt x="5383726" y="5610545"/>
                </a:lnTo>
                <a:lnTo>
                  <a:pt x="5436101" y="5610545"/>
                </a:lnTo>
                <a:close/>
                <a:moveTo>
                  <a:pt x="4717481" y="5558158"/>
                </a:moveTo>
                <a:lnTo>
                  <a:pt x="5327729" y="5558158"/>
                </a:lnTo>
                <a:lnTo>
                  <a:pt x="5327729" y="5610545"/>
                </a:lnTo>
                <a:lnTo>
                  <a:pt x="5380126" y="5610545"/>
                </a:lnTo>
                <a:lnTo>
                  <a:pt x="5380126" y="6221507"/>
                </a:lnTo>
                <a:lnTo>
                  <a:pt x="5327727" y="6221507"/>
                </a:lnTo>
                <a:lnTo>
                  <a:pt x="5327727" y="6273893"/>
                </a:lnTo>
                <a:lnTo>
                  <a:pt x="4717481" y="6273893"/>
                </a:lnTo>
                <a:lnTo>
                  <a:pt x="4717481" y="6221507"/>
                </a:lnTo>
                <a:lnTo>
                  <a:pt x="4665104" y="6221507"/>
                </a:lnTo>
                <a:lnTo>
                  <a:pt x="4665104" y="5610545"/>
                </a:lnTo>
                <a:lnTo>
                  <a:pt x="4717481" y="5610545"/>
                </a:lnTo>
                <a:close/>
                <a:moveTo>
                  <a:pt x="3998867" y="5558158"/>
                </a:moveTo>
                <a:lnTo>
                  <a:pt x="4609108" y="5558158"/>
                </a:lnTo>
                <a:lnTo>
                  <a:pt x="4609108" y="5610545"/>
                </a:lnTo>
                <a:lnTo>
                  <a:pt x="4661503" y="5610545"/>
                </a:lnTo>
                <a:lnTo>
                  <a:pt x="4661503" y="6221507"/>
                </a:lnTo>
                <a:lnTo>
                  <a:pt x="4609108" y="6221507"/>
                </a:lnTo>
                <a:lnTo>
                  <a:pt x="4609108" y="6273893"/>
                </a:lnTo>
                <a:lnTo>
                  <a:pt x="3998863" y="6273893"/>
                </a:lnTo>
                <a:lnTo>
                  <a:pt x="3998863" y="6221507"/>
                </a:lnTo>
                <a:lnTo>
                  <a:pt x="3946494" y="6221507"/>
                </a:lnTo>
                <a:lnTo>
                  <a:pt x="3946494" y="5610545"/>
                </a:lnTo>
                <a:lnTo>
                  <a:pt x="3998867" y="5610545"/>
                </a:lnTo>
                <a:close/>
                <a:moveTo>
                  <a:pt x="3280248" y="5558158"/>
                </a:moveTo>
                <a:lnTo>
                  <a:pt x="3890493" y="5558158"/>
                </a:lnTo>
                <a:lnTo>
                  <a:pt x="3890493" y="5610545"/>
                </a:lnTo>
                <a:lnTo>
                  <a:pt x="3942897" y="5610545"/>
                </a:lnTo>
                <a:lnTo>
                  <a:pt x="3942897" y="6221507"/>
                </a:lnTo>
                <a:lnTo>
                  <a:pt x="3890491" y="6221507"/>
                </a:lnTo>
                <a:lnTo>
                  <a:pt x="3890491" y="6273893"/>
                </a:lnTo>
                <a:lnTo>
                  <a:pt x="3280246" y="6273893"/>
                </a:lnTo>
                <a:lnTo>
                  <a:pt x="3280246" y="6221507"/>
                </a:lnTo>
                <a:lnTo>
                  <a:pt x="3227879" y="6221507"/>
                </a:lnTo>
                <a:lnTo>
                  <a:pt x="3227879" y="5610545"/>
                </a:lnTo>
                <a:lnTo>
                  <a:pt x="3280248" y="5610545"/>
                </a:lnTo>
                <a:close/>
                <a:moveTo>
                  <a:pt x="2561628" y="5558158"/>
                </a:moveTo>
                <a:lnTo>
                  <a:pt x="3171876" y="5558158"/>
                </a:lnTo>
                <a:lnTo>
                  <a:pt x="3171876" y="5610545"/>
                </a:lnTo>
                <a:lnTo>
                  <a:pt x="3224280" y="5610545"/>
                </a:lnTo>
                <a:lnTo>
                  <a:pt x="3224280" y="6221507"/>
                </a:lnTo>
                <a:lnTo>
                  <a:pt x="3171872" y="6221507"/>
                </a:lnTo>
                <a:lnTo>
                  <a:pt x="3171872" y="6273893"/>
                </a:lnTo>
                <a:lnTo>
                  <a:pt x="2561625" y="6273893"/>
                </a:lnTo>
                <a:lnTo>
                  <a:pt x="2561625" y="6221507"/>
                </a:lnTo>
                <a:lnTo>
                  <a:pt x="2509260" y="6221507"/>
                </a:lnTo>
                <a:lnTo>
                  <a:pt x="2509260" y="5610545"/>
                </a:lnTo>
                <a:lnTo>
                  <a:pt x="2561628" y="5610545"/>
                </a:lnTo>
                <a:close/>
                <a:moveTo>
                  <a:pt x="1843007" y="5558158"/>
                </a:moveTo>
                <a:lnTo>
                  <a:pt x="2453255" y="5558158"/>
                </a:lnTo>
                <a:lnTo>
                  <a:pt x="2453255" y="5610545"/>
                </a:lnTo>
                <a:lnTo>
                  <a:pt x="2505660" y="5610545"/>
                </a:lnTo>
                <a:lnTo>
                  <a:pt x="2505660" y="6221507"/>
                </a:lnTo>
                <a:lnTo>
                  <a:pt x="2453253" y="6221507"/>
                </a:lnTo>
                <a:lnTo>
                  <a:pt x="2453253" y="6273893"/>
                </a:lnTo>
                <a:lnTo>
                  <a:pt x="1843005" y="6273893"/>
                </a:lnTo>
                <a:lnTo>
                  <a:pt x="1843005" y="6221507"/>
                </a:lnTo>
                <a:lnTo>
                  <a:pt x="1790634" y="6221507"/>
                </a:lnTo>
                <a:lnTo>
                  <a:pt x="1790634" y="5610545"/>
                </a:lnTo>
                <a:lnTo>
                  <a:pt x="1843007" y="5610545"/>
                </a:lnTo>
                <a:close/>
                <a:moveTo>
                  <a:pt x="1124389" y="5558158"/>
                </a:moveTo>
                <a:lnTo>
                  <a:pt x="1734635" y="5558158"/>
                </a:lnTo>
                <a:lnTo>
                  <a:pt x="1734635" y="5610545"/>
                </a:lnTo>
                <a:lnTo>
                  <a:pt x="1787035" y="5610545"/>
                </a:lnTo>
                <a:lnTo>
                  <a:pt x="1787035" y="6221507"/>
                </a:lnTo>
                <a:lnTo>
                  <a:pt x="1734633" y="6221507"/>
                </a:lnTo>
                <a:lnTo>
                  <a:pt x="1734633" y="6273893"/>
                </a:lnTo>
                <a:lnTo>
                  <a:pt x="1124387" y="6273893"/>
                </a:lnTo>
                <a:lnTo>
                  <a:pt x="1124387" y="6221507"/>
                </a:lnTo>
                <a:lnTo>
                  <a:pt x="1072016" y="6221507"/>
                </a:lnTo>
                <a:lnTo>
                  <a:pt x="1072016" y="5610545"/>
                </a:lnTo>
                <a:lnTo>
                  <a:pt x="1124389" y="5610545"/>
                </a:lnTo>
                <a:close/>
                <a:moveTo>
                  <a:pt x="405770" y="5558158"/>
                </a:moveTo>
                <a:lnTo>
                  <a:pt x="1016016" y="5558158"/>
                </a:lnTo>
                <a:lnTo>
                  <a:pt x="1016016" y="5610545"/>
                </a:lnTo>
                <a:lnTo>
                  <a:pt x="1068417" y="5610545"/>
                </a:lnTo>
                <a:lnTo>
                  <a:pt x="1068417" y="6221507"/>
                </a:lnTo>
                <a:lnTo>
                  <a:pt x="1016013" y="6221507"/>
                </a:lnTo>
                <a:lnTo>
                  <a:pt x="1016013" y="6273893"/>
                </a:lnTo>
                <a:lnTo>
                  <a:pt x="405767" y="6273893"/>
                </a:lnTo>
                <a:lnTo>
                  <a:pt x="405767" y="6221507"/>
                </a:lnTo>
                <a:lnTo>
                  <a:pt x="353399" y="6221507"/>
                </a:lnTo>
                <a:lnTo>
                  <a:pt x="353399" y="5610545"/>
                </a:lnTo>
                <a:lnTo>
                  <a:pt x="405770" y="5610545"/>
                </a:lnTo>
                <a:close/>
                <a:moveTo>
                  <a:pt x="0" y="5558158"/>
                </a:moveTo>
                <a:lnTo>
                  <a:pt x="297397" y="5558158"/>
                </a:lnTo>
                <a:lnTo>
                  <a:pt x="297397" y="5610545"/>
                </a:lnTo>
                <a:lnTo>
                  <a:pt x="349799" y="5610545"/>
                </a:lnTo>
                <a:lnTo>
                  <a:pt x="349799" y="6221507"/>
                </a:lnTo>
                <a:lnTo>
                  <a:pt x="297394" y="6221507"/>
                </a:lnTo>
                <a:lnTo>
                  <a:pt x="297394" y="6273893"/>
                </a:lnTo>
                <a:lnTo>
                  <a:pt x="0" y="6273893"/>
                </a:lnTo>
                <a:close/>
                <a:moveTo>
                  <a:pt x="11903675" y="4838820"/>
                </a:moveTo>
                <a:lnTo>
                  <a:pt x="12191977" y="4838820"/>
                </a:lnTo>
                <a:lnTo>
                  <a:pt x="12191977" y="5554558"/>
                </a:lnTo>
                <a:lnTo>
                  <a:pt x="11903675" y="5554558"/>
                </a:lnTo>
                <a:lnTo>
                  <a:pt x="11903675" y="5502172"/>
                </a:lnTo>
                <a:lnTo>
                  <a:pt x="11851288" y="5502172"/>
                </a:lnTo>
                <a:lnTo>
                  <a:pt x="11851288" y="4891207"/>
                </a:lnTo>
                <a:lnTo>
                  <a:pt x="11903675" y="4891207"/>
                </a:lnTo>
                <a:close/>
                <a:moveTo>
                  <a:pt x="11185049" y="4838820"/>
                </a:moveTo>
                <a:lnTo>
                  <a:pt x="11795302" y="4838820"/>
                </a:lnTo>
                <a:lnTo>
                  <a:pt x="11795302" y="4891207"/>
                </a:lnTo>
                <a:lnTo>
                  <a:pt x="11847688" y="4891207"/>
                </a:lnTo>
                <a:lnTo>
                  <a:pt x="11847688" y="5502172"/>
                </a:lnTo>
                <a:lnTo>
                  <a:pt x="11795302" y="5502172"/>
                </a:lnTo>
                <a:lnTo>
                  <a:pt x="11795302" y="5554558"/>
                </a:lnTo>
                <a:lnTo>
                  <a:pt x="11185049" y="5554558"/>
                </a:lnTo>
                <a:lnTo>
                  <a:pt x="11185049" y="5502172"/>
                </a:lnTo>
                <a:lnTo>
                  <a:pt x="11132662" y="5502172"/>
                </a:lnTo>
                <a:lnTo>
                  <a:pt x="11132662" y="4891207"/>
                </a:lnTo>
                <a:lnTo>
                  <a:pt x="11185049" y="4891207"/>
                </a:lnTo>
                <a:close/>
                <a:moveTo>
                  <a:pt x="10466430" y="4838820"/>
                </a:moveTo>
                <a:lnTo>
                  <a:pt x="11076676" y="4838820"/>
                </a:lnTo>
                <a:lnTo>
                  <a:pt x="11076676" y="4891207"/>
                </a:lnTo>
                <a:lnTo>
                  <a:pt x="11129062" y="4891207"/>
                </a:lnTo>
                <a:lnTo>
                  <a:pt x="11129062" y="5502172"/>
                </a:lnTo>
                <a:lnTo>
                  <a:pt x="11076676" y="5502172"/>
                </a:lnTo>
                <a:lnTo>
                  <a:pt x="11076676" y="5554558"/>
                </a:lnTo>
                <a:lnTo>
                  <a:pt x="10466430" y="5554558"/>
                </a:lnTo>
                <a:lnTo>
                  <a:pt x="10466430" y="5502172"/>
                </a:lnTo>
                <a:lnTo>
                  <a:pt x="10414043" y="5502172"/>
                </a:lnTo>
                <a:lnTo>
                  <a:pt x="10414043" y="4891207"/>
                </a:lnTo>
                <a:lnTo>
                  <a:pt x="10466430" y="4891207"/>
                </a:lnTo>
                <a:close/>
                <a:moveTo>
                  <a:pt x="9747811" y="4838820"/>
                </a:moveTo>
                <a:lnTo>
                  <a:pt x="10358057" y="4838820"/>
                </a:lnTo>
                <a:lnTo>
                  <a:pt x="10358057" y="4891207"/>
                </a:lnTo>
                <a:lnTo>
                  <a:pt x="10410443" y="4891207"/>
                </a:lnTo>
                <a:lnTo>
                  <a:pt x="10410443" y="5502172"/>
                </a:lnTo>
                <a:lnTo>
                  <a:pt x="10358057" y="5502172"/>
                </a:lnTo>
                <a:lnTo>
                  <a:pt x="10358057" y="5554558"/>
                </a:lnTo>
                <a:lnTo>
                  <a:pt x="9747811" y="5554558"/>
                </a:lnTo>
                <a:lnTo>
                  <a:pt x="9747811" y="5502172"/>
                </a:lnTo>
                <a:lnTo>
                  <a:pt x="9695424" y="5502172"/>
                </a:lnTo>
                <a:lnTo>
                  <a:pt x="9695424" y="4891207"/>
                </a:lnTo>
                <a:lnTo>
                  <a:pt x="9747811" y="4891207"/>
                </a:lnTo>
                <a:close/>
                <a:moveTo>
                  <a:pt x="9029192" y="4838820"/>
                </a:moveTo>
                <a:lnTo>
                  <a:pt x="9639438" y="4838820"/>
                </a:lnTo>
                <a:lnTo>
                  <a:pt x="9639438" y="4891207"/>
                </a:lnTo>
                <a:lnTo>
                  <a:pt x="9691824" y="4891207"/>
                </a:lnTo>
                <a:lnTo>
                  <a:pt x="9691824" y="5502172"/>
                </a:lnTo>
                <a:lnTo>
                  <a:pt x="9639438" y="5502172"/>
                </a:lnTo>
                <a:lnTo>
                  <a:pt x="9639438" y="5554558"/>
                </a:lnTo>
                <a:lnTo>
                  <a:pt x="9029192" y="5554558"/>
                </a:lnTo>
                <a:lnTo>
                  <a:pt x="9029192" y="5502172"/>
                </a:lnTo>
                <a:lnTo>
                  <a:pt x="8976805" y="5502172"/>
                </a:lnTo>
                <a:lnTo>
                  <a:pt x="8976805" y="4891207"/>
                </a:lnTo>
                <a:lnTo>
                  <a:pt x="9029192" y="4891207"/>
                </a:lnTo>
                <a:close/>
                <a:moveTo>
                  <a:pt x="8310573" y="4838820"/>
                </a:moveTo>
                <a:lnTo>
                  <a:pt x="8920819" y="4838820"/>
                </a:lnTo>
                <a:lnTo>
                  <a:pt x="8920819" y="4891207"/>
                </a:lnTo>
                <a:lnTo>
                  <a:pt x="8973205" y="4891207"/>
                </a:lnTo>
                <a:lnTo>
                  <a:pt x="8973205" y="5502172"/>
                </a:lnTo>
                <a:lnTo>
                  <a:pt x="8920819" y="5502172"/>
                </a:lnTo>
                <a:lnTo>
                  <a:pt x="8920819" y="5554558"/>
                </a:lnTo>
                <a:lnTo>
                  <a:pt x="8310573" y="5554558"/>
                </a:lnTo>
                <a:lnTo>
                  <a:pt x="8310573" y="5502172"/>
                </a:lnTo>
                <a:lnTo>
                  <a:pt x="8258187" y="5502172"/>
                </a:lnTo>
                <a:lnTo>
                  <a:pt x="8258187" y="4891207"/>
                </a:lnTo>
                <a:lnTo>
                  <a:pt x="8310573" y="4891207"/>
                </a:lnTo>
                <a:close/>
                <a:moveTo>
                  <a:pt x="7591954" y="4838820"/>
                </a:moveTo>
                <a:lnTo>
                  <a:pt x="8202200" y="4838820"/>
                </a:lnTo>
                <a:lnTo>
                  <a:pt x="8202200" y="4891207"/>
                </a:lnTo>
                <a:lnTo>
                  <a:pt x="8254587" y="4891207"/>
                </a:lnTo>
                <a:lnTo>
                  <a:pt x="8254587" y="5502172"/>
                </a:lnTo>
                <a:lnTo>
                  <a:pt x="8202200" y="5502172"/>
                </a:lnTo>
                <a:lnTo>
                  <a:pt x="8202200" y="5554558"/>
                </a:lnTo>
                <a:lnTo>
                  <a:pt x="7591954" y="5554558"/>
                </a:lnTo>
                <a:lnTo>
                  <a:pt x="7591954" y="5502172"/>
                </a:lnTo>
                <a:lnTo>
                  <a:pt x="7539568" y="5502172"/>
                </a:lnTo>
                <a:lnTo>
                  <a:pt x="7539568" y="4891207"/>
                </a:lnTo>
                <a:lnTo>
                  <a:pt x="7591954" y="4891207"/>
                </a:lnTo>
                <a:close/>
                <a:moveTo>
                  <a:pt x="6873335" y="4838820"/>
                </a:moveTo>
                <a:lnTo>
                  <a:pt x="7483581" y="4838820"/>
                </a:lnTo>
                <a:lnTo>
                  <a:pt x="7483581" y="4891207"/>
                </a:lnTo>
                <a:lnTo>
                  <a:pt x="7535968" y="4891207"/>
                </a:lnTo>
                <a:lnTo>
                  <a:pt x="7535968" y="5502172"/>
                </a:lnTo>
                <a:lnTo>
                  <a:pt x="7483581" y="5502172"/>
                </a:lnTo>
                <a:lnTo>
                  <a:pt x="7483581" y="5554558"/>
                </a:lnTo>
                <a:lnTo>
                  <a:pt x="6873335" y="5554558"/>
                </a:lnTo>
                <a:lnTo>
                  <a:pt x="6873335" y="5502172"/>
                </a:lnTo>
                <a:lnTo>
                  <a:pt x="6820949" y="5502172"/>
                </a:lnTo>
                <a:lnTo>
                  <a:pt x="6820949" y="4891207"/>
                </a:lnTo>
                <a:lnTo>
                  <a:pt x="6873335" y="4891207"/>
                </a:lnTo>
                <a:close/>
                <a:moveTo>
                  <a:pt x="6154716" y="4838820"/>
                </a:moveTo>
                <a:lnTo>
                  <a:pt x="6764962" y="4838820"/>
                </a:lnTo>
                <a:lnTo>
                  <a:pt x="6764962" y="4891207"/>
                </a:lnTo>
                <a:lnTo>
                  <a:pt x="6817349" y="4891207"/>
                </a:lnTo>
                <a:lnTo>
                  <a:pt x="6817349" y="5502172"/>
                </a:lnTo>
                <a:lnTo>
                  <a:pt x="6764962" y="5502172"/>
                </a:lnTo>
                <a:lnTo>
                  <a:pt x="6764962" y="5554558"/>
                </a:lnTo>
                <a:lnTo>
                  <a:pt x="6154716" y="5554558"/>
                </a:lnTo>
                <a:lnTo>
                  <a:pt x="6154716" y="5502172"/>
                </a:lnTo>
                <a:lnTo>
                  <a:pt x="6102330" y="5502172"/>
                </a:lnTo>
                <a:lnTo>
                  <a:pt x="6102330" y="4891207"/>
                </a:lnTo>
                <a:lnTo>
                  <a:pt x="6154716" y="4891207"/>
                </a:lnTo>
                <a:close/>
                <a:moveTo>
                  <a:pt x="5436103" y="4838820"/>
                </a:moveTo>
                <a:lnTo>
                  <a:pt x="6046344" y="4838820"/>
                </a:lnTo>
                <a:lnTo>
                  <a:pt x="6046344" y="4891207"/>
                </a:lnTo>
                <a:lnTo>
                  <a:pt x="6098730" y="4891207"/>
                </a:lnTo>
                <a:lnTo>
                  <a:pt x="6098730" y="5502172"/>
                </a:lnTo>
                <a:lnTo>
                  <a:pt x="6046344" y="5502172"/>
                </a:lnTo>
                <a:lnTo>
                  <a:pt x="6046344" y="5554558"/>
                </a:lnTo>
                <a:lnTo>
                  <a:pt x="5436101" y="5554558"/>
                </a:lnTo>
                <a:lnTo>
                  <a:pt x="5436101" y="5502172"/>
                </a:lnTo>
                <a:lnTo>
                  <a:pt x="5383726" y="5502172"/>
                </a:lnTo>
                <a:lnTo>
                  <a:pt x="5383726" y="4891207"/>
                </a:lnTo>
                <a:lnTo>
                  <a:pt x="5436103" y="4891207"/>
                </a:lnTo>
                <a:close/>
                <a:moveTo>
                  <a:pt x="4717481" y="4838820"/>
                </a:moveTo>
                <a:lnTo>
                  <a:pt x="5327731" y="4838820"/>
                </a:lnTo>
                <a:lnTo>
                  <a:pt x="5327731" y="4891207"/>
                </a:lnTo>
                <a:lnTo>
                  <a:pt x="5380126" y="4891207"/>
                </a:lnTo>
                <a:lnTo>
                  <a:pt x="5380126" y="5502172"/>
                </a:lnTo>
                <a:lnTo>
                  <a:pt x="5327729" y="5502172"/>
                </a:lnTo>
                <a:lnTo>
                  <a:pt x="5327729" y="5554558"/>
                </a:lnTo>
                <a:lnTo>
                  <a:pt x="4717481" y="5554558"/>
                </a:lnTo>
                <a:lnTo>
                  <a:pt x="4717481" y="5502172"/>
                </a:lnTo>
                <a:lnTo>
                  <a:pt x="4665104" y="5502172"/>
                </a:lnTo>
                <a:lnTo>
                  <a:pt x="4665104" y="4891207"/>
                </a:lnTo>
                <a:lnTo>
                  <a:pt x="4717481" y="4891207"/>
                </a:lnTo>
                <a:close/>
                <a:moveTo>
                  <a:pt x="3998869" y="4838820"/>
                </a:moveTo>
                <a:lnTo>
                  <a:pt x="4609110" y="4838820"/>
                </a:lnTo>
                <a:lnTo>
                  <a:pt x="4609110" y="4891207"/>
                </a:lnTo>
                <a:lnTo>
                  <a:pt x="4661503" y="4891207"/>
                </a:lnTo>
                <a:lnTo>
                  <a:pt x="4661503" y="5502172"/>
                </a:lnTo>
                <a:lnTo>
                  <a:pt x="4609108" y="5502172"/>
                </a:lnTo>
                <a:lnTo>
                  <a:pt x="4609108" y="5554558"/>
                </a:lnTo>
                <a:lnTo>
                  <a:pt x="3998867" y="5554558"/>
                </a:lnTo>
                <a:lnTo>
                  <a:pt x="3998867" y="5502172"/>
                </a:lnTo>
                <a:lnTo>
                  <a:pt x="3946494" y="5502172"/>
                </a:lnTo>
                <a:lnTo>
                  <a:pt x="3946494" y="4891207"/>
                </a:lnTo>
                <a:lnTo>
                  <a:pt x="3998869" y="4891207"/>
                </a:lnTo>
                <a:close/>
                <a:moveTo>
                  <a:pt x="3280252" y="4838820"/>
                </a:moveTo>
                <a:lnTo>
                  <a:pt x="3890495" y="4838820"/>
                </a:lnTo>
                <a:lnTo>
                  <a:pt x="3890495" y="4891207"/>
                </a:lnTo>
                <a:lnTo>
                  <a:pt x="3942897" y="4891207"/>
                </a:lnTo>
                <a:lnTo>
                  <a:pt x="3942897" y="5502172"/>
                </a:lnTo>
                <a:lnTo>
                  <a:pt x="3890493" y="5502172"/>
                </a:lnTo>
                <a:lnTo>
                  <a:pt x="3890493" y="5554558"/>
                </a:lnTo>
                <a:lnTo>
                  <a:pt x="3280248" y="5554558"/>
                </a:lnTo>
                <a:lnTo>
                  <a:pt x="3280248" y="5502172"/>
                </a:lnTo>
                <a:lnTo>
                  <a:pt x="3227879" y="5502172"/>
                </a:lnTo>
                <a:lnTo>
                  <a:pt x="3227879" y="4891207"/>
                </a:lnTo>
                <a:lnTo>
                  <a:pt x="3280252" y="4891207"/>
                </a:lnTo>
                <a:close/>
                <a:moveTo>
                  <a:pt x="2561632" y="4838820"/>
                </a:moveTo>
                <a:lnTo>
                  <a:pt x="3171878" y="4838820"/>
                </a:lnTo>
                <a:lnTo>
                  <a:pt x="3171878" y="4891207"/>
                </a:lnTo>
                <a:lnTo>
                  <a:pt x="3224280" y="4891207"/>
                </a:lnTo>
                <a:lnTo>
                  <a:pt x="3224280" y="5502172"/>
                </a:lnTo>
                <a:lnTo>
                  <a:pt x="3171876" y="5502172"/>
                </a:lnTo>
                <a:lnTo>
                  <a:pt x="3171876" y="5554558"/>
                </a:lnTo>
                <a:lnTo>
                  <a:pt x="2561628" y="5554558"/>
                </a:lnTo>
                <a:lnTo>
                  <a:pt x="2561628" y="5502172"/>
                </a:lnTo>
                <a:lnTo>
                  <a:pt x="2509260" y="5502172"/>
                </a:lnTo>
                <a:lnTo>
                  <a:pt x="2509260" y="4891207"/>
                </a:lnTo>
                <a:lnTo>
                  <a:pt x="2561632" y="4891207"/>
                </a:lnTo>
                <a:close/>
                <a:moveTo>
                  <a:pt x="1843011" y="4838820"/>
                </a:moveTo>
                <a:lnTo>
                  <a:pt x="2453259" y="4838820"/>
                </a:lnTo>
                <a:lnTo>
                  <a:pt x="2453259" y="4891207"/>
                </a:lnTo>
                <a:lnTo>
                  <a:pt x="2505660" y="4891207"/>
                </a:lnTo>
                <a:lnTo>
                  <a:pt x="2505660" y="5502172"/>
                </a:lnTo>
                <a:lnTo>
                  <a:pt x="2453255" y="5502172"/>
                </a:lnTo>
                <a:lnTo>
                  <a:pt x="2453255" y="5554558"/>
                </a:lnTo>
                <a:lnTo>
                  <a:pt x="1843007" y="5554558"/>
                </a:lnTo>
                <a:lnTo>
                  <a:pt x="1843007" y="5502172"/>
                </a:lnTo>
                <a:lnTo>
                  <a:pt x="1790634" y="5502172"/>
                </a:lnTo>
                <a:lnTo>
                  <a:pt x="1790634" y="4891207"/>
                </a:lnTo>
                <a:lnTo>
                  <a:pt x="1843011" y="4891207"/>
                </a:lnTo>
                <a:close/>
                <a:moveTo>
                  <a:pt x="1124392" y="4838820"/>
                </a:moveTo>
                <a:lnTo>
                  <a:pt x="1734637" y="4838820"/>
                </a:lnTo>
                <a:lnTo>
                  <a:pt x="1734637" y="4891207"/>
                </a:lnTo>
                <a:lnTo>
                  <a:pt x="1787035" y="4891207"/>
                </a:lnTo>
                <a:lnTo>
                  <a:pt x="1787035" y="5502172"/>
                </a:lnTo>
                <a:lnTo>
                  <a:pt x="1734635" y="5502172"/>
                </a:lnTo>
                <a:lnTo>
                  <a:pt x="1734635" y="5554558"/>
                </a:lnTo>
                <a:lnTo>
                  <a:pt x="1124389" y="5554558"/>
                </a:lnTo>
                <a:lnTo>
                  <a:pt x="1124389" y="5502172"/>
                </a:lnTo>
                <a:lnTo>
                  <a:pt x="1072016" y="5502172"/>
                </a:lnTo>
                <a:lnTo>
                  <a:pt x="1072016" y="4891207"/>
                </a:lnTo>
                <a:lnTo>
                  <a:pt x="1124392" y="4891207"/>
                </a:lnTo>
                <a:close/>
                <a:moveTo>
                  <a:pt x="405773" y="4838820"/>
                </a:moveTo>
                <a:lnTo>
                  <a:pt x="1016019" y="4838820"/>
                </a:lnTo>
                <a:lnTo>
                  <a:pt x="1016019" y="4891207"/>
                </a:lnTo>
                <a:lnTo>
                  <a:pt x="1068417" y="4891207"/>
                </a:lnTo>
                <a:lnTo>
                  <a:pt x="1068417" y="5502172"/>
                </a:lnTo>
                <a:lnTo>
                  <a:pt x="1016016" y="5502172"/>
                </a:lnTo>
                <a:lnTo>
                  <a:pt x="1016016" y="5554558"/>
                </a:lnTo>
                <a:lnTo>
                  <a:pt x="405770" y="5554558"/>
                </a:lnTo>
                <a:lnTo>
                  <a:pt x="405770" y="5502172"/>
                </a:lnTo>
                <a:lnTo>
                  <a:pt x="353399" y="5502172"/>
                </a:lnTo>
                <a:lnTo>
                  <a:pt x="353399" y="4891207"/>
                </a:lnTo>
                <a:lnTo>
                  <a:pt x="405773" y="4891207"/>
                </a:lnTo>
                <a:close/>
                <a:moveTo>
                  <a:pt x="0" y="4838820"/>
                </a:moveTo>
                <a:lnTo>
                  <a:pt x="297400" y="4838820"/>
                </a:lnTo>
                <a:lnTo>
                  <a:pt x="297400" y="4891207"/>
                </a:lnTo>
                <a:lnTo>
                  <a:pt x="349799" y="4891207"/>
                </a:lnTo>
                <a:lnTo>
                  <a:pt x="349799" y="5502172"/>
                </a:lnTo>
                <a:lnTo>
                  <a:pt x="297397" y="5502172"/>
                </a:lnTo>
                <a:lnTo>
                  <a:pt x="297397" y="5554558"/>
                </a:lnTo>
                <a:lnTo>
                  <a:pt x="0" y="5554558"/>
                </a:lnTo>
                <a:close/>
                <a:moveTo>
                  <a:pt x="11903675" y="4119482"/>
                </a:moveTo>
                <a:lnTo>
                  <a:pt x="12191977" y="4119482"/>
                </a:lnTo>
                <a:lnTo>
                  <a:pt x="12191977" y="4835220"/>
                </a:lnTo>
                <a:lnTo>
                  <a:pt x="11903675" y="4835220"/>
                </a:lnTo>
                <a:lnTo>
                  <a:pt x="11903675" y="4782834"/>
                </a:lnTo>
                <a:lnTo>
                  <a:pt x="11851288" y="4782834"/>
                </a:lnTo>
                <a:lnTo>
                  <a:pt x="11851288" y="4171869"/>
                </a:lnTo>
                <a:lnTo>
                  <a:pt x="11903675" y="4171869"/>
                </a:lnTo>
                <a:close/>
                <a:moveTo>
                  <a:pt x="11185049" y="4119482"/>
                </a:moveTo>
                <a:lnTo>
                  <a:pt x="11795302" y="4119482"/>
                </a:lnTo>
                <a:lnTo>
                  <a:pt x="11795302" y="4171869"/>
                </a:lnTo>
                <a:lnTo>
                  <a:pt x="11847688" y="4171869"/>
                </a:lnTo>
                <a:lnTo>
                  <a:pt x="11847688" y="4782834"/>
                </a:lnTo>
                <a:lnTo>
                  <a:pt x="11795302" y="4782834"/>
                </a:lnTo>
                <a:lnTo>
                  <a:pt x="11795302" y="4835220"/>
                </a:lnTo>
                <a:lnTo>
                  <a:pt x="11185049" y="4835220"/>
                </a:lnTo>
                <a:lnTo>
                  <a:pt x="11185049" y="4782834"/>
                </a:lnTo>
                <a:lnTo>
                  <a:pt x="11132662" y="4782834"/>
                </a:lnTo>
                <a:lnTo>
                  <a:pt x="11132662" y="4171869"/>
                </a:lnTo>
                <a:lnTo>
                  <a:pt x="11185049" y="4171869"/>
                </a:lnTo>
                <a:close/>
                <a:moveTo>
                  <a:pt x="10466430" y="4119482"/>
                </a:moveTo>
                <a:lnTo>
                  <a:pt x="11076676" y="4119482"/>
                </a:lnTo>
                <a:lnTo>
                  <a:pt x="11076676" y="4171869"/>
                </a:lnTo>
                <a:lnTo>
                  <a:pt x="11129062" y="4171869"/>
                </a:lnTo>
                <a:lnTo>
                  <a:pt x="11129062" y="4782834"/>
                </a:lnTo>
                <a:lnTo>
                  <a:pt x="11076676" y="4782834"/>
                </a:lnTo>
                <a:lnTo>
                  <a:pt x="11076676" y="4835220"/>
                </a:lnTo>
                <a:lnTo>
                  <a:pt x="10466430" y="4835220"/>
                </a:lnTo>
                <a:lnTo>
                  <a:pt x="10466430" y="4782834"/>
                </a:lnTo>
                <a:lnTo>
                  <a:pt x="10414043" y="4782834"/>
                </a:lnTo>
                <a:lnTo>
                  <a:pt x="10414043" y="4171869"/>
                </a:lnTo>
                <a:lnTo>
                  <a:pt x="10466430" y="4171869"/>
                </a:lnTo>
                <a:close/>
                <a:moveTo>
                  <a:pt x="9747811" y="4119482"/>
                </a:moveTo>
                <a:lnTo>
                  <a:pt x="10358057" y="4119482"/>
                </a:lnTo>
                <a:lnTo>
                  <a:pt x="10358057" y="4171869"/>
                </a:lnTo>
                <a:lnTo>
                  <a:pt x="10410443" y="4171869"/>
                </a:lnTo>
                <a:lnTo>
                  <a:pt x="10410443" y="4782834"/>
                </a:lnTo>
                <a:lnTo>
                  <a:pt x="10358057" y="4782834"/>
                </a:lnTo>
                <a:lnTo>
                  <a:pt x="10358057" y="4835220"/>
                </a:lnTo>
                <a:lnTo>
                  <a:pt x="9747811" y="4835220"/>
                </a:lnTo>
                <a:lnTo>
                  <a:pt x="9747811" y="4782834"/>
                </a:lnTo>
                <a:lnTo>
                  <a:pt x="9695424" y="4782834"/>
                </a:lnTo>
                <a:lnTo>
                  <a:pt x="9695424" y="4171869"/>
                </a:lnTo>
                <a:lnTo>
                  <a:pt x="9747811" y="4171869"/>
                </a:lnTo>
                <a:close/>
                <a:moveTo>
                  <a:pt x="9029192" y="4119482"/>
                </a:moveTo>
                <a:lnTo>
                  <a:pt x="9639438" y="4119482"/>
                </a:lnTo>
                <a:lnTo>
                  <a:pt x="9639438" y="4171869"/>
                </a:lnTo>
                <a:lnTo>
                  <a:pt x="9691824" y="4171869"/>
                </a:lnTo>
                <a:lnTo>
                  <a:pt x="9691824" y="4782834"/>
                </a:lnTo>
                <a:lnTo>
                  <a:pt x="9639438" y="4782834"/>
                </a:lnTo>
                <a:lnTo>
                  <a:pt x="9639438" y="4835220"/>
                </a:lnTo>
                <a:lnTo>
                  <a:pt x="9029192" y="4835220"/>
                </a:lnTo>
                <a:lnTo>
                  <a:pt x="9029192" y="4782834"/>
                </a:lnTo>
                <a:lnTo>
                  <a:pt x="8976805" y="4782834"/>
                </a:lnTo>
                <a:lnTo>
                  <a:pt x="8976805" y="4171869"/>
                </a:lnTo>
                <a:lnTo>
                  <a:pt x="9029192" y="4171869"/>
                </a:lnTo>
                <a:close/>
                <a:moveTo>
                  <a:pt x="8310573" y="4119482"/>
                </a:moveTo>
                <a:lnTo>
                  <a:pt x="8920819" y="4119482"/>
                </a:lnTo>
                <a:lnTo>
                  <a:pt x="8920819" y="4171869"/>
                </a:lnTo>
                <a:lnTo>
                  <a:pt x="8973205" y="4171869"/>
                </a:lnTo>
                <a:lnTo>
                  <a:pt x="8973205" y="4782834"/>
                </a:lnTo>
                <a:lnTo>
                  <a:pt x="8920819" y="4782834"/>
                </a:lnTo>
                <a:lnTo>
                  <a:pt x="8920819" y="4835220"/>
                </a:lnTo>
                <a:lnTo>
                  <a:pt x="8310573" y="4835220"/>
                </a:lnTo>
                <a:lnTo>
                  <a:pt x="8310573" y="4782834"/>
                </a:lnTo>
                <a:lnTo>
                  <a:pt x="8258187" y="4782834"/>
                </a:lnTo>
                <a:lnTo>
                  <a:pt x="8258187" y="4171869"/>
                </a:lnTo>
                <a:lnTo>
                  <a:pt x="8310573" y="4171869"/>
                </a:lnTo>
                <a:close/>
                <a:moveTo>
                  <a:pt x="7591954" y="4119482"/>
                </a:moveTo>
                <a:lnTo>
                  <a:pt x="8202200" y="4119482"/>
                </a:lnTo>
                <a:lnTo>
                  <a:pt x="8202200" y="4171869"/>
                </a:lnTo>
                <a:lnTo>
                  <a:pt x="8254587" y="4171869"/>
                </a:lnTo>
                <a:lnTo>
                  <a:pt x="8254587" y="4782834"/>
                </a:lnTo>
                <a:lnTo>
                  <a:pt x="8202200" y="4782834"/>
                </a:lnTo>
                <a:lnTo>
                  <a:pt x="8202200" y="4835220"/>
                </a:lnTo>
                <a:lnTo>
                  <a:pt x="7591954" y="4835220"/>
                </a:lnTo>
                <a:lnTo>
                  <a:pt x="7591954" y="4782834"/>
                </a:lnTo>
                <a:lnTo>
                  <a:pt x="7539568" y="4782834"/>
                </a:lnTo>
                <a:lnTo>
                  <a:pt x="7539568" y="4171869"/>
                </a:lnTo>
                <a:lnTo>
                  <a:pt x="7591954" y="4171869"/>
                </a:lnTo>
                <a:close/>
                <a:moveTo>
                  <a:pt x="6873335" y="4119482"/>
                </a:moveTo>
                <a:lnTo>
                  <a:pt x="7483581" y="4119482"/>
                </a:lnTo>
                <a:lnTo>
                  <a:pt x="7483581" y="4171869"/>
                </a:lnTo>
                <a:lnTo>
                  <a:pt x="7535968" y="4171869"/>
                </a:lnTo>
                <a:lnTo>
                  <a:pt x="7535968" y="4782834"/>
                </a:lnTo>
                <a:lnTo>
                  <a:pt x="7483581" y="4782834"/>
                </a:lnTo>
                <a:lnTo>
                  <a:pt x="7483581" y="4835220"/>
                </a:lnTo>
                <a:lnTo>
                  <a:pt x="6873335" y="4835220"/>
                </a:lnTo>
                <a:lnTo>
                  <a:pt x="6873335" y="4782834"/>
                </a:lnTo>
                <a:lnTo>
                  <a:pt x="6820949" y="4782834"/>
                </a:lnTo>
                <a:lnTo>
                  <a:pt x="6820949" y="4171869"/>
                </a:lnTo>
                <a:lnTo>
                  <a:pt x="6873335" y="4171869"/>
                </a:lnTo>
                <a:close/>
                <a:moveTo>
                  <a:pt x="6102330" y="4119482"/>
                </a:moveTo>
                <a:lnTo>
                  <a:pt x="6764962" y="4119482"/>
                </a:lnTo>
                <a:lnTo>
                  <a:pt x="6764962" y="4171869"/>
                </a:lnTo>
                <a:lnTo>
                  <a:pt x="6817349" y="4171869"/>
                </a:lnTo>
                <a:lnTo>
                  <a:pt x="6817349" y="4782834"/>
                </a:lnTo>
                <a:lnTo>
                  <a:pt x="6764962" y="4782834"/>
                </a:lnTo>
                <a:lnTo>
                  <a:pt x="6764962" y="4835220"/>
                </a:lnTo>
                <a:lnTo>
                  <a:pt x="6154716" y="4835220"/>
                </a:lnTo>
                <a:lnTo>
                  <a:pt x="6154716" y="4782834"/>
                </a:lnTo>
                <a:lnTo>
                  <a:pt x="6102330" y="4782834"/>
                </a:lnTo>
                <a:close/>
                <a:moveTo>
                  <a:pt x="5383726" y="4119482"/>
                </a:moveTo>
                <a:lnTo>
                  <a:pt x="6098730" y="4119482"/>
                </a:lnTo>
                <a:lnTo>
                  <a:pt x="6098730" y="4782834"/>
                </a:lnTo>
                <a:lnTo>
                  <a:pt x="6046344" y="4782834"/>
                </a:lnTo>
                <a:lnTo>
                  <a:pt x="6046344" y="4835220"/>
                </a:lnTo>
                <a:lnTo>
                  <a:pt x="5436103" y="4835220"/>
                </a:lnTo>
                <a:lnTo>
                  <a:pt x="5436103" y="4782834"/>
                </a:lnTo>
                <a:lnTo>
                  <a:pt x="5383726" y="4782834"/>
                </a:lnTo>
                <a:close/>
                <a:moveTo>
                  <a:pt x="4665104" y="4119482"/>
                </a:moveTo>
                <a:lnTo>
                  <a:pt x="5380126" y="4119482"/>
                </a:lnTo>
                <a:lnTo>
                  <a:pt x="5380126" y="4782834"/>
                </a:lnTo>
                <a:lnTo>
                  <a:pt x="5327731" y="4782834"/>
                </a:lnTo>
                <a:lnTo>
                  <a:pt x="5327731" y="4835220"/>
                </a:lnTo>
                <a:lnTo>
                  <a:pt x="4717481" y="4835220"/>
                </a:lnTo>
                <a:lnTo>
                  <a:pt x="4717481" y="4782834"/>
                </a:lnTo>
                <a:lnTo>
                  <a:pt x="4665104" y="4782834"/>
                </a:lnTo>
                <a:close/>
                <a:moveTo>
                  <a:pt x="3946494" y="4119482"/>
                </a:moveTo>
                <a:lnTo>
                  <a:pt x="4661503" y="4119482"/>
                </a:lnTo>
                <a:lnTo>
                  <a:pt x="4661503" y="4782834"/>
                </a:lnTo>
                <a:lnTo>
                  <a:pt x="4609110" y="4782834"/>
                </a:lnTo>
                <a:lnTo>
                  <a:pt x="4609110" y="4835220"/>
                </a:lnTo>
                <a:lnTo>
                  <a:pt x="3998869" y="4835220"/>
                </a:lnTo>
                <a:lnTo>
                  <a:pt x="3998869" y="4782834"/>
                </a:lnTo>
                <a:lnTo>
                  <a:pt x="3946494" y="4782834"/>
                </a:lnTo>
                <a:close/>
                <a:moveTo>
                  <a:pt x="3227879" y="4119482"/>
                </a:moveTo>
                <a:lnTo>
                  <a:pt x="3942897" y="4119482"/>
                </a:lnTo>
                <a:lnTo>
                  <a:pt x="3942897" y="4782834"/>
                </a:lnTo>
                <a:lnTo>
                  <a:pt x="3890495" y="4782834"/>
                </a:lnTo>
                <a:lnTo>
                  <a:pt x="3890495" y="4835220"/>
                </a:lnTo>
                <a:lnTo>
                  <a:pt x="3280252" y="4835220"/>
                </a:lnTo>
                <a:lnTo>
                  <a:pt x="3280252" y="4782834"/>
                </a:lnTo>
                <a:lnTo>
                  <a:pt x="3227879" y="4782834"/>
                </a:lnTo>
                <a:close/>
                <a:moveTo>
                  <a:pt x="2509260" y="4119482"/>
                </a:moveTo>
                <a:lnTo>
                  <a:pt x="3224280" y="4119482"/>
                </a:lnTo>
                <a:lnTo>
                  <a:pt x="3224280" y="4782834"/>
                </a:lnTo>
                <a:lnTo>
                  <a:pt x="3171878" y="4782834"/>
                </a:lnTo>
                <a:lnTo>
                  <a:pt x="3171878" y="4835220"/>
                </a:lnTo>
                <a:lnTo>
                  <a:pt x="2561632" y="4835220"/>
                </a:lnTo>
                <a:lnTo>
                  <a:pt x="2561632" y="4782834"/>
                </a:lnTo>
                <a:lnTo>
                  <a:pt x="2509260" y="4782834"/>
                </a:lnTo>
                <a:close/>
                <a:moveTo>
                  <a:pt x="1790634" y="4119482"/>
                </a:moveTo>
                <a:lnTo>
                  <a:pt x="2505660" y="4119482"/>
                </a:lnTo>
                <a:lnTo>
                  <a:pt x="2505660" y="4782834"/>
                </a:lnTo>
                <a:lnTo>
                  <a:pt x="2453259" y="4782834"/>
                </a:lnTo>
                <a:lnTo>
                  <a:pt x="2453259" y="4835220"/>
                </a:lnTo>
                <a:lnTo>
                  <a:pt x="1843011" y="4835220"/>
                </a:lnTo>
                <a:lnTo>
                  <a:pt x="1843011" y="4782834"/>
                </a:lnTo>
                <a:lnTo>
                  <a:pt x="1790634" y="4782834"/>
                </a:lnTo>
                <a:close/>
                <a:moveTo>
                  <a:pt x="1072016" y="4119482"/>
                </a:moveTo>
                <a:lnTo>
                  <a:pt x="1787035" y="4119482"/>
                </a:lnTo>
                <a:lnTo>
                  <a:pt x="1787035" y="4782834"/>
                </a:lnTo>
                <a:lnTo>
                  <a:pt x="1734637" y="4782834"/>
                </a:lnTo>
                <a:lnTo>
                  <a:pt x="1734637" y="4835220"/>
                </a:lnTo>
                <a:lnTo>
                  <a:pt x="1124392" y="4835220"/>
                </a:lnTo>
                <a:lnTo>
                  <a:pt x="1124392" y="4782834"/>
                </a:lnTo>
                <a:lnTo>
                  <a:pt x="1072016" y="4782834"/>
                </a:lnTo>
                <a:close/>
                <a:moveTo>
                  <a:pt x="353399" y="4119482"/>
                </a:moveTo>
                <a:lnTo>
                  <a:pt x="1068417" y="4119482"/>
                </a:lnTo>
                <a:lnTo>
                  <a:pt x="1068417" y="4782834"/>
                </a:lnTo>
                <a:lnTo>
                  <a:pt x="1016019" y="4782834"/>
                </a:lnTo>
                <a:lnTo>
                  <a:pt x="1016019" y="4835220"/>
                </a:lnTo>
                <a:lnTo>
                  <a:pt x="405773" y="4835220"/>
                </a:lnTo>
                <a:lnTo>
                  <a:pt x="405773" y="4782834"/>
                </a:lnTo>
                <a:lnTo>
                  <a:pt x="353399" y="4782834"/>
                </a:lnTo>
                <a:close/>
                <a:moveTo>
                  <a:pt x="0" y="4119482"/>
                </a:moveTo>
                <a:lnTo>
                  <a:pt x="349799" y="4119482"/>
                </a:lnTo>
                <a:lnTo>
                  <a:pt x="349799" y="4782834"/>
                </a:lnTo>
                <a:lnTo>
                  <a:pt x="297400" y="4782834"/>
                </a:lnTo>
                <a:lnTo>
                  <a:pt x="297400" y="4835220"/>
                </a:lnTo>
                <a:lnTo>
                  <a:pt x="0" y="4835220"/>
                </a:lnTo>
                <a:close/>
                <a:moveTo>
                  <a:pt x="11903675" y="3400148"/>
                </a:moveTo>
                <a:lnTo>
                  <a:pt x="12191977" y="3400148"/>
                </a:lnTo>
                <a:lnTo>
                  <a:pt x="12191977" y="4115882"/>
                </a:lnTo>
                <a:lnTo>
                  <a:pt x="11903675" y="4115882"/>
                </a:lnTo>
                <a:lnTo>
                  <a:pt x="11903675" y="4063496"/>
                </a:lnTo>
                <a:lnTo>
                  <a:pt x="11851288" y="4063496"/>
                </a:lnTo>
                <a:lnTo>
                  <a:pt x="11851288" y="3452531"/>
                </a:lnTo>
                <a:lnTo>
                  <a:pt x="11903675" y="3452531"/>
                </a:lnTo>
                <a:close/>
                <a:moveTo>
                  <a:pt x="11185049" y="3400148"/>
                </a:moveTo>
                <a:lnTo>
                  <a:pt x="11795302" y="3400148"/>
                </a:lnTo>
                <a:lnTo>
                  <a:pt x="11795302" y="3452531"/>
                </a:lnTo>
                <a:lnTo>
                  <a:pt x="11847688" y="3452531"/>
                </a:lnTo>
                <a:lnTo>
                  <a:pt x="11847688" y="4063496"/>
                </a:lnTo>
                <a:lnTo>
                  <a:pt x="11795302" y="4063496"/>
                </a:lnTo>
                <a:lnTo>
                  <a:pt x="11795302" y="4115882"/>
                </a:lnTo>
                <a:lnTo>
                  <a:pt x="11185049" y="4115882"/>
                </a:lnTo>
                <a:lnTo>
                  <a:pt x="11185049" y="4063496"/>
                </a:lnTo>
                <a:lnTo>
                  <a:pt x="11132662" y="4063496"/>
                </a:lnTo>
                <a:lnTo>
                  <a:pt x="11132662" y="3452531"/>
                </a:lnTo>
                <a:lnTo>
                  <a:pt x="11185049" y="3452531"/>
                </a:lnTo>
                <a:close/>
                <a:moveTo>
                  <a:pt x="10466430" y="3400148"/>
                </a:moveTo>
                <a:lnTo>
                  <a:pt x="11076676" y="3400148"/>
                </a:lnTo>
                <a:lnTo>
                  <a:pt x="11076676" y="3452531"/>
                </a:lnTo>
                <a:lnTo>
                  <a:pt x="11129062" y="3452531"/>
                </a:lnTo>
                <a:lnTo>
                  <a:pt x="11129062" y="4063496"/>
                </a:lnTo>
                <a:lnTo>
                  <a:pt x="11076676" y="4063496"/>
                </a:lnTo>
                <a:lnTo>
                  <a:pt x="11076676" y="4115882"/>
                </a:lnTo>
                <a:lnTo>
                  <a:pt x="10466430" y="4115882"/>
                </a:lnTo>
                <a:lnTo>
                  <a:pt x="10466430" y="4063496"/>
                </a:lnTo>
                <a:lnTo>
                  <a:pt x="10414043" y="4063496"/>
                </a:lnTo>
                <a:lnTo>
                  <a:pt x="10414043" y="3452531"/>
                </a:lnTo>
                <a:lnTo>
                  <a:pt x="10466430" y="3452531"/>
                </a:lnTo>
                <a:close/>
                <a:moveTo>
                  <a:pt x="9747811" y="3400148"/>
                </a:moveTo>
                <a:lnTo>
                  <a:pt x="10358057" y="3400148"/>
                </a:lnTo>
                <a:lnTo>
                  <a:pt x="10358057" y="3452531"/>
                </a:lnTo>
                <a:lnTo>
                  <a:pt x="10410443" y="3452531"/>
                </a:lnTo>
                <a:lnTo>
                  <a:pt x="10410443" y="4063496"/>
                </a:lnTo>
                <a:lnTo>
                  <a:pt x="10358057" y="4063496"/>
                </a:lnTo>
                <a:lnTo>
                  <a:pt x="10358057" y="4115882"/>
                </a:lnTo>
                <a:lnTo>
                  <a:pt x="9747811" y="4115882"/>
                </a:lnTo>
                <a:lnTo>
                  <a:pt x="9747811" y="4063496"/>
                </a:lnTo>
                <a:lnTo>
                  <a:pt x="9695424" y="4063496"/>
                </a:lnTo>
                <a:lnTo>
                  <a:pt x="9695424" y="3452531"/>
                </a:lnTo>
                <a:lnTo>
                  <a:pt x="9747811" y="3452531"/>
                </a:lnTo>
                <a:close/>
                <a:moveTo>
                  <a:pt x="9029192" y="3400148"/>
                </a:moveTo>
                <a:lnTo>
                  <a:pt x="9639438" y="3400148"/>
                </a:lnTo>
                <a:lnTo>
                  <a:pt x="9639438" y="3452531"/>
                </a:lnTo>
                <a:lnTo>
                  <a:pt x="9691824" y="3452531"/>
                </a:lnTo>
                <a:lnTo>
                  <a:pt x="9691824" y="4063496"/>
                </a:lnTo>
                <a:lnTo>
                  <a:pt x="9639438" y="4063496"/>
                </a:lnTo>
                <a:lnTo>
                  <a:pt x="9639438" y="4115882"/>
                </a:lnTo>
                <a:lnTo>
                  <a:pt x="9029192" y="4115882"/>
                </a:lnTo>
                <a:lnTo>
                  <a:pt x="9029192" y="4063496"/>
                </a:lnTo>
                <a:lnTo>
                  <a:pt x="8976805" y="4063496"/>
                </a:lnTo>
                <a:lnTo>
                  <a:pt x="8976805" y="3452531"/>
                </a:lnTo>
                <a:lnTo>
                  <a:pt x="9029192" y="3452531"/>
                </a:lnTo>
                <a:close/>
                <a:moveTo>
                  <a:pt x="8310573" y="3400148"/>
                </a:moveTo>
                <a:lnTo>
                  <a:pt x="8920819" y="3400148"/>
                </a:lnTo>
                <a:lnTo>
                  <a:pt x="8920819" y="3452531"/>
                </a:lnTo>
                <a:lnTo>
                  <a:pt x="8973205" y="3452531"/>
                </a:lnTo>
                <a:lnTo>
                  <a:pt x="8973205" y="4063496"/>
                </a:lnTo>
                <a:lnTo>
                  <a:pt x="8920819" y="4063496"/>
                </a:lnTo>
                <a:lnTo>
                  <a:pt x="8920819" y="4115882"/>
                </a:lnTo>
                <a:lnTo>
                  <a:pt x="8310573" y="4115882"/>
                </a:lnTo>
                <a:lnTo>
                  <a:pt x="8310573" y="4063496"/>
                </a:lnTo>
                <a:lnTo>
                  <a:pt x="8258187" y="4063496"/>
                </a:lnTo>
                <a:lnTo>
                  <a:pt x="8258187" y="3452531"/>
                </a:lnTo>
                <a:lnTo>
                  <a:pt x="8310573" y="3452531"/>
                </a:lnTo>
                <a:close/>
                <a:moveTo>
                  <a:pt x="7591954" y="3400148"/>
                </a:moveTo>
                <a:lnTo>
                  <a:pt x="8202200" y="3400148"/>
                </a:lnTo>
                <a:lnTo>
                  <a:pt x="8202200" y="3452531"/>
                </a:lnTo>
                <a:lnTo>
                  <a:pt x="8254587" y="3452531"/>
                </a:lnTo>
                <a:lnTo>
                  <a:pt x="8254587" y="4063496"/>
                </a:lnTo>
                <a:lnTo>
                  <a:pt x="8202200" y="4063496"/>
                </a:lnTo>
                <a:lnTo>
                  <a:pt x="8202200" y="4115882"/>
                </a:lnTo>
                <a:lnTo>
                  <a:pt x="7591954" y="4115882"/>
                </a:lnTo>
                <a:lnTo>
                  <a:pt x="7591954" y="4063496"/>
                </a:lnTo>
                <a:lnTo>
                  <a:pt x="7539568" y="4063496"/>
                </a:lnTo>
                <a:lnTo>
                  <a:pt x="7539568" y="3452531"/>
                </a:lnTo>
                <a:lnTo>
                  <a:pt x="7591954" y="3452531"/>
                </a:lnTo>
                <a:close/>
                <a:moveTo>
                  <a:pt x="6873335" y="3400148"/>
                </a:moveTo>
                <a:lnTo>
                  <a:pt x="7483581" y="3400148"/>
                </a:lnTo>
                <a:lnTo>
                  <a:pt x="7483581" y="3452531"/>
                </a:lnTo>
                <a:lnTo>
                  <a:pt x="7535968" y="3452531"/>
                </a:lnTo>
                <a:lnTo>
                  <a:pt x="7535968" y="4063496"/>
                </a:lnTo>
                <a:lnTo>
                  <a:pt x="7483581" y="4063496"/>
                </a:lnTo>
                <a:lnTo>
                  <a:pt x="7483581" y="4115882"/>
                </a:lnTo>
                <a:lnTo>
                  <a:pt x="6873335" y="4115882"/>
                </a:lnTo>
                <a:lnTo>
                  <a:pt x="6873335" y="4063496"/>
                </a:lnTo>
                <a:lnTo>
                  <a:pt x="6820949" y="4063496"/>
                </a:lnTo>
                <a:lnTo>
                  <a:pt x="6820949" y="3452531"/>
                </a:lnTo>
                <a:lnTo>
                  <a:pt x="6873335" y="3452531"/>
                </a:lnTo>
                <a:close/>
                <a:moveTo>
                  <a:pt x="6102330" y="3400148"/>
                </a:moveTo>
                <a:lnTo>
                  <a:pt x="6764962" y="3400148"/>
                </a:lnTo>
                <a:lnTo>
                  <a:pt x="6764962" y="3452531"/>
                </a:lnTo>
                <a:lnTo>
                  <a:pt x="6817349" y="3452531"/>
                </a:lnTo>
                <a:lnTo>
                  <a:pt x="6817349" y="4063496"/>
                </a:lnTo>
                <a:lnTo>
                  <a:pt x="6764962" y="4063496"/>
                </a:lnTo>
                <a:lnTo>
                  <a:pt x="6764962" y="4115882"/>
                </a:lnTo>
                <a:lnTo>
                  <a:pt x="6102330" y="4115882"/>
                </a:lnTo>
                <a:close/>
                <a:moveTo>
                  <a:pt x="5383726" y="3400148"/>
                </a:moveTo>
                <a:lnTo>
                  <a:pt x="6098730" y="3400148"/>
                </a:lnTo>
                <a:lnTo>
                  <a:pt x="6098730" y="4115882"/>
                </a:lnTo>
                <a:lnTo>
                  <a:pt x="5383726" y="4115882"/>
                </a:lnTo>
                <a:close/>
                <a:moveTo>
                  <a:pt x="4665104" y="3400148"/>
                </a:moveTo>
                <a:lnTo>
                  <a:pt x="5380126" y="3400148"/>
                </a:lnTo>
                <a:lnTo>
                  <a:pt x="5380126" y="4115882"/>
                </a:lnTo>
                <a:lnTo>
                  <a:pt x="4665104" y="4115882"/>
                </a:lnTo>
                <a:close/>
                <a:moveTo>
                  <a:pt x="3946494" y="3400148"/>
                </a:moveTo>
                <a:lnTo>
                  <a:pt x="4661503" y="3400148"/>
                </a:lnTo>
                <a:lnTo>
                  <a:pt x="4661503" y="4115882"/>
                </a:lnTo>
                <a:lnTo>
                  <a:pt x="3946494" y="4115882"/>
                </a:lnTo>
                <a:close/>
                <a:moveTo>
                  <a:pt x="3227879" y="3400148"/>
                </a:moveTo>
                <a:lnTo>
                  <a:pt x="3942897" y="3400148"/>
                </a:lnTo>
                <a:lnTo>
                  <a:pt x="3942897" y="4115882"/>
                </a:lnTo>
                <a:lnTo>
                  <a:pt x="3227879" y="4115882"/>
                </a:lnTo>
                <a:close/>
                <a:moveTo>
                  <a:pt x="2509260" y="3400148"/>
                </a:moveTo>
                <a:lnTo>
                  <a:pt x="3224280" y="3400148"/>
                </a:lnTo>
                <a:lnTo>
                  <a:pt x="3224280" y="4115882"/>
                </a:lnTo>
                <a:lnTo>
                  <a:pt x="2509260" y="4115882"/>
                </a:lnTo>
                <a:close/>
                <a:moveTo>
                  <a:pt x="1790634" y="3400148"/>
                </a:moveTo>
                <a:lnTo>
                  <a:pt x="2505660" y="3400148"/>
                </a:lnTo>
                <a:lnTo>
                  <a:pt x="2505660" y="4115882"/>
                </a:lnTo>
                <a:lnTo>
                  <a:pt x="1790634" y="4115882"/>
                </a:lnTo>
                <a:close/>
                <a:moveTo>
                  <a:pt x="1072016" y="3400148"/>
                </a:moveTo>
                <a:lnTo>
                  <a:pt x="1787035" y="3400148"/>
                </a:lnTo>
                <a:lnTo>
                  <a:pt x="1787035" y="4115882"/>
                </a:lnTo>
                <a:lnTo>
                  <a:pt x="1072016" y="4115882"/>
                </a:lnTo>
                <a:close/>
                <a:moveTo>
                  <a:pt x="353399" y="3400148"/>
                </a:moveTo>
                <a:lnTo>
                  <a:pt x="1068417" y="3400148"/>
                </a:lnTo>
                <a:lnTo>
                  <a:pt x="1068417" y="4115882"/>
                </a:lnTo>
                <a:lnTo>
                  <a:pt x="353399" y="4115882"/>
                </a:lnTo>
                <a:close/>
                <a:moveTo>
                  <a:pt x="0" y="3400148"/>
                </a:moveTo>
                <a:lnTo>
                  <a:pt x="349799" y="3400148"/>
                </a:lnTo>
                <a:lnTo>
                  <a:pt x="349799" y="4115882"/>
                </a:lnTo>
                <a:lnTo>
                  <a:pt x="0" y="4115882"/>
                </a:lnTo>
                <a:close/>
                <a:moveTo>
                  <a:pt x="11903675" y="2680814"/>
                </a:moveTo>
                <a:lnTo>
                  <a:pt x="12191977" y="2680814"/>
                </a:lnTo>
                <a:lnTo>
                  <a:pt x="12191977" y="3396548"/>
                </a:lnTo>
                <a:lnTo>
                  <a:pt x="11903675" y="3396548"/>
                </a:lnTo>
                <a:lnTo>
                  <a:pt x="11903675" y="3344162"/>
                </a:lnTo>
                <a:lnTo>
                  <a:pt x="11851288" y="3344162"/>
                </a:lnTo>
                <a:lnTo>
                  <a:pt x="11851288" y="2733199"/>
                </a:lnTo>
                <a:lnTo>
                  <a:pt x="11903675" y="2733199"/>
                </a:lnTo>
                <a:close/>
                <a:moveTo>
                  <a:pt x="11185049" y="2680814"/>
                </a:moveTo>
                <a:lnTo>
                  <a:pt x="11795302" y="2680814"/>
                </a:lnTo>
                <a:lnTo>
                  <a:pt x="11795302" y="2733199"/>
                </a:lnTo>
                <a:lnTo>
                  <a:pt x="11847688" y="2733199"/>
                </a:lnTo>
                <a:lnTo>
                  <a:pt x="11847688" y="3344162"/>
                </a:lnTo>
                <a:lnTo>
                  <a:pt x="11795302" y="3344162"/>
                </a:lnTo>
                <a:lnTo>
                  <a:pt x="11795302" y="3396548"/>
                </a:lnTo>
                <a:lnTo>
                  <a:pt x="11185049" y="3396548"/>
                </a:lnTo>
                <a:lnTo>
                  <a:pt x="11185049" y="3344162"/>
                </a:lnTo>
                <a:lnTo>
                  <a:pt x="11132662" y="3344162"/>
                </a:lnTo>
                <a:lnTo>
                  <a:pt x="11132662" y="2733199"/>
                </a:lnTo>
                <a:lnTo>
                  <a:pt x="11185049" y="2733199"/>
                </a:lnTo>
                <a:close/>
                <a:moveTo>
                  <a:pt x="10466430" y="2680814"/>
                </a:moveTo>
                <a:lnTo>
                  <a:pt x="11076676" y="2680814"/>
                </a:lnTo>
                <a:lnTo>
                  <a:pt x="11076676" y="2733199"/>
                </a:lnTo>
                <a:lnTo>
                  <a:pt x="11129062" y="2733199"/>
                </a:lnTo>
                <a:lnTo>
                  <a:pt x="11129062" y="3344162"/>
                </a:lnTo>
                <a:lnTo>
                  <a:pt x="11076676" y="3344162"/>
                </a:lnTo>
                <a:lnTo>
                  <a:pt x="11076676" y="3396548"/>
                </a:lnTo>
                <a:lnTo>
                  <a:pt x="10466430" y="3396548"/>
                </a:lnTo>
                <a:lnTo>
                  <a:pt x="10466430" y="3344162"/>
                </a:lnTo>
                <a:lnTo>
                  <a:pt x="10414043" y="3344162"/>
                </a:lnTo>
                <a:lnTo>
                  <a:pt x="10414043" y="2733199"/>
                </a:lnTo>
                <a:lnTo>
                  <a:pt x="10466430" y="2733199"/>
                </a:lnTo>
                <a:close/>
                <a:moveTo>
                  <a:pt x="9747811" y="2680814"/>
                </a:moveTo>
                <a:lnTo>
                  <a:pt x="10358057" y="2680814"/>
                </a:lnTo>
                <a:lnTo>
                  <a:pt x="10358057" y="2733199"/>
                </a:lnTo>
                <a:lnTo>
                  <a:pt x="10410443" y="2733199"/>
                </a:lnTo>
                <a:lnTo>
                  <a:pt x="10410443" y="3344162"/>
                </a:lnTo>
                <a:lnTo>
                  <a:pt x="10358057" y="3344162"/>
                </a:lnTo>
                <a:lnTo>
                  <a:pt x="10358057" y="3396548"/>
                </a:lnTo>
                <a:lnTo>
                  <a:pt x="9747811" y="3396548"/>
                </a:lnTo>
                <a:lnTo>
                  <a:pt x="9747811" y="3344162"/>
                </a:lnTo>
                <a:lnTo>
                  <a:pt x="9695424" y="3344162"/>
                </a:lnTo>
                <a:lnTo>
                  <a:pt x="9695424" y="2733199"/>
                </a:lnTo>
                <a:lnTo>
                  <a:pt x="9747811" y="2733199"/>
                </a:lnTo>
                <a:close/>
                <a:moveTo>
                  <a:pt x="9029192" y="2680814"/>
                </a:moveTo>
                <a:lnTo>
                  <a:pt x="9639438" y="2680814"/>
                </a:lnTo>
                <a:lnTo>
                  <a:pt x="9639438" y="2733199"/>
                </a:lnTo>
                <a:lnTo>
                  <a:pt x="9691824" y="2733199"/>
                </a:lnTo>
                <a:lnTo>
                  <a:pt x="9691824" y="3344162"/>
                </a:lnTo>
                <a:lnTo>
                  <a:pt x="9639438" y="3344162"/>
                </a:lnTo>
                <a:lnTo>
                  <a:pt x="9639438" y="3396548"/>
                </a:lnTo>
                <a:lnTo>
                  <a:pt x="9029192" y="3396548"/>
                </a:lnTo>
                <a:lnTo>
                  <a:pt x="9029192" y="3344162"/>
                </a:lnTo>
                <a:lnTo>
                  <a:pt x="8976805" y="3344162"/>
                </a:lnTo>
                <a:lnTo>
                  <a:pt x="8976805" y="2733199"/>
                </a:lnTo>
                <a:lnTo>
                  <a:pt x="9029192" y="2733199"/>
                </a:lnTo>
                <a:close/>
                <a:moveTo>
                  <a:pt x="8310573" y="2680814"/>
                </a:moveTo>
                <a:lnTo>
                  <a:pt x="8920819" y="2680814"/>
                </a:lnTo>
                <a:lnTo>
                  <a:pt x="8920819" y="2733199"/>
                </a:lnTo>
                <a:lnTo>
                  <a:pt x="8973205" y="2733199"/>
                </a:lnTo>
                <a:lnTo>
                  <a:pt x="8973205" y="3344162"/>
                </a:lnTo>
                <a:lnTo>
                  <a:pt x="8920819" y="3344162"/>
                </a:lnTo>
                <a:lnTo>
                  <a:pt x="8920819" y="3396548"/>
                </a:lnTo>
                <a:lnTo>
                  <a:pt x="8310573" y="3396548"/>
                </a:lnTo>
                <a:lnTo>
                  <a:pt x="8310573" y="3344162"/>
                </a:lnTo>
                <a:lnTo>
                  <a:pt x="8258187" y="3344162"/>
                </a:lnTo>
                <a:lnTo>
                  <a:pt x="8258187" y="2733199"/>
                </a:lnTo>
                <a:lnTo>
                  <a:pt x="8310573" y="2733199"/>
                </a:lnTo>
                <a:close/>
                <a:moveTo>
                  <a:pt x="7591954" y="2680814"/>
                </a:moveTo>
                <a:lnTo>
                  <a:pt x="8202200" y="2680814"/>
                </a:lnTo>
                <a:lnTo>
                  <a:pt x="8202200" y="2733199"/>
                </a:lnTo>
                <a:lnTo>
                  <a:pt x="8254587" y="2733199"/>
                </a:lnTo>
                <a:lnTo>
                  <a:pt x="8254587" y="3344162"/>
                </a:lnTo>
                <a:lnTo>
                  <a:pt x="8202200" y="3344162"/>
                </a:lnTo>
                <a:lnTo>
                  <a:pt x="8202200" y="3396548"/>
                </a:lnTo>
                <a:lnTo>
                  <a:pt x="7591954" y="3396548"/>
                </a:lnTo>
                <a:lnTo>
                  <a:pt x="7591954" y="3344162"/>
                </a:lnTo>
                <a:lnTo>
                  <a:pt x="7539568" y="3344162"/>
                </a:lnTo>
                <a:lnTo>
                  <a:pt x="7539568" y="2733199"/>
                </a:lnTo>
                <a:lnTo>
                  <a:pt x="7591954" y="2733199"/>
                </a:lnTo>
                <a:close/>
                <a:moveTo>
                  <a:pt x="6873335" y="2680814"/>
                </a:moveTo>
                <a:lnTo>
                  <a:pt x="7483581" y="2680814"/>
                </a:lnTo>
                <a:lnTo>
                  <a:pt x="7483581" y="2733199"/>
                </a:lnTo>
                <a:lnTo>
                  <a:pt x="7535968" y="2733199"/>
                </a:lnTo>
                <a:lnTo>
                  <a:pt x="7535968" y="3344162"/>
                </a:lnTo>
                <a:lnTo>
                  <a:pt x="7483581" y="3344162"/>
                </a:lnTo>
                <a:lnTo>
                  <a:pt x="7483581" y="3396548"/>
                </a:lnTo>
                <a:lnTo>
                  <a:pt x="6873335" y="3396548"/>
                </a:lnTo>
                <a:lnTo>
                  <a:pt x="6873335" y="3344162"/>
                </a:lnTo>
                <a:lnTo>
                  <a:pt x="6820949" y="3344162"/>
                </a:lnTo>
                <a:lnTo>
                  <a:pt x="6820949" y="2733200"/>
                </a:lnTo>
                <a:lnTo>
                  <a:pt x="6873335" y="2733200"/>
                </a:lnTo>
                <a:close/>
                <a:moveTo>
                  <a:pt x="6102330" y="2680814"/>
                </a:moveTo>
                <a:lnTo>
                  <a:pt x="6764962" y="2680814"/>
                </a:lnTo>
                <a:lnTo>
                  <a:pt x="6764962" y="2733200"/>
                </a:lnTo>
                <a:lnTo>
                  <a:pt x="6817349" y="2733200"/>
                </a:lnTo>
                <a:lnTo>
                  <a:pt x="6817349" y="3344162"/>
                </a:lnTo>
                <a:lnTo>
                  <a:pt x="6764962" y="3344162"/>
                </a:lnTo>
                <a:lnTo>
                  <a:pt x="6764962" y="3396548"/>
                </a:lnTo>
                <a:lnTo>
                  <a:pt x="6102330" y="3396548"/>
                </a:lnTo>
                <a:close/>
                <a:moveTo>
                  <a:pt x="5383726" y="2680814"/>
                </a:moveTo>
                <a:lnTo>
                  <a:pt x="6098730" y="2680814"/>
                </a:lnTo>
                <a:lnTo>
                  <a:pt x="6098730" y="3396548"/>
                </a:lnTo>
                <a:lnTo>
                  <a:pt x="5383726" y="3396548"/>
                </a:lnTo>
                <a:close/>
                <a:moveTo>
                  <a:pt x="4665104" y="2680814"/>
                </a:moveTo>
                <a:lnTo>
                  <a:pt x="5380126" y="2680814"/>
                </a:lnTo>
                <a:lnTo>
                  <a:pt x="5380126" y="3396548"/>
                </a:lnTo>
                <a:lnTo>
                  <a:pt x="4665104" y="3396548"/>
                </a:lnTo>
                <a:close/>
                <a:moveTo>
                  <a:pt x="3946494" y="2680814"/>
                </a:moveTo>
                <a:lnTo>
                  <a:pt x="4661503" y="2680814"/>
                </a:lnTo>
                <a:lnTo>
                  <a:pt x="4661503" y="3396548"/>
                </a:lnTo>
                <a:lnTo>
                  <a:pt x="3946494" y="3396548"/>
                </a:lnTo>
                <a:close/>
                <a:moveTo>
                  <a:pt x="3227879" y="2680814"/>
                </a:moveTo>
                <a:lnTo>
                  <a:pt x="3942897" y="2680814"/>
                </a:lnTo>
                <a:lnTo>
                  <a:pt x="3942897" y="3396548"/>
                </a:lnTo>
                <a:lnTo>
                  <a:pt x="3227879" y="3396548"/>
                </a:lnTo>
                <a:close/>
                <a:moveTo>
                  <a:pt x="2509260" y="2680814"/>
                </a:moveTo>
                <a:lnTo>
                  <a:pt x="3224280" y="2680814"/>
                </a:lnTo>
                <a:lnTo>
                  <a:pt x="3224280" y="3396548"/>
                </a:lnTo>
                <a:lnTo>
                  <a:pt x="2509260" y="3396548"/>
                </a:lnTo>
                <a:close/>
                <a:moveTo>
                  <a:pt x="1790634" y="2680814"/>
                </a:moveTo>
                <a:lnTo>
                  <a:pt x="2505660" y="2680814"/>
                </a:lnTo>
                <a:lnTo>
                  <a:pt x="2505660" y="3396548"/>
                </a:lnTo>
                <a:lnTo>
                  <a:pt x="1790634" y="3396548"/>
                </a:lnTo>
                <a:close/>
                <a:moveTo>
                  <a:pt x="1072016" y="2680814"/>
                </a:moveTo>
                <a:lnTo>
                  <a:pt x="1787035" y="2680814"/>
                </a:lnTo>
                <a:lnTo>
                  <a:pt x="1787035" y="3396548"/>
                </a:lnTo>
                <a:lnTo>
                  <a:pt x="1072016" y="3396548"/>
                </a:lnTo>
                <a:close/>
                <a:moveTo>
                  <a:pt x="353399" y="2680814"/>
                </a:moveTo>
                <a:lnTo>
                  <a:pt x="1068417" y="2680814"/>
                </a:lnTo>
                <a:lnTo>
                  <a:pt x="1068417" y="3396548"/>
                </a:lnTo>
                <a:lnTo>
                  <a:pt x="353399" y="3396548"/>
                </a:lnTo>
                <a:close/>
                <a:moveTo>
                  <a:pt x="0" y="2680814"/>
                </a:moveTo>
                <a:lnTo>
                  <a:pt x="349799" y="2680814"/>
                </a:lnTo>
                <a:lnTo>
                  <a:pt x="349799" y="3396548"/>
                </a:lnTo>
                <a:lnTo>
                  <a:pt x="0" y="3396548"/>
                </a:lnTo>
                <a:close/>
                <a:moveTo>
                  <a:pt x="11903675" y="1961483"/>
                </a:moveTo>
                <a:lnTo>
                  <a:pt x="12191977" y="1961483"/>
                </a:lnTo>
                <a:lnTo>
                  <a:pt x="12191977" y="2677213"/>
                </a:lnTo>
                <a:lnTo>
                  <a:pt x="11903675" y="2677213"/>
                </a:lnTo>
                <a:lnTo>
                  <a:pt x="11903675" y="2624827"/>
                </a:lnTo>
                <a:lnTo>
                  <a:pt x="11851288" y="2624827"/>
                </a:lnTo>
                <a:lnTo>
                  <a:pt x="11851288" y="2013867"/>
                </a:lnTo>
                <a:lnTo>
                  <a:pt x="11903675" y="2013867"/>
                </a:lnTo>
                <a:close/>
                <a:moveTo>
                  <a:pt x="11185049" y="1961483"/>
                </a:moveTo>
                <a:lnTo>
                  <a:pt x="11795302" y="1961483"/>
                </a:lnTo>
                <a:lnTo>
                  <a:pt x="11795302" y="2013867"/>
                </a:lnTo>
                <a:lnTo>
                  <a:pt x="11847688" y="2013867"/>
                </a:lnTo>
                <a:lnTo>
                  <a:pt x="11847688" y="2624827"/>
                </a:lnTo>
                <a:lnTo>
                  <a:pt x="11795302" y="2624827"/>
                </a:lnTo>
                <a:lnTo>
                  <a:pt x="11795302" y="2677213"/>
                </a:lnTo>
                <a:lnTo>
                  <a:pt x="11185049" y="2677213"/>
                </a:lnTo>
                <a:lnTo>
                  <a:pt x="11185049" y="2624827"/>
                </a:lnTo>
                <a:lnTo>
                  <a:pt x="11132662" y="2624827"/>
                </a:lnTo>
                <a:lnTo>
                  <a:pt x="11132662" y="2013867"/>
                </a:lnTo>
                <a:lnTo>
                  <a:pt x="11185049" y="2013867"/>
                </a:lnTo>
                <a:close/>
                <a:moveTo>
                  <a:pt x="10466430" y="1961483"/>
                </a:moveTo>
                <a:lnTo>
                  <a:pt x="11076676" y="1961483"/>
                </a:lnTo>
                <a:lnTo>
                  <a:pt x="11076676" y="2013867"/>
                </a:lnTo>
                <a:lnTo>
                  <a:pt x="11129062" y="2013867"/>
                </a:lnTo>
                <a:lnTo>
                  <a:pt x="11129062" y="2624827"/>
                </a:lnTo>
                <a:lnTo>
                  <a:pt x="11076676" y="2624827"/>
                </a:lnTo>
                <a:lnTo>
                  <a:pt x="11076676" y="2677213"/>
                </a:lnTo>
                <a:lnTo>
                  <a:pt x="10466430" y="2677213"/>
                </a:lnTo>
                <a:lnTo>
                  <a:pt x="10466430" y="2624827"/>
                </a:lnTo>
                <a:lnTo>
                  <a:pt x="10414043" y="2624827"/>
                </a:lnTo>
                <a:lnTo>
                  <a:pt x="10414043" y="2013867"/>
                </a:lnTo>
                <a:lnTo>
                  <a:pt x="10466430" y="2013867"/>
                </a:lnTo>
                <a:close/>
                <a:moveTo>
                  <a:pt x="9747811" y="1961483"/>
                </a:moveTo>
                <a:lnTo>
                  <a:pt x="10358057" y="1961483"/>
                </a:lnTo>
                <a:lnTo>
                  <a:pt x="10358057" y="2013867"/>
                </a:lnTo>
                <a:lnTo>
                  <a:pt x="10410443" y="2013867"/>
                </a:lnTo>
                <a:lnTo>
                  <a:pt x="10410443" y="2624827"/>
                </a:lnTo>
                <a:lnTo>
                  <a:pt x="10358057" y="2624827"/>
                </a:lnTo>
                <a:lnTo>
                  <a:pt x="10358057" y="2677213"/>
                </a:lnTo>
                <a:lnTo>
                  <a:pt x="9747811" y="2677213"/>
                </a:lnTo>
                <a:lnTo>
                  <a:pt x="9747811" y="2624827"/>
                </a:lnTo>
                <a:lnTo>
                  <a:pt x="9695424" y="2624827"/>
                </a:lnTo>
                <a:lnTo>
                  <a:pt x="9695424" y="2013867"/>
                </a:lnTo>
                <a:lnTo>
                  <a:pt x="9747811" y="2013867"/>
                </a:lnTo>
                <a:close/>
                <a:moveTo>
                  <a:pt x="9029192" y="1961483"/>
                </a:moveTo>
                <a:lnTo>
                  <a:pt x="9639438" y="1961483"/>
                </a:lnTo>
                <a:lnTo>
                  <a:pt x="9639438" y="2013867"/>
                </a:lnTo>
                <a:lnTo>
                  <a:pt x="9691824" y="2013867"/>
                </a:lnTo>
                <a:lnTo>
                  <a:pt x="9691824" y="2624827"/>
                </a:lnTo>
                <a:lnTo>
                  <a:pt x="9639438" y="2624827"/>
                </a:lnTo>
                <a:lnTo>
                  <a:pt x="9639438" y="2677213"/>
                </a:lnTo>
                <a:lnTo>
                  <a:pt x="9029192" y="2677213"/>
                </a:lnTo>
                <a:lnTo>
                  <a:pt x="9029192" y="2624827"/>
                </a:lnTo>
                <a:lnTo>
                  <a:pt x="8976805" y="2624827"/>
                </a:lnTo>
                <a:lnTo>
                  <a:pt x="8976805" y="2013867"/>
                </a:lnTo>
                <a:lnTo>
                  <a:pt x="9029192" y="2013867"/>
                </a:lnTo>
                <a:close/>
                <a:moveTo>
                  <a:pt x="8310573" y="1961483"/>
                </a:moveTo>
                <a:lnTo>
                  <a:pt x="8920819" y="1961483"/>
                </a:lnTo>
                <a:lnTo>
                  <a:pt x="8920819" y="2013867"/>
                </a:lnTo>
                <a:lnTo>
                  <a:pt x="8973205" y="2013867"/>
                </a:lnTo>
                <a:lnTo>
                  <a:pt x="8973205" y="2624827"/>
                </a:lnTo>
                <a:lnTo>
                  <a:pt x="8920819" y="2624827"/>
                </a:lnTo>
                <a:lnTo>
                  <a:pt x="8920819" y="2677213"/>
                </a:lnTo>
                <a:lnTo>
                  <a:pt x="8310573" y="2677213"/>
                </a:lnTo>
                <a:lnTo>
                  <a:pt x="8310573" y="2624827"/>
                </a:lnTo>
                <a:lnTo>
                  <a:pt x="8258187" y="2624827"/>
                </a:lnTo>
                <a:lnTo>
                  <a:pt x="8258187" y="2013867"/>
                </a:lnTo>
                <a:lnTo>
                  <a:pt x="8310573" y="2013867"/>
                </a:lnTo>
                <a:close/>
                <a:moveTo>
                  <a:pt x="7591954" y="1961483"/>
                </a:moveTo>
                <a:lnTo>
                  <a:pt x="8202200" y="1961483"/>
                </a:lnTo>
                <a:lnTo>
                  <a:pt x="8202200" y="2013867"/>
                </a:lnTo>
                <a:lnTo>
                  <a:pt x="8254587" y="2013867"/>
                </a:lnTo>
                <a:lnTo>
                  <a:pt x="8254587" y="2624827"/>
                </a:lnTo>
                <a:lnTo>
                  <a:pt x="8202200" y="2624827"/>
                </a:lnTo>
                <a:lnTo>
                  <a:pt x="8202200" y="2677213"/>
                </a:lnTo>
                <a:lnTo>
                  <a:pt x="7591954" y="2677213"/>
                </a:lnTo>
                <a:lnTo>
                  <a:pt x="7591954" y="2624827"/>
                </a:lnTo>
                <a:lnTo>
                  <a:pt x="7539568" y="2624827"/>
                </a:lnTo>
                <a:lnTo>
                  <a:pt x="7539568" y="2013868"/>
                </a:lnTo>
                <a:lnTo>
                  <a:pt x="7591954" y="2013868"/>
                </a:lnTo>
                <a:close/>
                <a:moveTo>
                  <a:pt x="6873335" y="1961483"/>
                </a:moveTo>
                <a:lnTo>
                  <a:pt x="7483581" y="1961483"/>
                </a:lnTo>
                <a:lnTo>
                  <a:pt x="7483581" y="2013868"/>
                </a:lnTo>
                <a:lnTo>
                  <a:pt x="7535968" y="2013868"/>
                </a:lnTo>
                <a:lnTo>
                  <a:pt x="7535968" y="2624827"/>
                </a:lnTo>
                <a:lnTo>
                  <a:pt x="7483581" y="2624827"/>
                </a:lnTo>
                <a:lnTo>
                  <a:pt x="7483581" y="2677213"/>
                </a:lnTo>
                <a:lnTo>
                  <a:pt x="6873335" y="2677213"/>
                </a:lnTo>
                <a:lnTo>
                  <a:pt x="6873335" y="2624827"/>
                </a:lnTo>
                <a:lnTo>
                  <a:pt x="6820949" y="2624827"/>
                </a:lnTo>
                <a:lnTo>
                  <a:pt x="6820949" y="2013868"/>
                </a:lnTo>
                <a:lnTo>
                  <a:pt x="6873335" y="2013868"/>
                </a:lnTo>
                <a:close/>
                <a:moveTo>
                  <a:pt x="6102330" y="1961483"/>
                </a:moveTo>
                <a:lnTo>
                  <a:pt x="6764962" y="1961483"/>
                </a:lnTo>
                <a:lnTo>
                  <a:pt x="6764962" y="2013868"/>
                </a:lnTo>
                <a:lnTo>
                  <a:pt x="6817349" y="2013868"/>
                </a:lnTo>
                <a:lnTo>
                  <a:pt x="6817349" y="2624827"/>
                </a:lnTo>
                <a:lnTo>
                  <a:pt x="6764962" y="2624827"/>
                </a:lnTo>
                <a:lnTo>
                  <a:pt x="6764962" y="2677213"/>
                </a:lnTo>
                <a:lnTo>
                  <a:pt x="6102330" y="2677213"/>
                </a:lnTo>
                <a:close/>
                <a:moveTo>
                  <a:pt x="5383726" y="1961483"/>
                </a:moveTo>
                <a:lnTo>
                  <a:pt x="6098730" y="1961483"/>
                </a:lnTo>
                <a:lnTo>
                  <a:pt x="6098730" y="2677213"/>
                </a:lnTo>
                <a:lnTo>
                  <a:pt x="5383726" y="2677213"/>
                </a:lnTo>
                <a:close/>
                <a:moveTo>
                  <a:pt x="4665104" y="1961483"/>
                </a:moveTo>
                <a:lnTo>
                  <a:pt x="5380126" y="1961483"/>
                </a:lnTo>
                <a:lnTo>
                  <a:pt x="5380126" y="2677213"/>
                </a:lnTo>
                <a:lnTo>
                  <a:pt x="4665104" y="2677213"/>
                </a:lnTo>
                <a:close/>
                <a:moveTo>
                  <a:pt x="3946494" y="1961483"/>
                </a:moveTo>
                <a:lnTo>
                  <a:pt x="4661503" y="1961483"/>
                </a:lnTo>
                <a:lnTo>
                  <a:pt x="4661503" y="2677213"/>
                </a:lnTo>
                <a:lnTo>
                  <a:pt x="3946494" y="2677213"/>
                </a:lnTo>
                <a:close/>
                <a:moveTo>
                  <a:pt x="3227879" y="1961483"/>
                </a:moveTo>
                <a:lnTo>
                  <a:pt x="3942897" y="1961483"/>
                </a:lnTo>
                <a:lnTo>
                  <a:pt x="3942897" y="2677213"/>
                </a:lnTo>
                <a:lnTo>
                  <a:pt x="3227879" y="2677213"/>
                </a:lnTo>
                <a:close/>
                <a:moveTo>
                  <a:pt x="2509260" y="1961483"/>
                </a:moveTo>
                <a:lnTo>
                  <a:pt x="3224280" y="1961483"/>
                </a:lnTo>
                <a:lnTo>
                  <a:pt x="3224280" y="2677213"/>
                </a:lnTo>
                <a:lnTo>
                  <a:pt x="2509260" y="2677213"/>
                </a:lnTo>
                <a:close/>
                <a:moveTo>
                  <a:pt x="1790634" y="1961483"/>
                </a:moveTo>
                <a:lnTo>
                  <a:pt x="2505660" y="1961483"/>
                </a:lnTo>
                <a:lnTo>
                  <a:pt x="2505660" y="2677213"/>
                </a:lnTo>
                <a:lnTo>
                  <a:pt x="1790634" y="2677213"/>
                </a:lnTo>
                <a:close/>
                <a:moveTo>
                  <a:pt x="1072016" y="1961483"/>
                </a:moveTo>
                <a:lnTo>
                  <a:pt x="1787035" y="1961483"/>
                </a:lnTo>
                <a:lnTo>
                  <a:pt x="1787035" y="2677213"/>
                </a:lnTo>
                <a:lnTo>
                  <a:pt x="1072016" y="2677213"/>
                </a:lnTo>
                <a:close/>
                <a:moveTo>
                  <a:pt x="353399" y="1961483"/>
                </a:moveTo>
                <a:lnTo>
                  <a:pt x="1068417" y="1961483"/>
                </a:lnTo>
                <a:lnTo>
                  <a:pt x="1068417" y="2677213"/>
                </a:lnTo>
                <a:lnTo>
                  <a:pt x="353399" y="2677213"/>
                </a:lnTo>
                <a:close/>
                <a:moveTo>
                  <a:pt x="0" y="1961483"/>
                </a:moveTo>
                <a:lnTo>
                  <a:pt x="349799" y="1961483"/>
                </a:lnTo>
                <a:lnTo>
                  <a:pt x="349799" y="2677213"/>
                </a:lnTo>
                <a:lnTo>
                  <a:pt x="0" y="2677213"/>
                </a:lnTo>
                <a:close/>
                <a:moveTo>
                  <a:pt x="11903675" y="1242143"/>
                </a:moveTo>
                <a:lnTo>
                  <a:pt x="12191977" y="1242143"/>
                </a:lnTo>
                <a:lnTo>
                  <a:pt x="12191977" y="1957883"/>
                </a:lnTo>
                <a:lnTo>
                  <a:pt x="11903675" y="1957883"/>
                </a:lnTo>
                <a:lnTo>
                  <a:pt x="11903675" y="1905494"/>
                </a:lnTo>
                <a:lnTo>
                  <a:pt x="11851288" y="1905494"/>
                </a:lnTo>
                <a:lnTo>
                  <a:pt x="11851288" y="1294526"/>
                </a:lnTo>
                <a:lnTo>
                  <a:pt x="11903675" y="1294526"/>
                </a:lnTo>
                <a:close/>
                <a:moveTo>
                  <a:pt x="11185049" y="1242143"/>
                </a:moveTo>
                <a:lnTo>
                  <a:pt x="11795302" y="1242143"/>
                </a:lnTo>
                <a:lnTo>
                  <a:pt x="11795302" y="1294526"/>
                </a:lnTo>
                <a:lnTo>
                  <a:pt x="11847688" y="1294526"/>
                </a:lnTo>
                <a:lnTo>
                  <a:pt x="11847688" y="1905494"/>
                </a:lnTo>
                <a:lnTo>
                  <a:pt x="11795302" y="1905494"/>
                </a:lnTo>
                <a:lnTo>
                  <a:pt x="11795302" y="1957883"/>
                </a:lnTo>
                <a:lnTo>
                  <a:pt x="11185049" y="1957883"/>
                </a:lnTo>
                <a:lnTo>
                  <a:pt x="11185049" y="1905495"/>
                </a:lnTo>
                <a:lnTo>
                  <a:pt x="11132662" y="1905495"/>
                </a:lnTo>
                <a:lnTo>
                  <a:pt x="11132662" y="1294526"/>
                </a:lnTo>
                <a:lnTo>
                  <a:pt x="11185049" y="1294526"/>
                </a:lnTo>
                <a:close/>
                <a:moveTo>
                  <a:pt x="10466430" y="1242143"/>
                </a:moveTo>
                <a:lnTo>
                  <a:pt x="11076676" y="1242143"/>
                </a:lnTo>
                <a:lnTo>
                  <a:pt x="11076676" y="1294526"/>
                </a:lnTo>
                <a:lnTo>
                  <a:pt x="11129062" y="1294526"/>
                </a:lnTo>
                <a:lnTo>
                  <a:pt x="11129062" y="1905495"/>
                </a:lnTo>
                <a:lnTo>
                  <a:pt x="11076676" y="1905495"/>
                </a:lnTo>
                <a:lnTo>
                  <a:pt x="11076676" y="1957883"/>
                </a:lnTo>
                <a:lnTo>
                  <a:pt x="10466430" y="1957883"/>
                </a:lnTo>
                <a:lnTo>
                  <a:pt x="10466430" y="1905495"/>
                </a:lnTo>
                <a:lnTo>
                  <a:pt x="10414043" y="1905495"/>
                </a:lnTo>
                <a:lnTo>
                  <a:pt x="10414043" y="1294526"/>
                </a:lnTo>
                <a:lnTo>
                  <a:pt x="10466430" y="1294526"/>
                </a:lnTo>
                <a:close/>
                <a:moveTo>
                  <a:pt x="9747811" y="1242143"/>
                </a:moveTo>
                <a:lnTo>
                  <a:pt x="10358057" y="1242143"/>
                </a:lnTo>
                <a:lnTo>
                  <a:pt x="10358057" y="1294526"/>
                </a:lnTo>
                <a:lnTo>
                  <a:pt x="10410443" y="1294526"/>
                </a:lnTo>
                <a:lnTo>
                  <a:pt x="10410443" y="1905495"/>
                </a:lnTo>
                <a:lnTo>
                  <a:pt x="10358057" y="1905495"/>
                </a:lnTo>
                <a:lnTo>
                  <a:pt x="10358057" y="1957883"/>
                </a:lnTo>
                <a:lnTo>
                  <a:pt x="9747811" y="1957883"/>
                </a:lnTo>
                <a:lnTo>
                  <a:pt x="9747811" y="1905495"/>
                </a:lnTo>
                <a:lnTo>
                  <a:pt x="9695424" y="1905495"/>
                </a:lnTo>
                <a:lnTo>
                  <a:pt x="9695424" y="1294526"/>
                </a:lnTo>
                <a:lnTo>
                  <a:pt x="9747811" y="1294526"/>
                </a:lnTo>
                <a:close/>
                <a:moveTo>
                  <a:pt x="9029192" y="1242143"/>
                </a:moveTo>
                <a:lnTo>
                  <a:pt x="9639438" y="1242143"/>
                </a:lnTo>
                <a:lnTo>
                  <a:pt x="9639438" y="1294526"/>
                </a:lnTo>
                <a:lnTo>
                  <a:pt x="9691824" y="1294526"/>
                </a:lnTo>
                <a:lnTo>
                  <a:pt x="9691824" y="1905495"/>
                </a:lnTo>
                <a:lnTo>
                  <a:pt x="9639438" y="1905495"/>
                </a:lnTo>
                <a:lnTo>
                  <a:pt x="9639438" y="1957883"/>
                </a:lnTo>
                <a:lnTo>
                  <a:pt x="9029192" y="1957883"/>
                </a:lnTo>
                <a:lnTo>
                  <a:pt x="9029192" y="1905495"/>
                </a:lnTo>
                <a:lnTo>
                  <a:pt x="8976805" y="1905495"/>
                </a:lnTo>
                <a:lnTo>
                  <a:pt x="8976805" y="1294526"/>
                </a:lnTo>
                <a:lnTo>
                  <a:pt x="9029192" y="1294526"/>
                </a:lnTo>
                <a:close/>
                <a:moveTo>
                  <a:pt x="8310573" y="1242143"/>
                </a:moveTo>
                <a:lnTo>
                  <a:pt x="8920819" y="1242143"/>
                </a:lnTo>
                <a:lnTo>
                  <a:pt x="8920819" y="1294526"/>
                </a:lnTo>
                <a:lnTo>
                  <a:pt x="8973205" y="1294526"/>
                </a:lnTo>
                <a:lnTo>
                  <a:pt x="8973205" y="1905495"/>
                </a:lnTo>
                <a:lnTo>
                  <a:pt x="8920819" y="1905495"/>
                </a:lnTo>
                <a:lnTo>
                  <a:pt x="8920819" y="1957883"/>
                </a:lnTo>
                <a:lnTo>
                  <a:pt x="8310573" y="1957883"/>
                </a:lnTo>
                <a:lnTo>
                  <a:pt x="8310573" y="1905495"/>
                </a:lnTo>
                <a:lnTo>
                  <a:pt x="8258187" y="1905495"/>
                </a:lnTo>
                <a:lnTo>
                  <a:pt x="8258187" y="1294526"/>
                </a:lnTo>
                <a:lnTo>
                  <a:pt x="8310573" y="1294526"/>
                </a:lnTo>
                <a:close/>
                <a:moveTo>
                  <a:pt x="7591954" y="1242143"/>
                </a:moveTo>
                <a:lnTo>
                  <a:pt x="8202200" y="1242143"/>
                </a:lnTo>
                <a:lnTo>
                  <a:pt x="8202200" y="1294526"/>
                </a:lnTo>
                <a:lnTo>
                  <a:pt x="8254587" y="1294526"/>
                </a:lnTo>
                <a:lnTo>
                  <a:pt x="8254587" y="1905495"/>
                </a:lnTo>
                <a:lnTo>
                  <a:pt x="8202200" y="1905495"/>
                </a:lnTo>
                <a:lnTo>
                  <a:pt x="8202200" y="1957883"/>
                </a:lnTo>
                <a:lnTo>
                  <a:pt x="7591954" y="1957883"/>
                </a:lnTo>
                <a:lnTo>
                  <a:pt x="7591954" y="1905495"/>
                </a:lnTo>
                <a:lnTo>
                  <a:pt x="7539568" y="1905495"/>
                </a:lnTo>
                <a:lnTo>
                  <a:pt x="7539568" y="1294526"/>
                </a:lnTo>
                <a:lnTo>
                  <a:pt x="7591954" y="1294526"/>
                </a:lnTo>
                <a:close/>
                <a:moveTo>
                  <a:pt x="6873335" y="1242143"/>
                </a:moveTo>
                <a:lnTo>
                  <a:pt x="7483581" y="1242143"/>
                </a:lnTo>
                <a:lnTo>
                  <a:pt x="7483581" y="1294526"/>
                </a:lnTo>
                <a:lnTo>
                  <a:pt x="7535968" y="1294526"/>
                </a:lnTo>
                <a:lnTo>
                  <a:pt x="7535968" y="1905495"/>
                </a:lnTo>
                <a:lnTo>
                  <a:pt x="7483581" y="1905495"/>
                </a:lnTo>
                <a:lnTo>
                  <a:pt x="7483581" y="1957883"/>
                </a:lnTo>
                <a:lnTo>
                  <a:pt x="6873335" y="1957883"/>
                </a:lnTo>
                <a:lnTo>
                  <a:pt x="6873335" y="1905495"/>
                </a:lnTo>
                <a:lnTo>
                  <a:pt x="6820949" y="1905495"/>
                </a:lnTo>
                <a:lnTo>
                  <a:pt x="6820949" y="1294526"/>
                </a:lnTo>
                <a:lnTo>
                  <a:pt x="6873335" y="1294526"/>
                </a:lnTo>
                <a:close/>
                <a:moveTo>
                  <a:pt x="6102330" y="1242143"/>
                </a:moveTo>
                <a:lnTo>
                  <a:pt x="6764962" y="1242143"/>
                </a:lnTo>
                <a:lnTo>
                  <a:pt x="6764962" y="1294526"/>
                </a:lnTo>
                <a:lnTo>
                  <a:pt x="6817349" y="1294526"/>
                </a:lnTo>
                <a:lnTo>
                  <a:pt x="6817349" y="1905495"/>
                </a:lnTo>
                <a:lnTo>
                  <a:pt x="6764962" y="1905495"/>
                </a:lnTo>
                <a:lnTo>
                  <a:pt x="6764962" y="1957883"/>
                </a:lnTo>
                <a:lnTo>
                  <a:pt x="6102330" y="1957883"/>
                </a:lnTo>
                <a:close/>
                <a:moveTo>
                  <a:pt x="5383726" y="1242143"/>
                </a:moveTo>
                <a:lnTo>
                  <a:pt x="6098730" y="1242143"/>
                </a:lnTo>
                <a:lnTo>
                  <a:pt x="6098730" y="1957883"/>
                </a:lnTo>
                <a:lnTo>
                  <a:pt x="5383726" y="1957883"/>
                </a:lnTo>
                <a:close/>
                <a:moveTo>
                  <a:pt x="4665104" y="1242143"/>
                </a:moveTo>
                <a:lnTo>
                  <a:pt x="5380126" y="1242143"/>
                </a:lnTo>
                <a:lnTo>
                  <a:pt x="5380126" y="1957883"/>
                </a:lnTo>
                <a:lnTo>
                  <a:pt x="4665104" y="1957883"/>
                </a:lnTo>
                <a:close/>
                <a:moveTo>
                  <a:pt x="3946494" y="1242143"/>
                </a:moveTo>
                <a:lnTo>
                  <a:pt x="4661503" y="1242143"/>
                </a:lnTo>
                <a:lnTo>
                  <a:pt x="4661503" y="1957883"/>
                </a:lnTo>
                <a:lnTo>
                  <a:pt x="3946494" y="1957883"/>
                </a:lnTo>
                <a:close/>
                <a:moveTo>
                  <a:pt x="3227879" y="1242143"/>
                </a:moveTo>
                <a:lnTo>
                  <a:pt x="3942897" y="1242143"/>
                </a:lnTo>
                <a:lnTo>
                  <a:pt x="3942897" y="1957883"/>
                </a:lnTo>
                <a:lnTo>
                  <a:pt x="3227879" y="1957883"/>
                </a:lnTo>
                <a:close/>
                <a:moveTo>
                  <a:pt x="2509260" y="1242143"/>
                </a:moveTo>
                <a:lnTo>
                  <a:pt x="3224280" y="1242143"/>
                </a:lnTo>
                <a:lnTo>
                  <a:pt x="3224280" y="1957883"/>
                </a:lnTo>
                <a:lnTo>
                  <a:pt x="2509260" y="1957883"/>
                </a:lnTo>
                <a:close/>
                <a:moveTo>
                  <a:pt x="1790634" y="1242143"/>
                </a:moveTo>
                <a:lnTo>
                  <a:pt x="2505660" y="1242143"/>
                </a:lnTo>
                <a:lnTo>
                  <a:pt x="2505660" y="1957883"/>
                </a:lnTo>
                <a:lnTo>
                  <a:pt x="1790634" y="1957883"/>
                </a:lnTo>
                <a:close/>
                <a:moveTo>
                  <a:pt x="1072016" y="1242143"/>
                </a:moveTo>
                <a:lnTo>
                  <a:pt x="1787035" y="1242143"/>
                </a:lnTo>
                <a:lnTo>
                  <a:pt x="1787035" y="1957883"/>
                </a:lnTo>
                <a:lnTo>
                  <a:pt x="1072016" y="1957883"/>
                </a:lnTo>
                <a:close/>
                <a:moveTo>
                  <a:pt x="353399" y="1242143"/>
                </a:moveTo>
                <a:lnTo>
                  <a:pt x="1068417" y="1242143"/>
                </a:lnTo>
                <a:lnTo>
                  <a:pt x="1068417" y="1957883"/>
                </a:lnTo>
                <a:lnTo>
                  <a:pt x="353399" y="1957883"/>
                </a:lnTo>
                <a:close/>
                <a:moveTo>
                  <a:pt x="0" y="1242143"/>
                </a:moveTo>
                <a:lnTo>
                  <a:pt x="349799" y="1242143"/>
                </a:lnTo>
                <a:lnTo>
                  <a:pt x="349799" y="1957883"/>
                </a:lnTo>
                <a:lnTo>
                  <a:pt x="0" y="1957883"/>
                </a:lnTo>
                <a:close/>
                <a:moveTo>
                  <a:pt x="11903675" y="522805"/>
                </a:moveTo>
                <a:lnTo>
                  <a:pt x="12191977" y="522805"/>
                </a:lnTo>
                <a:lnTo>
                  <a:pt x="12191977" y="1238545"/>
                </a:lnTo>
                <a:lnTo>
                  <a:pt x="11903675" y="1238545"/>
                </a:lnTo>
                <a:lnTo>
                  <a:pt x="11903675" y="1186154"/>
                </a:lnTo>
                <a:lnTo>
                  <a:pt x="11851288" y="1186154"/>
                </a:lnTo>
                <a:lnTo>
                  <a:pt x="11851288" y="575187"/>
                </a:lnTo>
                <a:lnTo>
                  <a:pt x="11903675" y="575187"/>
                </a:lnTo>
                <a:close/>
                <a:moveTo>
                  <a:pt x="11185049" y="522805"/>
                </a:moveTo>
                <a:lnTo>
                  <a:pt x="11795302" y="522805"/>
                </a:lnTo>
                <a:lnTo>
                  <a:pt x="11795302" y="575187"/>
                </a:lnTo>
                <a:lnTo>
                  <a:pt x="11847688" y="575187"/>
                </a:lnTo>
                <a:lnTo>
                  <a:pt x="11847688" y="1186154"/>
                </a:lnTo>
                <a:lnTo>
                  <a:pt x="11795302" y="1186154"/>
                </a:lnTo>
                <a:lnTo>
                  <a:pt x="11795302" y="1238545"/>
                </a:lnTo>
                <a:lnTo>
                  <a:pt x="11185049" y="1238545"/>
                </a:lnTo>
                <a:lnTo>
                  <a:pt x="11185049" y="1186154"/>
                </a:lnTo>
                <a:lnTo>
                  <a:pt x="11132662" y="1186154"/>
                </a:lnTo>
                <a:lnTo>
                  <a:pt x="11132662" y="575187"/>
                </a:lnTo>
                <a:lnTo>
                  <a:pt x="11185049" y="575187"/>
                </a:lnTo>
                <a:close/>
                <a:moveTo>
                  <a:pt x="10466430" y="522805"/>
                </a:moveTo>
                <a:lnTo>
                  <a:pt x="11076676" y="522805"/>
                </a:lnTo>
                <a:lnTo>
                  <a:pt x="11076676" y="575187"/>
                </a:lnTo>
                <a:lnTo>
                  <a:pt x="11129062" y="575187"/>
                </a:lnTo>
                <a:lnTo>
                  <a:pt x="11129062" y="1186154"/>
                </a:lnTo>
                <a:lnTo>
                  <a:pt x="11076676" y="1186154"/>
                </a:lnTo>
                <a:lnTo>
                  <a:pt x="11076676" y="1238545"/>
                </a:lnTo>
                <a:lnTo>
                  <a:pt x="10466430" y="1238545"/>
                </a:lnTo>
                <a:lnTo>
                  <a:pt x="10466430" y="1186154"/>
                </a:lnTo>
                <a:lnTo>
                  <a:pt x="10414043" y="1186154"/>
                </a:lnTo>
                <a:lnTo>
                  <a:pt x="10414043" y="575187"/>
                </a:lnTo>
                <a:lnTo>
                  <a:pt x="10466430" y="575187"/>
                </a:lnTo>
                <a:close/>
                <a:moveTo>
                  <a:pt x="9747811" y="522805"/>
                </a:moveTo>
                <a:lnTo>
                  <a:pt x="10358057" y="522805"/>
                </a:lnTo>
                <a:lnTo>
                  <a:pt x="10358057" y="575187"/>
                </a:lnTo>
                <a:lnTo>
                  <a:pt x="10410443" y="575187"/>
                </a:lnTo>
                <a:lnTo>
                  <a:pt x="10410443" y="1186154"/>
                </a:lnTo>
                <a:lnTo>
                  <a:pt x="10358057" y="1186154"/>
                </a:lnTo>
                <a:lnTo>
                  <a:pt x="10358057" y="1238545"/>
                </a:lnTo>
                <a:lnTo>
                  <a:pt x="9747811" y="1238545"/>
                </a:lnTo>
                <a:lnTo>
                  <a:pt x="9747811" y="1186155"/>
                </a:lnTo>
                <a:lnTo>
                  <a:pt x="9695424" y="1186155"/>
                </a:lnTo>
                <a:lnTo>
                  <a:pt x="9695424" y="575187"/>
                </a:lnTo>
                <a:lnTo>
                  <a:pt x="9747811" y="575187"/>
                </a:lnTo>
                <a:close/>
                <a:moveTo>
                  <a:pt x="9029192" y="522805"/>
                </a:moveTo>
                <a:lnTo>
                  <a:pt x="9639438" y="522805"/>
                </a:lnTo>
                <a:lnTo>
                  <a:pt x="9639438" y="575187"/>
                </a:lnTo>
                <a:lnTo>
                  <a:pt x="9691824" y="575187"/>
                </a:lnTo>
                <a:lnTo>
                  <a:pt x="9691824" y="1186155"/>
                </a:lnTo>
                <a:lnTo>
                  <a:pt x="9639438" y="1186155"/>
                </a:lnTo>
                <a:lnTo>
                  <a:pt x="9639438" y="1238545"/>
                </a:lnTo>
                <a:lnTo>
                  <a:pt x="9029192" y="1238545"/>
                </a:lnTo>
                <a:lnTo>
                  <a:pt x="9029192" y="1186155"/>
                </a:lnTo>
                <a:lnTo>
                  <a:pt x="8976805" y="1186155"/>
                </a:lnTo>
                <a:lnTo>
                  <a:pt x="8976805" y="575188"/>
                </a:lnTo>
                <a:lnTo>
                  <a:pt x="9029192" y="575188"/>
                </a:lnTo>
                <a:close/>
                <a:moveTo>
                  <a:pt x="8310573" y="522805"/>
                </a:moveTo>
                <a:lnTo>
                  <a:pt x="8920819" y="522805"/>
                </a:lnTo>
                <a:lnTo>
                  <a:pt x="8920819" y="575188"/>
                </a:lnTo>
                <a:lnTo>
                  <a:pt x="8973205" y="575188"/>
                </a:lnTo>
                <a:lnTo>
                  <a:pt x="8973205" y="1186155"/>
                </a:lnTo>
                <a:lnTo>
                  <a:pt x="8920819" y="1186155"/>
                </a:lnTo>
                <a:lnTo>
                  <a:pt x="8920819" y="1238545"/>
                </a:lnTo>
                <a:lnTo>
                  <a:pt x="8310573" y="1238545"/>
                </a:lnTo>
                <a:lnTo>
                  <a:pt x="8310573" y="1186155"/>
                </a:lnTo>
                <a:lnTo>
                  <a:pt x="8258187" y="1186155"/>
                </a:lnTo>
                <a:lnTo>
                  <a:pt x="8258187" y="575188"/>
                </a:lnTo>
                <a:lnTo>
                  <a:pt x="8310573" y="575188"/>
                </a:lnTo>
                <a:close/>
                <a:moveTo>
                  <a:pt x="7591954" y="522805"/>
                </a:moveTo>
                <a:lnTo>
                  <a:pt x="8202200" y="522805"/>
                </a:lnTo>
                <a:lnTo>
                  <a:pt x="8202200" y="575188"/>
                </a:lnTo>
                <a:lnTo>
                  <a:pt x="8254587" y="575188"/>
                </a:lnTo>
                <a:lnTo>
                  <a:pt x="8254587" y="1186155"/>
                </a:lnTo>
                <a:lnTo>
                  <a:pt x="8202200" y="1186155"/>
                </a:lnTo>
                <a:lnTo>
                  <a:pt x="8202200" y="1238545"/>
                </a:lnTo>
                <a:lnTo>
                  <a:pt x="7591954" y="1238545"/>
                </a:lnTo>
                <a:lnTo>
                  <a:pt x="7591954" y="1186155"/>
                </a:lnTo>
                <a:lnTo>
                  <a:pt x="7539568" y="1186155"/>
                </a:lnTo>
                <a:lnTo>
                  <a:pt x="7539568" y="575188"/>
                </a:lnTo>
                <a:lnTo>
                  <a:pt x="7591954" y="575188"/>
                </a:lnTo>
                <a:close/>
                <a:moveTo>
                  <a:pt x="6873335" y="522805"/>
                </a:moveTo>
                <a:lnTo>
                  <a:pt x="7483581" y="522805"/>
                </a:lnTo>
                <a:lnTo>
                  <a:pt x="7483581" y="575188"/>
                </a:lnTo>
                <a:lnTo>
                  <a:pt x="7535968" y="575188"/>
                </a:lnTo>
                <a:lnTo>
                  <a:pt x="7535968" y="1186155"/>
                </a:lnTo>
                <a:lnTo>
                  <a:pt x="7483581" y="1186155"/>
                </a:lnTo>
                <a:lnTo>
                  <a:pt x="7483581" y="1238545"/>
                </a:lnTo>
                <a:lnTo>
                  <a:pt x="6873335" y="1238545"/>
                </a:lnTo>
                <a:lnTo>
                  <a:pt x="6873335" y="1186155"/>
                </a:lnTo>
                <a:lnTo>
                  <a:pt x="6820949" y="1186155"/>
                </a:lnTo>
                <a:lnTo>
                  <a:pt x="6820949" y="575188"/>
                </a:lnTo>
                <a:lnTo>
                  <a:pt x="6873335" y="575188"/>
                </a:lnTo>
                <a:close/>
                <a:moveTo>
                  <a:pt x="6102330" y="522805"/>
                </a:moveTo>
                <a:lnTo>
                  <a:pt x="6764962" y="522805"/>
                </a:lnTo>
                <a:lnTo>
                  <a:pt x="6764962" y="575188"/>
                </a:lnTo>
                <a:lnTo>
                  <a:pt x="6817349" y="575188"/>
                </a:lnTo>
                <a:lnTo>
                  <a:pt x="6817349" y="1186155"/>
                </a:lnTo>
                <a:lnTo>
                  <a:pt x="6764962" y="1186155"/>
                </a:lnTo>
                <a:lnTo>
                  <a:pt x="6764962" y="1238545"/>
                </a:lnTo>
                <a:lnTo>
                  <a:pt x="6102330" y="1238545"/>
                </a:lnTo>
                <a:close/>
                <a:moveTo>
                  <a:pt x="5383726" y="522805"/>
                </a:moveTo>
                <a:lnTo>
                  <a:pt x="6098730" y="522805"/>
                </a:lnTo>
                <a:lnTo>
                  <a:pt x="6098730" y="1238545"/>
                </a:lnTo>
                <a:lnTo>
                  <a:pt x="5383726" y="1238545"/>
                </a:lnTo>
                <a:close/>
                <a:moveTo>
                  <a:pt x="4665104" y="522805"/>
                </a:moveTo>
                <a:lnTo>
                  <a:pt x="5380126" y="522805"/>
                </a:lnTo>
                <a:lnTo>
                  <a:pt x="5380126" y="1238545"/>
                </a:lnTo>
                <a:lnTo>
                  <a:pt x="4665104" y="1238545"/>
                </a:lnTo>
                <a:close/>
                <a:moveTo>
                  <a:pt x="3946494" y="522805"/>
                </a:moveTo>
                <a:lnTo>
                  <a:pt x="4661503" y="522805"/>
                </a:lnTo>
                <a:lnTo>
                  <a:pt x="4661503" y="1238545"/>
                </a:lnTo>
                <a:lnTo>
                  <a:pt x="3946494" y="1238545"/>
                </a:lnTo>
                <a:close/>
                <a:moveTo>
                  <a:pt x="3227879" y="522805"/>
                </a:moveTo>
                <a:lnTo>
                  <a:pt x="3942897" y="522805"/>
                </a:lnTo>
                <a:lnTo>
                  <a:pt x="3942897" y="1238545"/>
                </a:lnTo>
                <a:lnTo>
                  <a:pt x="3227879" y="1238545"/>
                </a:lnTo>
                <a:close/>
                <a:moveTo>
                  <a:pt x="2509260" y="522805"/>
                </a:moveTo>
                <a:lnTo>
                  <a:pt x="3224280" y="522805"/>
                </a:lnTo>
                <a:lnTo>
                  <a:pt x="3224280" y="1238545"/>
                </a:lnTo>
                <a:lnTo>
                  <a:pt x="2509260" y="1238545"/>
                </a:lnTo>
                <a:close/>
                <a:moveTo>
                  <a:pt x="1790634" y="522805"/>
                </a:moveTo>
                <a:lnTo>
                  <a:pt x="2505660" y="522805"/>
                </a:lnTo>
                <a:lnTo>
                  <a:pt x="2505660" y="1238545"/>
                </a:lnTo>
                <a:lnTo>
                  <a:pt x="1790634" y="1238545"/>
                </a:lnTo>
                <a:close/>
                <a:moveTo>
                  <a:pt x="1072016" y="522805"/>
                </a:moveTo>
                <a:lnTo>
                  <a:pt x="1787035" y="522805"/>
                </a:lnTo>
                <a:lnTo>
                  <a:pt x="1787035" y="1238545"/>
                </a:lnTo>
                <a:lnTo>
                  <a:pt x="1072016" y="1238545"/>
                </a:lnTo>
                <a:close/>
                <a:moveTo>
                  <a:pt x="353399" y="522805"/>
                </a:moveTo>
                <a:lnTo>
                  <a:pt x="1068417" y="522805"/>
                </a:lnTo>
                <a:lnTo>
                  <a:pt x="1068417" y="1238545"/>
                </a:lnTo>
                <a:lnTo>
                  <a:pt x="353399" y="1238545"/>
                </a:lnTo>
                <a:close/>
                <a:moveTo>
                  <a:pt x="0" y="522805"/>
                </a:moveTo>
                <a:lnTo>
                  <a:pt x="349799" y="522805"/>
                </a:lnTo>
                <a:lnTo>
                  <a:pt x="349799" y="1238545"/>
                </a:lnTo>
                <a:lnTo>
                  <a:pt x="0" y="1238545"/>
                </a:lnTo>
                <a:close/>
                <a:moveTo>
                  <a:pt x="11851288" y="6"/>
                </a:moveTo>
                <a:lnTo>
                  <a:pt x="12191977" y="6"/>
                </a:lnTo>
                <a:lnTo>
                  <a:pt x="12191977" y="519205"/>
                </a:lnTo>
                <a:lnTo>
                  <a:pt x="11903675" y="519205"/>
                </a:lnTo>
                <a:lnTo>
                  <a:pt x="11903675" y="466814"/>
                </a:lnTo>
                <a:lnTo>
                  <a:pt x="11851288" y="466814"/>
                </a:lnTo>
                <a:close/>
                <a:moveTo>
                  <a:pt x="11132662" y="6"/>
                </a:moveTo>
                <a:lnTo>
                  <a:pt x="11847688" y="6"/>
                </a:lnTo>
                <a:lnTo>
                  <a:pt x="11847688" y="466814"/>
                </a:lnTo>
                <a:lnTo>
                  <a:pt x="11795302" y="466814"/>
                </a:lnTo>
                <a:lnTo>
                  <a:pt x="11795302" y="519205"/>
                </a:lnTo>
                <a:lnTo>
                  <a:pt x="11185049" y="519205"/>
                </a:lnTo>
                <a:lnTo>
                  <a:pt x="11185049" y="466814"/>
                </a:lnTo>
                <a:lnTo>
                  <a:pt x="11132662" y="466814"/>
                </a:lnTo>
                <a:close/>
                <a:moveTo>
                  <a:pt x="10414043" y="6"/>
                </a:moveTo>
                <a:lnTo>
                  <a:pt x="11129062" y="6"/>
                </a:lnTo>
                <a:lnTo>
                  <a:pt x="11129062" y="466814"/>
                </a:lnTo>
                <a:lnTo>
                  <a:pt x="11076676" y="466814"/>
                </a:lnTo>
                <a:lnTo>
                  <a:pt x="11076676" y="519205"/>
                </a:lnTo>
                <a:lnTo>
                  <a:pt x="10466430" y="519205"/>
                </a:lnTo>
                <a:lnTo>
                  <a:pt x="10466430" y="466814"/>
                </a:lnTo>
                <a:lnTo>
                  <a:pt x="10414043" y="466814"/>
                </a:lnTo>
                <a:close/>
                <a:moveTo>
                  <a:pt x="9695424" y="6"/>
                </a:moveTo>
                <a:lnTo>
                  <a:pt x="10410443" y="6"/>
                </a:lnTo>
                <a:lnTo>
                  <a:pt x="10410443" y="466814"/>
                </a:lnTo>
                <a:lnTo>
                  <a:pt x="10358057" y="466814"/>
                </a:lnTo>
                <a:lnTo>
                  <a:pt x="10358057" y="519205"/>
                </a:lnTo>
                <a:lnTo>
                  <a:pt x="9747811" y="519205"/>
                </a:lnTo>
                <a:lnTo>
                  <a:pt x="9747811" y="466815"/>
                </a:lnTo>
                <a:lnTo>
                  <a:pt x="9695424" y="466815"/>
                </a:lnTo>
                <a:close/>
                <a:moveTo>
                  <a:pt x="8976805" y="6"/>
                </a:moveTo>
                <a:lnTo>
                  <a:pt x="9691824" y="6"/>
                </a:lnTo>
                <a:lnTo>
                  <a:pt x="9691824" y="466815"/>
                </a:lnTo>
                <a:lnTo>
                  <a:pt x="9639438" y="466815"/>
                </a:lnTo>
                <a:lnTo>
                  <a:pt x="9639438" y="519205"/>
                </a:lnTo>
                <a:lnTo>
                  <a:pt x="9029192" y="519205"/>
                </a:lnTo>
                <a:lnTo>
                  <a:pt x="9029192" y="466815"/>
                </a:lnTo>
                <a:lnTo>
                  <a:pt x="8976805" y="466815"/>
                </a:lnTo>
                <a:close/>
                <a:moveTo>
                  <a:pt x="8258187" y="6"/>
                </a:moveTo>
                <a:lnTo>
                  <a:pt x="8973205" y="6"/>
                </a:lnTo>
                <a:lnTo>
                  <a:pt x="8973205" y="466815"/>
                </a:lnTo>
                <a:lnTo>
                  <a:pt x="8920819" y="466815"/>
                </a:lnTo>
                <a:lnTo>
                  <a:pt x="8920819" y="519205"/>
                </a:lnTo>
                <a:lnTo>
                  <a:pt x="8310573" y="519205"/>
                </a:lnTo>
                <a:lnTo>
                  <a:pt x="8310573" y="466815"/>
                </a:lnTo>
                <a:lnTo>
                  <a:pt x="8258187" y="466815"/>
                </a:lnTo>
                <a:close/>
                <a:moveTo>
                  <a:pt x="7539568" y="6"/>
                </a:moveTo>
                <a:lnTo>
                  <a:pt x="8254587" y="6"/>
                </a:lnTo>
                <a:lnTo>
                  <a:pt x="8254587" y="466815"/>
                </a:lnTo>
                <a:lnTo>
                  <a:pt x="8202200" y="466815"/>
                </a:lnTo>
                <a:lnTo>
                  <a:pt x="8202200" y="519205"/>
                </a:lnTo>
                <a:lnTo>
                  <a:pt x="7591954" y="519205"/>
                </a:lnTo>
                <a:lnTo>
                  <a:pt x="7591954" y="466815"/>
                </a:lnTo>
                <a:lnTo>
                  <a:pt x="7539568" y="466815"/>
                </a:lnTo>
                <a:close/>
                <a:moveTo>
                  <a:pt x="6820949" y="6"/>
                </a:moveTo>
                <a:lnTo>
                  <a:pt x="7535968" y="6"/>
                </a:lnTo>
                <a:lnTo>
                  <a:pt x="7535968" y="466815"/>
                </a:lnTo>
                <a:lnTo>
                  <a:pt x="7483581" y="466815"/>
                </a:lnTo>
                <a:lnTo>
                  <a:pt x="7483581" y="519205"/>
                </a:lnTo>
                <a:lnTo>
                  <a:pt x="6873335" y="519205"/>
                </a:lnTo>
                <a:lnTo>
                  <a:pt x="6873335" y="466815"/>
                </a:lnTo>
                <a:lnTo>
                  <a:pt x="6820949" y="466815"/>
                </a:lnTo>
                <a:close/>
                <a:moveTo>
                  <a:pt x="6102330" y="6"/>
                </a:moveTo>
                <a:lnTo>
                  <a:pt x="6817349" y="6"/>
                </a:lnTo>
                <a:lnTo>
                  <a:pt x="6817349" y="466815"/>
                </a:lnTo>
                <a:lnTo>
                  <a:pt x="6764962" y="466815"/>
                </a:lnTo>
                <a:lnTo>
                  <a:pt x="6764962" y="519205"/>
                </a:lnTo>
                <a:lnTo>
                  <a:pt x="6102330" y="519205"/>
                </a:lnTo>
                <a:close/>
                <a:moveTo>
                  <a:pt x="5383726" y="6"/>
                </a:moveTo>
                <a:lnTo>
                  <a:pt x="6098730" y="6"/>
                </a:lnTo>
                <a:lnTo>
                  <a:pt x="6098730" y="519205"/>
                </a:lnTo>
                <a:lnTo>
                  <a:pt x="5383726" y="519205"/>
                </a:lnTo>
                <a:close/>
                <a:moveTo>
                  <a:pt x="4665104" y="6"/>
                </a:moveTo>
                <a:lnTo>
                  <a:pt x="5380126" y="6"/>
                </a:lnTo>
                <a:lnTo>
                  <a:pt x="5380126" y="519205"/>
                </a:lnTo>
                <a:lnTo>
                  <a:pt x="4665104" y="519205"/>
                </a:lnTo>
                <a:close/>
                <a:moveTo>
                  <a:pt x="3946494" y="6"/>
                </a:moveTo>
                <a:lnTo>
                  <a:pt x="4661503" y="6"/>
                </a:lnTo>
                <a:lnTo>
                  <a:pt x="4661503" y="519205"/>
                </a:lnTo>
                <a:lnTo>
                  <a:pt x="3946494" y="519205"/>
                </a:lnTo>
                <a:close/>
                <a:moveTo>
                  <a:pt x="3227879" y="6"/>
                </a:moveTo>
                <a:lnTo>
                  <a:pt x="3942897" y="6"/>
                </a:lnTo>
                <a:lnTo>
                  <a:pt x="3942897" y="519205"/>
                </a:lnTo>
                <a:lnTo>
                  <a:pt x="3227879" y="519205"/>
                </a:lnTo>
                <a:close/>
                <a:moveTo>
                  <a:pt x="2509260" y="6"/>
                </a:moveTo>
                <a:lnTo>
                  <a:pt x="3224280" y="6"/>
                </a:lnTo>
                <a:lnTo>
                  <a:pt x="3224280" y="519205"/>
                </a:lnTo>
                <a:lnTo>
                  <a:pt x="2509260" y="519205"/>
                </a:lnTo>
                <a:close/>
                <a:moveTo>
                  <a:pt x="1790634" y="6"/>
                </a:moveTo>
                <a:lnTo>
                  <a:pt x="2505660" y="6"/>
                </a:lnTo>
                <a:lnTo>
                  <a:pt x="2505660" y="519205"/>
                </a:lnTo>
                <a:lnTo>
                  <a:pt x="1790634" y="519205"/>
                </a:lnTo>
                <a:close/>
                <a:moveTo>
                  <a:pt x="1072016" y="0"/>
                </a:moveTo>
                <a:lnTo>
                  <a:pt x="1152937" y="0"/>
                </a:lnTo>
                <a:lnTo>
                  <a:pt x="1152937" y="6"/>
                </a:lnTo>
                <a:lnTo>
                  <a:pt x="1787035" y="6"/>
                </a:lnTo>
                <a:lnTo>
                  <a:pt x="1787035" y="519205"/>
                </a:lnTo>
                <a:lnTo>
                  <a:pt x="1072016" y="519205"/>
                </a:lnTo>
                <a:close/>
                <a:moveTo>
                  <a:pt x="353399" y="0"/>
                </a:moveTo>
                <a:lnTo>
                  <a:pt x="1068417" y="0"/>
                </a:lnTo>
                <a:lnTo>
                  <a:pt x="1068417" y="519205"/>
                </a:lnTo>
                <a:lnTo>
                  <a:pt x="353399" y="519205"/>
                </a:lnTo>
                <a:close/>
                <a:moveTo>
                  <a:pt x="0" y="0"/>
                </a:moveTo>
                <a:lnTo>
                  <a:pt x="349799" y="0"/>
                </a:lnTo>
                <a:lnTo>
                  <a:pt x="349799" y="519205"/>
                </a:lnTo>
                <a:lnTo>
                  <a:pt x="0" y="519205"/>
                </a:lnTo>
                <a:close/>
              </a:path>
            </a:pathLst>
          </a:custGeom>
          <a:solidFill>
            <a:srgbClr val="EAEEF0"/>
          </a:solidFill>
        </p:spPr>
        <p:txBody>
          <a:bodyPr wrap="square" tIns="1980000" anchor="ctr">
            <a:noAutofit/>
          </a:bodyPr>
          <a:lstStyle>
            <a:lvl1pPr marL="0" marR="0" indent="0" algn="ctr" defTabSz="914400" rtl="0" eaLnBrk="1" fontAlgn="ctr" latinLnBrk="0" hangingPunct="1">
              <a:lnSpc>
                <a:spcPct val="90000"/>
              </a:lnSpc>
              <a:spcBef>
                <a:spcPts val="0"/>
              </a:spcBef>
              <a:spcAft>
                <a:spcPts val="0"/>
              </a:spcAft>
              <a:buClrTx/>
              <a:buSzPct val="80000"/>
              <a:buFont typeface="Systeemlettertype regulier"/>
              <a:buNone/>
              <a:tabLst/>
              <a:defRPr sz="1000" b="1">
                <a:solidFill>
                  <a:schemeClr val="tx2"/>
                </a:solidFill>
              </a:defRPr>
            </a:lvl1pPr>
          </a:lstStyle>
          <a:p>
            <a:pPr marL="0" marR="0" lvl="0" indent="-252000" algn="ctr" defTabSz="914400" rtl="0" eaLnBrk="1" fontAlgn="ctr" latinLnBrk="0" hangingPunct="1">
              <a:lnSpc>
                <a:spcPct val="90000"/>
              </a:lnSpc>
              <a:spcBef>
                <a:spcPts val="500"/>
              </a:spcBef>
              <a:spcAft>
                <a:spcPts val="0"/>
              </a:spcAft>
              <a:buClrTx/>
              <a:buSzPct val="80000"/>
              <a:buFont typeface="Systeemlettertype regulier"/>
              <a:buNone/>
              <a:tabLst/>
              <a:defRPr/>
            </a:pPr>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8383C1FC-1FA7-463A-B5A6-4731DF23A1A4}"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noProof="0" dirty="0"/>
              <a:t>Confidentiality</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en-GB" noProof="0" smtClean="0"/>
              <a:pPr/>
              <a:t>‹Nr.›</a:t>
            </a:fld>
            <a:endParaRPr lang="en-GB" noProof="0" dirty="0"/>
          </a:p>
        </p:txBody>
      </p:sp>
      <p:sp>
        <p:nvSpPr>
          <p:cNvPr id="8" name="Tijdelijke aanduiding voor tekst 7">
            <a:extLst>
              <a:ext uri="{FF2B5EF4-FFF2-40B4-BE49-F238E27FC236}">
                <a16:creationId xmlns:a16="http://schemas.microsoft.com/office/drawing/2014/main" id="{322CF08D-7287-6C44-9D1E-9EDA54011F29}"/>
              </a:ext>
            </a:extLst>
          </p:cNvPr>
          <p:cNvSpPr>
            <a:spLocks noGrp="1"/>
          </p:cNvSpPr>
          <p:nvPr>
            <p:ph type="body" sz="quarter" idx="16" hasCustomPrompt="1"/>
          </p:nvPr>
        </p:nvSpPr>
        <p:spPr>
          <a:xfrm>
            <a:off x="349200" y="522000"/>
            <a:ext cx="5749200" cy="3600450"/>
          </a:xfrm>
          <a:custGeom>
            <a:avLst/>
            <a:gdLst>
              <a:gd name="connsiteX0" fmla="*/ 0 w 5749200"/>
              <a:gd name="connsiteY0" fmla="*/ 0 h 3600450"/>
              <a:gd name="connsiteX1" fmla="*/ 5749200 w 5749200"/>
              <a:gd name="connsiteY1" fmla="*/ 0 h 3600450"/>
              <a:gd name="connsiteX2" fmla="*/ 5749200 w 5749200"/>
              <a:gd name="connsiteY2" fmla="*/ 3328231 h 3600450"/>
              <a:gd name="connsiteX3" fmla="*/ 5148806 w 5749200"/>
              <a:gd name="connsiteY3" fmla="*/ 3600450 h 3600450"/>
              <a:gd name="connsiteX4" fmla="*/ 0 w 5749200"/>
              <a:gd name="connsiteY4" fmla="*/ 3600450 h 3600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9200" h="3600450">
                <a:moveTo>
                  <a:pt x="0" y="0"/>
                </a:moveTo>
                <a:lnTo>
                  <a:pt x="5749200" y="0"/>
                </a:lnTo>
                <a:lnTo>
                  <a:pt x="5749200" y="3328231"/>
                </a:lnTo>
                <a:lnTo>
                  <a:pt x="5148806" y="3600450"/>
                </a:lnTo>
                <a:lnTo>
                  <a:pt x="0" y="3600450"/>
                </a:lnTo>
                <a:close/>
              </a:path>
            </a:pathLst>
          </a:custGeom>
          <a:solidFill>
            <a:schemeClr val="bg1"/>
          </a:solidFill>
        </p:spPr>
        <p:txBody>
          <a:bodyPr wrap="square" lIns="216000" tIns="864000" rIns="216000" bIns="216000">
            <a:noAutofit/>
          </a:bodyPr>
          <a:lstStyle>
            <a:lvl1pPr marL="0" indent="0">
              <a:spcBef>
                <a:spcPts val="0"/>
              </a:spcBef>
              <a:buNone/>
              <a:defRPr sz="4000" b="1"/>
            </a:lvl1pPr>
            <a:lvl2pPr marL="0" indent="0">
              <a:spcBef>
                <a:spcPts val="0"/>
              </a:spcBef>
              <a:buNone/>
              <a:tabLst/>
              <a:defRPr sz="4000"/>
            </a:lvl2pPr>
          </a:lstStyle>
          <a:p>
            <a:pPr lvl="0"/>
            <a:r>
              <a:rPr lang="en-GB" noProof="0" dirty="0"/>
              <a:t>Click here</a:t>
            </a:r>
          </a:p>
          <a:p>
            <a:pPr lvl="1"/>
            <a:r>
              <a:rPr lang="en-GB" noProof="0" dirty="0"/>
              <a:t>Second text level</a:t>
            </a:r>
          </a:p>
        </p:txBody>
      </p:sp>
      <p:sp>
        <p:nvSpPr>
          <p:cNvPr id="22" name="Tekstvak 21">
            <a:extLst>
              <a:ext uri="{FF2B5EF4-FFF2-40B4-BE49-F238E27FC236}">
                <a16:creationId xmlns:a16="http://schemas.microsoft.com/office/drawing/2014/main" id="{29CA69BC-EA8F-D341-9677-2BAF92192280}"/>
              </a:ext>
            </a:extLst>
          </p:cNvPr>
          <p:cNvSpPr txBox="1"/>
          <p:nvPr userDrawn="1"/>
        </p:nvSpPr>
        <p:spPr bwMode="auto">
          <a:xfrm>
            <a:off x="-2921308" y="0"/>
            <a:ext cx="2670175" cy="6876002"/>
          </a:xfrm>
          <a:prstGeom prst="rect">
            <a:avLst/>
          </a:prstGeom>
          <a:solidFill>
            <a:schemeClr val="bg1">
              <a:lumMod val="95000"/>
            </a:schemeClr>
          </a:solidFill>
        </p:spPr>
        <p:txBody>
          <a:bodyPr lIns="90000"/>
          <a:lstStyle/>
          <a:p>
            <a:pPr fontAlgn="auto">
              <a:spcBef>
                <a:spcPts val="0"/>
              </a:spcBef>
              <a:spcAft>
                <a:spcPts val="0"/>
              </a:spcAft>
              <a:defRPr/>
            </a:pPr>
            <a:r>
              <a:rPr lang="en-GB" sz="1400" b="1" noProof="0" dirty="0">
                <a:solidFill>
                  <a:schemeClr val="tx2"/>
                </a:solidFill>
                <a:latin typeface="+mn-lt"/>
                <a:cs typeface="+mn-cs"/>
              </a:rPr>
              <a:t>Change list levels</a:t>
            </a: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noProof="0" dirty="0">
                <a:solidFill>
                  <a:schemeClr val="tx2"/>
                </a:solidFill>
                <a:latin typeface="+mn-lt"/>
                <a:cs typeface="+mn-cs"/>
              </a:rPr>
              <a:t>Please your cursor at the beginning of a sentence. Go to ‘Home’ tab and click the indent buttons to decrease or increase the list levels. </a:t>
            </a:r>
            <a:endParaRPr lang="en-GB" sz="1200" noProof="0" dirty="0">
              <a:solidFill>
                <a:schemeClr val="tx2"/>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latin typeface="+mn-lt"/>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latin typeface="+mn-lt"/>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noProof="0" dirty="0">
                <a:solidFill>
                  <a:schemeClr val="tx2"/>
                </a:solidFill>
              </a:rPr>
              <a:t>The textbox has 2 list level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latin typeface="+mn-lt"/>
              <a:cs typeface="+mn-cs"/>
            </a:endParaRPr>
          </a:p>
          <a:p>
            <a:pPr>
              <a:defRPr/>
            </a:pPr>
            <a:r>
              <a:rPr lang="en-GB" sz="1200" b="1" noProof="0" dirty="0">
                <a:solidFill>
                  <a:schemeClr val="tx2"/>
                </a:solidFill>
              </a:rPr>
              <a:t>Bold text (Header)</a:t>
            </a:r>
            <a:br>
              <a:rPr lang="en-GB" sz="1200" noProof="0" dirty="0">
                <a:solidFill>
                  <a:schemeClr val="tx2"/>
                </a:solidFill>
              </a:rPr>
            </a:br>
            <a:r>
              <a:rPr lang="en-GB" sz="1200" noProof="0" dirty="0">
                <a:solidFill>
                  <a:schemeClr val="tx2"/>
                </a:solidFill>
              </a:rPr>
              <a:t>Arial, 40pt, 80% dark grey</a:t>
            </a:r>
          </a:p>
          <a:p>
            <a:pPr>
              <a:defRPr/>
            </a:pPr>
            <a:endParaRPr lang="en-GB" sz="1200" noProof="0" dirty="0">
              <a:solidFill>
                <a:schemeClr val="tx2"/>
              </a:solidFill>
            </a:endParaRPr>
          </a:p>
          <a:p>
            <a:pPr>
              <a:defRPr/>
            </a:pPr>
            <a:r>
              <a:rPr lang="en-GB" sz="1200" noProof="0" dirty="0">
                <a:solidFill>
                  <a:schemeClr val="tx2"/>
                </a:solidFill>
              </a:rPr>
              <a:t>Regular text (Sub header)</a:t>
            </a:r>
            <a:br>
              <a:rPr lang="en-GB" sz="1200" noProof="0" dirty="0">
                <a:solidFill>
                  <a:schemeClr val="tx2"/>
                </a:solidFill>
              </a:rPr>
            </a:br>
            <a:r>
              <a:rPr lang="en-GB" sz="1200" noProof="0" dirty="0">
                <a:solidFill>
                  <a:schemeClr val="tx2"/>
                </a:solidFill>
              </a:rPr>
              <a:t>Arial, 40pt, 80% dark grey</a:t>
            </a:r>
          </a:p>
          <a:p>
            <a:pPr>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a:p>
            <a:pPr marL="228600" indent="-228600">
              <a:buFont typeface="+mj-lt"/>
              <a:buAutoNum type="arabicPeriod"/>
              <a:defRPr/>
            </a:pPr>
            <a:endParaRPr lang="en-GB" sz="1050" b="1" noProof="0" dirty="0">
              <a:solidFill>
                <a:schemeClr val="tx2"/>
              </a:solidFill>
            </a:endParaRPr>
          </a:p>
        </p:txBody>
      </p:sp>
      <p:grpSp>
        <p:nvGrpSpPr>
          <p:cNvPr id="23" name="Groep 15">
            <a:extLst>
              <a:ext uri="{FF2B5EF4-FFF2-40B4-BE49-F238E27FC236}">
                <a16:creationId xmlns:a16="http://schemas.microsoft.com/office/drawing/2014/main" id="{650114A2-0143-6A4E-B10B-097A915747DC}"/>
              </a:ext>
            </a:extLst>
          </p:cNvPr>
          <p:cNvGrpSpPr>
            <a:grpSpLocks/>
          </p:cNvGrpSpPr>
          <p:nvPr userDrawn="1"/>
        </p:nvGrpSpPr>
        <p:grpSpPr bwMode="auto">
          <a:xfrm>
            <a:off x="-2625278" y="1141344"/>
            <a:ext cx="1914955" cy="331607"/>
            <a:chOff x="-6932395" y="991044"/>
            <a:chExt cx="1915120" cy="331629"/>
          </a:xfrm>
        </p:grpSpPr>
        <p:pic>
          <p:nvPicPr>
            <p:cNvPr id="24" name="Afbeelding 16">
              <a:extLst>
                <a:ext uri="{FF2B5EF4-FFF2-40B4-BE49-F238E27FC236}">
                  <a16:creationId xmlns:a16="http://schemas.microsoft.com/office/drawing/2014/main" id="{EC00DAD9-B8BF-5C47-B187-E399E372F746}"/>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299134" y="991044"/>
              <a:ext cx="722962" cy="33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kstvak 24">
              <a:extLst>
                <a:ext uri="{FF2B5EF4-FFF2-40B4-BE49-F238E27FC236}">
                  <a16:creationId xmlns:a16="http://schemas.microsoft.com/office/drawing/2014/main" id="{2AFBEA53-6AEC-0742-A534-B12FB360146B}"/>
                </a:ext>
              </a:extLst>
            </p:cNvPr>
            <p:cNvSpPr txBox="1"/>
            <p:nvPr/>
          </p:nvSpPr>
          <p:spPr>
            <a:xfrm>
              <a:off x="-5620625" y="999486"/>
              <a:ext cx="603350" cy="323187"/>
            </a:xfrm>
            <a:prstGeom prst="rect">
              <a:avLst/>
            </a:prstGeom>
            <a:noFill/>
          </p:spPr>
          <p:txBody>
            <a:bodyPr wrap="none" lIns="36000" tIns="0" rIns="36000" bIns="0">
              <a:spAutoFit/>
            </a:bodyPr>
            <a:lstStyle/>
            <a:p>
              <a:pPr marL="0" lvl="5">
                <a:defRPr/>
              </a:pPr>
              <a:r>
                <a:rPr lang="en-GB" sz="1050" noProof="0" dirty="0">
                  <a:solidFill>
                    <a:schemeClr val="tx2"/>
                  </a:solidFill>
                  <a:latin typeface="+mn-lt"/>
                  <a:cs typeface="+mn-cs"/>
                </a:rPr>
                <a:t>Increase</a:t>
              </a:r>
              <a:br>
                <a:rPr lang="en-GB" sz="1050" noProof="0" dirty="0">
                  <a:solidFill>
                    <a:schemeClr val="tx2"/>
                  </a:solidFill>
                  <a:latin typeface="+mn-lt"/>
                  <a:cs typeface="+mn-cs"/>
                </a:rPr>
              </a:br>
              <a:r>
                <a:rPr lang="en-GB" sz="1050" b="1" noProof="0" dirty="0">
                  <a:solidFill>
                    <a:schemeClr val="tx2"/>
                  </a:solidFill>
                  <a:latin typeface="+mn-lt"/>
                  <a:cs typeface="+mn-cs"/>
                </a:rPr>
                <a:t>list level</a:t>
              </a:r>
            </a:p>
          </p:txBody>
        </p:sp>
        <p:sp>
          <p:nvSpPr>
            <p:cNvPr id="26" name="Tekstvak 25">
              <a:extLst>
                <a:ext uri="{FF2B5EF4-FFF2-40B4-BE49-F238E27FC236}">
                  <a16:creationId xmlns:a16="http://schemas.microsoft.com/office/drawing/2014/main" id="{341B41E7-CD3A-7F46-AD16-41B3C1D8D3DF}"/>
                </a:ext>
              </a:extLst>
            </p:cNvPr>
            <p:cNvSpPr txBox="1"/>
            <p:nvPr/>
          </p:nvSpPr>
          <p:spPr>
            <a:xfrm>
              <a:off x="-6932395" y="995268"/>
              <a:ext cx="651444" cy="323187"/>
            </a:xfrm>
            <a:prstGeom prst="rect">
              <a:avLst/>
            </a:prstGeom>
            <a:noFill/>
          </p:spPr>
          <p:txBody>
            <a:bodyPr wrap="none" lIns="36000" tIns="0" rIns="36000" bIns="0">
              <a:spAutoFit/>
            </a:bodyPr>
            <a:lstStyle/>
            <a:p>
              <a:pPr marL="0" lvl="5" algn="r">
                <a:defRPr/>
              </a:pPr>
              <a:r>
                <a:rPr lang="en-GB" sz="1050" noProof="0" dirty="0">
                  <a:solidFill>
                    <a:schemeClr val="tx2"/>
                  </a:solidFill>
                  <a:latin typeface="+mn-lt"/>
                  <a:cs typeface="+mn-cs"/>
                </a:rPr>
                <a:t>Decrease</a:t>
              </a:r>
              <a:br>
                <a:rPr lang="en-GB" sz="1050" noProof="0" dirty="0">
                  <a:solidFill>
                    <a:schemeClr val="tx2"/>
                  </a:solidFill>
                  <a:latin typeface="+mn-lt"/>
                  <a:cs typeface="+mn-cs"/>
                </a:rPr>
              </a:br>
              <a:r>
                <a:rPr lang="en-GB" sz="1050" b="1" noProof="0" dirty="0">
                  <a:solidFill>
                    <a:schemeClr val="tx2"/>
                  </a:solidFill>
                  <a:latin typeface="+mn-lt"/>
                  <a:cs typeface="+mn-cs"/>
                </a:rPr>
                <a:t>list level</a:t>
              </a:r>
            </a:p>
          </p:txBody>
        </p:sp>
      </p:grpSp>
      <p:grpSp>
        <p:nvGrpSpPr>
          <p:cNvPr id="17" name="Groep 16">
            <a:extLst>
              <a:ext uri="{FF2B5EF4-FFF2-40B4-BE49-F238E27FC236}">
                <a16:creationId xmlns:a16="http://schemas.microsoft.com/office/drawing/2014/main" id="{CB0AA179-FA37-0C43-8CEE-E2FD9875A0AF}"/>
              </a:ext>
            </a:extLst>
          </p:cNvPr>
          <p:cNvGrpSpPr/>
          <p:nvPr userDrawn="1"/>
        </p:nvGrpSpPr>
        <p:grpSpPr>
          <a:xfrm>
            <a:off x="12443133" y="-1"/>
            <a:ext cx="2670175" cy="6875997"/>
            <a:chOff x="12443133" y="-1"/>
            <a:chExt cx="2670175" cy="6875997"/>
          </a:xfrm>
        </p:grpSpPr>
        <p:sp>
          <p:nvSpPr>
            <p:cNvPr id="27" name="Tekstvak 26">
              <a:extLst>
                <a:ext uri="{FF2B5EF4-FFF2-40B4-BE49-F238E27FC236}">
                  <a16:creationId xmlns:a16="http://schemas.microsoft.com/office/drawing/2014/main" id="{F363FA55-6A26-BB42-82B1-C58142CC06B4}"/>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GB" sz="1200" noProof="0" dirty="0">
                  <a:solidFill>
                    <a:schemeClr val="tx2"/>
                  </a:solidFill>
                  <a:latin typeface="+mn-lt"/>
                  <a:cs typeface="+mn-cs"/>
                </a:rPr>
                <a:t>Sometimes the image is placed above your text. Right-click on the image and choose Send to Back and Send to Back again.</a:t>
              </a:r>
            </a:p>
          </p:txBody>
        </p:sp>
        <p:pic>
          <p:nvPicPr>
            <p:cNvPr id="28" name="Afbeelding 27">
              <a:extLst>
                <a:ext uri="{FF2B5EF4-FFF2-40B4-BE49-F238E27FC236}">
                  <a16:creationId xmlns:a16="http://schemas.microsoft.com/office/drawing/2014/main" id="{0A6E20EE-A0EA-1943-A16B-F1A2DD8FB75C}"/>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9" name="Afbeelding 28">
            <a:extLst>
              <a:ext uri="{FF2B5EF4-FFF2-40B4-BE49-F238E27FC236}">
                <a16:creationId xmlns:a16="http://schemas.microsoft.com/office/drawing/2014/main" id="{F69D77F9-A38A-0A4A-8F6A-1831783DCA6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a:extLst>
              <a:ext uri="{FF2B5EF4-FFF2-40B4-BE49-F238E27FC236}">
                <a16:creationId xmlns:a16="http://schemas.microsoft.com/office/drawing/2014/main" id="{297BE025-73BC-4FBB-BD06-26EA5C34278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475319" y="4332386"/>
            <a:ext cx="1689394" cy="312049"/>
          </a:xfrm>
          <a:prstGeom prst="rect">
            <a:avLst/>
          </a:prstGeom>
        </p:spPr>
      </p:pic>
    </p:spTree>
    <p:extLst>
      <p:ext uri="{BB962C8B-B14F-4D97-AF65-F5344CB8AC3E}">
        <p14:creationId xmlns:p14="http://schemas.microsoft.com/office/powerpoint/2010/main" val="2437070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18" name="Tekstvak 21">
            <a:extLst>
              <a:ext uri="{FF2B5EF4-FFF2-40B4-BE49-F238E27FC236}">
                <a16:creationId xmlns:a16="http://schemas.microsoft.com/office/drawing/2014/main" id="{614077E3-32D7-4042-876C-7DAB5E1231B3}"/>
              </a:ext>
            </a:extLst>
          </p:cNvPr>
          <p:cNvSpPr txBox="1"/>
          <p:nvPr userDrawn="1"/>
        </p:nvSpPr>
        <p:spPr bwMode="auto">
          <a:xfrm>
            <a:off x="-2921308" y="0"/>
            <a:ext cx="2670175" cy="6876002"/>
          </a:xfrm>
          <a:prstGeom prst="rect">
            <a:avLst/>
          </a:prstGeom>
          <a:solidFill>
            <a:schemeClr val="bg1">
              <a:lumMod val="95000"/>
            </a:schemeClr>
          </a:solidFill>
        </p:spPr>
        <p:txBody>
          <a:bodyPr lIns="90000"/>
          <a:lstStyle/>
          <a:p>
            <a:pPr fontAlgn="auto">
              <a:spcBef>
                <a:spcPts val="0"/>
              </a:spcBef>
              <a:spcAft>
                <a:spcPts val="0"/>
              </a:spcAft>
              <a:defRPr/>
            </a:pPr>
            <a:r>
              <a:rPr lang="en-GB" sz="1400" b="1" noProof="0" dirty="0">
                <a:solidFill>
                  <a:schemeClr val="tx2"/>
                </a:solidFill>
                <a:latin typeface="+mn-lt"/>
                <a:cs typeface="+mn-cs"/>
              </a:rPr>
              <a:t>Change list levels</a:t>
            </a: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noProof="0" dirty="0">
                <a:solidFill>
                  <a:schemeClr val="tx2"/>
                </a:solidFill>
                <a:latin typeface="+mn-lt"/>
                <a:cs typeface="+mn-cs"/>
              </a:rPr>
              <a:t>Please your cursor at the beginning of a sentence. Go to ‘Home’ tab and click the indent buttons to decrease or increase the list levels. </a:t>
            </a:r>
            <a:endParaRPr lang="en-GB" sz="1200" noProof="0" dirty="0">
              <a:solidFill>
                <a:schemeClr val="tx2"/>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latin typeface="+mn-lt"/>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latin typeface="+mn-lt"/>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noProof="0" dirty="0">
                <a:solidFill>
                  <a:schemeClr val="tx2"/>
                </a:solidFill>
              </a:rPr>
              <a:t>The textbox has 2 list level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noProof="0" dirty="0">
              <a:solidFill>
                <a:schemeClr val="tx2"/>
              </a:solidFill>
              <a:latin typeface="+mn-lt"/>
              <a:cs typeface="+mn-cs"/>
            </a:endParaRPr>
          </a:p>
          <a:p>
            <a:pPr>
              <a:defRPr/>
            </a:pPr>
            <a:r>
              <a:rPr lang="en-GB" sz="1200" b="1" noProof="0" dirty="0">
                <a:solidFill>
                  <a:schemeClr val="tx2"/>
                </a:solidFill>
              </a:rPr>
              <a:t>Bold text (Header)</a:t>
            </a:r>
            <a:br>
              <a:rPr lang="en-GB" sz="1200" noProof="0" dirty="0">
                <a:solidFill>
                  <a:schemeClr val="tx2"/>
                </a:solidFill>
              </a:rPr>
            </a:br>
            <a:r>
              <a:rPr lang="en-GB" sz="1200" noProof="0" dirty="0">
                <a:solidFill>
                  <a:schemeClr val="tx2"/>
                </a:solidFill>
              </a:rPr>
              <a:t>Arial, 40pt, 80% dark grey</a:t>
            </a:r>
          </a:p>
          <a:p>
            <a:pPr>
              <a:defRPr/>
            </a:pPr>
            <a:endParaRPr lang="en-GB" sz="1200" noProof="0" dirty="0">
              <a:solidFill>
                <a:schemeClr val="tx2"/>
              </a:solidFill>
            </a:endParaRPr>
          </a:p>
          <a:p>
            <a:pPr>
              <a:defRPr/>
            </a:pPr>
            <a:r>
              <a:rPr lang="en-GB" sz="1200" noProof="0" dirty="0">
                <a:solidFill>
                  <a:schemeClr val="tx2"/>
                </a:solidFill>
              </a:rPr>
              <a:t>Regular text (Sub header)</a:t>
            </a:r>
            <a:br>
              <a:rPr lang="en-GB" sz="1200" noProof="0" dirty="0">
                <a:solidFill>
                  <a:schemeClr val="tx2"/>
                </a:solidFill>
              </a:rPr>
            </a:br>
            <a:r>
              <a:rPr lang="en-GB" sz="1200" noProof="0" dirty="0">
                <a:solidFill>
                  <a:schemeClr val="tx2"/>
                </a:solidFill>
              </a:rPr>
              <a:t>Arial, 40pt, 80% dark grey</a:t>
            </a:r>
          </a:p>
          <a:p>
            <a:pPr>
              <a:defRPr/>
            </a:pPr>
            <a:endParaRPr lang="en-GB" sz="1200" noProof="0" dirty="0">
              <a:solidFill>
                <a:schemeClr val="tx2"/>
              </a:solidFill>
            </a:endParaRPr>
          </a:p>
          <a:p>
            <a:pPr marL="0" indent="0" algn="l">
              <a:spcAft>
                <a:spcPts val="600"/>
              </a:spcAft>
              <a:buFont typeface="Arial" panose="020B0604020202020204" pitchFamily="34" charset="0"/>
              <a:buNone/>
            </a:pPr>
            <a:r>
              <a:rPr lang="en-GB" sz="1400" b="1" noProof="0" dirty="0">
                <a:solidFill>
                  <a:schemeClr val="tx2"/>
                </a:solidFill>
                <a:latin typeface="+mn-lt"/>
                <a:cs typeface="+mn-cs"/>
              </a:rPr>
              <a:t>Reduce file size</a:t>
            </a:r>
          </a:p>
          <a:p>
            <a:pPr marL="0" indent="0" algn="l">
              <a:spcAft>
                <a:spcPts val="600"/>
              </a:spcAft>
              <a:buFont typeface="Arial" panose="020B0604020202020204" pitchFamily="34" charset="0"/>
              <a:buNone/>
            </a:pPr>
            <a:r>
              <a:rPr lang="en-GB" sz="1200" b="0" noProof="0" dirty="0">
                <a:solidFill>
                  <a:schemeClr val="tx2"/>
                </a:solidFill>
                <a:latin typeface="+mn-lt"/>
                <a:cs typeface="+mn-cs"/>
              </a:rPr>
              <a:t>Prevent big file sizes by compressing your images. Double click on any photo (except title slides) and click Compress Pictures.</a:t>
            </a: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0" indent="0" algn="l">
              <a:spcAft>
                <a:spcPts val="600"/>
              </a:spcAft>
              <a:buFont typeface="Arial" panose="020B0604020202020204" pitchFamily="34" charset="0"/>
              <a:buNone/>
            </a:pPr>
            <a:endParaRPr lang="en-GB" sz="1200" b="0" noProof="0" dirty="0">
              <a:solidFill>
                <a:schemeClr val="tx2"/>
              </a:solidFill>
              <a:latin typeface="+mn-lt"/>
              <a:cs typeface="+mn-cs"/>
            </a:endParaRPr>
          </a:p>
          <a:p>
            <a:pPr marL="228600" indent="-228600" algn="l">
              <a:spcAft>
                <a:spcPts val="600"/>
              </a:spcAft>
              <a:buFont typeface="+mj-lt"/>
              <a:buAutoNum type="arabicPeriod"/>
            </a:pPr>
            <a:r>
              <a:rPr lang="en-GB" sz="1200" noProof="0" dirty="0">
                <a:solidFill>
                  <a:schemeClr val="tx2"/>
                </a:solidFill>
              </a:rPr>
              <a:t>Choose Print (220 ppi) </a:t>
            </a:r>
            <a:br>
              <a:rPr lang="en-GB" sz="1200" noProof="0" dirty="0">
                <a:solidFill>
                  <a:schemeClr val="tx2"/>
                </a:solidFill>
              </a:rPr>
            </a:br>
            <a:r>
              <a:rPr lang="en-GB" sz="1200" noProof="0" dirty="0">
                <a:solidFill>
                  <a:schemeClr val="tx2"/>
                </a:solidFill>
              </a:rPr>
              <a:t>in case of screen-prints.</a:t>
            </a:r>
          </a:p>
          <a:p>
            <a:pPr marL="228600" indent="-228600" algn="l">
              <a:spcAft>
                <a:spcPts val="600"/>
              </a:spcAft>
              <a:buFont typeface="+mj-lt"/>
              <a:buAutoNum type="arabicPeriod"/>
            </a:pPr>
            <a:r>
              <a:rPr lang="en-GB" sz="1200" noProof="0" dirty="0">
                <a:solidFill>
                  <a:schemeClr val="tx2"/>
                </a:solidFill>
              </a:rPr>
              <a:t>Choose Web (150 ppi) </a:t>
            </a:r>
            <a:br>
              <a:rPr lang="en-GB" sz="1200" noProof="0" dirty="0">
                <a:solidFill>
                  <a:schemeClr val="tx2"/>
                </a:solidFill>
              </a:rPr>
            </a:br>
            <a:r>
              <a:rPr lang="en-GB" sz="1200" noProof="0" dirty="0">
                <a:solidFill>
                  <a:schemeClr val="tx2"/>
                </a:solidFill>
              </a:rPr>
              <a:t>for all other images.</a:t>
            </a:r>
          </a:p>
          <a:p>
            <a:pPr marL="228600" indent="-228600" algn="l">
              <a:spcAft>
                <a:spcPts val="600"/>
              </a:spcAft>
              <a:buFont typeface="+mj-lt"/>
              <a:buAutoNum type="arabicPeriod"/>
            </a:pPr>
            <a:r>
              <a:rPr lang="en-GB" sz="1200" noProof="0" dirty="0">
                <a:solidFill>
                  <a:schemeClr val="tx2"/>
                </a:solidFill>
              </a:rPr>
              <a:t>Un-tick ‘Apply only to this picture’ if you want to compress all the images in your presentation.</a:t>
            </a:r>
          </a:p>
          <a:p>
            <a:pPr marL="228600" indent="-228600" algn="l">
              <a:spcAft>
                <a:spcPts val="600"/>
              </a:spcAft>
              <a:buFont typeface="+mj-lt"/>
              <a:buAutoNum type="arabicPeriod"/>
            </a:pPr>
            <a:r>
              <a:rPr lang="en-GB" sz="1200" noProof="0" dirty="0">
                <a:solidFill>
                  <a:schemeClr val="tx2"/>
                </a:solidFill>
              </a:rPr>
              <a:t>Click OK.</a:t>
            </a:r>
          </a:p>
          <a:p>
            <a:pPr marL="228600" indent="-228600">
              <a:buFont typeface="+mj-lt"/>
              <a:buAutoNum type="arabicPeriod"/>
              <a:defRPr/>
            </a:pPr>
            <a:endParaRPr lang="en-GB" sz="1050" b="1" noProof="0" dirty="0">
              <a:solidFill>
                <a:schemeClr val="tx2"/>
              </a:solidFill>
            </a:endParaRPr>
          </a:p>
        </p:txBody>
      </p:sp>
      <p:sp>
        <p:nvSpPr>
          <p:cNvPr id="34" name="Picture Placeholder 33">
            <a:extLst>
              <a:ext uri="{FF2B5EF4-FFF2-40B4-BE49-F238E27FC236}">
                <a16:creationId xmlns:a16="http://schemas.microsoft.com/office/drawing/2014/main" id="{6E5029C7-EBC7-4DC8-A9E0-20DFDA7868A6}"/>
              </a:ext>
            </a:extLst>
          </p:cNvPr>
          <p:cNvSpPr>
            <a:spLocks noGrp="1"/>
          </p:cNvSpPr>
          <p:nvPr>
            <p:ph type="pic" sz="quarter" idx="13"/>
          </p:nvPr>
        </p:nvSpPr>
        <p:spPr>
          <a:xfrm>
            <a:off x="7" y="5"/>
            <a:ext cx="12191995" cy="6875997"/>
          </a:xfrm>
          <a:custGeom>
            <a:avLst/>
            <a:gdLst>
              <a:gd name="connsiteX0" fmla="*/ 11039468 w 12191995"/>
              <a:gd name="connsiteY0" fmla="*/ 6562722 h 6875997"/>
              <a:gd name="connsiteX1" fmla="*/ 11033982 w 12191995"/>
              <a:gd name="connsiteY1" fmla="*/ 6564080 h 6875997"/>
              <a:gd name="connsiteX2" fmla="*/ 10915338 w 12191995"/>
              <a:gd name="connsiteY2" fmla="*/ 6583760 h 6875997"/>
              <a:gd name="connsiteX3" fmla="*/ 10909852 w 12191995"/>
              <a:gd name="connsiteY3" fmla="*/ 6585796 h 6875997"/>
              <a:gd name="connsiteX4" fmla="*/ 10878991 w 12191995"/>
              <a:gd name="connsiteY4" fmla="*/ 6608869 h 6875997"/>
              <a:gd name="connsiteX5" fmla="*/ 10993519 w 12191995"/>
              <a:gd name="connsiteY5" fmla="*/ 6608869 h 6875997"/>
              <a:gd name="connsiteX6" fmla="*/ 10981861 w 12191995"/>
              <a:gd name="connsiteY6" fmla="*/ 6615655 h 6875997"/>
              <a:gd name="connsiteX7" fmla="*/ 10894764 w 12191995"/>
              <a:gd name="connsiteY7" fmla="*/ 6630585 h 6875997"/>
              <a:gd name="connsiteX8" fmla="*/ 10889278 w 12191995"/>
              <a:gd name="connsiteY8" fmla="*/ 6632621 h 6875997"/>
              <a:gd name="connsiteX9" fmla="*/ 10868018 w 12191995"/>
              <a:gd name="connsiteY9" fmla="*/ 6648908 h 6875997"/>
              <a:gd name="connsiteX10" fmla="*/ 10937284 w 12191995"/>
              <a:gd name="connsiteY10" fmla="*/ 6644157 h 6875997"/>
              <a:gd name="connsiteX11" fmla="*/ 11039468 w 12191995"/>
              <a:gd name="connsiteY11" fmla="*/ 6562722 h 6875997"/>
              <a:gd name="connsiteX12" fmla="*/ 10791888 w 12191995"/>
              <a:gd name="connsiteY12" fmla="*/ 6557959 h 6875997"/>
              <a:gd name="connsiteX13" fmla="*/ 10790507 w 12191995"/>
              <a:gd name="connsiteY13" fmla="*/ 6594018 h 6875997"/>
              <a:gd name="connsiteX14" fmla="*/ 10866431 w 12191995"/>
              <a:gd name="connsiteY14" fmla="*/ 6648447 h 6875997"/>
              <a:gd name="connsiteX15" fmla="*/ 10866431 w 12191995"/>
              <a:gd name="connsiteY15" fmla="*/ 6557959 h 6875997"/>
              <a:gd name="connsiteX16" fmla="*/ 10791888 w 12191995"/>
              <a:gd name="connsiteY16" fmla="*/ 6557959 h 6875997"/>
              <a:gd name="connsiteX17" fmla="*/ 11578425 w 12191995"/>
              <a:gd name="connsiteY17" fmla="*/ 6519858 h 6875997"/>
              <a:gd name="connsiteX18" fmla="*/ 11604619 w 12191995"/>
              <a:gd name="connsiteY18" fmla="*/ 6543009 h 6875997"/>
              <a:gd name="connsiteX19" fmla="*/ 11599918 w 12191995"/>
              <a:gd name="connsiteY19" fmla="*/ 6551608 h 6875997"/>
              <a:gd name="connsiteX20" fmla="*/ 11552231 w 12191995"/>
              <a:gd name="connsiteY20" fmla="*/ 6551608 h 6875997"/>
              <a:gd name="connsiteX21" fmla="*/ 11552903 w 12191995"/>
              <a:gd name="connsiteY21" fmla="*/ 6543671 h 6875997"/>
              <a:gd name="connsiteX22" fmla="*/ 11578425 w 12191995"/>
              <a:gd name="connsiteY22" fmla="*/ 6519858 h 6875997"/>
              <a:gd name="connsiteX23" fmla="*/ 11218855 w 12191995"/>
              <a:gd name="connsiteY23" fmla="*/ 6519858 h 6875997"/>
              <a:gd name="connsiteX24" fmla="*/ 11245843 w 12191995"/>
              <a:gd name="connsiteY24" fmla="*/ 6543009 h 6875997"/>
              <a:gd name="connsiteX25" fmla="*/ 11240307 w 12191995"/>
              <a:gd name="connsiteY25" fmla="*/ 6551608 h 6875997"/>
              <a:gd name="connsiteX26" fmla="*/ 11191868 w 12191995"/>
              <a:gd name="connsiteY26" fmla="*/ 6551608 h 6875997"/>
              <a:gd name="connsiteX27" fmla="*/ 11191868 w 12191995"/>
              <a:gd name="connsiteY27" fmla="*/ 6543671 h 6875997"/>
              <a:gd name="connsiteX28" fmla="*/ 11218855 w 12191995"/>
              <a:gd name="connsiteY28" fmla="*/ 6519858 h 6875997"/>
              <a:gd name="connsiteX29" fmla="*/ 11625256 w 12191995"/>
              <a:gd name="connsiteY29" fmla="*/ 6503984 h 6875997"/>
              <a:gd name="connsiteX30" fmla="*/ 11640376 w 12191995"/>
              <a:gd name="connsiteY30" fmla="*/ 6520415 h 6875997"/>
              <a:gd name="connsiteX31" fmla="*/ 11674052 w 12191995"/>
              <a:gd name="connsiteY31" fmla="*/ 6520415 h 6875997"/>
              <a:gd name="connsiteX32" fmla="*/ 11674052 w 12191995"/>
              <a:gd name="connsiteY32" fmla="*/ 6613522 h 6875997"/>
              <a:gd name="connsiteX33" fmla="*/ 11700169 w 12191995"/>
              <a:gd name="connsiteY33" fmla="*/ 6613522 h 6875997"/>
              <a:gd name="connsiteX34" fmla="*/ 11700169 w 12191995"/>
              <a:gd name="connsiteY34" fmla="*/ 6520415 h 6875997"/>
              <a:gd name="connsiteX35" fmla="*/ 11737969 w 12191995"/>
              <a:gd name="connsiteY35" fmla="*/ 6520415 h 6875997"/>
              <a:gd name="connsiteX36" fmla="*/ 11737969 w 12191995"/>
              <a:gd name="connsiteY36" fmla="*/ 6503984 h 6875997"/>
              <a:gd name="connsiteX37" fmla="*/ 11625256 w 12191995"/>
              <a:gd name="connsiteY37" fmla="*/ 6503984 h 6875997"/>
              <a:gd name="connsiteX38" fmla="*/ 11426949 w 12191995"/>
              <a:gd name="connsiteY38" fmla="*/ 6503984 h 6875997"/>
              <a:gd name="connsiteX39" fmla="*/ 11407768 w 12191995"/>
              <a:gd name="connsiteY39" fmla="*/ 6523153 h 6875997"/>
              <a:gd name="connsiteX40" fmla="*/ 11407768 w 12191995"/>
              <a:gd name="connsiteY40" fmla="*/ 6613522 h 6875997"/>
              <a:gd name="connsiteX41" fmla="*/ 11433799 w 12191995"/>
              <a:gd name="connsiteY41" fmla="*/ 6613522 h 6875997"/>
              <a:gd name="connsiteX42" fmla="*/ 11433799 w 12191995"/>
              <a:gd name="connsiteY42" fmla="*/ 6525207 h 6875997"/>
              <a:gd name="connsiteX43" fmla="*/ 11439279 w 12191995"/>
              <a:gd name="connsiteY43" fmla="*/ 6520415 h 6875997"/>
              <a:gd name="connsiteX44" fmla="*/ 11459830 w 12191995"/>
              <a:gd name="connsiteY44" fmla="*/ 6520415 h 6875997"/>
              <a:gd name="connsiteX45" fmla="*/ 11481750 w 12191995"/>
              <a:gd name="connsiteY45" fmla="*/ 6543692 h 6875997"/>
              <a:gd name="connsiteX46" fmla="*/ 11481750 w 12191995"/>
              <a:gd name="connsiteY46" fmla="*/ 6613522 h 6875997"/>
              <a:gd name="connsiteX47" fmla="*/ 11507781 w 12191995"/>
              <a:gd name="connsiteY47" fmla="*/ 6613522 h 6875997"/>
              <a:gd name="connsiteX48" fmla="*/ 11507781 w 12191995"/>
              <a:gd name="connsiteY48" fmla="*/ 6541638 h 6875997"/>
              <a:gd name="connsiteX49" fmla="*/ 11463940 w 12191995"/>
              <a:gd name="connsiteY49" fmla="*/ 6503984 h 6875997"/>
              <a:gd name="connsiteX50" fmla="*/ 11426949 w 12191995"/>
              <a:gd name="connsiteY50" fmla="*/ 6503984 h 6875997"/>
              <a:gd name="connsiteX51" fmla="*/ 11307887 w 12191995"/>
              <a:gd name="connsiteY51" fmla="*/ 6503984 h 6875997"/>
              <a:gd name="connsiteX52" fmla="*/ 11288706 w 12191995"/>
              <a:gd name="connsiteY52" fmla="*/ 6523153 h 6875997"/>
              <a:gd name="connsiteX53" fmla="*/ 11288706 w 12191995"/>
              <a:gd name="connsiteY53" fmla="*/ 6613522 h 6875997"/>
              <a:gd name="connsiteX54" fmla="*/ 11314737 w 12191995"/>
              <a:gd name="connsiteY54" fmla="*/ 6613522 h 6875997"/>
              <a:gd name="connsiteX55" fmla="*/ 11314737 w 12191995"/>
              <a:gd name="connsiteY55" fmla="*/ 6525207 h 6875997"/>
              <a:gd name="connsiteX56" fmla="*/ 11320217 w 12191995"/>
              <a:gd name="connsiteY56" fmla="*/ 6520415 h 6875997"/>
              <a:gd name="connsiteX57" fmla="*/ 11340768 w 12191995"/>
              <a:gd name="connsiteY57" fmla="*/ 6520415 h 6875997"/>
              <a:gd name="connsiteX58" fmla="*/ 11362688 w 12191995"/>
              <a:gd name="connsiteY58" fmla="*/ 6543692 h 6875997"/>
              <a:gd name="connsiteX59" fmla="*/ 11362688 w 12191995"/>
              <a:gd name="connsiteY59" fmla="*/ 6613522 h 6875997"/>
              <a:gd name="connsiteX60" fmla="*/ 11388719 w 12191995"/>
              <a:gd name="connsiteY60" fmla="*/ 6613522 h 6875997"/>
              <a:gd name="connsiteX61" fmla="*/ 11388719 w 12191995"/>
              <a:gd name="connsiteY61" fmla="*/ 6541638 h 6875997"/>
              <a:gd name="connsiteX62" fmla="*/ 11344878 w 12191995"/>
              <a:gd name="connsiteY62" fmla="*/ 6503984 h 6875997"/>
              <a:gd name="connsiteX63" fmla="*/ 11307887 w 12191995"/>
              <a:gd name="connsiteY63" fmla="*/ 6503984 h 6875997"/>
              <a:gd name="connsiteX64" fmla="*/ 11055343 w 12191995"/>
              <a:gd name="connsiteY64" fmla="*/ 6503984 h 6875997"/>
              <a:gd name="connsiteX65" fmla="*/ 11062856 w 12191995"/>
              <a:gd name="connsiteY65" fmla="*/ 6520415 h 6875997"/>
              <a:gd name="connsiteX66" fmla="*/ 11098372 w 12191995"/>
              <a:gd name="connsiteY66" fmla="*/ 6520415 h 6875997"/>
              <a:gd name="connsiteX67" fmla="*/ 11098372 w 12191995"/>
              <a:gd name="connsiteY67" fmla="*/ 6613522 h 6875997"/>
              <a:gd name="connsiteX68" fmla="*/ 11125008 w 12191995"/>
              <a:gd name="connsiteY68" fmla="*/ 6613522 h 6875997"/>
              <a:gd name="connsiteX69" fmla="*/ 11125008 w 12191995"/>
              <a:gd name="connsiteY69" fmla="*/ 6520415 h 6875997"/>
              <a:gd name="connsiteX70" fmla="*/ 11158475 w 12191995"/>
              <a:gd name="connsiteY70" fmla="*/ 6520415 h 6875997"/>
              <a:gd name="connsiteX71" fmla="*/ 11172818 w 12191995"/>
              <a:gd name="connsiteY71" fmla="*/ 6503984 h 6875997"/>
              <a:gd name="connsiteX72" fmla="*/ 11055343 w 12191995"/>
              <a:gd name="connsiteY72" fmla="*/ 6503984 h 6875997"/>
              <a:gd name="connsiteX73" fmla="*/ 11576751 w 12191995"/>
              <a:gd name="connsiteY73" fmla="*/ 6503134 h 6875997"/>
              <a:gd name="connsiteX74" fmla="*/ 11539183 w 12191995"/>
              <a:gd name="connsiteY74" fmla="*/ 6516912 h 6875997"/>
              <a:gd name="connsiteX75" fmla="*/ 11533022 w 12191995"/>
              <a:gd name="connsiteY75" fmla="*/ 6593792 h 6875997"/>
              <a:gd name="connsiteX76" fmla="*/ 11548083 w 12191995"/>
              <a:gd name="connsiteY76" fmla="*/ 6608760 h 6875997"/>
              <a:gd name="connsiteX77" fmla="*/ 11570675 w 12191995"/>
              <a:gd name="connsiteY77" fmla="*/ 6613522 h 6875997"/>
              <a:gd name="connsiteX78" fmla="*/ 11628183 w 12191995"/>
              <a:gd name="connsiteY78" fmla="*/ 6613522 h 6875997"/>
              <a:gd name="connsiteX79" fmla="*/ 11628183 w 12191995"/>
              <a:gd name="connsiteY79" fmla="*/ 6597874 h 6875997"/>
              <a:gd name="connsiteX80" fmla="*/ 11574783 w 12191995"/>
              <a:gd name="connsiteY80" fmla="*/ 6597874 h 6875997"/>
              <a:gd name="connsiteX81" fmla="*/ 11552876 w 12191995"/>
              <a:gd name="connsiteY81" fmla="*/ 6572020 h 6875997"/>
              <a:gd name="connsiteX82" fmla="*/ 11552191 w 12191995"/>
              <a:gd name="connsiteY82" fmla="*/ 6567938 h 6875997"/>
              <a:gd name="connsiteX83" fmla="*/ 11609698 w 12191995"/>
              <a:gd name="connsiteY83" fmla="*/ 6567938 h 6875997"/>
              <a:gd name="connsiteX84" fmla="*/ 11619283 w 12191995"/>
              <a:gd name="connsiteY84" fmla="*/ 6567258 h 6875997"/>
              <a:gd name="connsiteX85" fmla="*/ 11631606 w 12191995"/>
              <a:gd name="connsiteY85" fmla="*/ 6546847 h 6875997"/>
              <a:gd name="connsiteX86" fmla="*/ 11615860 w 12191995"/>
              <a:gd name="connsiteY86" fmla="*/ 6512829 h 6875997"/>
              <a:gd name="connsiteX87" fmla="*/ 11576751 w 12191995"/>
              <a:gd name="connsiteY87" fmla="*/ 6503134 h 6875997"/>
              <a:gd name="connsiteX88" fmla="*/ 11215941 w 12191995"/>
              <a:gd name="connsiteY88" fmla="*/ 6503134 h 6875997"/>
              <a:gd name="connsiteX89" fmla="*/ 11177481 w 12191995"/>
              <a:gd name="connsiteY89" fmla="*/ 6516912 h 6875997"/>
              <a:gd name="connsiteX90" fmla="*/ 11171231 w 12191995"/>
              <a:gd name="connsiteY90" fmla="*/ 6593792 h 6875997"/>
              <a:gd name="connsiteX91" fmla="*/ 11187205 w 12191995"/>
              <a:gd name="connsiteY91" fmla="*/ 6608760 h 6875997"/>
              <a:gd name="connsiteX92" fmla="*/ 11209430 w 12191995"/>
              <a:gd name="connsiteY92" fmla="*/ 6613522 h 6875997"/>
              <a:gd name="connsiteX93" fmla="*/ 11267770 w 12191995"/>
              <a:gd name="connsiteY93" fmla="*/ 6613522 h 6875997"/>
              <a:gd name="connsiteX94" fmla="*/ 11267770 w 12191995"/>
              <a:gd name="connsiteY94" fmla="*/ 6597874 h 6875997"/>
              <a:gd name="connsiteX95" fmla="*/ 11213597 w 12191995"/>
              <a:gd name="connsiteY95" fmla="*/ 6597874 h 6875997"/>
              <a:gd name="connsiteX96" fmla="*/ 11191372 w 12191995"/>
              <a:gd name="connsiteY96" fmla="*/ 6572020 h 6875997"/>
              <a:gd name="connsiteX97" fmla="*/ 11191372 w 12191995"/>
              <a:gd name="connsiteY97" fmla="*/ 6567938 h 6875997"/>
              <a:gd name="connsiteX98" fmla="*/ 11249713 w 12191995"/>
              <a:gd name="connsiteY98" fmla="*/ 6567938 h 6875997"/>
              <a:gd name="connsiteX99" fmla="*/ 11258741 w 12191995"/>
              <a:gd name="connsiteY99" fmla="*/ 6567258 h 6875997"/>
              <a:gd name="connsiteX100" fmla="*/ 11271243 w 12191995"/>
              <a:gd name="connsiteY100" fmla="*/ 6546847 h 6875997"/>
              <a:gd name="connsiteX101" fmla="*/ 11255963 w 12191995"/>
              <a:gd name="connsiteY101" fmla="*/ 6512829 h 6875997"/>
              <a:gd name="connsiteX102" fmla="*/ 11215941 w 12191995"/>
              <a:gd name="connsiteY102" fmla="*/ 6503134 h 6875997"/>
              <a:gd name="connsiteX103" fmla="*/ 10943122 w 12191995"/>
              <a:gd name="connsiteY103" fmla="*/ 6471560 h 6875997"/>
              <a:gd name="connsiteX104" fmla="*/ 10892671 w 12191995"/>
              <a:gd name="connsiteY104" fmla="*/ 6477989 h 6875997"/>
              <a:gd name="connsiteX105" fmla="*/ 10798168 w 12191995"/>
              <a:gd name="connsiteY105" fmla="*/ 6544289 h 6875997"/>
              <a:gd name="connsiteX106" fmla="*/ 10954988 w 12191995"/>
              <a:gd name="connsiteY106" fmla="*/ 6519683 h 6875997"/>
              <a:gd name="connsiteX107" fmla="*/ 10904313 w 12191995"/>
              <a:gd name="connsiteY107" fmla="*/ 6557959 h 6875997"/>
              <a:gd name="connsiteX108" fmla="*/ 11039904 w 12191995"/>
              <a:gd name="connsiteY108" fmla="*/ 6557959 h 6875997"/>
              <a:gd name="connsiteX109" fmla="*/ 11039904 w 12191995"/>
              <a:gd name="connsiteY109" fmla="*/ 6527885 h 6875997"/>
              <a:gd name="connsiteX110" fmla="*/ 10943122 w 12191995"/>
              <a:gd name="connsiteY110" fmla="*/ 6471560 h 6875997"/>
              <a:gd name="connsiteX111" fmla="*/ 11132680 w 12191995"/>
              <a:gd name="connsiteY111" fmla="*/ 5561951 h 6875997"/>
              <a:gd name="connsiteX112" fmla="*/ 11847706 w 12191995"/>
              <a:gd name="connsiteY112" fmla="*/ 5561951 h 6875997"/>
              <a:gd name="connsiteX113" fmla="*/ 11847706 w 12191995"/>
              <a:gd name="connsiteY113" fmla="*/ 6277686 h 6875997"/>
              <a:gd name="connsiteX114" fmla="*/ 11132680 w 12191995"/>
              <a:gd name="connsiteY114" fmla="*/ 6277686 h 6875997"/>
              <a:gd name="connsiteX115" fmla="*/ 10414061 w 12191995"/>
              <a:gd name="connsiteY115" fmla="*/ 5561951 h 6875997"/>
              <a:gd name="connsiteX116" fmla="*/ 11129080 w 12191995"/>
              <a:gd name="connsiteY116" fmla="*/ 5561951 h 6875997"/>
              <a:gd name="connsiteX117" fmla="*/ 11129080 w 12191995"/>
              <a:gd name="connsiteY117" fmla="*/ 6277686 h 6875997"/>
              <a:gd name="connsiteX118" fmla="*/ 10414061 w 12191995"/>
              <a:gd name="connsiteY118" fmla="*/ 6277686 h 6875997"/>
              <a:gd name="connsiteX119" fmla="*/ 9695442 w 12191995"/>
              <a:gd name="connsiteY119" fmla="*/ 5561951 h 6875997"/>
              <a:gd name="connsiteX120" fmla="*/ 10410461 w 12191995"/>
              <a:gd name="connsiteY120" fmla="*/ 5561951 h 6875997"/>
              <a:gd name="connsiteX121" fmla="*/ 10410461 w 12191995"/>
              <a:gd name="connsiteY121" fmla="*/ 6277686 h 6875997"/>
              <a:gd name="connsiteX122" fmla="*/ 9695442 w 12191995"/>
              <a:gd name="connsiteY122" fmla="*/ 6277686 h 6875997"/>
              <a:gd name="connsiteX123" fmla="*/ 8976823 w 12191995"/>
              <a:gd name="connsiteY123" fmla="*/ 5561951 h 6875997"/>
              <a:gd name="connsiteX124" fmla="*/ 9691842 w 12191995"/>
              <a:gd name="connsiteY124" fmla="*/ 5561951 h 6875997"/>
              <a:gd name="connsiteX125" fmla="*/ 9691842 w 12191995"/>
              <a:gd name="connsiteY125" fmla="*/ 6277686 h 6875997"/>
              <a:gd name="connsiteX126" fmla="*/ 8976823 w 12191995"/>
              <a:gd name="connsiteY126" fmla="*/ 6277686 h 6875997"/>
              <a:gd name="connsiteX127" fmla="*/ 8258205 w 12191995"/>
              <a:gd name="connsiteY127" fmla="*/ 5561951 h 6875997"/>
              <a:gd name="connsiteX128" fmla="*/ 8973223 w 12191995"/>
              <a:gd name="connsiteY128" fmla="*/ 5561951 h 6875997"/>
              <a:gd name="connsiteX129" fmla="*/ 8973223 w 12191995"/>
              <a:gd name="connsiteY129" fmla="*/ 6277686 h 6875997"/>
              <a:gd name="connsiteX130" fmla="*/ 8258205 w 12191995"/>
              <a:gd name="connsiteY130" fmla="*/ 6277686 h 6875997"/>
              <a:gd name="connsiteX131" fmla="*/ 7539586 w 12191995"/>
              <a:gd name="connsiteY131" fmla="*/ 5561951 h 6875997"/>
              <a:gd name="connsiteX132" fmla="*/ 8254605 w 12191995"/>
              <a:gd name="connsiteY132" fmla="*/ 5561951 h 6875997"/>
              <a:gd name="connsiteX133" fmla="*/ 8254605 w 12191995"/>
              <a:gd name="connsiteY133" fmla="*/ 6277686 h 6875997"/>
              <a:gd name="connsiteX134" fmla="*/ 7539586 w 12191995"/>
              <a:gd name="connsiteY134" fmla="*/ 6277686 h 6875997"/>
              <a:gd name="connsiteX135" fmla="*/ 6820967 w 12191995"/>
              <a:gd name="connsiteY135" fmla="*/ 5561951 h 6875997"/>
              <a:gd name="connsiteX136" fmla="*/ 7535986 w 12191995"/>
              <a:gd name="connsiteY136" fmla="*/ 5561951 h 6875997"/>
              <a:gd name="connsiteX137" fmla="*/ 7535986 w 12191995"/>
              <a:gd name="connsiteY137" fmla="*/ 6277686 h 6875997"/>
              <a:gd name="connsiteX138" fmla="*/ 6820967 w 12191995"/>
              <a:gd name="connsiteY138" fmla="*/ 6277686 h 6875997"/>
              <a:gd name="connsiteX139" fmla="*/ 6102348 w 12191995"/>
              <a:gd name="connsiteY139" fmla="*/ 5561951 h 6875997"/>
              <a:gd name="connsiteX140" fmla="*/ 6817367 w 12191995"/>
              <a:gd name="connsiteY140" fmla="*/ 5561951 h 6875997"/>
              <a:gd name="connsiteX141" fmla="*/ 6817367 w 12191995"/>
              <a:gd name="connsiteY141" fmla="*/ 6277686 h 6875997"/>
              <a:gd name="connsiteX142" fmla="*/ 6102348 w 12191995"/>
              <a:gd name="connsiteY142" fmla="*/ 6277686 h 6875997"/>
              <a:gd name="connsiteX143" fmla="*/ 5383731 w 12191995"/>
              <a:gd name="connsiteY143" fmla="*/ 5561951 h 6875997"/>
              <a:gd name="connsiteX144" fmla="*/ 6098748 w 12191995"/>
              <a:gd name="connsiteY144" fmla="*/ 5561951 h 6875997"/>
              <a:gd name="connsiteX145" fmla="*/ 6098748 w 12191995"/>
              <a:gd name="connsiteY145" fmla="*/ 6277686 h 6875997"/>
              <a:gd name="connsiteX146" fmla="*/ 5383731 w 12191995"/>
              <a:gd name="connsiteY146" fmla="*/ 6277686 h 6875997"/>
              <a:gd name="connsiteX147" fmla="*/ 4665112 w 12191995"/>
              <a:gd name="connsiteY147" fmla="*/ 5561951 h 6875997"/>
              <a:gd name="connsiteX148" fmla="*/ 5380131 w 12191995"/>
              <a:gd name="connsiteY148" fmla="*/ 5561951 h 6875997"/>
              <a:gd name="connsiteX149" fmla="*/ 5380131 w 12191995"/>
              <a:gd name="connsiteY149" fmla="*/ 6277686 h 6875997"/>
              <a:gd name="connsiteX150" fmla="*/ 4665112 w 12191995"/>
              <a:gd name="connsiteY150" fmla="*/ 6277686 h 6875997"/>
              <a:gd name="connsiteX151" fmla="*/ 3946497 w 12191995"/>
              <a:gd name="connsiteY151" fmla="*/ 5561951 h 6875997"/>
              <a:gd name="connsiteX152" fmla="*/ 4661513 w 12191995"/>
              <a:gd name="connsiteY152" fmla="*/ 5561951 h 6875997"/>
              <a:gd name="connsiteX153" fmla="*/ 4661513 w 12191995"/>
              <a:gd name="connsiteY153" fmla="*/ 6277686 h 6875997"/>
              <a:gd name="connsiteX154" fmla="*/ 3946497 w 12191995"/>
              <a:gd name="connsiteY154" fmla="*/ 6277686 h 6875997"/>
              <a:gd name="connsiteX155" fmla="*/ 3227878 w 12191995"/>
              <a:gd name="connsiteY155" fmla="*/ 5561951 h 6875997"/>
              <a:gd name="connsiteX156" fmla="*/ 3942896 w 12191995"/>
              <a:gd name="connsiteY156" fmla="*/ 5561951 h 6875997"/>
              <a:gd name="connsiteX157" fmla="*/ 3942896 w 12191995"/>
              <a:gd name="connsiteY157" fmla="*/ 6277686 h 6875997"/>
              <a:gd name="connsiteX158" fmla="*/ 3227878 w 12191995"/>
              <a:gd name="connsiteY158" fmla="*/ 6277686 h 6875997"/>
              <a:gd name="connsiteX159" fmla="*/ 2509257 w 12191995"/>
              <a:gd name="connsiteY159" fmla="*/ 5561951 h 6875997"/>
              <a:gd name="connsiteX160" fmla="*/ 3224277 w 12191995"/>
              <a:gd name="connsiteY160" fmla="*/ 5561951 h 6875997"/>
              <a:gd name="connsiteX161" fmla="*/ 3224277 w 12191995"/>
              <a:gd name="connsiteY161" fmla="*/ 6277686 h 6875997"/>
              <a:gd name="connsiteX162" fmla="*/ 2509257 w 12191995"/>
              <a:gd name="connsiteY162" fmla="*/ 6277686 h 6875997"/>
              <a:gd name="connsiteX163" fmla="*/ 1790637 w 12191995"/>
              <a:gd name="connsiteY163" fmla="*/ 5561951 h 6875997"/>
              <a:gd name="connsiteX164" fmla="*/ 2505659 w 12191995"/>
              <a:gd name="connsiteY164" fmla="*/ 5561951 h 6875997"/>
              <a:gd name="connsiteX165" fmla="*/ 2505659 w 12191995"/>
              <a:gd name="connsiteY165" fmla="*/ 6277686 h 6875997"/>
              <a:gd name="connsiteX166" fmla="*/ 1790637 w 12191995"/>
              <a:gd name="connsiteY166" fmla="*/ 6277686 h 6875997"/>
              <a:gd name="connsiteX167" fmla="*/ 1072019 w 12191995"/>
              <a:gd name="connsiteY167" fmla="*/ 5561951 h 6875997"/>
              <a:gd name="connsiteX168" fmla="*/ 1787037 w 12191995"/>
              <a:gd name="connsiteY168" fmla="*/ 5561951 h 6875997"/>
              <a:gd name="connsiteX169" fmla="*/ 1787037 w 12191995"/>
              <a:gd name="connsiteY169" fmla="*/ 6277686 h 6875997"/>
              <a:gd name="connsiteX170" fmla="*/ 1072019 w 12191995"/>
              <a:gd name="connsiteY170" fmla="*/ 6277686 h 6875997"/>
              <a:gd name="connsiteX171" fmla="*/ 353400 w 12191995"/>
              <a:gd name="connsiteY171" fmla="*/ 5561951 h 6875997"/>
              <a:gd name="connsiteX172" fmla="*/ 1068419 w 12191995"/>
              <a:gd name="connsiteY172" fmla="*/ 5561951 h 6875997"/>
              <a:gd name="connsiteX173" fmla="*/ 1068419 w 12191995"/>
              <a:gd name="connsiteY173" fmla="*/ 6277686 h 6875997"/>
              <a:gd name="connsiteX174" fmla="*/ 353400 w 12191995"/>
              <a:gd name="connsiteY174" fmla="*/ 6277686 h 6875997"/>
              <a:gd name="connsiteX175" fmla="*/ 0 w 12191995"/>
              <a:gd name="connsiteY175" fmla="*/ 5561951 h 6875997"/>
              <a:gd name="connsiteX176" fmla="*/ 349800 w 12191995"/>
              <a:gd name="connsiteY176" fmla="*/ 5561951 h 6875997"/>
              <a:gd name="connsiteX177" fmla="*/ 349800 w 12191995"/>
              <a:gd name="connsiteY177" fmla="*/ 6277686 h 6875997"/>
              <a:gd name="connsiteX178" fmla="*/ 0 w 12191995"/>
              <a:gd name="connsiteY178" fmla="*/ 6277686 h 6875997"/>
              <a:gd name="connsiteX179" fmla="*/ 11132680 w 12191995"/>
              <a:gd name="connsiteY179" fmla="*/ 4842613 h 6875997"/>
              <a:gd name="connsiteX180" fmla="*/ 11847706 w 12191995"/>
              <a:gd name="connsiteY180" fmla="*/ 4842613 h 6875997"/>
              <a:gd name="connsiteX181" fmla="*/ 11847706 w 12191995"/>
              <a:gd name="connsiteY181" fmla="*/ 5558351 h 6875997"/>
              <a:gd name="connsiteX182" fmla="*/ 11132680 w 12191995"/>
              <a:gd name="connsiteY182" fmla="*/ 5558351 h 6875997"/>
              <a:gd name="connsiteX183" fmla="*/ 10414061 w 12191995"/>
              <a:gd name="connsiteY183" fmla="*/ 4842613 h 6875997"/>
              <a:gd name="connsiteX184" fmla="*/ 11129080 w 12191995"/>
              <a:gd name="connsiteY184" fmla="*/ 4842613 h 6875997"/>
              <a:gd name="connsiteX185" fmla="*/ 11129080 w 12191995"/>
              <a:gd name="connsiteY185" fmla="*/ 5558351 h 6875997"/>
              <a:gd name="connsiteX186" fmla="*/ 10414061 w 12191995"/>
              <a:gd name="connsiteY186" fmla="*/ 5558351 h 6875997"/>
              <a:gd name="connsiteX187" fmla="*/ 9695442 w 12191995"/>
              <a:gd name="connsiteY187" fmla="*/ 4842613 h 6875997"/>
              <a:gd name="connsiteX188" fmla="*/ 10410461 w 12191995"/>
              <a:gd name="connsiteY188" fmla="*/ 4842613 h 6875997"/>
              <a:gd name="connsiteX189" fmla="*/ 10410461 w 12191995"/>
              <a:gd name="connsiteY189" fmla="*/ 5558351 h 6875997"/>
              <a:gd name="connsiteX190" fmla="*/ 9695442 w 12191995"/>
              <a:gd name="connsiteY190" fmla="*/ 5558351 h 6875997"/>
              <a:gd name="connsiteX191" fmla="*/ 8976823 w 12191995"/>
              <a:gd name="connsiteY191" fmla="*/ 4842613 h 6875997"/>
              <a:gd name="connsiteX192" fmla="*/ 9691842 w 12191995"/>
              <a:gd name="connsiteY192" fmla="*/ 4842613 h 6875997"/>
              <a:gd name="connsiteX193" fmla="*/ 9691842 w 12191995"/>
              <a:gd name="connsiteY193" fmla="*/ 5558351 h 6875997"/>
              <a:gd name="connsiteX194" fmla="*/ 8976823 w 12191995"/>
              <a:gd name="connsiteY194" fmla="*/ 5558351 h 6875997"/>
              <a:gd name="connsiteX195" fmla="*/ 8258205 w 12191995"/>
              <a:gd name="connsiteY195" fmla="*/ 4842613 h 6875997"/>
              <a:gd name="connsiteX196" fmla="*/ 8973223 w 12191995"/>
              <a:gd name="connsiteY196" fmla="*/ 4842613 h 6875997"/>
              <a:gd name="connsiteX197" fmla="*/ 8973223 w 12191995"/>
              <a:gd name="connsiteY197" fmla="*/ 5558351 h 6875997"/>
              <a:gd name="connsiteX198" fmla="*/ 8258205 w 12191995"/>
              <a:gd name="connsiteY198" fmla="*/ 5558351 h 6875997"/>
              <a:gd name="connsiteX199" fmla="*/ 7539586 w 12191995"/>
              <a:gd name="connsiteY199" fmla="*/ 4842613 h 6875997"/>
              <a:gd name="connsiteX200" fmla="*/ 8254605 w 12191995"/>
              <a:gd name="connsiteY200" fmla="*/ 4842613 h 6875997"/>
              <a:gd name="connsiteX201" fmla="*/ 8254605 w 12191995"/>
              <a:gd name="connsiteY201" fmla="*/ 5558351 h 6875997"/>
              <a:gd name="connsiteX202" fmla="*/ 7539586 w 12191995"/>
              <a:gd name="connsiteY202" fmla="*/ 5558351 h 6875997"/>
              <a:gd name="connsiteX203" fmla="*/ 6820967 w 12191995"/>
              <a:gd name="connsiteY203" fmla="*/ 4842613 h 6875997"/>
              <a:gd name="connsiteX204" fmla="*/ 7535986 w 12191995"/>
              <a:gd name="connsiteY204" fmla="*/ 4842613 h 6875997"/>
              <a:gd name="connsiteX205" fmla="*/ 7535986 w 12191995"/>
              <a:gd name="connsiteY205" fmla="*/ 5558351 h 6875997"/>
              <a:gd name="connsiteX206" fmla="*/ 6820967 w 12191995"/>
              <a:gd name="connsiteY206" fmla="*/ 5558351 h 6875997"/>
              <a:gd name="connsiteX207" fmla="*/ 6102348 w 12191995"/>
              <a:gd name="connsiteY207" fmla="*/ 4842613 h 6875997"/>
              <a:gd name="connsiteX208" fmla="*/ 6817367 w 12191995"/>
              <a:gd name="connsiteY208" fmla="*/ 4842613 h 6875997"/>
              <a:gd name="connsiteX209" fmla="*/ 6817367 w 12191995"/>
              <a:gd name="connsiteY209" fmla="*/ 5558351 h 6875997"/>
              <a:gd name="connsiteX210" fmla="*/ 6102348 w 12191995"/>
              <a:gd name="connsiteY210" fmla="*/ 5558351 h 6875997"/>
              <a:gd name="connsiteX211" fmla="*/ 5383731 w 12191995"/>
              <a:gd name="connsiteY211" fmla="*/ 4842613 h 6875997"/>
              <a:gd name="connsiteX212" fmla="*/ 6098748 w 12191995"/>
              <a:gd name="connsiteY212" fmla="*/ 4842613 h 6875997"/>
              <a:gd name="connsiteX213" fmla="*/ 6098748 w 12191995"/>
              <a:gd name="connsiteY213" fmla="*/ 5558351 h 6875997"/>
              <a:gd name="connsiteX214" fmla="*/ 5383731 w 12191995"/>
              <a:gd name="connsiteY214" fmla="*/ 5558351 h 6875997"/>
              <a:gd name="connsiteX215" fmla="*/ 4665112 w 12191995"/>
              <a:gd name="connsiteY215" fmla="*/ 4842613 h 6875997"/>
              <a:gd name="connsiteX216" fmla="*/ 5380131 w 12191995"/>
              <a:gd name="connsiteY216" fmla="*/ 4842613 h 6875997"/>
              <a:gd name="connsiteX217" fmla="*/ 5380131 w 12191995"/>
              <a:gd name="connsiteY217" fmla="*/ 5558351 h 6875997"/>
              <a:gd name="connsiteX218" fmla="*/ 4665112 w 12191995"/>
              <a:gd name="connsiteY218" fmla="*/ 5558351 h 6875997"/>
              <a:gd name="connsiteX219" fmla="*/ 3946497 w 12191995"/>
              <a:gd name="connsiteY219" fmla="*/ 4842613 h 6875997"/>
              <a:gd name="connsiteX220" fmla="*/ 4661513 w 12191995"/>
              <a:gd name="connsiteY220" fmla="*/ 4842613 h 6875997"/>
              <a:gd name="connsiteX221" fmla="*/ 4661513 w 12191995"/>
              <a:gd name="connsiteY221" fmla="*/ 5558351 h 6875997"/>
              <a:gd name="connsiteX222" fmla="*/ 3946497 w 12191995"/>
              <a:gd name="connsiteY222" fmla="*/ 5558351 h 6875997"/>
              <a:gd name="connsiteX223" fmla="*/ 3227878 w 12191995"/>
              <a:gd name="connsiteY223" fmla="*/ 4842613 h 6875997"/>
              <a:gd name="connsiteX224" fmla="*/ 3942896 w 12191995"/>
              <a:gd name="connsiteY224" fmla="*/ 4842613 h 6875997"/>
              <a:gd name="connsiteX225" fmla="*/ 3942896 w 12191995"/>
              <a:gd name="connsiteY225" fmla="*/ 5558351 h 6875997"/>
              <a:gd name="connsiteX226" fmla="*/ 3227878 w 12191995"/>
              <a:gd name="connsiteY226" fmla="*/ 5558351 h 6875997"/>
              <a:gd name="connsiteX227" fmla="*/ 2509257 w 12191995"/>
              <a:gd name="connsiteY227" fmla="*/ 4842613 h 6875997"/>
              <a:gd name="connsiteX228" fmla="*/ 3224277 w 12191995"/>
              <a:gd name="connsiteY228" fmla="*/ 4842613 h 6875997"/>
              <a:gd name="connsiteX229" fmla="*/ 3224277 w 12191995"/>
              <a:gd name="connsiteY229" fmla="*/ 5558351 h 6875997"/>
              <a:gd name="connsiteX230" fmla="*/ 2509257 w 12191995"/>
              <a:gd name="connsiteY230" fmla="*/ 5558351 h 6875997"/>
              <a:gd name="connsiteX231" fmla="*/ 1790637 w 12191995"/>
              <a:gd name="connsiteY231" fmla="*/ 4842613 h 6875997"/>
              <a:gd name="connsiteX232" fmla="*/ 2505659 w 12191995"/>
              <a:gd name="connsiteY232" fmla="*/ 4842613 h 6875997"/>
              <a:gd name="connsiteX233" fmla="*/ 2505659 w 12191995"/>
              <a:gd name="connsiteY233" fmla="*/ 5558351 h 6875997"/>
              <a:gd name="connsiteX234" fmla="*/ 1790637 w 12191995"/>
              <a:gd name="connsiteY234" fmla="*/ 5558351 h 6875997"/>
              <a:gd name="connsiteX235" fmla="*/ 1072019 w 12191995"/>
              <a:gd name="connsiteY235" fmla="*/ 4842613 h 6875997"/>
              <a:gd name="connsiteX236" fmla="*/ 1787037 w 12191995"/>
              <a:gd name="connsiteY236" fmla="*/ 4842613 h 6875997"/>
              <a:gd name="connsiteX237" fmla="*/ 1787037 w 12191995"/>
              <a:gd name="connsiteY237" fmla="*/ 5558351 h 6875997"/>
              <a:gd name="connsiteX238" fmla="*/ 1072019 w 12191995"/>
              <a:gd name="connsiteY238" fmla="*/ 5558351 h 6875997"/>
              <a:gd name="connsiteX239" fmla="*/ 353400 w 12191995"/>
              <a:gd name="connsiteY239" fmla="*/ 4842613 h 6875997"/>
              <a:gd name="connsiteX240" fmla="*/ 1068419 w 12191995"/>
              <a:gd name="connsiteY240" fmla="*/ 4842613 h 6875997"/>
              <a:gd name="connsiteX241" fmla="*/ 1068419 w 12191995"/>
              <a:gd name="connsiteY241" fmla="*/ 5558351 h 6875997"/>
              <a:gd name="connsiteX242" fmla="*/ 353400 w 12191995"/>
              <a:gd name="connsiteY242" fmla="*/ 5558351 h 6875997"/>
              <a:gd name="connsiteX243" fmla="*/ 0 w 12191995"/>
              <a:gd name="connsiteY243" fmla="*/ 4842613 h 6875997"/>
              <a:gd name="connsiteX244" fmla="*/ 349800 w 12191995"/>
              <a:gd name="connsiteY244" fmla="*/ 4842613 h 6875997"/>
              <a:gd name="connsiteX245" fmla="*/ 349800 w 12191995"/>
              <a:gd name="connsiteY245" fmla="*/ 5558351 h 6875997"/>
              <a:gd name="connsiteX246" fmla="*/ 0 w 12191995"/>
              <a:gd name="connsiteY246" fmla="*/ 5558351 h 6875997"/>
              <a:gd name="connsiteX247" fmla="*/ 11132680 w 12191995"/>
              <a:gd name="connsiteY247" fmla="*/ 4123275 h 6875997"/>
              <a:gd name="connsiteX248" fmla="*/ 11847706 w 12191995"/>
              <a:gd name="connsiteY248" fmla="*/ 4123275 h 6875997"/>
              <a:gd name="connsiteX249" fmla="*/ 11847706 w 12191995"/>
              <a:gd name="connsiteY249" fmla="*/ 4839013 h 6875997"/>
              <a:gd name="connsiteX250" fmla="*/ 11132680 w 12191995"/>
              <a:gd name="connsiteY250" fmla="*/ 4839013 h 6875997"/>
              <a:gd name="connsiteX251" fmla="*/ 10414061 w 12191995"/>
              <a:gd name="connsiteY251" fmla="*/ 4123275 h 6875997"/>
              <a:gd name="connsiteX252" fmla="*/ 11129080 w 12191995"/>
              <a:gd name="connsiteY252" fmla="*/ 4123275 h 6875997"/>
              <a:gd name="connsiteX253" fmla="*/ 11129080 w 12191995"/>
              <a:gd name="connsiteY253" fmla="*/ 4839013 h 6875997"/>
              <a:gd name="connsiteX254" fmla="*/ 10414061 w 12191995"/>
              <a:gd name="connsiteY254" fmla="*/ 4839013 h 6875997"/>
              <a:gd name="connsiteX255" fmla="*/ 9695442 w 12191995"/>
              <a:gd name="connsiteY255" fmla="*/ 4123275 h 6875997"/>
              <a:gd name="connsiteX256" fmla="*/ 10410461 w 12191995"/>
              <a:gd name="connsiteY256" fmla="*/ 4123275 h 6875997"/>
              <a:gd name="connsiteX257" fmla="*/ 10410461 w 12191995"/>
              <a:gd name="connsiteY257" fmla="*/ 4839013 h 6875997"/>
              <a:gd name="connsiteX258" fmla="*/ 9695442 w 12191995"/>
              <a:gd name="connsiteY258" fmla="*/ 4839013 h 6875997"/>
              <a:gd name="connsiteX259" fmla="*/ 8976823 w 12191995"/>
              <a:gd name="connsiteY259" fmla="*/ 4123275 h 6875997"/>
              <a:gd name="connsiteX260" fmla="*/ 9691842 w 12191995"/>
              <a:gd name="connsiteY260" fmla="*/ 4123275 h 6875997"/>
              <a:gd name="connsiteX261" fmla="*/ 9691842 w 12191995"/>
              <a:gd name="connsiteY261" fmla="*/ 4839013 h 6875997"/>
              <a:gd name="connsiteX262" fmla="*/ 8976823 w 12191995"/>
              <a:gd name="connsiteY262" fmla="*/ 4839013 h 6875997"/>
              <a:gd name="connsiteX263" fmla="*/ 8258205 w 12191995"/>
              <a:gd name="connsiteY263" fmla="*/ 4123275 h 6875997"/>
              <a:gd name="connsiteX264" fmla="*/ 8973223 w 12191995"/>
              <a:gd name="connsiteY264" fmla="*/ 4123275 h 6875997"/>
              <a:gd name="connsiteX265" fmla="*/ 8973223 w 12191995"/>
              <a:gd name="connsiteY265" fmla="*/ 4839013 h 6875997"/>
              <a:gd name="connsiteX266" fmla="*/ 8258205 w 12191995"/>
              <a:gd name="connsiteY266" fmla="*/ 4839013 h 6875997"/>
              <a:gd name="connsiteX267" fmla="*/ 7539586 w 12191995"/>
              <a:gd name="connsiteY267" fmla="*/ 4123275 h 6875997"/>
              <a:gd name="connsiteX268" fmla="*/ 8254605 w 12191995"/>
              <a:gd name="connsiteY268" fmla="*/ 4123275 h 6875997"/>
              <a:gd name="connsiteX269" fmla="*/ 8254605 w 12191995"/>
              <a:gd name="connsiteY269" fmla="*/ 4839013 h 6875997"/>
              <a:gd name="connsiteX270" fmla="*/ 7539586 w 12191995"/>
              <a:gd name="connsiteY270" fmla="*/ 4839013 h 6875997"/>
              <a:gd name="connsiteX271" fmla="*/ 6820967 w 12191995"/>
              <a:gd name="connsiteY271" fmla="*/ 4123275 h 6875997"/>
              <a:gd name="connsiteX272" fmla="*/ 7535986 w 12191995"/>
              <a:gd name="connsiteY272" fmla="*/ 4123275 h 6875997"/>
              <a:gd name="connsiteX273" fmla="*/ 7535986 w 12191995"/>
              <a:gd name="connsiteY273" fmla="*/ 4839013 h 6875997"/>
              <a:gd name="connsiteX274" fmla="*/ 6820967 w 12191995"/>
              <a:gd name="connsiteY274" fmla="*/ 4839013 h 6875997"/>
              <a:gd name="connsiteX275" fmla="*/ 6102348 w 12191995"/>
              <a:gd name="connsiteY275" fmla="*/ 4123275 h 6875997"/>
              <a:gd name="connsiteX276" fmla="*/ 6817367 w 12191995"/>
              <a:gd name="connsiteY276" fmla="*/ 4123275 h 6875997"/>
              <a:gd name="connsiteX277" fmla="*/ 6817367 w 12191995"/>
              <a:gd name="connsiteY277" fmla="*/ 4839013 h 6875997"/>
              <a:gd name="connsiteX278" fmla="*/ 6102348 w 12191995"/>
              <a:gd name="connsiteY278" fmla="*/ 4839013 h 6875997"/>
              <a:gd name="connsiteX279" fmla="*/ 5383731 w 12191995"/>
              <a:gd name="connsiteY279" fmla="*/ 4123275 h 6875997"/>
              <a:gd name="connsiteX280" fmla="*/ 6098748 w 12191995"/>
              <a:gd name="connsiteY280" fmla="*/ 4123275 h 6875997"/>
              <a:gd name="connsiteX281" fmla="*/ 6098748 w 12191995"/>
              <a:gd name="connsiteY281" fmla="*/ 4839013 h 6875997"/>
              <a:gd name="connsiteX282" fmla="*/ 5383731 w 12191995"/>
              <a:gd name="connsiteY282" fmla="*/ 4839013 h 6875997"/>
              <a:gd name="connsiteX283" fmla="*/ 4665112 w 12191995"/>
              <a:gd name="connsiteY283" fmla="*/ 4123275 h 6875997"/>
              <a:gd name="connsiteX284" fmla="*/ 5380131 w 12191995"/>
              <a:gd name="connsiteY284" fmla="*/ 4123275 h 6875997"/>
              <a:gd name="connsiteX285" fmla="*/ 5380131 w 12191995"/>
              <a:gd name="connsiteY285" fmla="*/ 4839013 h 6875997"/>
              <a:gd name="connsiteX286" fmla="*/ 4665112 w 12191995"/>
              <a:gd name="connsiteY286" fmla="*/ 4839013 h 6875997"/>
              <a:gd name="connsiteX287" fmla="*/ 3946497 w 12191995"/>
              <a:gd name="connsiteY287" fmla="*/ 4123275 h 6875997"/>
              <a:gd name="connsiteX288" fmla="*/ 4661513 w 12191995"/>
              <a:gd name="connsiteY288" fmla="*/ 4123275 h 6875997"/>
              <a:gd name="connsiteX289" fmla="*/ 4661513 w 12191995"/>
              <a:gd name="connsiteY289" fmla="*/ 4839013 h 6875997"/>
              <a:gd name="connsiteX290" fmla="*/ 3946497 w 12191995"/>
              <a:gd name="connsiteY290" fmla="*/ 4839013 h 6875997"/>
              <a:gd name="connsiteX291" fmla="*/ 3227878 w 12191995"/>
              <a:gd name="connsiteY291" fmla="*/ 4123275 h 6875997"/>
              <a:gd name="connsiteX292" fmla="*/ 3942896 w 12191995"/>
              <a:gd name="connsiteY292" fmla="*/ 4123275 h 6875997"/>
              <a:gd name="connsiteX293" fmla="*/ 3942896 w 12191995"/>
              <a:gd name="connsiteY293" fmla="*/ 4839013 h 6875997"/>
              <a:gd name="connsiteX294" fmla="*/ 3227878 w 12191995"/>
              <a:gd name="connsiteY294" fmla="*/ 4839013 h 6875997"/>
              <a:gd name="connsiteX295" fmla="*/ 2509257 w 12191995"/>
              <a:gd name="connsiteY295" fmla="*/ 4123275 h 6875997"/>
              <a:gd name="connsiteX296" fmla="*/ 3224277 w 12191995"/>
              <a:gd name="connsiteY296" fmla="*/ 4123275 h 6875997"/>
              <a:gd name="connsiteX297" fmla="*/ 3224277 w 12191995"/>
              <a:gd name="connsiteY297" fmla="*/ 4839013 h 6875997"/>
              <a:gd name="connsiteX298" fmla="*/ 2509257 w 12191995"/>
              <a:gd name="connsiteY298" fmla="*/ 4839013 h 6875997"/>
              <a:gd name="connsiteX299" fmla="*/ 1790637 w 12191995"/>
              <a:gd name="connsiteY299" fmla="*/ 4123275 h 6875997"/>
              <a:gd name="connsiteX300" fmla="*/ 2505659 w 12191995"/>
              <a:gd name="connsiteY300" fmla="*/ 4123275 h 6875997"/>
              <a:gd name="connsiteX301" fmla="*/ 2505659 w 12191995"/>
              <a:gd name="connsiteY301" fmla="*/ 4839013 h 6875997"/>
              <a:gd name="connsiteX302" fmla="*/ 1790637 w 12191995"/>
              <a:gd name="connsiteY302" fmla="*/ 4839013 h 6875997"/>
              <a:gd name="connsiteX303" fmla="*/ 1072019 w 12191995"/>
              <a:gd name="connsiteY303" fmla="*/ 4123275 h 6875997"/>
              <a:gd name="connsiteX304" fmla="*/ 1787037 w 12191995"/>
              <a:gd name="connsiteY304" fmla="*/ 4123275 h 6875997"/>
              <a:gd name="connsiteX305" fmla="*/ 1787037 w 12191995"/>
              <a:gd name="connsiteY305" fmla="*/ 4839013 h 6875997"/>
              <a:gd name="connsiteX306" fmla="*/ 1072019 w 12191995"/>
              <a:gd name="connsiteY306" fmla="*/ 4839013 h 6875997"/>
              <a:gd name="connsiteX307" fmla="*/ 353400 w 12191995"/>
              <a:gd name="connsiteY307" fmla="*/ 4123275 h 6875997"/>
              <a:gd name="connsiteX308" fmla="*/ 1068419 w 12191995"/>
              <a:gd name="connsiteY308" fmla="*/ 4123275 h 6875997"/>
              <a:gd name="connsiteX309" fmla="*/ 1068419 w 12191995"/>
              <a:gd name="connsiteY309" fmla="*/ 4839013 h 6875997"/>
              <a:gd name="connsiteX310" fmla="*/ 353400 w 12191995"/>
              <a:gd name="connsiteY310" fmla="*/ 4839013 h 6875997"/>
              <a:gd name="connsiteX311" fmla="*/ 0 w 12191995"/>
              <a:gd name="connsiteY311" fmla="*/ 4123275 h 6875997"/>
              <a:gd name="connsiteX312" fmla="*/ 349800 w 12191995"/>
              <a:gd name="connsiteY312" fmla="*/ 4123275 h 6875997"/>
              <a:gd name="connsiteX313" fmla="*/ 349800 w 12191995"/>
              <a:gd name="connsiteY313" fmla="*/ 4839013 h 6875997"/>
              <a:gd name="connsiteX314" fmla="*/ 0 w 12191995"/>
              <a:gd name="connsiteY314" fmla="*/ 4839013 h 6875997"/>
              <a:gd name="connsiteX315" fmla="*/ 11132680 w 12191995"/>
              <a:gd name="connsiteY315" fmla="*/ 3403939 h 6875997"/>
              <a:gd name="connsiteX316" fmla="*/ 11847706 w 12191995"/>
              <a:gd name="connsiteY316" fmla="*/ 3403939 h 6875997"/>
              <a:gd name="connsiteX317" fmla="*/ 11847706 w 12191995"/>
              <a:gd name="connsiteY317" fmla="*/ 4119675 h 6875997"/>
              <a:gd name="connsiteX318" fmla="*/ 11132680 w 12191995"/>
              <a:gd name="connsiteY318" fmla="*/ 4119675 h 6875997"/>
              <a:gd name="connsiteX319" fmla="*/ 10414061 w 12191995"/>
              <a:gd name="connsiteY319" fmla="*/ 3403939 h 6875997"/>
              <a:gd name="connsiteX320" fmla="*/ 11129080 w 12191995"/>
              <a:gd name="connsiteY320" fmla="*/ 3403939 h 6875997"/>
              <a:gd name="connsiteX321" fmla="*/ 11129080 w 12191995"/>
              <a:gd name="connsiteY321" fmla="*/ 4119675 h 6875997"/>
              <a:gd name="connsiteX322" fmla="*/ 10414061 w 12191995"/>
              <a:gd name="connsiteY322" fmla="*/ 4119675 h 6875997"/>
              <a:gd name="connsiteX323" fmla="*/ 9695442 w 12191995"/>
              <a:gd name="connsiteY323" fmla="*/ 3403939 h 6875997"/>
              <a:gd name="connsiteX324" fmla="*/ 10410461 w 12191995"/>
              <a:gd name="connsiteY324" fmla="*/ 3403939 h 6875997"/>
              <a:gd name="connsiteX325" fmla="*/ 10410461 w 12191995"/>
              <a:gd name="connsiteY325" fmla="*/ 4119675 h 6875997"/>
              <a:gd name="connsiteX326" fmla="*/ 9695442 w 12191995"/>
              <a:gd name="connsiteY326" fmla="*/ 4119675 h 6875997"/>
              <a:gd name="connsiteX327" fmla="*/ 8976823 w 12191995"/>
              <a:gd name="connsiteY327" fmla="*/ 3403939 h 6875997"/>
              <a:gd name="connsiteX328" fmla="*/ 9691842 w 12191995"/>
              <a:gd name="connsiteY328" fmla="*/ 3403939 h 6875997"/>
              <a:gd name="connsiteX329" fmla="*/ 9691842 w 12191995"/>
              <a:gd name="connsiteY329" fmla="*/ 4119675 h 6875997"/>
              <a:gd name="connsiteX330" fmla="*/ 8976823 w 12191995"/>
              <a:gd name="connsiteY330" fmla="*/ 4119675 h 6875997"/>
              <a:gd name="connsiteX331" fmla="*/ 8258205 w 12191995"/>
              <a:gd name="connsiteY331" fmla="*/ 3403939 h 6875997"/>
              <a:gd name="connsiteX332" fmla="*/ 8973223 w 12191995"/>
              <a:gd name="connsiteY332" fmla="*/ 3403939 h 6875997"/>
              <a:gd name="connsiteX333" fmla="*/ 8973223 w 12191995"/>
              <a:gd name="connsiteY333" fmla="*/ 4119675 h 6875997"/>
              <a:gd name="connsiteX334" fmla="*/ 8258205 w 12191995"/>
              <a:gd name="connsiteY334" fmla="*/ 4119675 h 6875997"/>
              <a:gd name="connsiteX335" fmla="*/ 7539586 w 12191995"/>
              <a:gd name="connsiteY335" fmla="*/ 3403939 h 6875997"/>
              <a:gd name="connsiteX336" fmla="*/ 8254605 w 12191995"/>
              <a:gd name="connsiteY336" fmla="*/ 3403939 h 6875997"/>
              <a:gd name="connsiteX337" fmla="*/ 8254605 w 12191995"/>
              <a:gd name="connsiteY337" fmla="*/ 4119675 h 6875997"/>
              <a:gd name="connsiteX338" fmla="*/ 7539586 w 12191995"/>
              <a:gd name="connsiteY338" fmla="*/ 4119675 h 6875997"/>
              <a:gd name="connsiteX339" fmla="*/ 6820967 w 12191995"/>
              <a:gd name="connsiteY339" fmla="*/ 3403939 h 6875997"/>
              <a:gd name="connsiteX340" fmla="*/ 7535986 w 12191995"/>
              <a:gd name="connsiteY340" fmla="*/ 3403939 h 6875997"/>
              <a:gd name="connsiteX341" fmla="*/ 7535986 w 12191995"/>
              <a:gd name="connsiteY341" fmla="*/ 4119675 h 6875997"/>
              <a:gd name="connsiteX342" fmla="*/ 6820967 w 12191995"/>
              <a:gd name="connsiteY342" fmla="*/ 4119675 h 6875997"/>
              <a:gd name="connsiteX343" fmla="*/ 6102348 w 12191995"/>
              <a:gd name="connsiteY343" fmla="*/ 3403939 h 6875997"/>
              <a:gd name="connsiteX344" fmla="*/ 6817367 w 12191995"/>
              <a:gd name="connsiteY344" fmla="*/ 3403939 h 6875997"/>
              <a:gd name="connsiteX345" fmla="*/ 6817367 w 12191995"/>
              <a:gd name="connsiteY345" fmla="*/ 4119675 h 6875997"/>
              <a:gd name="connsiteX346" fmla="*/ 6102348 w 12191995"/>
              <a:gd name="connsiteY346" fmla="*/ 4119675 h 6875997"/>
              <a:gd name="connsiteX347" fmla="*/ 5383731 w 12191995"/>
              <a:gd name="connsiteY347" fmla="*/ 3403939 h 6875997"/>
              <a:gd name="connsiteX348" fmla="*/ 6098748 w 12191995"/>
              <a:gd name="connsiteY348" fmla="*/ 3403939 h 6875997"/>
              <a:gd name="connsiteX349" fmla="*/ 6098748 w 12191995"/>
              <a:gd name="connsiteY349" fmla="*/ 4119675 h 6875997"/>
              <a:gd name="connsiteX350" fmla="*/ 5383731 w 12191995"/>
              <a:gd name="connsiteY350" fmla="*/ 4119675 h 6875997"/>
              <a:gd name="connsiteX351" fmla="*/ 4665112 w 12191995"/>
              <a:gd name="connsiteY351" fmla="*/ 3403939 h 6875997"/>
              <a:gd name="connsiteX352" fmla="*/ 5380131 w 12191995"/>
              <a:gd name="connsiteY352" fmla="*/ 3403939 h 6875997"/>
              <a:gd name="connsiteX353" fmla="*/ 5380131 w 12191995"/>
              <a:gd name="connsiteY353" fmla="*/ 4119675 h 6875997"/>
              <a:gd name="connsiteX354" fmla="*/ 4665112 w 12191995"/>
              <a:gd name="connsiteY354" fmla="*/ 4119675 h 6875997"/>
              <a:gd name="connsiteX355" fmla="*/ 3946497 w 12191995"/>
              <a:gd name="connsiteY355" fmla="*/ 3403939 h 6875997"/>
              <a:gd name="connsiteX356" fmla="*/ 4661513 w 12191995"/>
              <a:gd name="connsiteY356" fmla="*/ 3403939 h 6875997"/>
              <a:gd name="connsiteX357" fmla="*/ 4661513 w 12191995"/>
              <a:gd name="connsiteY357" fmla="*/ 4119675 h 6875997"/>
              <a:gd name="connsiteX358" fmla="*/ 3946497 w 12191995"/>
              <a:gd name="connsiteY358" fmla="*/ 4119675 h 6875997"/>
              <a:gd name="connsiteX359" fmla="*/ 3227878 w 12191995"/>
              <a:gd name="connsiteY359" fmla="*/ 3403939 h 6875997"/>
              <a:gd name="connsiteX360" fmla="*/ 3942896 w 12191995"/>
              <a:gd name="connsiteY360" fmla="*/ 3403939 h 6875997"/>
              <a:gd name="connsiteX361" fmla="*/ 3942896 w 12191995"/>
              <a:gd name="connsiteY361" fmla="*/ 4119675 h 6875997"/>
              <a:gd name="connsiteX362" fmla="*/ 3227878 w 12191995"/>
              <a:gd name="connsiteY362" fmla="*/ 4119675 h 6875997"/>
              <a:gd name="connsiteX363" fmla="*/ 2509257 w 12191995"/>
              <a:gd name="connsiteY363" fmla="*/ 3403939 h 6875997"/>
              <a:gd name="connsiteX364" fmla="*/ 3224277 w 12191995"/>
              <a:gd name="connsiteY364" fmla="*/ 3403939 h 6875997"/>
              <a:gd name="connsiteX365" fmla="*/ 3224277 w 12191995"/>
              <a:gd name="connsiteY365" fmla="*/ 4119675 h 6875997"/>
              <a:gd name="connsiteX366" fmla="*/ 2509257 w 12191995"/>
              <a:gd name="connsiteY366" fmla="*/ 4119675 h 6875997"/>
              <a:gd name="connsiteX367" fmla="*/ 1790637 w 12191995"/>
              <a:gd name="connsiteY367" fmla="*/ 3403939 h 6875997"/>
              <a:gd name="connsiteX368" fmla="*/ 2505659 w 12191995"/>
              <a:gd name="connsiteY368" fmla="*/ 3403939 h 6875997"/>
              <a:gd name="connsiteX369" fmla="*/ 2505659 w 12191995"/>
              <a:gd name="connsiteY369" fmla="*/ 4119675 h 6875997"/>
              <a:gd name="connsiteX370" fmla="*/ 1790637 w 12191995"/>
              <a:gd name="connsiteY370" fmla="*/ 4119675 h 6875997"/>
              <a:gd name="connsiteX371" fmla="*/ 1072019 w 12191995"/>
              <a:gd name="connsiteY371" fmla="*/ 3403939 h 6875997"/>
              <a:gd name="connsiteX372" fmla="*/ 1787037 w 12191995"/>
              <a:gd name="connsiteY372" fmla="*/ 3403939 h 6875997"/>
              <a:gd name="connsiteX373" fmla="*/ 1787037 w 12191995"/>
              <a:gd name="connsiteY373" fmla="*/ 4119675 h 6875997"/>
              <a:gd name="connsiteX374" fmla="*/ 1072019 w 12191995"/>
              <a:gd name="connsiteY374" fmla="*/ 4119675 h 6875997"/>
              <a:gd name="connsiteX375" fmla="*/ 353400 w 12191995"/>
              <a:gd name="connsiteY375" fmla="*/ 3403939 h 6875997"/>
              <a:gd name="connsiteX376" fmla="*/ 1068419 w 12191995"/>
              <a:gd name="connsiteY376" fmla="*/ 3403939 h 6875997"/>
              <a:gd name="connsiteX377" fmla="*/ 1068419 w 12191995"/>
              <a:gd name="connsiteY377" fmla="*/ 4119675 h 6875997"/>
              <a:gd name="connsiteX378" fmla="*/ 353400 w 12191995"/>
              <a:gd name="connsiteY378" fmla="*/ 4119675 h 6875997"/>
              <a:gd name="connsiteX379" fmla="*/ 0 w 12191995"/>
              <a:gd name="connsiteY379" fmla="*/ 3403939 h 6875997"/>
              <a:gd name="connsiteX380" fmla="*/ 349800 w 12191995"/>
              <a:gd name="connsiteY380" fmla="*/ 3403939 h 6875997"/>
              <a:gd name="connsiteX381" fmla="*/ 349800 w 12191995"/>
              <a:gd name="connsiteY381" fmla="*/ 4119675 h 6875997"/>
              <a:gd name="connsiteX382" fmla="*/ 0 w 12191995"/>
              <a:gd name="connsiteY382" fmla="*/ 4119675 h 6875997"/>
              <a:gd name="connsiteX383" fmla="*/ 11132680 w 12191995"/>
              <a:gd name="connsiteY383" fmla="*/ 2684600 h 6875997"/>
              <a:gd name="connsiteX384" fmla="*/ 11847706 w 12191995"/>
              <a:gd name="connsiteY384" fmla="*/ 2684600 h 6875997"/>
              <a:gd name="connsiteX385" fmla="*/ 11847706 w 12191995"/>
              <a:gd name="connsiteY385" fmla="*/ 3400338 h 6875997"/>
              <a:gd name="connsiteX386" fmla="*/ 11132680 w 12191995"/>
              <a:gd name="connsiteY386" fmla="*/ 3400338 h 6875997"/>
              <a:gd name="connsiteX387" fmla="*/ 10414061 w 12191995"/>
              <a:gd name="connsiteY387" fmla="*/ 2684600 h 6875997"/>
              <a:gd name="connsiteX388" fmla="*/ 11129080 w 12191995"/>
              <a:gd name="connsiteY388" fmla="*/ 2684600 h 6875997"/>
              <a:gd name="connsiteX389" fmla="*/ 11129080 w 12191995"/>
              <a:gd name="connsiteY389" fmla="*/ 3400338 h 6875997"/>
              <a:gd name="connsiteX390" fmla="*/ 10414061 w 12191995"/>
              <a:gd name="connsiteY390" fmla="*/ 3400338 h 6875997"/>
              <a:gd name="connsiteX391" fmla="*/ 9695442 w 12191995"/>
              <a:gd name="connsiteY391" fmla="*/ 2684600 h 6875997"/>
              <a:gd name="connsiteX392" fmla="*/ 10410461 w 12191995"/>
              <a:gd name="connsiteY392" fmla="*/ 2684600 h 6875997"/>
              <a:gd name="connsiteX393" fmla="*/ 10410461 w 12191995"/>
              <a:gd name="connsiteY393" fmla="*/ 3400338 h 6875997"/>
              <a:gd name="connsiteX394" fmla="*/ 9695442 w 12191995"/>
              <a:gd name="connsiteY394" fmla="*/ 3400338 h 6875997"/>
              <a:gd name="connsiteX395" fmla="*/ 8976823 w 12191995"/>
              <a:gd name="connsiteY395" fmla="*/ 2684600 h 6875997"/>
              <a:gd name="connsiteX396" fmla="*/ 9691842 w 12191995"/>
              <a:gd name="connsiteY396" fmla="*/ 2684600 h 6875997"/>
              <a:gd name="connsiteX397" fmla="*/ 9691842 w 12191995"/>
              <a:gd name="connsiteY397" fmla="*/ 3400338 h 6875997"/>
              <a:gd name="connsiteX398" fmla="*/ 8976823 w 12191995"/>
              <a:gd name="connsiteY398" fmla="*/ 3400338 h 6875997"/>
              <a:gd name="connsiteX399" fmla="*/ 8258205 w 12191995"/>
              <a:gd name="connsiteY399" fmla="*/ 2684600 h 6875997"/>
              <a:gd name="connsiteX400" fmla="*/ 8973223 w 12191995"/>
              <a:gd name="connsiteY400" fmla="*/ 2684600 h 6875997"/>
              <a:gd name="connsiteX401" fmla="*/ 8973223 w 12191995"/>
              <a:gd name="connsiteY401" fmla="*/ 3400338 h 6875997"/>
              <a:gd name="connsiteX402" fmla="*/ 8258205 w 12191995"/>
              <a:gd name="connsiteY402" fmla="*/ 3400338 h 6875997"/>
              <a:gd name="connsiteX403" fmla="*/ 7539586 w 12191995"/>
              <a:gd name="connsiteY403" fmla="*/ 2684600 h 6875997"/>
              <a:gd name="connsiteX404" fmla="*/ 8254605 w 12191995"/>
              <a:gd name="connsiteY404" fmla="*/ 2684600 h 6875997"/>
              <a:gd name="connsiteX405" fmla="*/ 8254605 w 12191995"/>
              <a:gd name="connsiteY405" fmla="*/ 3400338 h 6875997"/>
              <a:gd name="connsiteX406" fmla="*/ 7539586 w 12191995"/>
              <a:gd name="connsiteY406" fmla="*/ 3400338 h 6875997"/>
              <a:gd name="connsiteX407" fmla="*/ 6820967 w 12191995"/>
              <a:gd name="connsiteY407" fmla="*/ 2684600 h 6875997"/>
              <a:gd name="connsiteX408" fmla="*/ 7535986 w 12191995"/>
              <a:gd name="connsiteY408" fmla="*/ 2684600 h 6875997"/>
              <a:gd name="connsiteX409" fmla="*/ 7535986 w 12191995"/>
              <a:gd name="connsiteY409" fmla="*/ 3400338 h 6875997"/>
              <a:gd name="connsiteX410" fmla="*/ 6820967 w 12191995"/>
              <a:gd name="connsiteY410" fmla="*/ 3400338 h 6875997"/>
              <a:gd name="connsiteX411" fmla="*/ 6102348 w 12191995"/>
              <a:gd name="connsiteY411" fmla="*/ 2684600 h 6875997"/>
              <a:gd name="connsiteX412" fmla="*/ 6817367 w 12191995"/>
              <a:gd name="connsiteY412" fmla="*/ 2684600 h 6875997"/>
              <a:gd name="connsiteX413" fmla="*/ 6817367 w 12191995"/>
              <a:gd name="connsiteY413" fmla="*/ 3400338 h 6875997"/>
              <a:gd name="connsiteX414" fmla="*/ 6102348 w 12191995"/>
              <a:gd name="connsiteY414" fmla="*/ 3400338 h 6875997"/>
              <a:gd name="connsiteX415" fmla="*/ 5383731 w 12191995"/>
              <a:gd name="connsiteY415" fmla="*/ 2684600 h 6875997"/>
              <a:gd name="connsiteX416" fmla="*/ 6098748 w 12191995"/>
              <a:gd name="connsiteY416" fmla="*/ 2684600 h 6875997"/>
              <a:gd name="connsiteX417" fmla="*/ 6098748 w 12191995"/>
              <a:gd name="connsiteY417" fmla="*/ 3400338 h 6875997"/>
              <a:gd name="connsiteX418" fmla="*/ 5383731 w 12191995"/>
              <a:gd name="connsiteY418" fmla="*/ 3400338 h 6875997"/>
              <a:gd name="connsiteX419" fmla="*/ 4665112 w 12191995"/>
              <a:gd name="connsiteY419" fmla="*/ 2684600 h 6875997"/>
              <a:gd name="connsiteX420" fmla="*/ 5380131 w 12191995"/>
              <a:gd name="connsiteY420" fmla="*/ 2684600 h 6875997"/>
              <a:gd name="connsiteX421" fmla="*/ 5380131 w 12191995"/>
              <a:gd name="connsiteY421" fmla="*/ 3400338 h 6875997"/>
              <a:gd name="connsiteX422" fmla="*/ 4665112 w 12191995"/>
              <a:gd name="connsiteY422" fmla="*/ 3400338 h 6875997"/>
              <a:gd name="connsiteX423" fmla="*/ 3946497 w 12191995"/>
              <a:gd name="connsiteY423" fmla="*/ 2684600 h 6875997"/>
              <a:gd name="connsiteX424" fmla="*/ 4661513 w 12191995"/>
              <a:gd name="connsiteY424" fmla="*/ 2684600 h 6875997"/>
              <a:gd name="connsiteX425" fmla="*/ 4661513 w 12191995"/>
              <a:gd name="connsiteY425" fmla="*/ 3400338 h 6875997"/>
              <a:gd name="connsiteX426" fmla="*/ 3946497 w 12191995"/>
              <a:gd name="connsiteY426" fmla="*/ 3400338 h 6875997"/>
              <a:gd name="connsiteX427" fmla="*/ 3227878 w 12191995"/>
              <a:gd name="connsiteY427" fmla="*/ 2684600 h 6875997"/>
              <a:gd name="connsiteX428" fmla="*/ 3942896 w 12191995"/>
              <a:gd name="connsiteY428" fmla="*/ 2684600 h 6875997"/>
              <a:gd name="connsiteX429" fmla="*/ 3942896 w 12191995"/>
              <a:gd name="connsiteY429" fmla="*/ 3400338 h 6875997"/>
              <a:gd name="connsiteX430" fmla="*/ 3227878 w 12191995"/>
              <a:gd name="connsiteY430" fmla="*/ 3400338 h 6875997"/>
              <a:gd name="connsiteX431" fmla="*/ 2509257 w 12191995"/>
              <a:gd name="connsiteY431" fmla="*/ 2684600 h 6875997"/>
              <a:gd name="connsiteX432" fmla="*/ 3224277 w 12191995"/>
              <a:gd name="connsiteY432" fmla="*/ 2684600 h 6875997"/>
              <a:gd name="connsiteX433" fmla="*/ 3224277 w 12191995"/>
              <a:gd name="connsiteY433" fmla="*/ 3400338 h 6875997"/>
              <a:gd name="connsiteX434" fmla="*/ 2509257 w 12191995"/>
              <a:gd name="connsiteY434" fmla="*/ 3400338 h 6875997"/>
              <a:gd name="connsiteX435" fmla="*/ 1790637 w 12191995"/>
              <a:gd name="connsiteY435" fmla="*/ 2684600 h 6875997"/>
              <a:gd name="connsiteX436" fmla="*/ 2505659 w 12191995"/>
              <a:gd name="connsiteY436" fmla="*/ 2684600 h 6875997"/>
              <a:gd name="connsiteX437" fmla="*/ 2505659 w 12191995"/>
              <a:gd name="connsiteY437" fmla="*/ 3400338 h 6875997"/>
              <a:gd name="connsiteX438" fmla="*/ 1790637 w 12191995"/>
              <a:gd name="connsiteY438" fmla="*/ 3400338 h 6875997"/>
              <a:gd name="connsiteX439" fmla="*/ 1072019 w 12191995"/>
              <a:gd name="connsiteY439" fmla="*/ 2684600 h 6875997"/>
              <a:gd name="connsiteX440" fmla="*/ 1787037 w 12191995"/>
              <a:gd name="connsiteY440" fmla="*/ 2684600 h 6875997"/>
              <a:gd name="connsiteX441" fmla="*/ 1787037 w 12191995"/>
              <a:gd name="connsiteY441" fmla="*/ 3400338 h 6875997"/>
              <a:gd name="connsiteX442" fmla="*/ 1072019 w 12191995"/>
              <a:gd name="connsiteY442" fmla="*/ 3400338 h 6875997"/>
              <a:gd name="connsiteX443" fmla="*/ 353400 w 12191995"/>
              <a:gd name="connsiteY443" fmla="*/ 2684600 h 6875997"/>
              <a:gd name="connsiteX444" fmla="*/ 1068419 w 12191995"/>
              <a:gd name="connsiteY444" fmla="*/ 2684600 h 6875997"/>
              <a:gd name="connsiteX445" fmla="*/ 1068419 w 12191995"/>
              <a:gd name="connsiteY445" fmla="*/ 3400338 h 6875997"/>
              <a:gd name="connsiteX446" fmla="*/ 353400 w 12191995"/>
              <a:gd name="connsiteY446" fmla="*/ 3400338 h 6875997"/>
              <a:gd name="connsiteX447" fmla="*/ 0 w 12191995"/>
              <a:gd name="connsiteY447" fmla="*/ 2684600 h 6875997"/>
              <a:gd name="connsiteX448" fmla="*/ 349800 w 12191995"/>
              <a:gd name="connsiteY448" fmla="*/ 2684600 h 6875997"/>
              <a:gd name="connsiteX449" fmla="*/ 349800 w 12191995"/>
              <a:gd name="connsiteY449" fmla="*/ 3400338 h 6875997"/>
              <a:gd name="connsiteX450" fmla="*/ 0 w 12191995"/>
              <a:gd name="connsiteY450" fmla="*/ 3400338 h 6875997"/>
              <a:gd name="connsiteX451" fmla="*/ 11132680 w 12191995"/>
              <a:gd name="connsiteY451" fmla="*/ 1965263 h 6875997"/>
              <a:gd name="connsiteX452" fmla="*/ 11847706 w 12191995"/>
              <a:gd name="connsiteY452" fmla="*/ 1965263 h 6875997"/>
              <a:gd name="connsiteX453" fmla="*/ 11847706 w 12191995"/>
              <a:gd name="connsiteY453" fmla="*/ 2681002 h 6875997"/>
              <a:gd name="connsiteX454" fmla="*/ 11132680 w 12191995"/>
              <a:gd name="connsiteY454" fmla="*/ 2681002 h 6875997"/>
              <a:gd name="connsiteX455" fmla="*/ 10414061 w 12191995"/>
              <a:gd name="connsiteY455" fmla="*/ 1965263 h 6875997"/>
              <a:gd name="connsiteX456" fmla="*/ 11129080 w 12191995"/>
              <a:gd name="connsiteY456" fmla="*/ 1965263 h 6875997"/>
              <a:gd name="connsiteX457" fmla="*/ 11129080 w 12191995"/>
              <a:gd name="connsiteY457" fmla="*/ 2681002 h 6875997"/>
              <a:gd name="connsiteX458" fmla="*/ 10414061 w 12191995"/>
              <a:gd name="connsiteY458" fmla="*/ 2681002 h 6875997"/>
              <a:gd name="connsiteX459" fmla="*/ 9695442 w 12191995"/>
              <a:gd name="connsiteY459" fmla="*/ 1965263 h 6875997"/>
              <a:gd name="connsiteX460" fmla="*/ 10410461 w 12191995"/>
              <a:gd name="connsiteY460" fmla="*/ 1965263 h 6875997"/>
              <a:gd name="connsiteX461" fmla="*/ 10410461 w 12191995"/>
              <a:gd name="connsiteY461" fmla="*/ 2681002 h 6875997"/>
              <a:gd name="connsiteX462" fmla="*/ 9695442 w 12191995"/>
              <a:gd name="connsiteY462" fmla="*/ 2681002 h 6875997"/>
              <a:gd name="connsiteX463" fmla="*/ 8976823 w 12191995"/>
              <a:gd name="connsiteY463" fmla="*/ 1965263 h 6875997"/>
              <a:gd name="connsiteX464" fmla="*/ 9691842 w 12191995"/>
              <a:gd name="connsiteY464" fmla="*/ 1965263 h 6875997"/>
              <a:gd name="connsiteX465" fmla="*/ 9691842 w 12191995"/>
              <a:gd name="connsiteY465" fmla="*/ 2681002 h 6875997"/>
              <a:gd name="connsiteX466" fmla="*/ 8976823 w 12191995"/>
              <a:gd name="connsiteY466" fmla="*/ 2681002 h 6875997"/>
              <a:gd name="connsiteX467" fmla="*/ 8258205 w 12191995"/>
              <a:gd name="connsiteY467" fmla="*/ 1965263 h 6875997"/>
              <a:gd name="connsiteX468" fmla="*/ 8973223 w 12191995"/>
              <a:gd name="connsiteY468" fmla="*/ 1965263 h 6875997"/>
              <a:gd name="connsiteX469" fmla="*/ 8973223 w 12191995"/>
              <a:gd name="connsiteY469" fmla="*/ 2681002 h 6875997"/>
              <a:gd name="connsiteX470" fmla="*/ 8258205 w 12191995"/>
              <a:gd name="connsiteY470" fmla="*/ 2681002 h 6875997"/>
              <a:gd name="connsiteX471" fmla="*/ 7539586 w 12191995"/>
              <a:gd name="connsiteY471" fmla="*/ 1965263 h 6875997"/>
              <a:gd name="connsiteX472" fmla="*/ 8254605 w 12191995"/>
              <a:gd name="connsiteY472" fmla="*/ 1965263 h 6875997"/>
              <a:gd name="connsiteX473" fmla="*/ 8254605 w 12191995"/>
              <a:gd name="connsiteY473" fmla="*/ 2681002 h 6875997"/>
              <a:gd name="connsiteX474" fmla="*/ 7539586 w 12191995"/>
              <a:gd name="connsiteY474" fmla="*/ 2681002 h 6875997"/>
              <a:gd name="connsiteX475" fmla="*/ 6820967 w 12191995"/>
              <a:gd name="connsiteY475" fmla="*/ 1965263 h 6875997"/>
              <a:gd name="connsiteX476" fmla="*/ 7535986 w 12191995"/>
              <a:gd name="connsiteY476" fmla="*/ 1965263 h 6875997"/>
              <a:gd name="connsiteX477" fmla="*/ 7535986 w 12191995"/>
              <a:gd name="connsiteY477" fmla="*/ 2681002 h 6875997"/>
              <a:gd name="connsiteX478" fmla="*/ 6820967 w 12191995"/>
              <a:gd name="connsiteY478" fmla="*/ 2681002 h 6875997"/>
              <a:gd name="connsiteX479" fmla="*/ 6102348 w 12191995"/>
              <a:gd name="connsiteY479" fmla="*/ 1965263 h 6875997"/>
              <a:gd name="connsiteX480" fmla="*/ 6817367 w 12191995"/>
              <a:gd name="connsiteY480" fmla="*/ 1965263 h 6875997"/>
              <a:gd name="connsiteX481" fmla="*/ 6817367 w 12191995"/>
              <a:gd name="connsiteY481" fmla="*/ 2681002 h 6875997"/>
              <a:gd name="connsiteX482" fmla="*/ 6102348 w 12191995"/>
              <a:gd name="connsiteY482" fmla="*/ 2681002 h 6875997"/>
              <a:gd name="connsiteX483" fmla="*/ 5383731 w 12191995"/>
              <a:gd name="connsiteY483" fmla="*/ 1965263 h 6875997"/>
              <a:gd name="connsiteX484" fmla="*/ 6098748 w 12191995"/>
              <a:gd name="connsiteY484" fmla="*/ 1965263 h 6875997"/>
              <a:gd name="connsiteX485" fmla="*/ 6098748 w 12191995"/>
              <a:gd name="connsiteY485" fmla="*/ 2681002 h 6875997"/>
              <a:gd name="connsiteX486" fmla="*/ 5383731 w 12191995"/>
              <a:gd name="connsiteY486" fmla="*/ 2681002 h 6875997"/>
              <a:gd name="connsiteX487" fmla="*/ 4665112 w 12191995"/>
              <a:gd name="connsiteY487" fmla="*/ 1965263 h 6875997"/>
              <a:gd name="connsiteX488" fmla="*/ 5380131 w 12191995"/>
              <a:gd name="connsiteY488" fmla="*/ 1965263 h 6875997"/>
              <a:gd name="connsiteX489" fmla="*/ 5380131 w 12191995"/>
              <a:gd name="connsiteY489" fmla="*/ 2681002 h 6875997"/>
              <a:gd name="connsiteX490" fmla="*/ 4665112 w 12191995"/>
              <a:gd name="connsiteY490" fmla="*/ 2681002 h 6875997"/>
              <a:gd name="connsiteX491" fmla="*/ 3946497 w 12191995"/>
              <a:gd name="connsiteY491" fmla="*/ 1965263 h 6875997"/>
              <a:gd name="connsiteX492" fmla="*/ 4661513 w 12191995"/>
              <a:gd name="connsiteY492" fmla="*/ 1965263 h 6875997"/>
              <a:gd name="connsiteX493" fmla="*/ 4661513 w 12191995"/>
              <a:gd name="connsiteY493" fmla="*/ 2681002 h 6875997"/>
              <a:gd name="connsiteX494" fmla="*/ 3946497 w 12191995"/>
              <a:gd name="connsiteY494" fmla="*/ 2681002 h 6875997"/>
              <a:gd name="connsiteX495" fmla="*/ 3227878 w 12191995"/>
              <a:gd name="connsiteY495" fmla="*/ 1965263 h 6875997"/>
              <a:gd name="connsiteX496" fmla="*/ 3942896 w 12191995"/>
              <a:gd name="connsiteY496" fmla="*/ 1965263 h 6875997"/>
              <a:gd name="connsiteX497" fmla="*/ 3942896 w 12191995"/>
              <a:gd name="connsiteY497" fmla="*/ 2681002 h 6875997"/>
              <a:gd name="connsiteX498" fmla="*/ 3227878 w 12191995"/>
              <a:gd name="connsiteY498" fmla="*/ 2681002 h 6875997"/>
              <a:gd name="connsiteX499" fmla="*/ 2509257 w 12191995"/>
              <a:gd name="connsiteY499" fmla="*/ 1965263 h 6875997"/>
              <a:gd name="connsiteX500" fmla="*/ 3224277 w 12191995"/>
              <a:gd name="connsiteY500" fmla="*/ 1965263 h 6875997"/>
              <a:gd name="connsiteX501" fmla="*/ 3224277 w 12191995"/>
              <a:gd name="connsiteY501" fmla="*/ 2681002 h 6875997"/>
              <a:gd name="connsiteX502" fmla="*/ 2509257 w 12191995"/>
              <a:gd name="connsiteY502" fmla="*/ 2681002 h 6875997"/>
              <a:gd name="connsiteX503" fmla="*/ 1790637 w 12191995"/>
              <a:gd name="connsiteY503" fmla="*/ 1965263 h 6875997"/>
              <a:gd name="connsiteX504" fmla="*/ 2505659 w 12191995"/>
              <a:gd name="connsiteY504" fmla="*/ 1965263 h 6875997"/>
              <a:gd name="connsiteX505" fmla="*/ 2505659 w 12191995"/>
              <a:gd name="connsiteY505" fmla="*/ 2681002 h 6875997"/>
              <a:gd name="connsiteX506" fmla="*/ 1790637 w 12191995"/>
              <a:gd name="connsiteY506" fmla="*/ 2681002 h 6875997"/>
              <a:gd name="connsiteX507" fmla="*/ 1072019 w 12191995"/>
              <a:gd name="connsiteY507" fmla="*/ 1965263 h 6875997"/>
              <a:gd name="connsiteX508" fmla="*/ 1787037 w 12191995"/>
              <a:gd name="connsiteY508" fmla="*/ 1965263 h 6875997"/>
              <a:gd name="connsiteX509" fmla="*/ 1787037 w 12191995"/>
              <a:gd name="connsiteY509" fmla="*/ 2681002 h 6875997"/>
              <a:gd name="connsiteX510" fmla="*/ 1072019 w 12191995"/>
              <a:gd name="connsiteY510" fmla="*/ 2681002 h 6875997"/>
              <a:gd name="connsiteX511" fmla="*/ 353400 w 12191995"/>
              <a:gd name="connsiteY511" fmla="*/ 1965263 h 6875997"/>
              <a:gd name="connsiteX512" fmla="*/ 1068419 w 12191995"/>
              <a:gd name="connsiteY512" fmla="*/ 1965263 h 6875997"/>
              <a:gd name="connsiteX513" fmla="*/ 1068419 w 12191995"/>
              <a:gd name="connsiteY513" fmla="*/ 2681002 h 6875997"/>
              <a:gd name="connsiteX514" fmla="*/ 353400 w 12191995"/>
              <a:gd name="connsiteY514" fmla="*/ 2681002 h 6875997"/>
              <a:gd name="connsiteX515" fmla="*/ 0 w 12191995"/>
              <a:gd name="connsiteY515" fmla="*/ 1965263 h 6875997"/>
              <a:gd name="connsiteX516" fmla="*/ 349800 w 12191995"/>
              <a:gd name="connsiteY516" fmla="*/ 1965263 h 6875997"/>
              <a:gd name="connsiteX517" fmla="*/ 349800 w 12191995"/>
              <a:gd name="connsiteY517" fmla="*/ 2681002 h 6875997"/>
              <a:gd name="connsiteX518" fmla="*/ 0 w 12191995"/>
              <a:gd name="connsiteY518" fmla="*/ 2681002 h 6875997"/>
              <a:gd name="connsiteX519" fmla="*/ 11132680 w 12191995"/>
              <a:gd name="connsiteY519" fmla="*/ 1245925 h 6875997"/>
              <a:gd name="connsiteX520" fmla="*/ 11847706 w 12191995"/>
              <a:gd name="connsiteY520" fmla="*/ 1245925 h 6875997"/>
              <a:gd name="connsiteX521" fmla="*/ 11847706 w 12191995"/>
              <a:gd name="connsiteY521" fmla="*/ 1961663 h 6875997"/>
              <a:gd name="connsiteX522" fmla="*/ 11132680 w 12191995"/>
              <a:gd name="connsiteY522" fmla="*/ 1961663 h 6875997"/>
              <a:gd name="connsiteX523" fmla="*/ 10414061 w 12191995"/>
              <a:gd name="connsiteY523" fmla="*/ 1245925 h 6875997"/>
              <a:gd name="connsiteX524" fmla="*/ 11129080 w 12191995"/>
              <a:gd name="connsiteY524" fmla="*/ 1245925 h 6875997"/>
              <a:gd name="connsiteX525" fmla="*/ 11129080 w 12191995"/>
              <a:gd name="connsiteY525" fmla="*/ 1961663 h 6875997"/>
              <a:gd name="connsiteX526" fmla="*/ 10414061 w 12191995"/>
              <a:gd name="connsiteY526" fmla="*/ 1961663 h 6875997"/>
              <a:gd name="connsiteX527" fmla="*/ 9695442 w 12191995"/>
              <a:gd name="connsiteY527" fmla="*/ 1245925 h 6875997"/>
              <a:gd name="connsiteX528" fmla="*/ 10410461 w 12191995"/>
              <a:gd name="connsiteY528" fmla="*/ 1245925 h 6875997"/>
              <a:gd name="connsiteX529" fmla="*/ 10410461 w 12191995"/>
              <a:gd name="connsiteY529" fmla="*/ 1961663 h 6875997"/>
              <a:gd name="connsiteX530" fmla="*/ 9695442 w 12191995"/>
              <a:gd name="connsiteY530" fmla="*/ 1961663 h 6875997"/>
              <a:gd name="connsiteX531" fmla="*/ 8976823 w 12191995"/>
              <a:gd name="connsiteY531" fmla="*/ 1245925 h 6875997"/>
              <a:gd name="connsiteX532" fmla="*/ 9691842 w 12191995"/>
              <a:gd name="connsiteY532" fmla="*/ 1245925 h 6875997"/>
              <a:gd name="connsiteX533" fmla="*/ 9691842 w 12191995"/>
              <a:gd name="connsiteY533" fmla="*/ 1961663 h 6875997"/>
              <a:gd name="connsiteX534" fmla="*/ 8976823 w 12191995"/>
              <a:gd name="connsiteY534" fmla="*/ 1961663 h 6875997"/>
              <a:gd name="connsiteX535" fmla="*/ 8258205 w 12191995"/>
              <a:gd name="connsiteY535" fmla="*/ 1245925 h 6875997"/>
              <a:gd name="connsiteX536" fmla="*/ 8973223 w 12191995"/>
              <a:gd name="connsiteY536" fmla="*/ 1245925 h 6875997"/>
              <a:gd name="connsiteX537" fmla="*/ 8973223 w 12191995"/>
              <a:gd name="connsiteY537" fmla="*/ 1961663 h 6875997"/>
              <a:gd name="connsiteX538" fmla="*/ 8258205 w 12191995"/>
              <a:gd name="connsiteY538" fmla="*/ 1961663 h 6875997"/>
              <a:gd name="connsiteX539" fmla="*/ 7539586 w 12191995"/>
              <a:gd name="connsiteY539" fmla="*/ 1245925 h 6875997"/>
              <a:gd name="connsiteX540" fmla="*/ 8254605 w 12191995"/>
              <a:gd name="connsiteY540" fmla="*/ 1245925 h 6875997"/>
              <a:gd name="connsiteX541" fmla="*/ 8254605 w 12191995"/>
              <a:gd name="connsiteY541" fmla="*/ 1961663 h 6875997"/>
              <a:gd name="connsiteX542" fmla="*/ 7539586 w 12191995"/>
              <a:gd name="connsiteY542" fmla="*/ 1961663 h 6875997"/>
              <a:gd name="connsiteX543" fmla="*/ 6820967 w 12191995"/>
              <a:gd name="connsiteY543" fmla="*/ 1245925 h 6875997"/>
              <a:gd name="connsiteX544" fmla="*/ 7535986 w 12191995"/>
              <a:gd name="connsiteY544" fmla="*/ 1245925 h 6875997"/>
              <a:gd name="connsiteX545" fmla="*/ 7535986 w 12191995"/>
              <a:gd name="connsiteY545" fmla="*/ 1961663 h 6875997"/>
              <a:gd name="connsiteX546" fmla="*/ 6820967 w 12191995"/>
              <a:gd name="connsiteY546" fmla="*/ 1961663 h 6875997"/>
              <a:gd name="connsiteX547" fmla="*/ 6102348 w 12191995"/>
              <a:gd name="connsiteY547" fmla="*/ 1245925 h 6875997"/>
              <a:gd name="connsiteX548" fmla="*/ 6817367 w 12191995"/>
              <a:gd name="connsiteY548" fmla="*/ 1245925 h 6875997"/>
              <a:gd name="connsiteX549" fmla="*/ 6817367 w 12191995"/>
              <a:gd name="connsiteY549" fmla="*/ 1961663 h 6875997"/>
              <a:gd name="connsiteX550" fmla="*/ 6102348 w 12191995"/>
              <a:gd name="connsiteY550" fmla="*/ 1961663 h 6875997"/>
              <a:gd name="connsiteX551" fmla="*/ 5383731 w 12191995"/>
              <a:gd name="connsiteY551" fmla="*/ 1245925 h 6875997"/>
              <a:gd name="connsiteX552" fmla="*/ 6098748 w 12191995"/>
              <a:gd name="connsiteY552" fmla="*/ 1245925 h 6875997"/>
              <a:gd name="connsiteX553" fmla="*/ 6098748 w 12191995"/>
              <a:gd name="connsiteY553" fmla="*/ 1961663 h 6875997"/>
              <a:gd name="connsiteX554" fmla="*/ 5383731 w 12191995"/>
              <a:gd name="connsiteY554" fmla="*/ 1961663 h 6875997"/>
              <a:gd name="connsiteX555" fmla="*/ 4665112 w 12191995"/>
              <a:gd name="connsiteY555" fmla="*/ 1245925 h 6875997"/>
              <a:gd name="connsiteX556" fmla="*/ 5380131 w 12191995"/>
              <a:gd name="connsiteY556" fmla="*/ 1245925 h 6875997"/>
              <a:gd name="connsiteX557" fmla="*/ 5380131 w 12191995"/>
              <a:gd name="connsiteY557" fmla="*/ 1961663 h 6875997"/>
              <a:gd name="connsiteX558" fmla="*/ 4665112 w 12191995"/>
              <a:gd name="connsiteY558" fmla="*/ 1961663 h 6875997"/>
              <a:gd name="connsiteX559" fmla="*/ 3946497 w 12191995"/>
              <a:gd name="connsiteY559" fmla="*/ 1245925 h 6875997"/>
              <a:gd name="connsiteX560" fmla="*/ 4661513 w 12191995"/>
              <a:gd name="connsiteY560" fmla="*/ 1245925 h 6875997"/>
              <a:gd name="connsiteX561" fmla="*/ 4661513 w 12191995"/>
              <a:gd name="connsiteY561" fmla="*/ 1961663 h 6875997"/>
              <a:gd name="connsiteX562" fmla="*/ 3946497 w 12191995"/>
              <a:gd name="connsiteY562" fmla="*/ 1961663 h 6875997"/>
              <a:gd name="connsiteX563" fmla="*/ 3227878 w 12191995"/>
              <a:gd name="connsiteY563" fmla="*/ 1245925 h 6875997"/>
              <a:gd name="connsiteX564" fmla="*/ 3942896 w 12191995"/>
              <a:gd name="connsiteY564" fmla="*/ 1245925 h 6875997"/>
              <a:gd name="connsiteX565" fmla="*/ 3942896 w 12191995"/>
              <a:gd name="connsiteY565" fmla="*/ 1961663 h 6875997"/>
              <a:gd name="connsiteX566" fmla="*/ 3227878 w 12191995"/>
              <a:gd name="connsiteY566" fmla="*/ 1961663 h 6875997"/>
              <a:gd name="connsiteX567" fmla="*/ 2509257 w 12191995"/>
              <a:gd name="connsiteY567" fmla="*/ 1245925 h 6875997"/>
              <a:gd name="connsiteX568" fmla="*/ 3224277 w 12191995"/>
              <a:gd name="connsiteY568" fmla="*/ 1245925 h 6875997"/>
              <a:gd name="connsiteX569" fmla="*/ 3224277 w 12191995"/>
              <a:gd name="connsiteY569" fmla="*/ 1961663 h 6875997"/>
              <a:gd name="connsiteX570" fmla="*/ 2509257 w 12191995"/>
              <a:gd name="connsiteY570" fmla="*/ 1961663 h 6875997"/>
              <a:gd name="connsiteX571" fmla="*/ 1790637 w 12191995"/>
              <a:gd name="connsiteY571" fmla="*/ 1245925 h 6875997"/>
              <a:gd name="connsiteX572" fmla="*/ 2505659 w 12191995"/>
              <a:gd name="connsiteY572" fmla="*/ 1245925 h 6875997"/>
              <a:gd name="connsiteX573" fmla="*/ 2505659 w 12191995"/>
              <a:gd name="connsiteY573" fmla="*/ 1961663 h 6875997"/>
              <a:gd name="connsiteX574" fmla="*/ 1790637 w 12191995"/>
              <a:gd name="connsiteY574" fmla="*/ 1961663 h 6875997"/>
              <a:gd name="connsiteX575" fmla="*/ 1072019 w 12191995"/>
              <a:gd name="connsiteY575" fmla="*/ 1245925 h 6875997"/>
              <a:gd name="connsiteX576" fmla="*/ 1787037 w 12191995"/>
              <a:gd name="connsiteY576" fmla="*/ 1245925 h 6875997"/>
              <a:gd name="connsiteX577" fmla="*/ 1787037 w 12191995"/>
              <a:gd name="connsiteY577" fmla="*/ 1961663 h 6875997"/>
              <a:gd name="connsiteX578" fmla="*/ 1072019 w 12191995"/>
              <a:gd name="connsiteY578" fmla="*/ 1961663 h 6875997"/>
              <a:gd name="connsiteX579" fmla="*/ 353400 w 12191995"/>
              <a:gd name="connsiteY579" fmla="*/ 1245925 h 6875997"/>
              <a:gd name="connsiteX580" fmla="*/ 1068419 w 12191995"/>
              <a:gd name="connsiteY580" fmla="*/ 1245925 h 6875997"/>
              <a:gd name="connsiteX581" fmla="*/ 1068419 w 12191995"/>
              <a:gd name="connsiteY581" fmla="*/ 1961663 h 6875997"/>
              <a:gd name="connsiteX582" fmla="*/ 353400 w 12191995"/>
              <a:gd name="connsiteY582" fmla="*/ 1961663 h 6875997"/>
              <a:gd name="connsiteX583" fmla="*/ 0 w 12191995"/>
              <a:gd name="connsiteY583" fmla="*/ 1245925 h 6875997"/>
              <a:gd name="connsiteX584" fmla="*/ 349800 w 12191995"/>
              <a:gd name="connsiteY584" fmla="*/ 1245925 h 6875997"/>
              <a:gd name="connsiteX585" fmla="*/ 349800 w 12191995"/>
              <a:gd name="connsiteY585" fmla="*/ 1961663 h 6875997"/>
              <a:gd name="connsiteX586" fmla="*/ 0 w 12191995"/>
              <a:gd name="connsiteY586" fmla="*/ 1961663 h 6875997"/>
              <a:gd name="connsiteX587" fmla="*/ 11132680 w 12191995"/>
              <a:gd name="connsiteY587" fmla="*/ 526587 h 6875997"/>
              <a:gd name="connsiteX588" fmla="*/ 11847706 w 12191995"/>
              <a:gd name="connsiteY588" fmla="*/ 526587 h 6875997"/>
              <a:gd name="connsiteX589" fmla="*/ 11847706 w 12191995"/>
              <a:gd name="connsiteY589" fmla="*/ 1242325 h 6875997"/>
              <a:gd name="connsiteX590" fmla="*/ 11132680 w 12191995"/>
              <a:gd name="connsiteY590" fmla="*/ 1242325 h 6875997"/>
              <a:gd name="connsiteX591" fmla="*/ 10414061 w 12191995"/>
              <a:gd name="connsiteY591" fmla="*/ 526587 h 6875997"/>
              <a:gd name="connsiteX592" fmla="*/ 11129080 w 12191995"/>
              <a:gd name="connsiteY592" fmla="*/ 526587 h 6875997"/>
              <a:gd name="connsiteX593" fmla="*/ 11129080 w 12191995"/>
              <a:gd name="connsiteY593" fmla="*/ 1242325 h 6875997"/>
              <a:gd name="connsiteX594" fmla="*/ 10414061 w 12191995"/>
              <a:gd name="connsiteY594" fmla="*/ 1242325 h 6875997"/>
              <a:gd name="connsiteX595" fmla="*/ 9695442 w 12191995"/>
              <a:gd name="connsiteY595" fmla="*/ 526587 h 6875997"/>
              <a:gd name="connsiteX596" fmla="*/ 10410461 w 12191995"/>
              <a:gd name="connsiteY596" fmla="*/ 526587 h 6875997"/>
              <a:gd name="connsiteX597" fmla="*/ 10410461 w 12191995"/>
              <a:gd name="connsiteY597" fmla="*/ 1242325 h 6875997"/>
              <a:gd name="connsiteX598" fmla="*/ 9695442 w 12191995"/>
              <a:gd name="connsiteY598" fmla="*/ 1242325 h 6875997"/>
              <a:gd name="connsiteX599" fmla="*/ 8976823 w 12191995"/>
              <a:gd name="connsiteY599" fmla="*/ 526587 h 6875997"/>
              <a:gd name="connsiteX600" fmla="*/ 9691842 w 12191995"/>
              <a:gd name="connsiteY600" fmla="*/ 526587 h 6875997"/>
              <a:gd name="connsiteX601" fmla="*/ 9691842 w 12191995"/>
              <a:gd name="connsiteY601" fmla="*/ 1242325 h 6875997"/>
              <a:gd name="connsiteX602" fmla="*/ 8976823 w 12191995"/>
              <a:gd name="connsiteY602" fmla="*/ 1242325 h 6875997"/>
              <a:gd name="connsiteX603" fmla="*/ 8258205 w 12191995"/>
              <a:gd name="connsiteY603" fmla="*/ 526587 h 6875997"/>
              <a:gd name="connsiteX604" fmla="*/ 8973223 w 12191995"/>
              <a:gd name="connsiteY604" fmla="*/ 526587 h 6875997"/>
              <a:gd name="connsiteX605" fmla="*/ 8973223 w 12191995"/>
              <a:gd name="connsiteY605" fmla="*/ 1242325 h 6875997"/>
              <a:gd name="connsiteX606" fmla="*/ 8258205 w 12191995"/>
              <a:gd name="connsiteY606" fmla="*/ 1242325 h 6875997"/>
              <a:gd name="connsiteX607" fmla="*/ 7539586 w 12191995"/>
              <a:gd name="connsiteY607" fmla="*/ 526587 h 6875997"/>
              <a:gd name="connsiteX608" fmla="*/ 8254605 w 12191995"/>
              <a:gd name="connsiteY608" fmla="*/ 526587 h 6875997"/>
              <a:gd name="connsiteX609" fmla="*/ 8254605 w 12191995"/>
              <a:gd name="connsiteY609" fmla="*/ 1242325 h 6875997"/>
              <a:gd name="connsiteX610" fmla="*/ 7539586 w 12191995"/>
              <a:gd name="connsiteY610" fmla="*/ 1242325 h 6875997"/>
              <a:gd name="connsiteX611" fmla="*/ 6820967 w 12191995"/>
              <a:gd name="connsiteY611" fmla="*/ 526587 h 6875997"/>
              <a:gd name="connsiteX612" fmla="*/ 7535986 w 12191995"/>
              <a:gd name="connsiteY612" fmla="*/ 526587 h 6875997"/>
              <a:gd name="connsiteX613" fmla="*/ 7535986 w 12191995"/>
              <a:gd name="connsiteY613" fmla="*/ 1242325 h 6875997"/>
              <a:gd name="connsiteX614" fmla="*/ 6820967 w 12191995"/>
              <a:gd name="connsiteY614" fmla="*/ 1242325 h 6875997"/>
              <a:gd name="connsiteX615" fmla="*/ 6102348 w 12191995"/>
              <a:gd name="connsiteY615" fmla="*/ 526587 h 6875997"/>
              <a:gd name="connsiteX616" fmla="*/ 6817367 w 12191995"/>
              <a:gd name="connsiteY616" fmla="*/ 526587 h 6875997"/>
              <a:gd name="connsiteX617" fmla="*/ 6817367 w 12191995"/>
              <a:gd name="connsiteY617" fmla="*/ 1242325 h 6875997"/>
              <a:gd name="connsiteX618" fmla="*/ 6102348 w 12191995"/>
              <a:gd name="connsiteY618" fmla="*/ 1242325 h 6875997"/>
              <a:gd name="connsiteX619" fmla="*/ 5383731 w 12191995"/>
              <a:gd name="connsiteY619" fmla="*/ 526587 h 6875997"/>
              <a:gd name="connsiteX620" fmla="*/ 6098748 w 12191995"/>
              <a:gd name="connsiteY620" fmla="*/ 526587 h 6875997"/>
              <a:gd name="connsiteX621" fmla="*/ 6098748 w 12191995"/>
              <a:gd name="connsiteY621" fmla="*/ 1242325 h 6875997"/>
              <a:gd name="connsiteX622" fmla="*/ 5383731 w 12191995"/>
              <a:gd name="connsiteY622" fmla="*/ 1242325 h 6875997"/>
              <a:gd name="connsiteX623" fmla="*/ 4665112 w 12191995"/>
              <a:gd name="connsiteY623" fmla="*/ 526587 h 6875997"/>
              <a:gd name="connsiteX624" fmla="*/ 5380131 w 12191995"/>
              <a:gd name="connsiteY624" fmla="*/ 526587 h 6875997"/>
              <a:gd name="connsiteX625" fmla="*/ 5380131 w 12191995"/>
              <a:gd name="connsiteY625" fmla="*/ 1242325 h 6875997"/>
              <a:gd name="connsiteX626" fmla="*/ 4665112 w 12191995"/>
              <a:gd name="connsiteY626" fmla="*/ 1242325 h 6875997"/>
              <a:gd name="connsiteX627" fmla="*/ 3946497 w 12191995"/>
              <a:gd name="connsiteY627" fmla="*/ 526587 h 6875997"/>
              <a:gd name="connsiteX628" fmla="*/ 4661513 w 12191995"/>
              <a:gd name="connsiteY628" fmla="*/ 526587 h 6875997"/>
              <a:gd name="connsiteX629" fmla="*/ 4661513 w 12191995"/>
              <a:gd name="connsiteY629" fmla="*/ 1242325 h 6875997"/>
              <a:gd name="connsiteX630" fmla="*/ 3946497 w 12191995"/>
              <a:gd name="connsiteY630" fmla="*/ 1242325 h 6875997"/>
              <a:gd name="connsiteX631" fmla="*/ 3227878 w 12191995"/>
              <a:gd name="connsiteY631" fmla="*/ 526587 h 6875997"/>
              <a:gd name="connsiteX632" fmla="*/ 3942896 w 12191995"/>
              <a:gd name="connsiteY632" fmla="*/ 526587 h 6875997"/>
              <a:gd name="connsiteX633" fmla="*/ 3942896 w 12191995"/>
              <a:gd name="connsiteY633" fmla="*/ 1242325 h 6875997"/>
              <a:gd name="connsiteX634" fmla="*/ 3227878 w 12191995"/>
              <a:gd name="connsiteY634" fmla="*/ 1242325 h 6875997"/>
              <a:gd name="connsiteX635" fmla="*/ 2509257 w 12191995"/>
              <a:gd name="connsiteY635" fmla="*/ 526587 h 6875997"/>
              <a:gd name="connsiteX636" fmla="*/ 3224277 w 12191995"/>
              <a:gd name="connsiteY636" fmla="*/ 526587 h 6875997"/>
              <a:gd name="connsiteX637" fmla="*/ 3224277 w 12191995"/>
              <a:gd name="connsiteY637" fmla="*/ 1242325 h 6875997"/>
              <a:gd name="connsiteX638" fmla="*/ 2509257 w 12191995"/>
              <a:gd name="connsiteY638" fmla="*/ 1242325 h 6875997"/>
              <a:gd name="connsiteX639" fmla="*/ 1790637 w 12191995"/>
              <a:gd name="connsiteY639" fmla="*/ 526587 h 6875997"/>
              <a:gd name="connsiteX640" fmla="*/ 2505659 w 12191995"/>
              <a:gd name="connsiteY640" fmla="*/ 526587 h 6875997"/>
              <a:gd name="connsiteX641" fmla="*/ 2505659 w 12191995"/>
              <a:gd name="connsiteY641" fmla="*/ 1242325 h 6875997"/>
              <a:gd name="connsiteX642" fmla="*/ 1790637 w 12191995"/>
              <a:gd name="connsiteY642" fmla="*/ 1242325 h 6875997"/>
              <a:gd name="connsiteX643" fmla="*/ 1072019 w 12191995"/>
              <a:gd name="connsiteY643" fmla="*/ 526587 h 6875997"/>
              <a:gd name="connsiteX644" fmla="*/ 1787037 w 12191995"/>
              <a:gd name="connsiteY644" fmla="*/ 526587 h 6875997"/>
              <a:gd name="connsiteX645" fmla="*/ 1787037 w 12191995"/>
              <a:gd name="connsiteY645" fmla="*/ 1242325 h 6875997"/>
              <a:gd name="connsiteX646" fmla="*/ 1072019 w 12191995"/>
              <a:gd name="connsiteY646" fmla="*/ 1242325 h 6875997"/>
              <a:gd name="connsiteX647" fmla="*/ 353400 w 12191995"/>
              <a:gd name="connsiteY647" fmla="*/ 526587 h 6875997"/>
              <a:gd name="connsiteX648" fmla="*/ 1068419 w 12191995"/>
              <a:gd name="connsiteY648" fmla="*/ 526587 h 6875997"/>
              <a:gd name="connsiteX649" fmla="*/ 1068419 w 12191995"/>
              <a:gd name="connsiteY649" fmla="*/ 1242325 h 6875997"/>
              <a:gd name="connsiteX650" fmla="*/ 353400 w 12191995"/>
              <a:gd name="connsiteY650" fmla="*/ 1242325 h 6875997"/>
              <a:gd name="connsiteX651" fmla="*/ 0 w 12191995"/>
              <a:gd name="connsiteY651" fmla="*/ 526587 h 6875997"/>
              <a:gd name="connsiteX652" fmla="*/ 349800 w 12191995"/>
              <a:gd name="connsiteY652" fmla="*/ 526587 h 6875997"/>
              <a:gd name="connsiteX653" fmla="*/ 349800 w 12191995"/>
              <a:gd name="connsiteY653" fmla="*/ 1242325 h 6875997"/>
              <a:gd name="connsiteX654" fmla="*/ 0 w 12191995"/>
              <a:gd name="connsiteY654" fmla="*/ 1242325 h 6875997"/>
              <a:gd name="connsiteX655" fmla="*/ 11851306 w 12191995"/>
              <a:gd name="connsiteY655" fmla="*/ 6 h 6875997"/>
              <a:gd name="connsiteX656" fmla="*/ 12191995 w 12191995"/>
              <a:gd name="connsiteY656" fmla="*/ 6 h 6875997"/>
              <a:gd name="connsiteX657" fmla="*/ 12191995 w 12191995"/>
              <a:gd name="connsiteY657" fmla="*/ 6875997 h 6875997"/>
              <a:gd name="connsiteX658" fmla="*/ 11 w 12191995"/>
              <a:gd name="connsiteY658" fmla="*/ 6875997 h 6875997"/>
              <a:gd name="connsiteX659" fmla="*/ 11 w 12191995"/>
              <a:gd name="connsiteY659" fmla="*/ 6875990 h 6875997"/>
              <a:gd name="connsiteX660" fmla="*/ 0 w 12191995"/>
              <a:gd name="connsiteY660" fmla="*/ 6875990 h 6875997"/>
              <a:gd name="connsiteX661" fmla="*/ 0 w 12191995"/>
              <a:gd name="connsiteY661" fmla="*/ 6281286 h 6875997"/>
              <a:gd name="connsiteX662" fmla="*/ 12191994 w 12191995"/>
              <a:gd name="connsiteY662" fmla="*/ 6281286 h 6875997"/>
              <a:gd name="connsiteX663" fmla="*/ 12191994 w 12191995"/>
              <a:gd name="connsiteY663" fmla="*/ 6277686 h 6875997"/>
              <a:gd name="connsiteX664" fmla="*/ 11851306 w 12191995"/>
              <a:gd name="connsiteY664" fmla="*/ 6277686 h 6875997"/>
              <a:gd name="connsiteX665" fmla="*/ 11851306 w 12191995"/>
              <a:gd name="connsiteY665" fmla="*/ 5561951 h 6875997"/>
              <a:gd name="connsiteX666" fmla="*/ 12191994 w 12191995"/>
              <a:gd name="connsiteY666" fmla="*/ 5561951 h 6875997"/>
              <a:gd name="connsiteX667" fmla="*/ 12191994 w 12191995"/>
              <a:gd name="connsiteY667" fmla="*/ 5558351 h 6875997"/>
              <a:gd name="connsiteX668" fmla="*/ 11851306 w 12191995"/>
              <a:gd name="connsiteY668" fmla="*/ 5558351 h 6875997"/>
              <a:gd name="connsiteX669" fmla="*/ 11851306 w 12191995"/>
              <a:gd name="connsiteY669" fmla="*/ 4842613 h 6875997"/>
              <a:gd name="connsiteX670" fmla="*/ 12191994 w 12191995"/>
              <a:gd name="connsiteY670" fmla="*/ 4842613 h 6875997"/>
              <a:gd name="connsiteX671" fmla="*/ 12191994 w 12191995"/>
              <a:gd name="connsiteY671" fmla="*/ 4839013 h 6875997"/>
              <a:gd name="connsiteX672" fmla="*/ 11851306 w 12191995"/>
              <a:gd name="connsiteY672" fmla="*/ 4839013 h 6875997"/>
              <a:gd name="connsiteX673" fmla="*/ 11851306 w 12191995"/>
              <a:gd name="connsiteY673" fmla="*/ 4123275 h 6875997"/>
              <a:gd name="connsiteX674" fmla="*/ 12191994 w 12191995"/>
              <a:gd name="connsiteY674" fmla="*/ 4123275 h 6875997"/>
              <a:gd name="connsiteX675" fmla="*/ 12191994 w 12191995"/>
              <a:gd name="connsiteY675" fmla="*/ 4119675 h 6875997"/>
              <a:gd name="connsiteX676" fmla="*/ 11851306 w 12191995"/>
              <a:gd name="connsiteY676" fmla="*/ 4119675 h 6875997"/>
              <a:gd name="connsiteX677" fmla="*/ 11851306 w 12191995"/>
              <a:gd name="connsiteY677" fmla="*/ 3403939 h 6875997"/>
              <a:gd name="connsiteX678" fmla="*/ 12191994 w 12191995"/>
              <a:gd name="connsiteY678" fmla="*/ 3403939 h 6875997"/>
              <a:gd name="connsiteX679" fmla="*/ 12191994 w 12191995"/>
              <a:gd name="connsiteY679" fmla="*/ 3400338 h 6875997"/>
              <a:gd name="connsiteX680" fmla="*/ 11851306 w 12191995"/>
              <a:gd name="connsiteY680" fmla="*/ 3400338 h 6875997"/>
              <a:gd name="connsiteX681" fmla="*/ 11851306 w 12191995"/>
              <a:gd name="connsiteY681" fmla="*/ 2684600 h 6875997"/>
              <a:gd name="connsiteX682" fmla="*/ 12191994 w 12191995"/>
              <a:gd name="connsiteY682" fmla="*/ 2684600 h 6875997"/>
              <a:gd name="connsiteX683" fmla="*/ 12191994 w 12191995"/>
              <a:gd name="connsiteY683" fmla="*/ 2681002 h 6875997"/>
              <a:gd name="connsiteX684" fmla="*/ 11851306 w 12191995"/>
              <a:gd name="connsiteY684" fmla="*/ 2681002 h 6875997"/>
              <a:gd name="connsiteX685" fmla="*/ 11851306 w 12191995"/>
              <a:gd name="connsiteY685" fmla="*/ 1965263 h 6875997"/>
              <a:gd name="connsiteX686" fmla="*/ 12191994 w 12191995"/>
              <a:gd name="connsiteY686" fmla="*/ 1965263 h 6875997"/>
              <a:gd name="connsiteX687" fmla="*/ 12191994 w 12191995"/>
              <a:gd name="connsiteY687" fmla="*/ 1961663 h 6875997"/>
              <a:gd name="connsiteX688" fmla="*/ 11851306 w 12191995"/>
              <a:gd name="connsiteY688" fmla="*/ 1961663 h 6875997"/>
              <a:gd name="connsiteX689" fmla="*/ 11851306 w 12191995"/>
              <a:gd name="connsiteY689" fmla="*/ 1245925 h 6875997"/>
              <a:gd name="connsiteX690" fmla="*/ 12191994 w 12191995"/>
              <a:gd name="connsiteY690" fmla="*/ 1245925 h 6875997"/>
              <a:gd name="connsiteX691" fmla="*/ 12191994 w 12191995"/>
              <a:gd name="connsiteY691" fmla="*/ 1242325 h 6875997"/>
              <a:gd name="connsiteX692" fmla="*/ 11851306 w 12191995"/>
              <a:gd name="connsiteY692" fmla="*/ 1242325 h 6875997"/>
              <a:gd name="connsiteX693" fmla="*/ 11851306 w 12191995"/>
              <a:gd name="connsiteY693" fmla="*/ 526587 h 6875997"/>
              <a:gd name="connsiteX694" fmla="*/ 12191994 w 12191995"/>
              <a:gd name="connsiteY694" fmla="*/ 526587 h 6875997"/>
              <a:gd name="connsiteX695" fmla="*/ 12191994 w 12191995"/>
              <a:gd name="connsiteY695" fmla="*/ 522987 h 6875997"/>
              <a:gd name="connsiteX696" fmla="*/ 11851306 w 12191995"/>
              <a:gd name="connsiteY696" fmla="*/ 522987 h 6875997"/>
              <a:gd name="connsiteX697" fmla="*/ 11132680 w 12191995"/>
              <a:gd name="connsiteY697" fmla="*/ 6 h 6875997"/>
              <a:gd name="connsiteX698" fmla="*/ 11847706 w 12191995"/>
              <a:gd name="connsiteY698" fmla="*/ 6 h 6875997"/>
              <a:gd name="connsiteX699" fmla="*/ 11847706 w 12191995"/>
              <a:gd name="connsiteY699" fmla="*/ 522987 h 6875997"/>
              <a:gd name="connsiteX700" fmla="*/ 11132680 w 12191995"/>
              <a:gd name="connsiteY700" fmla="*/ 522987 h 6875997"/>
              <a:gd name="connsiteX701" fmla="*/ 10414061 w 12191995"/>
              <a:gd name="connsiteY701" fmla="*/ 6 h 6875997"/>
              <a:gd name="connsiteX702" fmla="*/ 11129080 w 12191995"/>
              <a:gd name="connsiteY702" fmla="*/ 6 h 6875997"/>
              <a:gd name="connsiteX703" fmla="*/ 11129080 w 12191995"/>
              <a:gd name="connsiteY703" fmla="*/ 522987 h 6875997"/>
              <a:gd name="connsiteX704" fmla="*/ 10414061 w 12191995"/>
              <a:gd name="connsiteY704" fmla="*/ 522987 h 6875997"/>
              <a:gd name="connsiteX705" fmla="*/ 9695442 w 12191995"/>
              <a:gd name="connsiteY705" fmla="*/ 6 h 6875997"/>
              <a:gd name="connsiteX706" fmla="*/ 10410461 w 12191995"/>
              <a:gd name="connsiteY706" fmla="*/ 6 h 6875997"/>
              <a:gd name="connsiteX707" fmla="*/ 10410461 w 12191995"/>
              <a:gd name="connsiteY707" fmla="*/ 522987 h 6875997"/>
              <a:gd name="connsiteX708" fmla="*/ 9695442 w 12191995"/>
              <a:gd name="connsiteY708" fmla="*/ 522987 h 6875997"/>
              <a:gd name="connsiteX709" fmla="*/ 8976823 w 12191995"/>
              <a:gd name="connsiteY709" fmla="*/ 6 h 6875997"/>
              <a:gd name="connsiteX710" fmla="*/ 9691842 w 12191995"/>
              <a:gd name="connsiteY710" fmla="*/ 6 h 6875997"/>
              <a:gd name="connsiteX711" fmla="*/ 9691842 w 12191995"/>
              <a:gd name="connsiteY711" fmla="*/ 522987 h 6875997"/>
              <a:gd name="connsiteX712" fmla="*/ 8976823 w 12191995"/>
              <a:gd name="connsiteY712" fmla="*/ 522987 h 6875997"/>
              <a:gd name="connsiteX713" fmla="*/ 8258205 w 12191995"/>
              <a:gd name="connsiteY713" fmla="*/ 6 h 6875997"/>
              <a:gd name="connsiteX714" fmla="*/ 8973223 w 12191995"/>
              <a:gd name="connsiteY714" fmla="*/ 6 h 6875997"/>
              <a:gd name="connsiteX715" fmla="*/ 8973223 w 12191995"/>
              <a:gd name="connsiteY715" fmla="*/ 522987 h 6875997"/>
              <a:gd name="connsiteX716" fmla="*/ 8258205 w 12191995"/>
              <a:gd name="connsiteY716" fmla="*/ 522987 h 6875997"/>
              <a:gd name="connsiteX717" fmla="*/ 7539586 w 12191995"/>
              <a:gd name="connsiteY717" fmla="*/ 6 h 6875997"/>
              <a:gd name="connsiteX718" fmla="*/ 8254605 w 12191995"/>
              <a:gd name="connsiteY718" fmla="*/ 6 h 6875997"/>
              <a:gd name="connsiteX719" fmla="*/ 8254605 w 12191995"/>
              <a:gd name="connsiteY719" fmla="*/ 522987 h 6875997"/>
              <a:gd name="connsiteX720" fmla="*/ 7539586 w 12191995"/>
              <a:gd name="connsiteY720" fmla="*/ 522987 h 6875997"/>
              <a:gd name="connsiteX721" fmla="*/ 6820967 w 12191995"/>
              <a:gd name="connsiteY721" fmla="*/ 6 h 6875997"/>
              <a:gd name="connsiteX722" fmla="*/ 7535986 w 12191995"/>
              <a:gd name="connsiteY722" fmla="*/ 6 h 6875997"/>
              <a:gd name="connsiteX723" fmla="*/ 7535986 w 12191995"/>
              <a:gd name="connsiteY723" fmla="*/ 522987 h 6875997"/>
              <a:gd name="connsiteX724" fmla="*/ 6820967 w 12191995"/>
              <a:gd name="connsiteY724" fmla="*/ 522987 h 6875997"/>
              <a:gd name="connsiteX725" fmla="*/ 6102348 w 12191995"/>
              <a:gd name="connsiteY725" fmla="*/ 6 h 6875997"/>
              <a:gd name="connsiteX726" fmla="*/ 6817367 w 12191995"/>
              <a:gd name="connsiteY726" fmla="*/ 6 h 6875997"/>
              <a:gd name="connsiteX727" fmla="*/ 6817367 w 12191995"/>
              <a:gd name="connsiteY727" fmla="*/ 522987 h 6875997"/>
              <a:gd name="connsiteX728" fmla="*/ 6102348 w 12191995"/>
              <a:gd name="connsiteY728" fmla="*/ 522987 h 6875997"/>
              <a:gd name="connsiteX729" fmla="*/ 5383731 w 12191995"/>
              <a:gd name="connsiteY729" fmla="*/ 6 h 6875997"/>
              <a:gd name="connsiteX730" fmla="*/ 6098748 w 12191995"/>
              <a:gd name="connsiteY730" fmla="*/ 6 h 6875997"/>
              <a:gd name="connsiteX731" fmla="*/ 6098748 w 12191995"/>
              <a:gd name="connsiteY731" fmla="*/ 522987 h 6875997"/>
              <a:gd name="connsiteX732" fmla="*/ 5383731 w 12191995"/>
              <a:gd name="connsiteY732" fmla="*/ 522987 h 6875997"/>
              <a:gd name="connsiteX733" fmla="*/ 4665112 w 12191995"/>
              <a:gd name="connsiteY733" fmla="*/ 6 h 6875997"/>
              <a:gd name="connsiteX734" fmla="*/ 5380131 w 12191995"/>
              <a:gd name="connsiteY734" fmla="*/ 6 h 6875997"/>
              <a:gd name="connsiteX735" fmla="*/ 5380131 w 12191995"/>
              <a:gd name="connsiteY735" fmla="*/ 522987 h 6875997"/>
              <a:gd name="connsiteX736" fmla="*/ 4665112 w 12191995"/>
              <a:gd name="connsiteY736" fmla="*/ 522987 h 6875997"/>
              <a:gd name="connsiteX737" fmla="*/ 3946497 w 12191995"/>
              <a:gd name="connsiteY737" fmla="*/ 6 h 6875997"/>
              <a:gd name="connsiteX738" fmla="*/ 4661513 w 12191995"/>
              <a:gd name="connsiteY738" fmla="*/ 6 h 6875997"/>
              <a:gd name="connsiteX739" fmla="*/ 4661513 w 12191995"/>
              <a:gd name="connsiteY739" fmla="*/ 522987 h 6875997"/>
              <a:gd name="connsiteX740" fmla="*/ 3946497 w 12191995"/>
              <a:gd name="connsiteY740" fmla="*/ 522987 h 6875997"/>
              <a:gd name="connsiteX741" fmla="*/ 3227878 w 12191995"/>
              <a:gd name="connsiteY741" fmla="*/ 6 h 6875997"/>
              <a:gd name="connsiteX742" fmla="*/ 3942896 w 12191995"/>
              <a:gd name="connsiteY742" fmla="*/ 6 h 6875997"/>
              <a:gd name="connsiteX743" fmla="*/ 3942896 w 12191995"/>
              <a:gd name="connsiteY743" fmla="*/ 522987 h 6875997"/>
              <a:gd name="connsiteX744" fmla="*/ 3227878 w 12191995"/>
              <a:gd name="connsiteY744" fmla="*/ 522987 h 6875997"/>
              <a:gd name="connsiteX745" fmla="*/ 2509257 w 12191995"/>
              <a:gd name="connsiteY745" fmla="*/ 6 h 6875997"/>
              <a:gd name="connsiteX746" fmla="*/ 3224277 w 12191995"/>
              <a:gd name="connsiteY746" fmla="*/ 6 h 6875997"/>
              <a:gd name="connsiteX747" fmla="*/ 3224277 w 12191995"/>
              <a:gd name="connsiteY747" fmla="*/ 522987 h 6875997"/>
              <a:gd name="connsiteX748" fmla="*/ 2509257 w 12191995"/>
              <a:gd name="connsiteY748" fmla="*/ 522987 h 6875997"/>
              <a:gd name="connsiteX749" fmla="*/ 1790637 w 12191995"/>
              <a:gd name="connsiteY749" fmla="*/ 6 h 6875997"/>
              <a:gd name="connsiteX750" fmla="*/ 2505659 w 12191995"/>
              <a:gd name="connsiteY750" fmla="*/ 6 h 6875997"/>
              <a:gd name="connsiteX751" fmla="*/ 2505659 w 12191995"/>
              <a:gd name="connsiteY751" fmla="*/ 522987 h 6875997"/>
              <a:gd name="connsiteX752" fmla="*/ 1790637 w 12191995"/>
              <a:gd name="connsiteY752" fmla="*/ 522987 h 6875997"/>
              <a:gd name="connsiteX753" fmla="*/ 1072019 w 12191995"/>
              <a:gd name="connsiteY753" fmla="*/ 0 h 6875997"/>
              <a:gd name="connsiteX754" fmla="*/ 1152939 w 12191995"/>
              <a:gd name="connsiteY754" fmla="*/ 0 h 6875997"/>
              <a:gd name="connsiteX755" fmla="*/ 1152939 w 12191995"/>
              <a:gd name="connsiteY755" fmla="*/ 6 h 6875997"/>
              <a:gd name="connsiteX756" fmla="*/ 1787037 w 12191995"/>
              <a:gd name="connsiteY756" fmla="*/ 6 h 6875997"/>
              <a:gd name="connsiteX757" fmla="*/ 1787037 w 12191995"/>
              <a:gd name="connsiteY757" fmla="*/ 522987 h 6875997"/>
              <a:gd name="connsiteX758" fmla="*/ 1072019 w 12191995"/>
              <a:gd name="connsiteY758" fmla="*/ 522987 h 6875997"/>
              <a:gd name="connsiteX759" fmla="*/ 353400 w 12191995"/>
              <a:gd name="connsiteY759" fmla="*/ 0 h 6875997"/>
              <a:gd name="connsiteX760" fmla="*/ 1068419 w 12191995"/>
              <a:gd name="connsiteY760" fmla="*/ 0 h 6875997"/>
              <a:gd name="connsiteX761" fmla="*/ 1068419 w 12191995"/>
              <a:gd name="connsiteY761" fmla="*/ 522987 h 6875997"/>
              <a:gd name="connsiteX762" fmla="*/ 353400 w 12191995"/>
              <a:gd name="connsiteY762" fmla="*/ 522987 h 6875997"/>
              <a:gd name="connsiteX763" fmla="*/ 0 w 12191995"/>
              <a:gd name="connsiteY763" fmla="*/ 0 h 6875997"/>
              <a:gd name="connsiteX764" fmla="*/ 349800 w 12191995"/>
              <a:gd name="connsiteY764" fmla="*/ 0 h 6875997"/>
              <a:gd name="connsiteX765" fmla="*/ 349800 w 12191995"/>
              <a:gd name="connsiteY765" fmla="*/ 522987 h 6875997"/>
              <a:gd name="connsiteX766" fmla="*/ 0 w 12191995"/>
              <a:gd name="connsiteY766" fmla="*/ 522987 h 687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Lst>
            <a:rect l="l" t="t" r="r" b="b"/>
            <a:pathLst>
              <a:path w="12191995" h="6875997">
                <a:moveTo>
                  <a:pt x="11039468" y="6562722"/>
                </a:moveTo>
                <a:cubicBezTo>
                  <a:pt x="11037411" y="6563401"/>
                  <a:pt x="11035353" y="6564080"/>
                  <a:pt x="11033982" y="6564080"/>
                </a:cubicBezTo>
                <a:lnTo>
                  <a:pt x="10915338" y="6583760"/>
                </a:lnTo>
                <a:cubicBezTo>
                  <a:pt x="10913967" y="6583760"/>
                  <a:pt x="10911223" y="6584438"/>
                  <a:pt x="10909852" y="6585796"/>
                </a:cubicBezTo>
                <a:cubicBezTo>
                  <a:pt x="10878991" y="6608869"/>
                  <a:pt x="10878991" y="6608869"/>
                  <a:pt x="10878991" y="6608869"/>
                </a:cubicBezTo>
                <a:cubicBezTo>
                  <a:pt x="10993519" y="6608869"/>
                  <a:pt x="10993519" y="6608869"/>
                  <a:pt x="10993519" y="6608869"/>
                </a:cubicBezTo>
                <a:cubicBezTo>
                  <a:pt x="10993519" y="6608869"/>
                  <a:pt x="10988719" y="6614298"/>
                  <a:pt x="10981861" y="6615655"/>
                </a:cubicBezTo>
                <a:cubicBezTo>
                  <a:pt x="10975003" y="6617012"/>
                  <a:pt x="10894764" y="6630585"/>
                  <a:pt x="10894764" y="6630585"/>
                </a:cubicBezTo>
                <a:cubicBezTo>
                  <a:pt x="10893393" y="6630585"/>
                  <a:pt x="10890649" y="6631942"/>
                  <a:pt x="10889278" y="6632621"/>
                </a:cubicBezTo>
                <a:cubicBezTo>
                  <a:pt x="10868018" y="6648908"/>
                  <a:pt x="10868018" y="6648908"/>
                  <a:pt x="10868018" y="6648908"/>
                </a:cubicBezTo>
                <a:cubicBezTo>
                  <a:pt x="10889278" y="6651622"/>
                  <a:pt x="10913281" y="6650265"/>
                  <a:pt x="10937284" y="6644157"/>
                </a:cubicBezTo>
                <a:cubicBezTo>
                  <a:pt x="10989405" y="6629906"/>
                  <a:pt x="11028495" y="6597332"/>
                  <a:pt x="11039468" y="6562722"/>
                </a:cubicBezTo>
                <a:close/>
                <a:moveTo>
                  <a:pt x="10791888" y="6557959"/>
                </a:moveTo>
                <a:cubicBezTo>
                  <a:pt x="10787746" y="6570206"/>
                  <a:pt x="10787056" y="6582452"/>
                  <a:pt x="10790507" y="6594018"/>
                </a:cubicBezTo>
                <a:cubicBezTo>
                  <a:pt x="10798099" y="6623274"/>
                  <a:pt x="10827779" y="6643004"/>
                  <a:pt x="10866431" y="6648447"/>
                </a:cubicBezTo>
                <a:cubicBezTo>
                  <a:pt x="10866431" y="6557959"/>
                  <a:pt x="10866431" y="6557959"/>
                  <a:pt x="10866431" y="6557959"/>
                </a:cubicBezTo>
                <a:cubicBezTo>
                  <a:pt x="10791888" y="6557959"/>
                  <a:pt x="10791888" y="6557959"/>
                  <a:pt x="10791888" y="6557959"/>
                </a:cubicBezTo>
                <a:close/>
                <a:moveTo>
                  <a:pt x="11578425" y="6519858"/>
                </a:moveTo>
                <a:cubicBezTo>
                  <a:pt x="11597903" y="6519858"/>
                  <a:pt x="11604619" y="6529119"/>
                  <a:pt x="11604619" y="6543009"/>
                </a:cubicBezTo>
                <a:cubicBezTo>
                  <a:pt x="11604619" y="6549624"/>
                  <a:pt x="11603947" y="6551608"/>
                  <a:pt x="11599918" y="6551608"/>
                </a:cubicBezTo>
                <a:cubicBezTo>
                  <a:pt x="11552231" y="6551608"/>
                  <a:pt x="11552231" y="6551608"/>
                  <a:pt x="11552231" y="6551608"/>
                </a:cubicBezTo>
                <a:cubicBezTo>
                  <a:pt x="11552231" y="6546978"/>
                  <a:pt x="11552903" y="6543671"/>
                  <a:pt x="11552903" y="6543671"/>
                </a:cubicBezTo>
                <a:cubicBezTo>
                  <a:pt x="11554246" y="6531103"/>
                  <a:pt x="11560291" y="6519858"/>
                  <a:pt x="11578425" y="6519858"/>
                </a:cubicBezTo>
                <a:close/>
                <a:moveTo>
                  <a:pt x="11218855" y="6519858"/>
                </a:moveTo>
                <a:cubicBezTo>
                  <a:pt x="11238231" y="6519858"/>
                  <a:pt x="11245843" y="6529119"/>
                  <a:pt x="11245843" y="6543009"/>
                </a:cubicBezTo>
                <a:cubicBezTo>
                  <a:pt x="11245151" y="6549624"/>
                  <a:pt x="11244459" y="6551608"/>
                  <a:pt x="11240307" y="6551608"/>
                </a:cubicBezTo>
                <a:cubicBezTo>
                  <a:pt x="11191868" y="6551608"/>
                  <a:pt x="11191868" y="6551608"/>
                  <a:pt x="11191868" y="6551608"/>
                </a:cubicBezTo>
                <a:cubicBezTo>
                  <a:pt x="11191868" y="6546978"/>
                  <a:pt x="11191868" y="6543671"/>
                  <a:pt x="11191868" y="6543671"/>
                </a:cubicBezTo>
                <a:cubicBezTo>
                  <a:pt x="11193252" y="6531103"/>
                  <a:pt x="11199480" y="6519858"/>
                  <a:pt x="11218855" y="6519858"/>
                </a:cubicBezTo>
                <a:close/>
                <a:moveTo>
                  <a:pt x="11625256" y="6503984"/>
                </a:moveTo>
                <a:cubicBezTo>
                  <a:pt x="11632129" y="6508092"/>
                  <a:pt x="11636940" y="6513569"/>
                  <a:pt x="11640376" y="6520415"/>
                </a:cubicBezTo>
                <a:cubicBezTo>
                  <a:pt x="11674052" y="6520415"/>
                  <a:pt x="11674052" y="6520415"/>
                  <a:pt x="11674052" y="6520415"/>
                </a:cubicBezTo>
                <a:cubicBezTo>
                  <a:pt x="11674052" y="6613522"/>
                  <a:pt x="11674052" y="6613522"/>
                  <a:pt x="11674052" y="6613522"/>
                </a:cubicBezTo>
                <a:cubicBezTo>
                  <a:pt x="11700169" y="6613522"/>
                  <a:pt x="11700169" y="6613522"/>
                  <a:pt x="11700169" y="6613522"/>
                </a:cubicBezTo>
                <a:cubicBezTo>
                  <a:pt x="11700169" y="6520415"/>
                  <a:pt x="11700169" y="6520415"/>
                  <a:pt x="11700169" y="6520415"/>
                </a:cubicBezTo>
                <a:lnTo>
                  <a:pt x="11737969" y="6520415"/>
                </a:lnTo>
                <a:cubicBezTo>
                  <a:pt x="11737969" y="6503984"/>
                  <a:pt x="11737969" y="6503984"/>
                  <a:pt x="11737969" y="6503984"/>
                </a:cubicBezTo>
                <a:cubicBezTo>
                  <a:pt x="11625256" y="6503984"/>
                  <a:pt x="11625256" y="6503984"/>
                  <a:pt x="11625256" y="6503984"/>
                </a:cubicBezTo>
                <a:close/>
                <a:moveTo>
                  <a:pt x="11426949" y="6503984"/>
                </a:moveTo>
                <a:cubicBezTo>
                  <a:pt x="11413933" y="6504669"/>
                  <a:pt x="11407768" y="6510830"/>
                  <a:pt x="11407768" y="6523153"/>
                </a:cubicBezTo>
                <a:cubicBezTo>
                  <a:pt x="11407768" y="6613522"/>
                  <a:pt x="11407768" y="6613522"/>
                  <a:pt x="11407768" y="6613522"/>
                </a:cubicBezTo>
                <a:cubicBezTo>
                  <a:pt x="11433799" y="6613522"/>
                  <a:pt x="11433799" y="6613522"/>
                  <a:pt x="11433799" y="6613522"/>
                </a:cubicBezTo>
                <a:cubicBezTo>
                  <a:pt x="11433799" y="6525207"/>
                  <a:pt x="11433799" y="6525207"/>
                  <a:pt x="11433799" y="6525207"/>
                </a:cubicBezTo>
                <a:cubicBezTo>
                  <a:pt x="11433799" y="6521784"/>
                  <a:pt x="11435169" y="6520415"/>
                  <a:pt x="11439279" y="6520415"/>
                </a:cubicBezTo>
                <a:cubicBezTo>
                  <a:pt x="11459830" y="6520415"/>
                  <a:pt x="11459830" y="6520415"/>
                  <a:pt x="11459830" y="6520415"/>
                </a:cubicBezTo>
                <a:cubicBezTo>
                  <a:pt x="11475585" y="6520415"/>
                  <a:pt x="11481750" y="6527946"/>
                  <a:pt x="11481750" y="6543692"/>
                </a:cubicBezTo>
                <a:cubicBezTo>
                  <a:pt x="11481750" y="6613522"/>
                  <a:pt x="11481750" y="6613522"/>
                  <a:pt x="11481750" y="6613522"/>
                </a:cubicBezTo>
                <a:cubicBezTo>
                  <a:pt x="11507781" y="6613522"/>
                  <a:pt x="11507781" y="6613522"/>
                  <a:pt x="11507781" y="6613522"/>
                </a:cubicBezTo>
                <a:cubicBezTo>
                  <a:pt x="11507781" y="6541638"/>
                  <a:pt x="11507781" y="6541638"/>
                  <a:pt x="11507781" y="6541638"/>
                </a:cubicBezTo>
                <a:cubicBezTo>
                  <a:pt x="11507781" y="6510146"/>
                  <a:pt x="11485860" y="6504669"/>
                  <a:pt x="11463940" y="6503984"/>
                </a:cubicBezTo>
                <a:cubicBezTo>
                  <a:pt x="11426949" y="6503984"/>
                  <a:pt x="11426949" y="6503984"/>
                  <a:pt x="11426949" y="6503984"/>
                </a:cubicBezTo>
                <a:close/>
                <a:moveTo>
                  <a:pt x="11307887" y="6503984"/>
                </a:moveTo>
                <a:cubicBezTo>
                  <a:pt x="11294871" y="6504669"/>
                  <a:pt x="11288706" y="6510830"/>
                  <a:pt x="11288706" y="6523153"/>
                </a:cubicBezTo>
                <a:cubicBezTo>
                  <a:pt x="11288706" y="6613522"/>
                  <a:pt x="11288706" y="6613522"/>
                  <a:pt x="11288706" y="6613522"/>
                </a:cubicBezTo>
                <a:cubicBezTo>
                  <a:pt x="11314737" y="6613522"/>
                  <a:pt x="11314737" y="6613522"/>
                  <a:pt x="11314737" y="6613522"/>
                </a:cubicBezTo>
                <a:cubicBezTo>
                  <a:pt x="11314737" y="6525207"/>
                  <a:pt x="11314737" y="6525207"/>
                  <a:pt x="11314737" y="6525207"/>
                </a:cubicBezTo>
                <a:cubicBezTo>
                  <a:pt x="11314737" y="6521784"/>
                  <a:pt x="11316107" y="6520415"/>
                  <a:pt x="11320217" y="6520415"/>
                </a:cubicBezTo>
                <a:cubicBezTo>
                  <a:pt x="11340768" y="6520415"/>
                  <a:pt x="11340768" y="6520415"/>
                  <a:pt x="11340768" y="6520415"/>
                </a:cubicBezTo>
                <a:cubicBezTo>
                  <a:pt x="11356523" y="6520415"/>
                  <a:pt x="11362688" y="6527946"/>
                  <a:pt x="11362688" y="6543692"/>
                </a:cubicBezTo>
                <a:cubicBezTo>
                  <a:pt x="11362688" y="6613522"/>
                  <a:pt x="11362688" y="6613522"/>
                  <a:pt x="11362688" y="6613522"/>
                </a:cubicBezTo>
                <a:cubicBezTo>
                  <a:pt x="11388719" y="6613522"/>
                  <a:pt x="11388719" y="6613522"/>
                  <a:pt x="11388719" y="6613522"/>
                </a:cubicBezTo>
                <a:cubicBezTo>
                  <a:pt x="11388719" y="6541638"/>
                  <a:pt x="11388719" y="6541638"/>
                  <a:pt x="11388719" y="6541638"/>
                </a:cubicBezTo>
                <a:cubicBezTo>
                  <a:pt x="11388719" y="6510146"/>
                  <a:pt x="11366798" y="6504669"/>
                  <a:pt x="11344878" y="6503984"/>
                </a:cubicBezTo>
                <a:cubicBezTo>
                  <a:pt x="11307887" y="6503984"/>
                  <a:pt x="11307887" y="6503984"/>
                  <a:pt x="11307887" y="6503984"/>
                </a:cubicBezTo>
                <a:close/>
                <a:moveTo>
                  <a:pt x="11055343" y="6503984"/>
                </a:moveTo>
                <a:cubicBezTo>
                  <a:pt x="11058758" y="6509461"/>
                  <a:pt x="11060124" y="6512884"/>
                  <a:pt x="11062856" y="6520415"/>
                </a:cubicBezTo>
                <a:lnTo>
                  <a:pt x="11098372" y="6520415"/>
                </a:lnTo>
                <a:cubicBezTo>
                  <a:pt x="11098372" y="6520415"/>
                  <a:pt x="11098372" y="6520415"/>
                  <a:pt x="11098372" y="6613522"/>
                </a:cubicBezTo>
                <a:cubicBezTo>
                  <a:pt x="11098372" y="6613522"/>
                  <a:pt x="11098372" y="6613522"/>
                  <a:pt x="11125008" y="6613522"/>
                </a:cubicBezTo>
                <a:cubicBezTo>
                  <a:pt x="11125008" y="6613522"/>
                  <a:pt x="11125008" y="6613522"/>
                  <a:pt x="11125008" y="6520415"/>
                </a:cubicBezTo>
                <a:cubicBezTo>
                  <a:pt x="11125008" y="6520415"/>
                  <a:pt x="11125008" y="6520415"/>
                  <a:pt x="11158475" y="6520415"/>
                </a:cubicBezTo>
                <a:cubicBezTo>
                  <a:pt x="11161207" y="6513569"/>
                  <a:pt x="11166671" y="6508092"/>
                  <a:pt x="11172818" y="6503984"/>
                </a:cubicBezTo>
                <a:cubicBezTo>
                  <a:pt x="11172818" y="6503984"/>
                  <a:pt x="11172818" y="6503984"/>
                  <a:pt x="11055343" y="6503984"/>
                </a:cubicBezTo>
                <a:close/>
                <a:moveTo>
                  <a:pt x="11576751" y="6503134"/>
                </a:moveTo>
                <a:cubicBezTo>
                  <a:pt x="11561947" y="6503645"/>
                  <a:pt x="11547398" y="6508067"/>
                  <a:pt x="11539183" y="6516912"/>
                </a:cubicBezTo>
                <a:cubicBezTo>
                  <a:pt x="11522068" y="6534601"/>
                  <a:pt x="11523437" y="6576103"/>
                  <a:pt x="11533022" y="6593792"/>
                </a:cubicBezTo>
                <a:cubicBezTo>
                  <a:pt x="11535076" y="6598554"/>
                  <a:pt x="11540553" y="6604678"/>
                  <a:pt x="11548083" y="6608760"/>
                </a:cubicBezTo>
                <a:cubicBezTo>
                  <a:pt x="11554245" y="6612162"/>
                  <a:pt x="11562460" y="6613522"/>
                  <a:pt x="11570675" y="6613522"/>
                </a:cubicBezTo>
                <a:cubicBezTo>
                  <a:pt x="11574099" y="6613522"/>
                  <a:pt x="11628183" y="6613522"/>
                  <a:pt x="11628183" y="6613522"/>
                </a:cubicBezTo>
                <a:cubicBezTo>
                  <a:pt x="11628183" y="6597874"/>
                  <a:pt x="11628183" y="6597874"/>
                  <a:pt x="11628183" y="6597874"/>
                </a:cubicBezTo>
                <a:cubicBezTo>
                  <a:pt x="11574783" y="6597874"/>
                  <a:pt x="11574783" y="6597874"/>
                  <a:pt x="11574783" y="6597874"/>
                </a:cubicBezTo>
                <a:cubicBezTo>
                  <a:pt x="11557668" y="6597874"/>
                  <a:pt x="11553560" y="6584947"/>
                  <a:pt x="11552876" y="6572020"/>
                </a:cubicBezTo>
                <a:cubicBezTo>
                  <a:pt x="11552876" y="6570660"/>
                  <a:pt x="11552191" y="6569979"/>
                  <a:pt x="11552191" y="6567938"/>
                </a:cubicBezTo>
                <a:cubicBezTo>
                  <a:pt x="11609698" y="6567938"/>
                  <a:pt x="11609698" y="6567938"/>
                  <a:pt x="11609698" y="6567938"/>
                </a:cubicBezTo>
                <a:cubicBezTo>
                  <a:pt x="11611068" y="6567938"/>
                  <a:pt x="11615860" y="6567938"/>
                  <a:pt x="11619283" y="6567258"/>
                </a:cubicBezTo>
                <a:cubicBezTo>
                  <a:pt x="11624760" y="6565897"/>
                  <a:pt x="11631606" y="6561135"/>
                  <a:pt x="11631606" y="6546847"/>
                </a:cubicBezTo>
                <a:cubicBezTo>
                  <a:pt x="11631606" y="6529838"/>
                  <a:pt x="11625444" y="6519633"/>
                  <a:pt x="11615860" y="6512829"/>
                </a:cubicBezTo>
                <a:cubicBezTo>
                  <a:pt x="11606618" y="6506026"/>
                  <a:pt x="11591556" y="6502624"/>
                  <a:pt x="11576751" y="6503134"/>
                </a:cubicBezTo>
                <a:close/>
                <a:moveTo>
                  <a:pt x="11215941" y="6503134"/>
                </a:moveTo>
                <a:cubicBezTo>
                  <a:pt x="11200922" y="6503645"/>
                  <a:pt x="11186163" y="6508067"/>
                  <a:pt x="11177481" y="6516912"/>
                </a:cubicBezTo>
                <a:cubicBezTo>
                  <a:pt x="11160118" y="6534601"/>
                  <a:pt x="11162202" y="6576103"/>
                  <a:pt x="11171231" y="6593792"/>
                </a:cubicBezTo>
                <a:cubicBezTo>
                  <a:pt x="11174009" y="6598554"/>
                  <a:pt x="11178870" y="6604678"/>
                  <a:pt x="11187205" y="6608760"/>
                </a:cubicBezTo>
                <a:cubicBezTo>
                  <a:pt x="11192761" y="6612162"/>
                  <a:pt x="11201095" y="6613522"/>
                  <a:pt x="11209430" y="6613522"/>
                </a:cubicBezTo>
                <a:cubicBezTo>
                  <a:pt x="11212902" y="6613522"/>
                  <a:pt x="11267770" y="6613522"/>
                  <a:pt x="11267770" y="6613522"/>
                </a:cubicBezTo>
                <a:cubicBezTo>
                  <a:pt x="11267770" y="6597874"/>
                  <a:pt x="11267770" y="6597874"/>
                  <a:pt x="11267770" y="6597874"/>
                </a:cubicBezTo>
                <a:cubicBezTo>
                  <a:pt x="11213597" y="6597874"/>
                  <a:pt x="11213597" y="6597874"/>
                  <a:pt x="11213597" y="6597874"/>
                </a:cubicBezTo>
                <a:cubicBezTo>
                  <a:pt x="11196234" y="6597874"/>
                  <a:pt x="11192066" y="6584947"/>
                  <a:pt x="11191372" y="6572020"/>
                </a:cubicBezTo>
                <a:cubicBezTo>
                  <a:pt x="11191372" y="6570660"/>
                  <a:pt x="11191372" y="6569979"/>
                  <a:pt x="11191372" y="6567938"/>
                </a:cubicBezTo>
                <a:cubicBezTo>
                  <a:pt x="11249713" y="6567938"/>
                  <a:pt x="11249713" y="6567938"/>
                  <a:pt x="11249713" y="6567938"/>
                </a:cubicBezTo>
                <a:cubicBezTo>
                  <a:pt x="11250407" y="6567938"/>
                  <a:pt x="11255963" y="6567938"/>
                  <a:pt x="11258741" y="6567258"/>
                </a:cubicBezTo>
                <a:cubicBezTo>
                  <a:pt x="11264992" y="6565897"/>
                  <a:pt x="11271243" y="6561135"/>
                  <a:pt x="11271243" y="6546847"/>
                </a:cubicBezTo>
                <a:cubicBezTo>
                  <a:pt x="11271243" y="6529838"/>
                  <a:pt x="11264992" y="6519633"/>
                  <a:pt x="11255963" y="6512829"/>
                </a:cubicBezTo>
                <a:cubicBezTo>
                  <a:pt x="11246240" y="6506026"/>
                  <a:pt x="11230960" y="6502624"/>
                  <a:pt x="11215941" y="6503134"/>
                </a:cubicBezTo>
                <a:close/>
                <a:moveTo>
                  <a:pt x="10943122" y="6471560"/>
                </a:moveTo>
                <a:cubicBezTo>
                  <a:pt x="10927039" y="6471325"/>
                  <a:pt x="10909962" y="6473375"/>
                  <a:pt x="10892671" y="6477989"/>
                </a:cubicBezTo>
                <a:cubicBezTo>
                  <a:pt x="10848843" y="6489609"/>
                  <a:pt x="10813918" y="6515582"/>
                  <a:pt x="10798168" y="6544289"/>
                </a:cubicBezTo>
                <a:cubicBezTo>
                  <a:pt x="10954988" y="6519683"/>
                  <a:pt x="10954988" y="6519683"/>
                  <a:pt x="10954988" y="6519683"/>
                </a:cubicBezTo>
                <a:cubicBezTo>
                  <a:pt x="10904313" y="6557959"/>
                  <a:pt x="10904313" y="6557959"/>
                  <a:pt x="10904313" y="6557959"/>
                </a:cubicBezTo>
                <a:cubicBezTo>
                  <a:pt x="11039904" y="6557959"/>
                  <a:pt x="11039904" y="6557959"/>
                  <a:pt x="11039904" y="6557959"/>
                </a:cubicBezTo>
                <a:cubicBezTo>
                  <a:pt x="11042643" y="6547707"/>
                  <a:pt x="11042643" y="6537454"/>
                  <a:pt x="11039904" y="6527885"/>
                </a:cubicBezTo>
                <a:cubicBezTo>
                  <a:pt x="11030659" y="6493538"/>
                  <a:pt x="10991368" y="6472264"/>
                  <a:pt x="10943122" y="6471560"/>
                </a:cubicBezTo>
                <a:close/>
                <a:moveTo>
                  <a:pt x="11132680" y="5561951"/>
                </a:moveTo>
                <a:lnTo>
                  <a:pt x="11847706" y="5561951"/>
                </a:lnTo>
                <a:lnTo>
                  <a:pt x="11847706" y="6277686"/>
                </a:lnTo>
                <a:lnTo>
                  <a:pt x="11132680" y="6277686"/>
                </a:lnTo>
                <a:close/>
                <a:moveTo>
                  <a:pt x="10414061" y="5561951"/>
                </a:moveTo>
                <a:lnTo>
                  <a:pt x="11129080" y="5561951"/>
                </a:lnTo>
                <a:lnTo>
                  <a:pt x="11129080" y="6277686"/>
                </a:lnTo>
                <a:lnTo>
                  <a:pt x="10414061" y="6277686"/>
                </a:lnTo>
                <a:close/>
                <a:moveTo>
                  <a:pt x="9695442" y="5561951"/>
                </a:moveTo>
                <a:lnTo>
                  <a:pt x="10410461" y="5561951"/>
                </a:lnTo>
                <a:lnTo>
                  <a:pt x="10410461" y="6277686"/>
                </a:lnTo>
                <a:lnTo>
                  <a:pt x="9695442" y="6277686"/>
                </a:lnTo>
                <a:close/>
                <a:moveTo>
                  <a:pt x="8976823" y="5561951"/>
                </a:moveTo>
                <a:lnTo>
                  <a:pt x="9691842" y="5561951"/>
                </a:lnTo>
                <a:lnTo>
                  <a:pt x="9691842" y="6277686"/>
                </a:lnTo>
                <a:lnTo>
                  <a:pt x="8976823" y="6277686"/>
                </a:lnTo>
                <a:close/>
                <a:moveTo>
                  <a:pt x="8258205" y="5561951"/>
                </a:moveTo>
                <a:lnTo>
                  <a:pt x="8973223" y="5561951"/>
                </a:lnTo>
                <a:lnTo>
                  <a:pt x="8973223" y="6277686"/>
                </a:lnTo>
                <a:lnTo>
                  <a:pt x="8258205" y="6277686"/>
                </a:lnTo>
                <a:close/>
                <a:moveTo>
                  <a:pt x="7539586" y="5561951"/>
                </a:moveTo>
                <a:lnTo>
                  <a:pt x="8254605" y="5561951"/>
                </a:lnTo>
                <a:lnTo>
                  <a:pt x="8254605" y="6277686"/>
                </a:lnTo>
                <a:lnTo>
                  <a:pt x="7539586" y="6277686"/>
                </a:lnTo>
                <a:close/>
                <a:moveTo>
                  <a:pt x="6820967" y="5561951"/>
                </a:moveTo>
                <a:lnTo>
                  <a:pt x="7535986" y="5561951"/>
                </a:lnTo>
                <a:lnTo>
                  <a:pt x="7535986" y="6277686"/>
                </a:lnTo>
                <a:lnTo>
                  <a:pt x="6820967" y="6277686"/>
                </a:lnTo>
                <a:close/>
                <a:moveTo>
                  <a:pt x="6102348" y="5561951"/>
                </a:moveTo>
                <a:lnTo>
                  <a:pt x="6817367" y="5561951"/>
                </a:lnTo>
                <a:lnTo>
                  <a:pt x="6817367" y="6277686"/>
                </a:lnTo>
                <a:lnTo>
                  <a:pt x="6102348" y="6277686"/>
                </a:lnTo>
                <a:close/>
                <a:moveTo>
                  <a:pt x="5383731" y="5561951"/>
                </a:moveTo>
                <a:lnTo>
                  <a:pt x="6098748" y="5561951"/>
                </a:lnTo>
                <a:lnTo>
                  <a:pt x="6098748" y="6277686"/>
                </a:lnTo>
                <a:lnTo>
                  <a:pt x="5383731" y="6277686"/>
                </a:lnTo>
                <a:close/>
                <a:moveTo>
                  <a:pt x="4665112" y="5561951"/>
                </a:moveTo>
                <a:lnTo>
                  <a:pt x="5380131" y="5561951"/>
                </a:lnTo>
                <a:lnTo>
                  <a:pt x="5380131" y="6277686"/>
                </a:lnTo>
                <a:lnTo>
                  <a:pt x="4665112" y="6277686"/>
                </a:lnTo>
                <a:close/>
                <a:moveTo>
                  <a:pt x="3946497" y="5561951"/>
                </a:moveTo>
                <a:lnTo>
                  <a:pt x="4661513" y="5561951"/>
                </a:lnTo>
                <a:lnTo>
                  <a:pt x="4661513" y="6277686"/>
                </a:lnTo>
                <a:lnTo>
                  <a:pt x="3946497" y="6277686"/>
                </a:lnTo>
                <a:close/>
                <a:moveTo>
                  <a:pt x="3227878" y="5561951"/>
                </a:moveTo>
                <a:lnTo>
                  <a:pt x="3942896" y="5561951"/>
                </a:lnTo>
                <a:lnTo>
                  <a:pt x="3942896" y="6277686"/>
                </a:lnTo>
                <a:lnTo>
                  <a:pt x="3227878" y="6277686"/>
                </a:lnTo>
                <a:close/>
                <a:moveTo>
                  <a:pt x="2509257" y="5561951"/>
                </a:moveTo>
                <a:lnTo>
                  <a:pt x="3224277" y="5561951"/>
                </a:lnTo>
                <a:lnTo>
                  <a:pt x="3224277" y="6277686"/>
                </a:lnTo>
                <a:lnTo>
                  <a:pt x="2509257" y="6277686"/>
                </a:lnTo>
                <a:close/>
                <a:moveTo>
                  <a:pt x="1790637" y="5561951"/>
                </a:moveTo>
                <a:lnTo>
                  <a:pt x="2505659" y="5561951"/>
                </a:lnTo>
                <a:lnTo>
                  <a:pt x="2505659" y="6277686"/>
                </a:lnTo>
                <a:lnTo>
                  <a:pt x="1790637" y="6277686"/>
                </a:lnTo>
                <a:close/>
                <a:moveTo>
                  <a:pt x="1072019" y="5561951"/>
                </a:moveTo>
                <a:lnTo>
                  <a:pt x="1787037" y="5561951"/>
                </a:lnTo>
                <a:lnTo>
                  <a:pt x="1787037" y="6277686"/>
                </a:lnTo>
                <a:lnTo>
                  <a:pt x="1072019" y="6277686"/>
                </a:lnTo>
                <a:close/>
                <a:moveTo>
                  <a:pt x="353400" y="5561951"/>
                </a:moveTo>
                <a:lnTo>
                  <a:pt x="1068419" y="5561951"/>
                </a:lnTo>
                <a:lnTo>
                  <a:pt x="1068419" y="6277686"/>
                </a:lnTo>
                <a:lnTo>
                  <a:pt x="353400" y="6277686"/>
                </a:lnTo>
                <a:close/>
                <a:moveTo>
                  <a:pt x="0" y="5561951"/>
                </a:moveTo>
                <a:lnTo>
                  <a:pt x="349800" y="5561951"/>
                </a:lnTo>
                <a:lnTo>
                  <a:pt x="349800" y="6277686"/>
                </a:lnTo>
                <a:lnTo>
                  <a:pt x="0" y="6277686"/>
                </a:lnTo>
                <a:close/>
                <a:moveTo>
                  <a:pt x="11132680" y="4842613"/>
                </a:moveTo>
                <a:lnTo>
                  <a:pt x="11847706" y="4842613"/>
                </a:lnTo>
                <a:lnTo>
                  <a:pt x="11847706" y="5558351"/>
                </a:lnTo>
                <a:lnTo>
                  <a:pt x="11132680" y="5558351"/>
                </a:lnTo>
                <a:close/>
                <a:moveTo>
                  <a:pt x="10414061" y="4842613"/>
                </a:moveTo>
                <a:lnTo>
                  <a:pt x="11129080" y="4842613"/>
                </a:lnTo>
                <a:lnTo>
                  <a:pt x="11129080" y="5558351"/>
                </a:lnTo>
                <a:lnTo>
                  <a:pt x="10414061" y="5558351"/>
                </a:lnTo>
                <a:close/>
                <a:moveTo>
                  <a:pt x="9695442" y="4842613"/>
                </a:moveTo>
                <a:lnTo>
                  <a:pt x="10410461" y="4842613"/>
                </a:lnTo>
                <a:lnTo>
                  <a:pt x="10410461" y="5558351"/>
                </a:lnTo>
                <a:lnTo>
                  <a:pt x="9695442" y="5558351"/>
                </a:lnTo>
                <a:close/>
                <a:moveTo>
                  <a:pt x="8976823" y="4842613"/>
                </a:moveTo>
                <a:lnTo>
                  <a:pt x="9691842" y="4842613"/>
                </a:lnTo>
                <a:lnTo>
                  <a:pt x="9691842" y="5558351"/>
                </a:lnTo>
                <a:lnTo>
                  <a:pt x="8976823" y="5558351"/>
                </a:lnTo>
                <a:close/>
                <a:moveTo>
                  <a:pt x="8258205" y="4842613"/>
                </a:moveTo>
                <a:lnTo>
                  <a:pt x="8973223" y="4842613"/>
                </a:lnTo>
                <a:lnTo>
                  <a:pt x="8973223" y="5558351"/>
                </a:lnTo>
                <a:lnTo>
                  <a:pt x="8258205" y="5558351"/>
                </a:lnTo>
                <a:close/>
                <a:moveTo>
                  <a:pt x="7539586" y="4842613"/>
                </a:moveTo>
                <a:lnTo>
                  <a:pt x="8254605" y="4842613"/>
                </a:lnTo>
                <a:lnTo>
                  <a:pt x="8254605" y="5558351"/>
                </a:lnTo>
                <a:lnTo>
                  <a:pt x="7539586" y="5558351"/>
                </a:lnTo>
                <a:close/>
                <a:moveTo>
                  <a:pt x="6820967" y="4842613"/>
                </a:moveTo>
                <a:lnTo>
                  <a:pt x="7535986" y="4842613"/>
                </a:lnTo>
                <a:lnTo>
                  <a:pt x="7535986" y="5558351"/>
                </a:lnTo>
                <a:lnTo>
                  <a:pt x="6820967" y="5558351"/>
                </a:lnTo>
                <a:close/>
                <a:moveTo>
                  <a:pt x="6102348" y="4842613"/>
                </a:moveTo>
                <a:lnTo>
                  <a:pt x="6817367" y="4842613"/>
                </a:lnTo>
                <a:lnTo>
                  <a:pt x="6817367" y="5558351"/>
                </a:lnTo>
                <a:lnTo>
                  <a:pt x="6102348" y="5558351"/>
                </a:lnTo>
                <a:close/>
                <a:moveTo>
                  <a:pt x="5383731" y="4842613"/>
                </a:moveTo>
                <a:lnTo>
                  <a:pt x="6098748" y="4842613"/>
                </a:lnTo>
                <a:lnTo>
                  <a:pt x="6098748" y="5558351"/>
                </a:lnTo>
                <a:lnTo>
                  <a:pt x="5383731" y="5558351"/>
                </a:lnTo>
                <a:close/>
                <a:moveTo>
                  <a:pt x="4665112" y="4842613"/>
                </a:moveTo>
                <a:lnTo>
                  <a:pt x="5380131" y="4842613"/>
                </a:lnTo>
                <a:lnTo>
                  <a:pt x="5380131" y="5558351"/>
                </a:lnTo>
                <a:lnTo>
                  <a:pt x="4665112" y="5558351"/>
                </a:lnTo>
                <a:close/>
                <a:moveTo>
                  <a:pt x="3946497" y="4842613"/>
                </a:moveTo>
                <a:lnTo>
                  <a:pt x="4661513" y="4842613"/>
                </a:lnTo>
                <a:lnTo>
                  <a:pt x="4661513" y="5558351"/>
                </a:lnTo>
                <a:lnTo>
                  <a:pt x="3946497" y="5558351"/>
                </a:lnTo>
                <a:close/>
                <a:moveTo>
                  <a:pt x="3227878" y="4842613"/>
                </a:moveTo>
                <a:lnTo>
                  <a:pt x="3942896" y="4842613"/>
                </a:lnTo>
                <a:lnTo>
                  <a:pt x="3942896" y="5558351"/>
                </a:lnTo>
                <a:lnTo>
                  <a:pt x="3227878" y="5558351"/>
                </a:lnTo>
                <a:close/>
                <a:moveTo>
                  <a:pt x="2509257" y="4842613"/>
                </a:moveTo>
                <a:lnTo>
                  <a:pt x="3224277" y="4842613"/>
                </a:lnTo>
                <a:lnTo>
                  <a:pt x="3224277" y="5558351"/>
                </a:lnTo>
                <a:lnTo>
                  <a:pt x="2509257" y="5558351"/>
                </a:lnTo>
                <a:close/>
                <a:moveTo>
                  <a:pt x="1790637" y="4842613"/>
                </a:moveTo>
                <a:lnTo>
                  <a:pt x="2505659" y="4842613"/>
                </a:lnTo>
                <a:lnTo>
                  <a:pt x="2505659" y="5558351"/>
                </a:lnTo>
                <a:lnTo>
                  <a:pt x="1790637" y="5558351"/>
                </a:lnTo>
                <a:close/>
                <a:moveTo>
                  <a:pt x="1072019" y="4842613"/>
                </a:moveTo>
                <a:lnTo>
                  <a:pt x="1787037" y="4842613"/>
                </a:lnTo>
                <a:lnTo>
                  <a:pt x="1787037" y="5558351"/>
                </a:lnTo>
                <a:lnTo>
                  <a:pt x="1072019" y="5558351"/>
                </a:lnTo>
                <a:close/>
                <a:moveTo>
                  <a:pt x="353400" y="4842613"/>
                </a:moveTo>
                <a:lnTo>
                  <a:pt x="1068419" y="4842613"/>
                </a:lnTo>
                <a:lnTo>
                  <a:pt x="1068419" y="5558351"/>
                </a:lnTo>
                <a:lnTo>
                  <a:pt x="353400" y="5558351"/>
                </a:lnTo>
                <a:close/>
                <a:moveTo>
                  <a:pt x="0" y="4842613"/>
                </a:moveTo>
                <a:lnTo>
                  <a:pt x="349800" y="4842613"/>
                </a:lnTo>
                <a:lnTo>
                  <a:pt x="349800" y="5558351"/>
                </a:lnTo>
                <a:lnTo>
                  <a:pt x="0" y="5558351"/>
                </a:lnTo>
                <a:close/>
                <a:moveTo>
                  <a:pt x="11132680" y="4123275"/>
                </a:moveTo>
                <a:lnTo>
                  <a:pt x="11847706" y="4123275"/>
                </a:lnTo>
                <a:lnTo>
                  <a:pt x="11847706" y="4839013"/>
                </a:lnTo>
                <a:lnTo>
                  <a:pt x="11132680" y="4839013"/>
                </a:lnTo>
                <a:close/>
                <a:moveTo>
                  <a:pt x="10414061" y="4123275"/>
                </a:moveTo>
                <a:lnTo>
                  <a:pt x="11129080" y="4123275"/>
                </a:lnTo>
                <a:lnTo>
                  <a:pt x="11129080" y="4839013"/>
                </a:lnTo>
                <a:lnTo>
                  <a:pt x="10414061" y="4839013"/>
                </a:lnTo>
                <a:close/>
                <a:moveTo>
                  <a:pt x="9695442" y="4123275"/>
                </a:moveTo>
                <a:lnTo>
                  <a:pt x="10410461" y="4123275"/>
                </a:lnTo>
                <a:lnTo>
                  <a:pt x="10410461" y="4839013"/>
                </a:lnTo>
                <a:lnTo>
                  <a:pt x="9695442" y="4839013"/>
                </a:lnTo>
                <a:close/>
                <a:moveTo>
                  <a:pt x="8976823" y="4123275"/>
                </a:moveTo>
                <a:lnTo>
                  <a:pt x="9691842" y="4123275"/>
                </a:lnTo>
                <a:lnTo>
                  <a:pt x="9691842" y="4839013"/>
                </a:lnTo>
                <a:lnTo>
                  <a:pt x="8976823" y="4839013"/>
                </a:lnTo>
                <a:close/>
                <a:moveTo>
                  <a:pt x="8258205" y="4123275"/>
                </a:moveTo>
                <a:lnTo>
                  <a:pt x="8973223" y="4123275"/>
                </a:lnTo>
                <a:lnTo>
                  <a:pt x="8973223" y="4839013"/>
                </a:lnTo>
                <a:lnTo>
                  <a:pt x="8258205" y="4839013"/>
                </a:lnTo>
                <a:close/>
                <a:moveTo>
                  <a:pt x="7539586" y="4123275"/>
                </a:moveTo>
                <a:lnTo>
                  <a:pt x="8254605" y="4123275"/>
                </a:lnTo>
                <a:lnTo>
                  <a:pt x="8254605" y="4839013"/>
                </a:lnTo>
                <a:lnTo>
                  <a:pt x="7539586" y="4839013"/>
                </a:lnTo>
                <a:close/>
                <a:moveTo>
                  <a:pt x="6820967" y="4123275"/>
                </a:moveTo>
                <a:lnTo>
                  <a:pt x="7535986" y="4123275"/>
                </a:lnTo>
                <a:lnTo>
                  <a:pt x="7535986" y="4839013"/>
                </a:lnTo>
                <a:lnTo>
                  <a:pt x="6820967" y="4839013"/>
                </a:lnTo>
                <a:close/>
                <a:moveTo>
                  <a:pt x="6102348" y="4123275"/>
                </a:moveTo>
                <a:lnTo>
                  <a:pt x="6817367" y="4123275"/>
                </a:lnTo>
                <a:lnTo>
                  <a:pt x="6817367" y="4839013"/>
                </a:lnTo>
                <a:lnTo>
                  <a:pt x="6102348" y="4839013"/>
                </a:lnTo>
                <a:close/>
                <a:moveTo>
                  <a:pt x="5383731" y="4123275"/>
                </a:moveTo>
                <a:lnTo>
                  <a:pt x="6098748" y="4123275"/>
                </a:lnTo>
                <a:lnTo>
                  <a:pt x="6098748" y="4839013"/>
                </a:lnTo>
                <a:lnTo>
                  <a:pt x="5383731" y="4839013"/>
                </a:lnTo>
                <a:close/>
                <a:moveTo>
                  <a:pt x="4665112" y="4123275"/>
                </a:moveTo>
                <a:lnTo>
                  <a:pt x="5380131" y="4123275"/>
                </a:lnTo>
                <a:lnTo>
                  <a:pt x="5380131" y="4839013"/>
                </a:lnTo>
                <a:lnTo>
                  <a:pt x="4665112" y="4839013"/>
                </a:lnTo>
                <a:close/>
                <a:moveTo>
                  <a:pt x="3946497" y="4123275"/>
                </a:moveTo>
                <a:lnTo>
                  <a:pt x="4661513" y="4123275"/>
                </a:lnTo>
                <a:lnTo>
                  <a:pt x="4661513" y="4839013"/>
                </a:lnTo>
                <a:lnTo>
                  <a:pt x="3946497" y="4839013"/>
                </a:lnTo>
                <a:close/>
                <a:moveTo>
                  <a:pt x="3227878" y="4123275"/>
                </a:moveTo>
                <a:lnTo>
                  <a:pt x="3942896" y="4123275"/>
                </a:lnTo>
                <a:lnTo>
                  <a:pt x="3942896" y="4839013"/>
                </a:lnTo>
                <a:lnTo>
                  <a:pt x="3227878" y="4839013"/>
                </a:lnTo>
                <a:close/>
                <a:moveTo>
                  <a:pt x="2509257" y="4123275"/>
                </a:moveTo>
                <a:lnTo>
                  <a:pt x="3224277" y="4123275"/>
                </a:lnTo>
                <a:lnTo>
                  <a:pt x="3224277" y="4839013"/>
                </a:lnTo>
                <a:lnTo>
                  <a:pt x="2509257" y="4839013"/>
                </a:lnTo>
                <a:close/>
                <a:moveTo>
                  <a:pt x="1790637" y="4123275"/>
                </a:moveTo>
                <a:lnTo>
                  <a:pt x="2505659" y="4123275"/>
                </a:lnTo>
                <a:lnTo>
                  <a:pt x="2505659" y="4839013"/>
                </a:lnTo>
                <a:lnTo>
                  <a:pt x="1790637" y="4839013"/>
                </a:lnTo>
                <a:close/>
                <a:moveTo>
                  <a:pt x="1072019" y="4123275"/>
                </a:moveTo>
                <a:lnTo>
                  <a:pt x="1787037" y="4123275"/>
                </a:lnTo>
                <a:lnTo>
                  <a:pt x="1787037" y="4839013"/>
                </a:lnTo>
                <a:lnTo>
                  <a:pt x="1072019" y="4839013"/>
                </a:lnTo>
                <a:close/>
                <a:moveTo>
                  <a:pt x="353400" y="4123275"/>
                </a:moveTo>
                <a:lnTo>
                  <a:pt x="1068419" y="4123275"/>
                </a:lnTo>
                <a:lnTo>
                  <a:pt x="1068419" y="4839013"/>
                </a:lnTo>
                <a:lnTo>
                  <a:pt x="353400" y="4839013"/>
                </a:lnTo>
                <a:close/>
                <a:moveTo>
                  <a:pt x="0" y="4123275"/>
                </a:moveTo>
                <a:lnTo>
                  <a:pt x="349800" y="4123275"/>
                </a:lnTo>
                <a:lnTo>
                  <a:pt x="349800" y="4839013"/>
                </a:lnTo>
                <a:lnTo>
                  <a:pt x="0" y="4839013"/>
                </a:lnTo>
                <a:close/>
                <a:moveTo>
                  <a:pt x="11132680" y="3403939"/>
                </a:moveTo>
                <a:lnTo>
                  <a:pt x="11847706" y="3403939"/>
                </a:lnTo>
                <a:lnTo>
                  <a:pt x="11847706" y="4119675"/>
                </a:lnTo>
                <a:lnTo>
                  <a:pt x="11132680" y="4119675"/>
                </a:lnTo>
                <a:close/>
                <a:moveTo>
                  <a:pt x="10414061" y="3403939"/>
                </a:moveTo>
                <a:lnTo>
                  <a:pt x="11129080" y="3403939"/>
                </a:lnTo>
                <a:lnTo>
                  <a:pt x="11129080" y="4119675"/>
                </a:lnTo>
                <a:lnTo>
                  <a:pt x="10414061" y="4119675"/>
                </a:lnTo>
                <a:close/>
                <a:moveTo>
                  <a:pt x="9695442" y="3403939"/>
                </a:moveTo>
                <a:lnTo>
                  <a:pt x="10410461" y="3403939"/>
                </a:lnTo>
                <a:lnTo>
                  <a:pt x="10410461" y="4119675"/>
                </a:lnTo>
                <a:lnTo>
                  <a:pt x="9695442" y="4119675"/>
                </a:lnTo>
                <a:close/>
                <a:moveTo>
                  <a:pt x="8976823" y="3403939"/>
                </a:moveTo>
                <a:lnTo>
                  <a:pt x="9691842" y="3403939"/>
                </a:lnTo>
                <a:lnTo>
                  <a:pt x="9691842" y="4119675"/>
                </a:lnTo>
                <a:lnTo>
                  <a:pt x="8976823" y="4119675"/>
                </a:lnTo>
                <a:close/>
                <a:moveTo>
                  <a:pt x="8258205" y="3403939"/>
                </a:moveTo>
                <a:lnTo>
                  <a:pt x="8973223" y="3403939"/>
                </a:lnTo>
                <a:lnTo>
                  <a:pt x="8973223" y="4119675"/>
                </a:lnTo>
                <a:lnTo>
                  <a:pt x="8258205" y="4119675"/>
                </a:lnTo>
                <a:close/>
                <a:moveTo>
                  <a:pt x="7539586" y="3403939"/>
                </a:moveTo>
                <a:lnTo>
                  <a:pt x="8254605" y="3403939"/>
                </a:lnTo>
                <a:lnTo>
                  <a:pt x="8254605" y="4119675"/>
                </a:lnTo>
                <a:lnTo>
                  <a:pt x="7539586" y="4119675"/>
                </a:lnTo>
                <a:close/>
                <a:moveTo>
                  <a:pt x="6820967" y="3403939"/>
                </a:moveTo>
                <a:lnTo>
                  <a:pt x="7535986" y="3403939"/>
                </a:lnTo>
                <a:lnTo>
                  <a:pt x="7535986" y="4119675"/>
                </a:lnTo>
                <a:lnTo>
                  <a:pt x="6820967" y="4119675"/>
                </a:lnTo>
                <a:close/>
                <a:moveTo>
                  <a:pt x="6102348" y="3403939"/>
                </a:moveTo>
                <a:lnTo>
                  <a:pt x="6817367" y="3403939"/>
                </a:lnTo>
                <a:lnTo>
                  <a:pt x="6817367" y="4119675"/>
                </a:lnTo>
                <a:lnTo>
                  <a:pt x="6102348" y="4119675"/>
                </a:lnTo>
                <a:close/>
                <a:moveTo>
                  <a:pt x="5383731" y="3403939"/>
                </a:moveTo>
                <a:lnTo>
                  <a:pt x="6098748" y="3403939"/>
                </a:lnTo>
                <a:lnTo>
                  <a:pt x="6098748" y="4119675"/>
                </a:lnTo>
                <a:lnTo>
                  <a:pt x="5383731" y="4119675"/>
                </a:lnTo>
                <a:close/>
                <a:moveTo>
                  <a:pt x="4665112" y="3403939"/>
                </a:moveTo>
                <a:lnTo>
                  <a:pt x="5380131" y="3403939"/>
                </a:lnTo>
                <a:lnTo>
                  <a:pt x="5380131" y="4119675"/>
                </a:lnTo>
                <a:lnTo>
                  <a:pt x="4665112" y="4119675"/>
                </a:lnTo>
                <a:close/>
                <a:moveTo>
                  <a:pt x="3946497" y="3403939"/>
                </a:moveTo>
                <a:lnTo>
                  <a:pt x="4661513" y="3403939"/>
                </a:lnTo>
                <a:lnTo>
                  <a:pt x="4661513" y="4119675"/>
                </a:lnTo>
                <a:lnTo>
                  <a:pt x="3946497" y="4119675"/>
                </a:lnTo>
                <a:close/>
                <a:moveTo>
                  <a:pt x="3227878" y="3403939"/>
                </a:moveTo>
                <a:lnTo>
                  <a:pt x="3942896" y="3403939"/>
                </a:lnTo>
                <a:lnTo>
                  <a:pt x="3942896" y="4119675"/>
                </a:lnTo>
                <a:lnTo>
                  <a:pt x="3227878" y="4119675"/>
                </a:lnTo>
                <a:close/>
                <a:moveTo>
                  <a:pt x="2509257" y="3403939"/>
                </a:moveTo>
                <a:lnTo>
                  <a:pt x="3224277" y="3403939"/>
                </a:lnTo>
                <a:lnTo>
                  <a:pt x="3224277" y="4119675"/>
                </a:lnTo>
                <a:lnTo>
                  <a:pt x="2509257" y="4119675"/>
                </a:lnTo>
                <a:close/>
                <a:moveTo>
                  <a:pt x="1790637" y="3403939"/>
                </a:moveTo>
                <a:lnTo>
                  <a:pt x="2505659" y="3403939"/>
                </a:lnTo>
                <a:lnTo>
                  <a:pt x="2505659" y="4119675"/>
                </a:lnTo>
                <a:lnTo>
                  <a:pt x="1790637" y="4119675"/>
                </a:lnTo>
                <a:close/>
                <a:moveTo>
                  <a:pt x="1072019" y="3403939"/>
                </a:moveTo>
                <a:lnTo>
                  <a:pt x="1787037" y="3403939"/>
                </a:lnTo>
                <a:lnTo>
                  <a:pt x="1787037" y="4119675"/>
                </a:lnTo>
                <a:lnTo>
                  <a:pt x="1072019" y="4119675"/>
                </a:lnTo>
                <a:close/>
                <a:moveTo>
                  <a:pt x="353400" y="3403939"/>
                </a:moveTo>
                <a:lnTo>
                  <a:pt x="1068419" y="3403939"/>
                </a:lnTo>
                <a:lnTo>
                  <a:pt x="1068419" y="4119675"/>
                </a:lnTo>
                <a:lnTo>
                  <a:pt x="353400" y="4119675"/>
                </a:lnTo>
                <a:close/>
                <a:moveTo>
                  <a:pt x="0" y="3403939"/>
                </a:moveTo>
                <a:lnTo>
                  <a:pt x="349800" y="3403939"/>
                </a:lnTo>
                <a:lnTo>
                  <a:pt x="349800" y="4119675"/>
                </a:lnTo>
                <a:lnTo>
                  <a:pt x="0" y="4119675"/>
                </a:lnTo>
                <a:close/>
                <a:moveTo>
                  <a:pt x="11132680" y="2684600"/>
                </a:moveTo>
                <a:lnTo>
                  <a:pt x="11847706" y="2684600"/>
                </a:lnTo>
                <a:lnTo>
                  <a:pt x="11847706" y="3400338"/>
                </a:lnTo>
                <a:lnTo>
                  <a:pt x="11132680" y="3400338"/>
                </a:lnTo>
                <a:close/>
                <a:moveTo>
                  <a:pt x="10414061" y="2684600"/>
                </a:moveTo>
                <a:lnTo>
                  <a:pt x="11129080" y="2684600"/>
                </a:lnTo>
                <a:lnTo>
                  <a:pt x="11129080" y="3400338"/>
                </a:lnTo>
                <a:lnTo>
                  <a:pt x="10414061" y="3400338"/>
                </a:lnTo>
                <a:close/>
                <a:moveTo>
                  <a:pt x="9695442" y="2684600"/>
                </a:moveTo>
                <a:lnTo>
                  <a:pt x="10410461" y="2684600"/>
                </a:lnTo>
                <a:lnTo>
                  <a:pt x="10410461" y="3400338"/>
                </a:lnTo>
                <a:lnTo>
                  <a:pt x="9695442" y="3400338"/>
                </a:lnTo>
                <a:close/>
                <a:moveTo>
                  <a:pt x="8976823" y="2684600"/>
                </a:moveTo>
                <a:lnTo>
                  <a:pt x="9691842" y="2684600"/>
                </a:lnTo>
                <a:lnTo>
                  <a:pt x="9691842" y="3400338"/>
                </a:lnTo>
                <a:lnTo>
                  <a:pt x="8976823" y="3400338"/>
                </a:lnTo>
                <a:close/>
                <a:moveTo>
                  <a:pt x="8258205" y="2684600"/>
                </a:moveTo>
                <a:lnTo>
                  <a:pt x="8973223" y="2684600"/>
                </a:lnTo>
                <a:lnTo>
                  <a:pt x="8973223" y="3400338"/>
                </a:lnTo>
                <a:lnTo>
                  <a:pt x="8258205" y="3400338"/>
                </a:lnTo>
                <a:close/>
                <a:moveTo>
                  <a:pt x="7539586" y="2684600"/>
                </a:moveTo>
                <a:lnTo>
                  <a:pt x="8254605" y="2684600"/>
                </a:lnTo>
                <a:lnTo>
                  <a:pt x="8254605" y="3400338"/>
                </a:lnTo>
                <a:lnTo>
                  <a:pt x="7539586" y="3400338"/>
                </a:lnTo>
                <a:close/>
                <a:moveTo>
                  <a:pt x="6820967" y="2684600"/>
                </a:moveTo>
                <a:lnTo>
                  <a:pt x="7535986" y="2684600"/>
                </a:lnTo>
                <a:lnTo>
                  <a:pt x="7535986" y="3400338"/>
                </a:lnTo>
                <a:lnTo>
                  <a:pt x="6820967" y="3400338"/>
                </a:lnTo>
                <a:close/>
                <a:moveTo>
                  <a:pt x="6102348" y="2684600"/>
                </a:moveTo>
                <a:lnTo>
                  <a:pt x="6817367" y="2684600"/>
                </a:lnTo>
                <a:lnTo>
                  <a:pt x="6817367" y="3400338"/>
                </a:lnTo>
                <a:lnTo>
                  <a:pt x="6102348" y="3400338"/>
                </a:lnTo>
                <a:close/>
                <a:moveTo>
                  <a:pt x="5383731" y="2684600"/>
                </a:moveTo>
                <a:lnTo>
                  <a:pt x="6098748" y="2684600"/>
                </a:lnTo>
                <a:lnTo>
                  <a:pt x="6098748" y="3400338"/>
                </a:lnTo>
                <a:lnTo>
                  <a:pt x="5383731" y="3400338"/>
                </a:lnTo>
                <a:close/>
                <a:moveTo>
                  <a:pt x="4665112" y="2684600"/>
                </a:moveTo>
                <a:lnTo>
                  <a:pt x="5380131" y="2684600"/>
                </a:lnTo>
                <a:lnTo>
                  <a:pt x="5380131" y="3400338"/>
                </a:lnTo>
                <a:lnTo>
                  <a:pt x="4665112" y="3400338"/>
                </a:lnTo>
                <a:close/>
                <a:moveTo>
                  <a:pt x="3946497" y="2684600"/>
                </a:moveTo>
                <a:lnTo>
                  <a:pt x="4661513" y="2684600"/>
                </a:lnTo>
                <a:lnTo>
                  <a:pt x="4661513" y="3400338"/>
                </a:lnTo>
                <a:lnTo>
                  <a:pt x="3946497" y="3400338"/>
                </a:lnTo>
                <a:close/>
                <a:moveTo>
                  <a:pt x="3227878" y="2684600"/>
                </a:moveTo>
                <a:lnTo>
                  <a:pt x="3942896" y="2684600"/>
                </a:lnTo>
                <a:lnTo>
                  <a:pt x="3942896" y="3400338"/>
                </a:lnTo>
                <a:lnTo>
                  <a:pt x="3227878" y="3400338"/>
                </a:lnTo>
                <a:close/>
                <a:moveTo>
                  <a:pt x="2509257" y="2684600"/>
                </a:moveTo>
                <a:lnTo>
                  <a:pt x="3224277" y="2684600"/>
                </a:lnTo>
                <a:lnTo>
                  <a:pt x="3224277" y="3400338"/>
                </a:lnTo>
                <a:lnTo>
                  <a:pt x="2509257" y="3400338"/>
                </a:lnTo>
                <a:close/>
                <a:moveTo>
                  <a:pt x="1790637" y="2684600"/>
                </a:moveTo>
                <a:lnTo>
                  <a:pt x="2505659" y="2684600"/>
                </a:lnTo>
                <a:lnTo>
                  <a:pt x="2505659" y="3400338"/>
                </a:lnTo>
                <a:lnTo>
                  <a:pt x="1790637" y="3400338"/>
                </a:lnTo>
                <a:close/>
                <a:moveTo>
                  <a:pt x="1072019" y="2684600"/>
                </a:moveTo>
                <a:lnTo>
                  <a:pt x="1787037" y="2684600"/>
                </a:lnTo>
                <a:lnTo>
                  <a:pt x="1787037" y="3400338"/>
                </a:lnTo>
                <a:lnTo>
                  <a:pt x="1072019" y="3400338"/>
                </a:lnTo>
                <a:close/>
                <a:moveTo>
                  <a:pt x="353400" y="2684600"/>
                </a:moveTo>
                <a:lnTo>
                  <a:pt x="1068419" y="2684600"/>
                </a:lnTo>
                <a:lnTo>
                  <a:pt x="1068419" y="3400338"/>
                </a:lnTo>
                <a:lnTo>
                  <a:pt x="353400" y="3400338"/>
                </a:lnTo>
                <a:close/>
                <a:moveTo>
                  <a:pt x="0" y="2684600"/>
                </a:moveTo>
                <a:lnTo>
                  <a:pt x="349800" y="2684600"/>
                </a:lnTo>
                <a:lnTo>
                  <a:pt x="349800" y="3400338"/>
                </a:lnTo>
                <a:lnTo>
                  <a:pt x="0" y="3400338"/>
                </a:lnTo>
                <a:close/>
                <a:moveTo>
                  <a:pt x="11132680" y="1965263"/>
                </a:moveTo>
                <a:lnTo>
                  <a:pt x="11847706" y="1965263"/>
                </a:lnTo>
                <a:lnTo>
                  <a:pt x="11847706" y="2681002"/>
                </a:lnTo>
                <a:lnTo>
                  <a:pt x="11132680" y="2681002"/>
                </a:lnTo>
                <a:close/>
                <a:moveTo>
                  <a:pt x="10414061" y="1965263"/>
                </a:moveTo>
                <a:lnTo>
                  <a:pt x="11129080" y="1965263"/>
                </a:lnTo>
                <a:lnTo>
                  <a:pt x="11129080" y="2681002"/>
                </a:lnTo>
                <a:lnTo>
                  <a:pt x="10414061" y="2681002"/>
                </a:lnTo>
                <a:close/>
                <a:moveTo>
                  <a:pt x="9695442" y="1965263"/>
                </a:moveTo>
                <a:lnTo>
                  <a:pt x="10410461" y="1965263"/>
                </a:lnTo>
                <a:lnTo>
                  <a:pt x="10410461" y="2681002"/>
                </a:lnTo>
                <a:lnTo>
                  <a:pt x="9695442" y="2681002"/>
                </a:lnTo>
                <a:close/>
                <a:moveTo>
                  <a:pt x="8976823" y="1965263"/>
                </a:moveTo>
                <a:lnTo>
                  <a:pt x="9691842" y="1965263"/>
                </a:lnTo>
                <a:lnTo>
                  <a:pt x="9691842" y="2681002"/>
                </a:lnTo>
                <a:lnTo>
                  <a:pt x="8976823" y="2681002"/>
                </a:lnTo>
                <a:close/>
                <a:moveTo>
                  <a:pt x="8258205" y="1965263"/>
                </a:moveTo>
                <a:lnTo>
                  <a:pt x="8973223" y="1965263"/>
                </a:lnTo>
                <a:lnTo>
                  <a:pt x="8973223" y="2681002"/>
                </a:lnTo>
                <a:lnTo>
                  <a:pt x="8258205" y="2681002"/>
                </a:lnTo>
                <a:close/>
                <a:moveTo>
                  <a:pt x="7539586" y="1965263"/>
                </a:moveTo>
                <a:lnTo>
                  <a:pt x="8254605" y="1965263"/>
                </a:lnTo>
                <a:lnTo>
                  <a:pt x="8254605" y="2681002"/>
                </a:lnTo>
                <a:lnTo>
                  <a:pt x="7539586" y="2681002"/>
                </a:lnTo>
                <a:close/>
                <a:moveTo>
                  <a:pt x="6820967" y="1965263"/>
                </a:moveTo>
                <a:lnTo>
                  <a:pt x="7535986" y="1965263"/>
                </a:lnTo>
                <a:lnTo>
                  <a:pt x="7535986" y="2681002"/>
                </a:lnTo>
                <a:lnTo>
                  <a:pt x="6820967" y="2681002"/>
                </a:lnTo>
                <a:close/>
                <a:moveTo>
                  <a:pt x="6102348" y="1965263"/>
                </a:moveTo>
                <a:lnTo>
                  <a:pt x="6817367" y="1965263"/>
                </a:lnTo>
                <a:lnTo>
                  <a:pt x="6817367" y="2681002"/>
                </a:lnTo>
                <a:lnTo>
                  <a:pt x="6102348" y="2681002"/>
                </a:lnTo>
                <a:close/>
                <a:moveTo>
                  <a:pt x="5383731" y="1965263"/>
                </a:moveTo>
                <a:lnTo>
                  <a:pt x="6098748" y="1965263"/>
                </a:lnTo>
                <a:lnTo>
                  <a:pt x="6098748" y="2681002"/>
                </a:lnTo>
                <a:lnTo>
                  <a:pt x="5383731" y="2681002"/>
                </a:lnTo>
                <a:close/>
                <a:moveTo>
                  <a:pt x="4665112" y="1965263"/>
                </a:moveTo>
                <a:lnTo>
                  <a:pt x="5380131" y="1965263"/>
                </a:lnTo>
                <a:lnTo>
                  <a:pt x="5380131" y="2681002"/>
                </a:lnTo>
                <a:lnTo>
                  <a:pt x="4665112" y="2681002"/>
                </a:lnTo>
                <a:close/>
                <a:moveTo>
                  <a:pt x="3946497" y="1965263"/>
                </a:moveTo>
                <a:lnTo>
                  <a:pt x="4661513" y="1965263"/>
                </a:lnTo>
                <a:lnTo>
                  <a:pt x="4661513" y="2681002"/>
                </a:lnTo>
                <a:lnTo>
                  <a:pt x="3946497" y="2681002"/>
                </a:lnTo>
                <a:close/>
                <a:moveTo>
                  <a:pt x="3227878" y="1965263"/>
                </a:moveTo>
                <a:lnTo>
                  <a:pt x="3942896" y="1965263"/>
                </a:lnTo>
                <a:lnTo>
                  <a:pt x="3942896" y="2681002"/>
                </a:lnTo>
                <a:lnTo>
                  <a:pt x="3227878" y="2681002"/>
                </a:lnTo>
                <a:close/>
                <a:moveTo>
                  <a:pt x="2509257" y="1965263"/>
                </a:moveTo>
                <a:lnTo>
                  <a:pt x="3224277" y="1965263"/>
                </a:lnTo>
                <a:lnTo>
                  <a:pt x="3224277" y="2681002"/>
                </a:lnTo>
                <a:lnTo>
                  <a:pt x="2509257" y="2681002"/>
                </a:lnTo>
                <a:close/>
                <a:moveTo>
                  <a:pt x="1790637" y="1965263"/>
                </a:moveTo>
                <a:lnTo>
                  <a:pt x="2505659" y="1965263"/>
                </a:lnTo>
                <a:lnTo>
                  <a:pt x="2505659" y="2681002"/>
                </a:lnTo>
                <a:lnTo>
                  <a:pt x="1790637" y="2681002"/>
                </a:lnTo>
                <a:close/>
                <a:moveTo>
                  <a:pt x="1072019" y="1965263"/>
                </a:moveTo>
                <a:lnTo>
                  <a:pt x="1787037" y="1965263"/>
                </a:lnTo>
                <a:lnTo>
                  <a:pt x="1787037" y="2681002"/>
                </a:lnTo>
                <a:lnTo>
                  <a:pt x="1072019" y="2681002"/>
                </a:lnTo>
                <a:close/>
                <a:moveTo>
                  <a:pt x="353400" y="1965263"/>
                </a:moveTo>
                <a:lnTo>
                  <a:pt x="1068419" y="1965263"/>
                </a:lnTo>
                <a:lnTo>
                  <a:pt x="1068419" y="2681002"/>
                </a:lnTo>
                <a:lnTo>
                  <a:pt x="353400" y="2681002"/>
                </a:lnTo>
                <a:close/>
                <a:moveTo>
                  <a:pt x="0" y="1965263"/>
                </a:moveTo>
                <a:lnTo>
                  <a:pt x="349800" y="1965263"/>
                </a:lnTo>
                <a:lnTo>
                  <a:pt x="349800" y="2681002"/>
                </a:lnTo>
                <a:lnTo>
                  <a:pt x="0" y="2681002"/>
                </a:lnTo>
                <a:close/>
                <a:moveTo>
                  <a:pt x="11132680" y="1245925"/>
                </a:moveTo>
                <a:lnTo>
                  <a:pt x="11847706" y="1245925"/>
                </a:lnTo>
                <a:lnTo>
                  <a:pt x="11847706" y="1961663"/>
                </a:lnTo>
                <a:lnTo>
                  <a:pt x="11132680" y="1961663"/>
                </a:lnTo>
                <a:close/>
                <a:moveTo>
                  <a:pt x="10414061" y="1245925"/>
                </a:moveTo>
                <a:lnTo>
                  <a:pt x="11129080" y="1245925"/>
                </a:lnTo>
                <a:lnTo>
                  <a:pt x="11129080" y="1961663"/>
                </a:lnTo>
                <a:lnTo>
                  <a:pt x="10414061" y="1961663"/>
                </a:lnTo>
                <a:close/>
                <a:moveTo>
                  <a:pt x="9695442" y="1245925"/>
                </a:moveTo>
                <a:lnTo>
                  <a:pt x="10410461" y="1245925"/>
                </a:lnTo>
                <a:lnTo>
                  <a:pt x="10410461" y="1961663"/>
                </a:lnTo>
                <a:lnTo>
                  <a:pt x="9695442" y="1961663"/>
                </a:lnTo>
                <a:close/>
                <a:moveTo>
                  <a:pt x="8976823" y="1245925"/>
                </a:moveTo>
                <a:lnTo>
                  <a:pt x="9691842" y="1245925"/>
                </a:lnTo>
                <a:lnTo>
                  <a:pt x="9691842" y="1961663"/>
                </a:lnTo>
                <a:lnTo>
                  <a:pt x="8976823" y="1961663"/>
                </a:lnTo>
                <a:close/>
                <a:moveTo>
                  <a:pt x="8258205" y="1245925"/>
                </a:moveTo>
                <a:lnTo>
                  <a:pt x="8973223" y="1245925"/>
                </a:lnTo>
                <a:lnTo>
                  <a:pt x="8973223" y="1961663"/>
                </a:lnTo>
                <a:lnTo>
                  <a:pt x="8258205" y="1961663"/>
                </a:lnTo>
                <a:close/>
                <a:moveTo>
                  <a:pt x="7539586" y="1245925"/>
                </a:moveTo>
                <a:lnTo>
                  <a:pt x="8254605" y="1245925"/>
                </a:lnTo>
                <a:lnTo>
                  <a:pt x="8254605" y="1961663"/>
                </a:lnTo>
                <a:lnTo>
                  <a:pt x="7539586" y="1961663"/>
                </a:lnTo>
                <a:close/>
                <a:moveTo>
                  <a:pt x="6820967" y="1245925"/>
                </a:moveTo>
                <a:lnTo>
                  <a:pt x="7535986" y="1245925"/>
                </a:lnTo>
                <a:lnTo>
                  <a:pt x="7535986" y="1961663"/>
                </a:lnTo>
                <a:lnTo>
                  <a:pt x="6820967" y="1961663"/>
                </a:lnTo>
                <a:close/>
                <a:moveTo>
                  <a:pt x="6102348" y="1245925"/>
                </a:moveTo>
                <a:lnTo>
                  <a:pt x="6817367" y="1245925"/>
                </a:lnTo>
                <a:lnTo>
                  <a:pt x="6817367" y="1961663"/>
                </a:lnTo>
                <a:lnTo>
                  <a:pt x="6102348" y="1961663"/>
                </a:lnTo>
                <a:close/>
                <a:moveTo>
                  <a:pt x="5383731" y="1245925"/>
                </a:moveTo>
                <a:lnTo>
                  <a:pt x="6098748" y="1245925"/>
                </a:lnTo>
                <a:lnTo>
                  <a:pt x="6098748" y="1961663"/>
                </a:lnTo>
                <a:lnTo>
                  <a:pt x="5383731" y="1961663"/>
                </a:lnTo>
                <a:close/>
                <a:moveTo>
                  <a:pt x="4665112" y="1245925"/>
                </a:moveTo>
                <a:lnTo>
                  <a:pt x="5380131" y="1245925"/>
                </a:lnTo>
                <a:lnTo>
                  <a:pt x="5380131" y="1961663"/>
                </a:lnTo>
                <a:lnTo>
                  <a:pt x="4665112" y="1961663"/>
                </a:lnTo>
                <a:close/>
                <a:moveTo>
                  <a:pt x="3946497" y="1245925"/>
                </a:moveTo>
                <a:lnTo>
                  <a:pt x="4661513" y="1245925"/>
                </a:lnTo>
                <a:lnTo>
                  <a:pt x="4661513" y="1961663"/>
                </a:lnTo>
                <a:lnTo>
                  <a:pt x="3946497" y="1961663"/>
                </a:lnTo>
                <a:close/>
                <a:moveTo>
                  <a:pt x="3227878" y="1245925"/>
                </a:moveTo>
                <a:lnTo>
                  <a:pt x="3942896" y="1245925"/>
                </a:lnTo>
                <a:lnTo>
                  <a:pt x="3942896" y="1961663"/>
                </a:lnTo>
                <a:lnTo>
                  <a:pt x="3227878" y="1961663"/>
                </a:lnTo>
                <a:close/>
                <a:moveTo>
                  <a:pt x="2509257" y="1245925"/>
                </a:moveTo>
                <a:lnTo>
                  <a:pt x="3224277" y="1245925"/>
                </a:lnTo>
                <a:lnTo>
                  <a:pt x="3224277" y="1961663"/>
                </a:lnTo>
                <a:lnTo>
                  <a:pt x="2509257" y="1961663"/>
                </a:lnTo>
                <a:close/>
                <a:moveTo>
                  <a:pt x="1790637" y="1245925"/>
                </a:moveTo>
                <a:lnTo>
                  <a:pt x="2505659" y="1245925"/>
                </a:lnTo>
                <a:lnTo>
                  <a:pt x="2505659" y="1961663"/>
                </a:lnTo>
                <a:lnTo>
                  <a:pt x="1790637" y="1961663"/>
                </a:lnTo>
                <a:close/>
                <a:moveTo>
                  <a:pt x="1072019" y="1245925"/>
                </a:moveTo>
                <a:lnTo>
                  <a:pt x="1787037" y="1245925"/>
                </a:lnTo>
                <a:lnTo>
                  <a:pt x="1787037" y="1961663"/>
                </a:lnTo>
                <a:lnTo>
                  <a:pt x="1072019" y="1961663"/>
                </a:lnTo>
                <a:close/>
                <a:moveTo>
                  <a:pt x="353400" y="1245925"/>
                </a:moveTo>
                <a:lnTo>
                  <a:pt x="1068419" y="1245925"/>
                </a:lnTo>
                <a:lnTo>
                  <a:pt x="1068419" y="1961663"/>
                </a:lnTo>
                <a:lnTo>
                  <a:pt x="353400" y="1961663"/>
                </a:lnTo>
                <a:close/>
                <a:moveTo>
                  <a:pt x="0" y="1245925"/>
                </a:moveTo>
                <a:lnTo>
                  <a:pt x="349800" y="1245925"/>
                </a:lnTo>
                <a:lnTo>
                  <a:pt x="349800" y="1961663"/>
                </a:lnTo>
                <a:lnTo>
                  <a:pt x="0" y="1961663"/>
                </a:lnTo>
                <a:close/>
                <a:moveTo>
                  <a:pt x="11132680" y="526587"/>
                </a:moveTo>
                <a:lnTo>
                  <a:pt x="11847706" y="526587"/>
                </a:lnTo>
                <a:lnTo>
                  <a:pt x="11847706" y="1242325"/>
                </a:lnTo>
                <a:lnTo>
                  <a:pt x="11132680" y="1242325"/>
                </a:lnTo>
                <a:close/>
                <a:moveTo>
                  <a:pt x="10414061" y="526587"/>
                </a:moveTo>
                <a:lnTo>
                  <a:pt x="11129080" y="526587"/>
                </a:lnTo>
                <a:lnTo>
                  <a:pt x="11129080" y="1242325"/>
                </a:lnTo>
                <a:lnTo>
                  <a:pt x="10414061" y="1242325"/>
                </a:lnTo>
                <a:close/>
                <a:moveTo>
                  <a:pt x="9695442" y="526587"/>
                </a:moveTo>
                <a:lnTo>
                  <a:pt x="10410461" y="526587"/>
                </a:lnTo>
                <a:lnTo>
                  <a:pt x="10410461" y="1242325"/>
                </a:lnTo>
                <a:lnTo>
                  <a:pt x="9695442" y="1242325"/>
                </a:lnTo>
                <a:close/>
                <a:moveTo>
                  <a:pt x="8976823" y="526587"/>
                </a:moveTo>
                <a:lnTo>
                  <a:pt x="9691842" y="526587"/>
                </a:lnTo>
                <a:lnTo>
                  <a:pt x="9691842" y="1242325"/>
                </a:lnTo>
                <a:lnTo>
                  <a:pt x="8976823" y="1242325"/>
                </a:lnTo>
                <a:close/>
                <a:moveTo>
                  <a:pt x="8258205" y="526587"/>
                </a:moveTo>
                <a:lnTo>
                  <a:pt x="8973223" y="526587"/>
                </a:lnTo>
                <a:lnTo>
                  <a:pt x="8973223" y="1242325"/>
                </a:lnTo>
                <a:lnTo>
                  <a:pt x="8258205" y="1242325"/>
                </a:lnTo>
                <a:close/>
                <a:moveTo>
                  <a:pt x="7539586" y="526587"/>
                </a:moveTo>
                <a:lnTo>
                  <a:pt x="8254605" y="526587"/>
                </a:lnTo>
                <a:lnTo>
                  <a:pt x="8254605" y="1242325"/>
                </a:lnTo>
                <a:lnTo>
                  <a:pt x="7539586" y="1242325"/>
                </a:lnTo>
                <a:close/>
                <a:moveTo>
                  <a:pt x="6820967" y="526587"/>
                </a:moveTo>
                <a:lnTo>
                  <a:pt x="7535986" y="526587"/>
                </a:lnTo>
                <a:lnTo>
                  <a:pt x="7535986" y="1242325"/>
                </a:lnTo>
                <a:lnTo>
                  <a:pt x="6820967" y="1242325"/>
                </a:lnTo>
                <a:close/>
                <a:moveTo>
                  <a:pt x="6102348" y="526587"/>
                </a:moveTo>
                <a:lnTo>
                  <a:pt x="6817367" y="526587"/>
                </a:lnTo>
                <a:lnTo>
                  <a:pt x="6817367" y="1242325"/>
                </a:lnTo>
                <a:lnTo>
                  <a:pt x="6102348" y="1242325"/>
                </a:lnTo>
                <a:close/>
                <a:moveTo>
                  <a:pt x="5383731" y="526587"/>
                </a:moveTo>
                <a:lnTo>
                  <a:pt x="6098748" y="526587"/>
                </a:lnTo>
                <a:lnTo>
                  <a:pt x="6098748" y="1242325"/>
                </a:lnTo>
                <a:lnTo>
                  <a:pt x="5383731" y="1242325"/>
                </a:lnTo>
                <a:close/>
                <a:moveTo>
                  <a:pt x="4665112" y="526587"/>
                </a:moveTo>
                <a:lnTo>
                  <a:pt x="5380131" y="526587"/>
                </a:lnTo>
                <a:lnTo>
                  <a:pt x="5380131" y="1242325"/>
                </a:lnTo>
                <a:lnTo>
                  <a:pt x="4665112" y="1242325"/>
                </a:lnTo>
                <a:close/>
                <a:moveTo>
                  <a:pt x="3946497" y="526587"/>
                </a:moveTo>
                <a:lnTo>
                  <a:pt x="4661513" y="526587"/>
                </a:lnTo>
                <a:lnTo>
                  <a:pt x="4661513" y="1242325"/>
                </a:lnTo>
                <a:lnTo>
                  <a:pt x="3946497" y="1242325"/>
                </a:lnTo>
                <a:close/>
                <a:moveTo>
                  <a:pt x="3227878" y="526587"/>
                </a:moveTo>
                <a:lnTo>
                  <a:pt x="3942896" y="526587"/>
                </a:lnTo>
                <a:lnTo>
                  <a:pt x="3942896" y="1242325"/>
                </a:lnTo>
                <a:lnTo>
                  <a:pt x="3227878" y="1242325"/>
                </a:lnTo>
                <a:close/>
                <a:moveTo>
                  <a:pt x="2509257" y="526587"/>
                </a:moveTo>
                <a:lnTo>
                  <a:pt x="3224277" y="526587"/>
                </a:lnTo>
                <a:lnTo>
                  <a:pt x="3224277" y="1242325"/>
                </a:lnTo>
                <a:lnTo>
                  <a:pt x="2509257" y="1242325"/>
                </a:lnTo>
                <a:close/>
                <a:moveTo>
                  <a:pt x="1790637" y="526587"/>
                </a:moveTo>
                <a:lnTo>
                  <a:pt x="2505659" y="526587"/>
                </a:lnTo>
                <a:lnTo>
                  <a:pt x="2505659" y="1242325"/>
                </a:lnTo>
                <a:lnTo>
                  <a:pt x="1790637" y="1242325"/>
                </a:lnTo>
                <a:close/>
                <a:moveTo>
                  <a:pt x="1072019" y="526587"/>
                </a:moveTo>
                <a:lnTo>
                  <a:pt x="1787037" y="526587"/>
                </a:lnTo>
                <a:lnTo>
                  <a:pt x="1787037" y="1242325"/>
                </a:lnTo>
                <a:lnTo>
                  <a:pt x="1072019" y="1242325"/>
                </a:lnTo>
                <a:close/>
                <a:moveTo>
                  <a:pt x="353400" y="526587"/>
                </a:moveTo>
                <a:lnTo>
                  <a:pt x="1068419" y="526587"/>
                </a:lnTo>
                <a:lnTo>
                  <a:pt x="1068419" y="1242325"/>
                </a:lnTo>
                <a:lnTo>
                  <a:pt x="353400" y="1242325"/>
                </a:lnTo>
                <a:close/>
                <a:moveTo>
                  <a:pt x="0" y="526587"/>
                </a:moveTo>
                <a:lnTo>
                  <a:pt x="349800" y="526587"/>
                </a:lnTo>
                <a:lnTo>
                  <a:pt x="349800" y="1242325"/>
                </a:lnTo>
                <a:lnTo>
                  <a:pt x="0" y="1242325"/>
                </a:lnTo>
                <a:close/>
                <a:moveTo>
                  <a:pt x="11851306" y="6"/>
                </a:moveTo>
                <a:lnTo>
                  <a:pt x="12191995" y="6"/>
                </a:lnTo>
                <a:lnTo>
                  <a:pt x="12191995" y="6875997"/>
                </a:lnTo>
                <a:lnTo>
                  <a:pt x="11" y="6875997"/>
                </a:lnTo>
                <a:lnTo>
                  <a:pt x="11" y="6875990"/>
                </a:lnTo>
                <a:lnTo>
                  <a:pt x="0" y="6875990"/>
                </a:lnTo>
                <a:lnTo>
                  <a:pt x="0" y="6281286"/>
                </a:lnTo>
                <a:lnTo>
                  <a:pt x="12191994" y="6281286"/>
                </a:lnTo>
                <a:lnTo>
                  <a:pt x="12191994" y="6277686"/>
                </a:lnTo>
                <a:lnTo>
                  <a:pt x="11851306" y="6277686"/>
                </a:lnTo>
                <a:lnTo>
                  <a:pt x="11851306" y="5561951"/>
                </a:lnTo>
                <a:lnTo>
                  <a:pt x="12191994" y="5561951"/>
                </a:lnTo>
                <a:lnTo>
                  <a:pt x="12191994" y="5558351"/>
                </a:lnTo>
                <a:lnTo>
                  <a:pt x="11851306" y="5558351"/>
                </a:lnTo>
                <a:lnTo>
                  <a:pt x="11851306" y="4842613"/>
                </a:lnTo>
                <a:lnTo>
                  <a:pt x="12191994" y="4842613"/>
                </a:lnTo>
                <a:lnTo>
                  <a:pt x="12191994" y="4839013"/>
                </a:lnTo>
                <a:lnTo>
                  <a:pt x="11851306" y="4839013"/>
                </a:lnTo>
                <a:lnTo>
                  <a:pt x="11851306" y="4123275"/>
                </a:lnTo>
                <a:lnTo>
                  <a:pt x="12191994" y="4123275"/>
                </a:lnTo>
                <a:lnTo>
                  <a:pt x="12191994" y="4119675"/>
                </a:lnTo>
                <a:lnTo>
                  <a:pt x="11851306" y="4119675"/>
                </a:lnTo>
                <a:lnTo>
                  <a:pt x="11851306" y="3403939"/>
                </a:lnTo>
                <a:lnTo>
                  <a:pt x="12191994" y="3403939"/>
                </a:lnTo>
                <a:lnTo>
                  <a:pt x="12191994" y="3400338"/>
                </a:lnTo>
                <a:lnTo>
                  <a:pt x="11851306" y="3400338"/>
                </a:lnTo>
                <a:lnTo>
                  <a:pt x="11851306" y="2684600"/>
                </a:lnTo>
                <a:lnTo>
                  <a:pt x="12191994" y="2684600"/>
                </a:lnTo>
                <a:lnTo>
                  <a:pt x="12191994" y="2681002"/>
                </a:lnTo>
                <a:lnTo>
                  <a:pt x="11851306" y="2681002"/>
                </a:lnTo>
                <a:lnTo>
                  <a:pt x="11851306" y="1965263"/>
                </a:lnTo>
                <a:lnTo>
                  <a:pt x="12191994" y="1965263"/>
                </a:lnTo>
                <a:lnTo>
                  <a:pt x="12191994" y="1961663"/>
                </a:lnTo>
                <a:lnTo>
                  <a:pt x="11851306" y="1961663"/>
                </a:lnTo>
                <a:lnTo>
                  <a:pt x="11851306" y="1245925"/>
                </a:lnTo>
                <a:lnTo>
                  <a:pt x="12191994" y="1245925"/>
                </a:lnTo>
                <a:lnTo>
                  <a:pt x="12191994" y="1242325"/>
                </a:lnTo>
                <a:lnTo>
                  <a:pt x="11851306" y="1242325"/>
                </a:lnTo>
                <a:lnTo>
                  <a:pt x="11851306" y="526587"/>
                </a:lnTo>
                <a:lnTo>
                  <a:pt x="12191994" y="526587"/>
                </a:lnTo>
                <a:lnTo>
                  <a:pt x="12191994" y="522987"/>
                </a:lnTo>
                <a:lnTo>
                  <a:pt x="11851306" y="522987"/>
                </a:lnTo>
                <a:close/>
                <a:moveTo>
                  <a:pt x="11132680" y="6"/>
                </a:moveTo>
                <a:lnTo>
                  <a:pt x="11847706" y="6"/>
                </a:lnTo>
                <a:lnTo>
                  <a:pt x="11847706" y="522987"/>
                </a:lnTo>
                <a:lnTo>
                  <a:pt x="11132680" y="522987"/>
                </a:lnTo>
                <a:close/>
                <a:moveTo>
                  <a:pt x="10414061" y="6"/>
                </a:moveTo>
                <a:lnTo>
                  <a:pt x="11129080" y="6"/>
                </a:lnTo>
                <a:lnTo>
                  <a:pt x="11129080" y="522987"/>
                </a:lnTo>
                <a:lnTo>
                  <a:pt x="10414061" y="522987"/>
                </a:lnTo>
                <a:close/>
                <a:moveTo>
                  <a:pt x="9695442" y="6"/>
                </a:moveTo>
                <a:lnTo>
                  <a:pt x="10410461" y="6"/>
                </a:lnTo>
                <a:lnTo>
                  <a:pt x="10410461" y="522987"/>
                </a:lnTo>
                <a:lnTo>
                  <a:pt x="9695442" y="522987"/>
                </a:lnTo>
                <a:close/>
                <a:moveTo>
                  <a:pt x="8976823" y="6"/>
                </a:moveTo>
                <a:lnTo>
                  <a:pt x="9691842" y="6"/>
                </a:lnTo>
                <a:lnTo>
                  <a:pt x="9691842" y="522987"/>
                </a:lnTo>
                <a:lnTo>
                  <a:pt x="8976823" y="522987"/>
                </a:lnTo>
                <a:close/>
                <a:moveTo>
                  <a:pt x="8258205" y="6"/>
                </a:moveTo>
                <a:lnTo>
                  <a:pt x="8973223" y="6"/>
                </a:lnTo>
                <a:lnTo>
                  <a:pt x="8973223" y="522987"/>
                </a:lnTo>
                <a:lnTo>
                  <a:pt x="8258205" y="522987"/>
                </a:lnTo>
                <a:close/>
                <a:moveTo>
                  <a:pt x="7539586" y="6"/>
                </a:moveTo>
                <a:lnTo>
                  <a:pt x="8254605" y="6"/>
                </a:lnTo>
                <a:lnTo>
                  <a:pt x="8254605" y="522987"/>
                </a:lnTo>
                <a:lnTo>
                  <a:pt x="7539586" y="522987"/>
                </a:lnTo>
                <a:close/>
                <a:moveTo>
                  <a:pt x="6820967" y="6"/>
                </a:moveTo>
                <a:lnTo>
                  <a:pt x="7535986" y="6"/>
                </a:lnTo>
                <a:lnTo>
                  <a:pt x="7535986" y="522987"/>
                </a:lnTo>
                <a:lnTo>
                  <a:pt x="6820967" y="522987"/>
                </a:lnTo>
                <a:close/>
                <a:moveTo>
                  <a:pt x="6102348" y="6"/>
                </a:moveTo>
                <a:lnTo>
                  <a:pt x="6817367" y="6"/>
                </a:lnTo>
                <a:lnTo>
                  <a:pt x="6817367" y="522987"/>
                </a:lnTo>
                <a:lnTo>
                  <a:pt x="6102348" y="522987"/>
                </a:lnTo>
                <a:close/>
                <a:moveTo>
                  <a:pt x="5383731" y="6"/>
                </a:moveTo>
                <a:lnTo>
                  <a:pt x="6098748" y="6"/>
                </a:lnTo>
                <a:lnTo>
                  <a:pt x="6098748" y="522987"/>
                </a:lnTo>
                <a:lnTo>
                  <a:pt x="5383731" y="522987"/>
                </a:lnTo>
                <a:close/>
                <a:moveTo>
                  <a:pt x="4665112" y="6"/>
                </a:moveTo>
                <a:lnTo>
                  <a:pt x="5380131" y="6"/>
                </a:lnTo>
                <a:lnTo>
                  <a:pt x="5380131" y="522987"/>
                </a:lnTo>
                <a:lnTo>
                  <a:pt x="4665112" y="522987"/>
                </a:lnTo>
                <a:close/>
                <a:moveTo>
                  <a:pt x="3946497" y="6"/>
                </a:moveTo>
                <a:lnTo>
                  <a:pt x="4661513" y="6"/>
                </a:lnTo>
                <a:lnTo>
                  <a:pt x="4661513" y="522987"/>
                </a:lnTo>
                <a:lnTo>
                  <a:pt x="3946497" y="522987"/>
                </a:lnTo>
                <a:close/>
                <a:moveTo>
                  <a:pt x="3227878" y="6"/>
                </a:moveTo>
                <a:lnTo>
                  <a:pt x="3942896" y="6"/>
                </a:lnTo>
                <a:lnTo>
                  <a:pt x="3942896" y="522987"/>
                </a:lnTo>
                <a:lnTo>
                  <a:pt x="3227878" y="522987"/>
                </a:lnTo>
                <a:close/>
                <a:moveTo>
                  <a:pt x="2509257" y="6"/>
                </a:moveTo>
                <a:lnTo>
                  <a:pt x="3224277" y="6"/>
                </a:lnTo>
                <a:lnTo>
                  <a:pt x="3224277" y="522987"/>
                </a:lnTo>
                <a:lnTo>
                  <a:pt x="2509257" y="522987"/>
                </a:lnTo>
                <a:close/>
                <a:moveTo>
                  <a:pt x="1790637" y="6"/>
                </a:moveTo>
                <a:lnTo>
                  <a:pt x="2505659" y="6"/>
                </a:lnTo>
                <a:lnTo>
                  <a:pt x="2505659" y="522987"/>
                </a:lnTo>
                <a:lnTo>
                  <a:pt x="1790637" y="522987"/>
                </a:lnTo>
                <a:close/>
                <a:moveTo>
                  <a:pt x="1072019" y="0"/>
                </a:moveTo>
                <a:lnTo>
                  <a:pt x="1152939" y="0"/>
                </a:lnTo>
                <a:lnTo>
                  <a:pt x="1152939" y="6"/>
                </a:lnTo>
                <a:lnTo>
                  <a:pt x="1787037" y="6"/>
                </a:lnTo>
                <a:lnTo>
                  <a:pt x="1787037" y="522987"/>
                </a:lnTo>
                <a:lnTo>
                  <a:pt x="1072019" y="522987"/>
                </a:lnTo>
                <a:close/>
                <a:moveTo>
                  <a:pt x="353400" y="0"/>
                </a:moveTo>
                <a:lnTo>
                  <a:pt x="1068419" y="0"/>
                </a:lnTo>
                <a:lnTo>
                  <a:pt x="1068419" y="522987"/>
                </a:lnTo>
                <a:lnTo>
                  <a:pt x="353400" y="522987"/>
                </a:lnTo>
                <a:close/>
                <a:moveTo>
                  <a:pt x="0" y="0"/>
                </a:moveTo>
                <a:lnTo>
                  <a:pt x="349800" y="0"/>
                </a:lnTo>
                <a:lnTo>
                  <a:pt x="349800" y="522987"/>
                </a:lnTo>
                <a:lnTo>
                  <a:pt x="0" y="522987"/>
                </a:lnTo>
                <a:close/>
              </a:path>
            </a:pathLst>
          </a:custGeom>
          <a:solidFill>
            <a:srgbClr val="EAEEF0"/>
          </a:solidFill>
        </p:spPr>
        <p:txBody>
          <a:bodyPr wrap="square" tIns="1980000" anchor="ctr">
            <a:noAutofit/>
          </a:bodyPr>
          <a:lstStyle>
            <a:lvl1pPr marL="0" marR="0" indent="0" algn="ctr" defTabSz="914400" rtl="0" eaLnBrk="1" fontAlgn="ctr" latinLnBrk="0" hangingPunct="1">
              <a:lnSpc>
                <a:spcPct val="90000"/>
              </a:lnSpc>
              <a:spcBef>
                <a:spcPts val="0"/>
              </a:spcBef>
              <a:spcAft>
                <a:spcPts val="0"/>
              </a:spcAft>
              <a:buClrTx/>
              <a:buSzPct val="80000"/>
              <a:buFont typeface="Systeemlettertype regulier"/>
              <a:buNone/>
              <a:tabLst/>
              <a:defRPr sz="1000" b="1">
                <a:solidFill>
                  <a:schemeClr val="tx2"/>
                </a:solidFill>
              </a:defRPr>
            </a:lvl1pPr>
          </a:lstStyle>
          <a:p>
            <a:pPr marL="0" marR="0" lvl="0" indent="-252000" algn="ctr" defTabSz="914400" rtl="0" eaLnBrk="1" fontAlgn="ctr" latinLnBrk="0" hangingPunct="1">
              <a:lnSpc>
                <a:spcPct val="90000"/>
              </a:lnSpc>
              <a:spcBef>
                <a:spcPts val="500"/>
              </a:spcBef>
              <a:spcAft>
                <a:spcPts val="0"/>
              </a:spcAft>
              <a:buClrTx/>
              <a:buSzPct val="80000"/>
              <a:buFont typeface="Systeemlettertype regulier"/>
              <a:buNone/>
              <a:tabLst/>
              <a:defRPr/>
            </a:pPr>
            <a:r>
              <a:rPr lang="de-DE" noProof="0"/>
              <a:t>Bild durch Klicken auf Symbol hinzufügen</a:t>
            </a:r>
            <a:endParaRPr lang="en-GB" noProof="0" dirty="0"/>
          </a:p>
        </p:txBody>
      </p:sp>
      <p:sp>
        <p:nvSpPr>
          <p:cNvPr id="4" name="Tijdelijke aanduiding voor datum 3">
            <a:extLst>
              <a:ext uri="{FF2B5EF4-FFF2-40B4-BE49-F238E27FC236}">
                <a16:creationId xmlns:a16="http://schemas.microsoft.com/office/drawing/2014/main" id="{146B7EFA-5249-014A-9A6E-4C9BABB52DA9}"/>
              </a:ext>
            </a:extLst>
          </p:cNvPr>
          <p:cNvSpPr>
            <a:spLocks noGrp="1"/>
          </p:cNvSpPr>
          <p:nvPr>
            <p:ph type="dt" sz="half" idx="10"/>
          </p:nvPr>
        </p:nvSpPr>
        <p:spPr/>
        <p:txBody>
          <a:bodyPr/>
          <a:lstStyle>
            <a:lvl1pPr>
              <a:defRPr>
                <a:solidFill>
                  <a:schemeClr val="bg1"/>
                </a:solidFill>
              </a:defRPr>
            </a:lvl1pPr>
          </a:lstStyle>
          <a:p>
            <a:fld id="{F2C657B5-F357-49C0-A82A-24228B89F5B5}" type="datetime4">
              <a:rPr lang="en-GB" noProof="0" smtClean="0"/>
              <a:t>23 January 2025</a:t>
            </a:fld>
            <a:endParaRPr lang="en-GB" noProof="0" dirty="0"/>
          </a:p>
        </p:txBody>
      </p:sp>
      <p:sp>
        <p:nvSpPr>
          <p:cNvPr id="5" name="Tijdelijke aanduiding voor voettekst 4">
            <a:extLst>
              <a:ext uri="{FF2B5EF4-FFF2-40B4-BE49-F238E27FC236}">
                <a16:creationId xmlns:a16="http://schemas.microsoft.com/office/drawing/2014/main" id="{EA63CE5E-7964-8448-8AE3-9DC9C8BF7E6F}"/>
              </a:ext>
            </a:extLst>
          </p:cNvPr>
          <p:cNvSpPr>
            <a:spLocks noGrp="1"/>
          </p:cNvSpPr>
          <p:nvPr>
            <p:ph type="ftr" sz="quarter" idx="11"/>
          </p:nvPr>
        </p:nvSpPr>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noProof="0" dirty="0"/>
              <a:t>Confidentiality</a:t>
            </a:r>
          </a:p>
        </p:txBody>
      </p:sp>
      <p:sp>
        <p:nvSpPr>
          <p:cNvPr id="6" name="Tijdelijke aanduiding voor dianummer 5">
            <a:extLst>
              <a:ext uri="{FF2B5EF4-FFF2-40B4-BE49-F238E27FC236}">
                <a16:creationId xmlns:a16="http://schemas.microsoft.com/office/drawing/2014/main" id="{655B2331-2753-B94F-9A03-CB328DE91E9A}"/>
              </a:ext>
            </a:extLst>
          </p:cNvPr>
          <p:cNvSpPr>
            <a:spLocks noGrp="1"/>
          </p:cNvSpPr>
          <p:nvPr>
            <p:ph type="sldNum" sz="quarter" idx="12"/>
          </p:nvPr>
        </p:nvSpPr>
        <p:spPr/>
        <p:txBody>
          <a:bodyPr/>
          <a:lstStyle>
            <a:lvl1pPr>
              <a:defRPr>
                <a:solidFill>
                  <a:schemeClr val="bg1"/>
                </a:solidFill>
              </a:defRPr>
            </a:lvl1pPr>
          </a:lstStyle>
          <a:p>
            <a:fld id="{3B0AF0F1-83F4-0746-A551-EEC1F1FEC0BD}" type="slidenum">
              <a:rPr lang="en-GB" noProof="0" smtClean="0"/>
              <a:pPr/>
              <a:t>‹Nr.›</a:t>
            </a:fld>
            <a:endParaRPr lang="en-GB" noProof="0" dirty="0"/>
          </a:p>
        </p:txBody>
      </p:sp>
      <p:sp>
        <p:nvSpPr>
          <p:cNvPr id="19" name="Tijdelijke aanduiding voor tekst 7">
            <a:extLst>
              <a:ext uri="{FF2B5EF4-FFF2-40B4-BE49-F238E27FC236}">
                <a16:creationId xmlns:a16="http://schemas.microsoft.com/office/drawing/2014/main" id="{EEFED7A6-78C3-DC4E-A940-8E7D0B73AB0E}"/>
              </a:ext>
            </a:extLst>
          </p:cNvPr>
          <p:cNvSpPr>
            <a:spLocks noGrp="1"/>
          </p:cNvSpPr>
          <p:nvPr>
            <p:ph type="body" sz="quarter" idx="16" hasCustomPrompt="1"/>
          </p:nvPr>
        </p:nvSpPr>
        <p:spPr>
          <a:xfrm>
            <a:off x="349200" y="522000"/>
            <a:ext cx="5749200" cy="3600450"/>
          </a:xfrm>
          <a:custGeom>
            <a:avLst/>
            <a:gdLst>
              <a:gd name="connsiteX0" fmla="*/ 0 w 5749200"/>
              <a:gd name="connsiteY0" fmla="*/ 0 h 3600450"/>
              <a:gd name="connsiteX1" fmla="*/ 5749200 w 5749200"/>
              <a:gd name="connsiteY1" fmla="*/ 0 h 3600450"/>
              <a:gd name="connsiteX2" fmla="*/ 5749200 w 5749200"/>
              <a:gd name="connsiteY2" fmla="*/ 3328231 h 3600450"/>
              <a:gd name="connsiteX3" fmla="*/ 5148806 w 5749200"/>
              <a:gd name="connsiteY3" fmla="*/ 3600450 h 3600450"/>
              <a:gd name="connsiteX4" fmla="*/ 0 w 5749200"/>
              <a:gd name="connsiteY4" fmla="*/ 3600450 h 3600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9200" h="3600450">
                <a:moveTo>
                  <a:pt x="0" y="0"/>
                </a:moveTo>
                <a:lnTo>
                  <a:pt x="5749200" y="0"/>
                </a:lnTo>
                <a:lnTo>
                  <a:pt x="5749200" y="3328231"/>
                </a:lnTo>
                <a:lnTo>
                  <a:pt x="5148806" y="3600450"/>
                </a:lnTo>
                <a:lnTo>
                  <a:pt x="0" y="3600450"/>
                </a:lnTo>
                <a:close/>
              </a:path>
            </a:pathLst>
          </a:custGeom>
          <a:solidFill>
            <a:schemeClr val="bg1"/>
          </a:solidFill>
        </p:spPr>
        <p:txBody>
          <a:bodyPr wrap="square" lIns="216000" tIns="864000" rIns="216000" bIns="216000">
            <a:noAutofit/>
          </a:bodyPr>
          <a:lstStyle>
            <a:lvl1pPr marL="0" indent="0">
              <a:spcBef>
                <a:spcPts val="0"/>
              </a:spcBef>
              <a:buNone/>
              <a:defRPr sz="4000" b="1"/>
            </a:lvl1pPr>
            <a:lvl2pPr marL="0" indent="0">
              <a:spcBef>
                <a:spcPts val="0"/>
              </a:spcBef>
              <a:buNone/>
              <a:tabLst/>
              <a:defRPr sz="4000"/>
            </a:lvl2pPr>
          </a:lstStyle>
          <a:p>
            <a:pPr lvl="0"/>
            <a:r>
              <a:rPr lang="en-GB" noProof="0" dirty="0"/>
              <a:t>Click here</a:t>
            </a:r>
          </a:p>
          <a:p>
            <a:pPr lvl="1"/>
            <a:r>
              <a:rPr lang="en-GB" noProof="0" dirty="0"/>
              <a:t>Second text level</a:t>
            </a:r>
          </a:p>
        </p:txBody>
      </p:sp>
      <p:grpSp>
        <p:nvGrpSpPr>
          <p:cNvPr id="25" name="Groep 15">
            <a:extLst>
              <a:ext uri="{FF2B5EF4-FFF2-40B4-BE49-F238E27FC236}">
                <a16:creationId xmlns:a16="http://schemas.microsoft.com/office/drawing/2014/main" id="{843BC660-A04A-1F4C-92CB-69A7CC29990C}"/>
              </a:ext>
            </a:extLst>
          </p:cNvPr>
          <p:cNvGrpSpPr>
            <a:grpSpLocks/>
          </p:cNvGrpSpPr>
          <p:nvPr userDrawn="1"/>
        </p:nvGrpSpPr>
        <p:grpSpPr bwMode="auto">
          <a:xfrm>
            <a:off x="-2625278" y="1141344"/>
            <a:ext cx="1914955" cy="331607"/>
            <a:chOff x="-6932395" y="991044"/>
            <a:chExt cx="1915120" cy="331629"/>
          </a:xfrm>
        </p:grpSpPr>
        <p:pic>
          <p:nvPicPr>
            <p:cNvPr id="26" name="Afbeelding 16">
              <a:extLst>
                <a:ext uri="{FF2B5EF4-FFF2-40B4-BE49-F238E27FC236}">
                  <a16:creationId xmlns:a16="http://schemas.microsoft.com/office/drawing/2014/main" id="{76F9D8DA-6D1E-B547-9314-6030C919D314}"/>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299134" y="991044"/>
              <a:ext cx="722962" cy="33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kstvak 26">
              <a:extLst>
                <a:ext uri="{FF2B5EF4-FFF2-40B4-BE49-F238E27FC236}">
                  <a16:creationId xmlns:a16="http://schemas.microsoft.com/office/drawing/2014/main" id="{B8DA5AA6-F64C-454D-BCD8-C1D24C652EBA}"/>
                </a:ext>
              </a:extLst>
            </p:cNvPr>
            <p:cNvSpPr txBox="1"/>
            <p:nvPr/>
          </p:nvSpPr>
          <p:spPr>
            <a:xfrm>
              <a:off x="-5620625" y="999486"/>
              <a:ext cx="603350" cy="323187"/>
            </a:xfrm>
            <a:prstGeom prst="rect">
              <a:avLst/>
            </a:prstGeom>
            <a:noFill/>
          </p:spPr>
          <p:txBody>
            <a:bodyPr wrap="none" lIns="36000" tIns="0" rIns="36000" bIns="0">
              <a:spAutoFit/>
            </a:bodyPr>
            <a:lstStyle/>
            <a:p>
              <a:pPr marL="0" lvl="5">
                <a:defRPr/>
              </a:pPr>
              <a:r>
                <a:rPr lang="en-GB" sz="1050" noProof="0" dirty="0">
                  <a:solidFill>
                    <a:schemeClr val="tx2"/>
                  </a:solidFill>
                  <a:latin typeface="+mn-lt"/>
                  <a:cs typeface="+mn-cs"/>
                </a:rPr>
                <a:t>Increase</a:t>
              </a:r>
              <a:br>
                <a:rPr lang="en-GB" sz="1050" noProof="0" dirty="0">
                  <a:solidFill>
                    <a:schemeClr val="tx2"/>
                  </a:solidFill>
                  <a:latin typeface="+mn-lt"/>
                  <a:cs typeface="+mn-cs"/>
                </a:rPr>
              </a:br>
              <a:r>
                <a:rPr lang="en-GB" sz="1050" b="1" noProof="0" dirty="0">
                  <a:solidFill>
                    <a:schemeClr val="tx2"/>
                  </a:solidFill>
                  <a:latin typeface="+mn-lt"/>
                  <a:cs typeface="+mn-cs"/>
                </a:rPr>
                <a:t>list level</a:t>
              </a:r>
            </a:p>
          </p:txBody>
        </p:sp>
        <p:sp>
          <p:nvSpPr>
            <p:cNvPr id="33" name="Tekstvak 32">
              <a:extLst>
                <a:ext uri="{FF2B5EF4-FFF2-40B4-BE49-F238E27FC236}">
                  <a16:creationId xmlns:a16="http://schemas.microsoft.com/office/drawing/2014/main" id="{6F0F1427-8336-984B-B51C-C86B67403263}"/>
                </a:ext>
              </a:extLst>
            </p:cNvPr>
            <p:cNvSpPr txBox="1"/>
            <p:nvPr/>
          </p:nvSpPr>
          <p:spPr>
            <a:xfrm>
              <a:off x="-6932395" y="995268"/>
              <a:ext cx="651444" cy="323187"/>
            </a:xfrm>
            <a:prstGeom prst="rect">
              <a:avLst/>
            </a:prstGeom>
            <a:noFill/>
          </p:spPr>
          <p:txBody>
            <a:bodyPr wrap="none" lIns="36000" tIns="0" rIns="36000" bIns="0">
              <a:spAutoFit/>
            </a:bodyPr>
            <a:lstStyle/>
            <a:p>
              <a:pPr marL="0" lvl="5" algn="r">
                <a:defRPr/>
              </a:pPr>
              <a:r>
                <a:rPr lang="en-GB" sz="1050" noProof="0" dirty="0">
                  <a:solidFill>
                    <a:schemeClr val="tx2"/>
                  </a:solidFill>
                  <a:latin typeface="+mn-lt"/>
                  <a:cs typeface="+mn-cs"/>
                </a:rPr>
                <a:t>Decrease</a:t>
              </a:r>
              <a:br>
                <a:rPr lang="en-GB" sz="1050" noProof="0" dirty="0">
                  <a:solidFill>
                    <a:schemeClr val="tx2"/>
                  </a:solidFill>
                  <a:latin typeface="+mn-lt"/>
                  <a:cs typeface="+mn-cs"/>
                </a:rPr>
              </a:br>
              <a:r>
                <a:rPr lang="en-GB" sz="1050" b="1" noProof="0" dirty="0">
                  <a:solidFill>
                    <a:schemeClr val="tx2"/>
                  </a:solidFill>
                  <a:latin typeface="+mn-lt"/>
                  <a:cs typeface="+mn-cs"/>
                </a:rPr>
                <a:t>list level</a:t>
              </a:r>
            </a:p>
          </p:txBody>
        </p:sp>
      </p:grpSp>
      <p:grpSp>
        <p:nvGrpSpPr>
          <p:cNvPr id="35" name="Groep 34">
            <a:extLst>
              <a:ext uri="{FF2B5EF4-FFF2-40B4-BE49-F238E27FC236}">
                <a16:creationId xmlns:a16="http://schemas.microsoft.com/office/drawing/2014/main" id="{4646F1FE-9EFA-DD48-AA20-B994C72A733F}"/>
              </a:ext>
            </a:extLst>
          </p:cNvPr>
          <p:cNvGrpSpPr/>
          <p:nvPr userDrawn="1"/>
        </p:nvGrpSpPr>
        <p:grpSpPr>
          <a:xfrm>
            <a:off x="12443133" y="-1"/>
            <a:ext cx="2670175" cy="6875997"/>
            <a:chOff x="12443133" y="-1"/>
            <a:chExt cx="2670175" cy="6875997"/>
          </a:xfrm>
        </p:grpSpPr>
        <p:sp>
          <p:nvSpPr>
            <p:cNvPr id="36" name="Tekstvak 35">
              <a:extLst>
                <a:ext uri="{FF2B5EF4-FFF2-40B4-BE49-F238E27FC236}">
                  <a16:creationId xmlns:a16="http://schemas.microsoft.com/office/drawing/2014/main" id="{9E33A342-A662-4547-8A32-156569F8B22F}"/>
                </a:ext>
              </a:extLst>
            </p:cNvPr>
            <p:cNvSpPr txBox="1"/>
            <p:nvPr userDrawn="1"/>
          </p:nvSpPr>
          <p:spPr bwMode="auto">
            <a:xfrm>
              <a:off x="12443133" y="-1"/>
              <a:ext cx="2670175" cy="6875997"/>
            </a:xfrm>
            <a:prstGeom prst="rect">
              <a:avLst/>
            </a:prstGeom>
            <a:solidFill>
              <a:schemeClr val="bg1">
                <a:lumMod val="95000"/>
              </a:schemeClr>
            </a:solidFill>
          </p:spPr>
          <p:txBody>
            <a:bodyPr wrap="square">
              <a:noAutofit/>
            </a:bodyPr>
            <a:lstStyle/>
            <a:p>
              <a:pPr fontAlgn="auto">
                <a:spcBef>
                  <a:spcPts val="0"/>
                </a:spcBef>
                <a:spcAft>
                  <a:spcPts val="0"/>
                </a:spcAft>
                <a:defRPr/>
              </a:pPr>
              <a:r>
                <a:rPr lang="en-GB" sz="1400" b="1" noProof="0" dirty="0">
                  <a:solidFill>
                    <a:schemeClr val="tx2"/>
                  </a:solidFill>
                  <a:latin typeface="+mn-lt"/>
                  <a:cs typeface="+mn-cs"/>
                </a:rPr>
                <a:t>Insert or replace image</a:t>
              </a:r>
            </a:p>
            <a:p>
              <a:pPr marL="228600" indent="-228600" fontAlgn="auto">
                <a:spcBef>
                  <a:spcPts val="0"/>
                </a:spcBef>
                <a:spcAft>
                  <a:spcPts val="600"/>
                </a:spcAft>
                <a:buFont typeface="+mj-lt"/>
                <a:buAutoNum type="arabicPeriod"/>
                <a:defRPr/>
              </a:pPr>
              <a:endParaRPr lang="en-GB" sz="1200" noProof="0" dirty="0">
                <a:solidFill>
                  <a:schemeClr val="tx2"/>
                </a:solidFill>
              </a:endParaRPr>
            </a:p>
            <a:p>
              <a:pPr marL="228600" indent="-228600" fontAlgn="auto">
                <a:spcBef>
                  <a:spcPts val="0"/>
                </a:spcBef>
                <a:spcAft>
                  <a:spcPts val="600"/>
                </a:spcAft>
                <a:buFont typeface="+mj-lt"/>
                <a:buAutoNum type="arabicPeriod"/>
                <a:defRPr/>
              </a:pPr>
              <a:r>
                <a:rPr lang="en-GB" sz="1200" noProof="0" dirty="0">
                  <a:solidFill>
                    <a:schemeClr val="tx2"/>
                  </a:solidFill>
                </a:rPr>
                <a:t>Optionally delete the current image by clicking on the image and pressing delete.</a:t>
              </a: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Place a new image by </a:t>
              </a:r>
              <a:br>
                <a:rPr lang="en-GB" sz="1200" noProof="0" dirty="0">
                  <a:solidFill>
                    <a:schemeClr val="tx2"/>
                  </a:solidFill>
                  <a:latin typeface="+mn-lt"/>
                  <a:cs typeface="+mn-cs"/>
                </a:rPr>
              </a:br>
              <a:r>
                <a:rPr lang="en-GB" sz="1200" noProof="0" dirty="0">
                  <a:solidFill>
                    <a:schemeClr val="tx2"/>
                  </a:solidFill>
                  <a:latin typeface="+mn-lt"/>
                  <a:cs typeface="+mn-cs"/>
                </a:rPr>
                <a:t>clicking on the small image icon.</a:t>
              </a: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endParaRPr lang="en-GB" sz="1200" noProof="0" dirty="0">
                <a:solidFill>
                  <a:schemeClr val="tx2"/>
                </a:solidFill>
                <a:latin typeface="+mn-lt"/>
                <a:cs typeface="+mn-cs"/>
              </a:endParaRPr>
            </a:p>
            <a:p>
              <a:pPr marL="228600" indent="-228600" fontAlgn="auto">
                <a:spcBef>
                  <a:spcPts val="0"/>
                </a:spcBef>
                <a:spcAft>
                  <a:spcPts val="600"/>
                </a:spcAft>
                <a:buFont typeface="+mj-lt"/>
                <a:buAutoNum type="arabicPeriod"/>
                <a:defRPr/>
              </a:pPr>
              <a:r>
                <a:rPr lang="en-GB" sz="1200" noProof="0" dirty="0">
                  <a:solidFill>
                    <a:schemeClr val="tx2"/>
                  </a:solidFill>
                  <a:latin typeface="+mn-lt"/>
                  <a:cs typeface="+mn-cs"/>
                </a:rPr>
                <a:t>Now browse and select your own image.</a:t>
              </a:r>
            </a:p>
            <a:p>
              <a:pPr fontAlgn="auto">
                <a:spcBef>
                  <a:spcPts val="0"/>
                </a:spcBef>
                <a:spcAft>
                  <a:spcPts val="600"/>
                </a:spcAft>
                <a:buFont typeface="+mj-lt"/>
                <a:buNone/>
                <a:defRPr/>
              </a:pPr>
              <a:br>
                <a:rPr lang="en-GB" sz="1200" noProof="0" dirty="0">
                  <a:solidFill>
                    <a:schemeClr val="tx2"/>
                  </a:solidFill>
                </a:rPr>
              </a:br>
              <a:r>
                <a:rPr lang="en-GB" sz="1200" b="1" noProof="0" dirty="0">
                  <a:solidFill>
                    <a:schemeClr val="tx2"/>
                  </a:solidFill>
                </a:rPr>
                <a:t>To crop the image differently, right-click on the image and choose Crop. </a:t>
              </a: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endParaRPr lang="en-GB" sz="1200" b="1" noProof="0" dirty="0">
                <a:solidFill>
                  <a:schemeClr val="tx2"/>
                </a:solidFill>
              </a:endParaRPr>
            </a:p>
            <a:p>
              <a:pPr fontAlgn="auto">
                <a:spcBef>
                  <a:spcPts val="0"/>
                </a:spcBef>
                <a:spcAft>
                  <a:spcPts val="600"/>
                </a:spcAft>
                <a:buFont typeface="+mj-lt"/>
                <a:buNone/>
                <a:defRPr/>
              </a:pPr>
              <a:r>
                <a:rPr lang="en-GB" sz="1200" noProof="0" dirty="0">
                  <a:solidFill>
                    <a:schemeClr val="tx2"/>
                  </a:solidFill>
                </a:rPr>
                <a:t>Select and drag one of the corner circles (while pressing the Shift key on your keyboard) to resize the image.</a:t>
              </a:r>
            </a:p>
            <a:p>
              <a:pPr fontAlgn="auto">
                <a:spcBef>
                  <a:spcPts val="0"/>
                </a:spcBef>
                <a:spcAft>
                  <a:spcPts val="600"/>
                </a:spcAft>
                <a:buFont typeface="+mj-lt"/>
                <a:buNone/>
                <a:defRPr/>
              </a:pPr>
              <a:r>
                <a:rPr lang="en-GB" sz="1200" noProof="0" dirty="0">
                  <a:solidFill>
                    <a:schemeClr val="tx2"/>
                  </a:solidFill>
                  <a:latin typeface="+mn-lt"/>
                  <a:cs typeface="+mn-cs"/>
                </a:rPr>
                <a:t>Click and drag the image (while in Crop modus) to choose a different cut-out.</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GB" sz="1200" noProof="0" dirty="0">
                  <a:solidFill>
                    <a:schemeClr val="tx2"/>
                  </a:solidFill>
                  <a:latin typeface="+mn-lt"/>
                  <a:cs typeface="+mn-cs"/>
                </a:rPr>
                <a:t>Sometimes the image is placed above your text. Right-click on the image and choose Send to Back and Send to Back again.</a:t>
              </a:r>
            </a:p>
          </p:txBody>
        </p:sp>
        <p:pic>
          <p:nvPicPr>
            <p:cNvPr id="37" name="Afbeelding 36">
              <a:extLst>
                <a:ext uri="{FF2B5EF4-FFF2-40B4-BE49-F238E27FC236}">
                  <a16:creationId xmlns:a16="http://schemas.microsoft.com/office/drawing/2014/main" id="{E4C19F43-1EEB-6840-911B-4F603F1A0F46}"/>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3574420" y="1664188"/>
              <a:ext cx="317658" cy="30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8" name="Afbeelding 37">
            <a:extLst>
              <a:ext uri="{FF2B5EF4-FFF2-40B4-BE49-F238E27FC236}">
                <a16:creationId xmlns:a16="http://schemas.microsoft.com/office/drawing/2014/main" id="{5E41FE19-C390-5E43-B533-680D67E6D68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13453709" y="3454991"/>
            <a:ext cx="559079" cy="35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7">
            <a:extLst>
              <a:ext uri="{FF2B5EF4-FFF2-40B4-BE49-F238E27FC236}">
                <a16:creationId xmlns:a16="http://schemas.microsoft.com/office/drawing/2014/main" id="{F85257B4-E6F2-864D-BB4D-5A483B80DE3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475319" y="4332386"/>
            <a:ext cx="1689394" cy="312049"/>
          </a:xfrm>
          <a:prstGeom prst="rect">
            <a:avLst/>
          </a:prstGeom>
        </p:spPr>
      </p:pic>
    </p:spTree>
    <p:extLst>
      <p:ext uri="{BB962C8B-B14F-4D97-AF65-F5344CB8AC3E}">
        <p14:creationId xmlns:p14="http://schemas.microsoft.com/office/powerpoint/2010/main" val="32851692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A21F8924-F34E-1D49-8B6E-FA72B3309AD5}"/>
              </a:ext>
            </a:extLst>
          </p:cNvPr>
          <p:cNvSpPr>
            <a:spLocks noGrp="1"/>
          </p:cNvSpPr>
          <p:nvPr>
            <p:ph type="title"/>
          </p:nvPr>
        </p:nvSpPr>
        <p:spPr>
          <a:xfrm>
            <a:off x="1347597" y="518822"/>
            <a:ext cx="10390690" cy="430503"/>
          </a:xfrm>
          <a:prstGeom prst="rect">
            <a:avLst/>
          </a:prstGeom>
        </p:spPr>
        <p:txBody>
          <a:bodyPr vert="horz" lIns="0" tIns="0" rIns="0" bIns="0" rtlCol="0" anchor="t">
            <a:noAutofit/>
          </a:bodyPr>
          <a:lstStyle/>
          <a:p>
            <a:endParaRPr lang="en-US" noProof="0" dirty="0"/>
          </a:p>
        </p:txBody>
      </p:sp>
      <p:sp>
        <p:nvSpPr>
          <p:cNvPr id="4" name="Tijdelijke aanduiding voor datum 3">
            <a:extLst>
              <a:ext uri="{FF2B5EF4-FFF2-40B4-BE49-F238E27FC236}">
                <a16:creationId xmlns:a16="http://schemas.microsoft.com/office/drawing/2014/main" id="{07BD48F0-BFE6-1D49-9448-A70966F61584}"/>
              </a:ext>
            </a:extLst>
          </p:cNvPr>
          <p:cNvSpPr>
            <a:spLocks noGrp="1"/>
          </p:cNvSpPr>
          <p:nvPr>
            <p:ph type="dt" sz="half" idx="2"/>
          </p:nvPr>
        </p:nvSpPr>
        <p:spPr>
          <a:xfrm>
            <a:off x="1347597" y="6378834"/>
            <a:ext cx="1528579" cy="365125"/>
          </a:xfrm>
          <a:prstGeom prst="rect">
            <a:avLst/>
          </a:prstGeom>
        </p:spPr>
        <p:txBody>
          <a:bodyPr vert="horz" lIns="0" tIns="0" rIns="0" bIns="0" rtlCol="0" anchor="ctr"/>
          <a:lstStyle>
            <a:lvl1pPr algn="l">
              <a:defRPr sz="1000">
                <a:solidFill>
                  <a:schemeClr val="tx2"/>
                </a:solidFill>
              </a:defRPr>
            </a:lvl1pPr>
          </a:lstStyle>
          <a:p>
            <a:fld id="{65FAABB7-EE8C-4EA7-8AED-1ABAC7E338F1}" type="datetime4">
              <a:rPr lang="en-GB" noProof="0" smtClean="0"/>
              <a:t>23 January 2025</a:t>
            </a:fld>
            <a:endParaRPr lang="en-US" noProof="0" dirty="0"/>
          </a:p>
        </p:txBody>
      </p:sp>
      <p:sp>
        <p:nvSpPr>
          <p:cNvPr id="5" name="Tijdelijke aanduiding voor voettekst 4">
            <a:extLst>
              <a:ext uri="{FF2B5EF4-FFF2-40B4-BE49-F238E27FC236}">
                <a16:creationId xmlns:a16="http://schemas.microsoft.com/office/drawing/2014/main" id="{88EE05F3-257A-A945-A544-57DD26CC9593}"/>
              </a:ext>
            </a:extLst>
          </p:cNvPr>
          <p:cNvSpPr>
            <a:spLocks noGrp="1"/>
          </p:cNvSpPr>
          <p:nvPr>
            <p:ph type="ftr" sz="quarter" idx="3"/>
          </p:nvPr>
        </p:nvSpPr>
        <p:spPr>
          <a:xfrm>
            <a:off x="3151752" y="6378834"/>
            <a:ext cx="4616234" cy="365125"/>
          </a:xfrm>
          <a:prstGeom prst="rect">
            <a:avLst/>
          </a:prstGeom>
        </p:spPr>
        <p:txBody>
          <a:bodyPr vert="horz" lIns="0" tIns="0" rIns="0" bIns="0" rtlCol="0" anchor="ctr"/>
          <a:lstStyle>
            <a:lvl1pPr algn="l">
              <a:defRPr sz="1000" b="1">
                <a:solidFill>
                  <a:schemeClr val="tx2"/>
                </a:solidFill>
              </a:defRPr>
            </a:lvl1pPr>
          </a:lstStyle>
          <a:p>
            <a:r>
              <a:rPr lang="en-US" noProof="0" dirty="0"/>
              <a:t>Confidentiality</a:t>
            </a:r>
          </a:p>
        </p:txBody>
      </p:sp>
      <p:sp>
        <p:nvSpPr>
          <p:cNvPr id="6" name="Tijdelijke aanduiding voor dianummer 5">
            <a:extLst>
              <a:ext uri="{FF2B5EF4-FFF2-40B4-BE49-F238E27FC236}">
                <a16:creationId xmlns:a16="http://schemas.microsoft.com/office/drawing/2014/main" id="{B2FE1881-6A2C-6C4E-B23E-4B1CB0E0CA50}"/>
              </a:ext>
            </a:extLst>
          </p:cNvPr>
          <p:cNvSpPr>
            <a:spLocks noGrp="1"/>
          </p:cNvSpPr>
          <p:nvPr>
            <p:ph type="sldNum" sz="quarter" idx="4"/>
          </p:nvPr>
        </p:nvSpPr>
        <p:spPr>
          <a:xfrm>
            <a:off x="454699" y="6378834"/>
            <a:ext cx="514165" cy="365125"/>
          </a:xfrm>
          <a:prstGeom prst="rect">
            <a:avLst/>
          </a:prstGeom>
        </p:spPr>
        <p:txBody>
          <a:bodyPr vert="horz" lIns="0" tIns="0" rIns="0" bIns="0" rtlCol="0" anchor="ctr"/>
          <a:lstStyle>
            <a:lvl1pPr algn="ctr">
              <a:defRPr sz="1000">
                <a:solidFill>
                  <a:schemeClr val="tx2"/>
                </a:solidFill>
              </a:defRPr>
            </a:lvl1pPr>
          </a:lstStyle>
          <a:p>
            <a:fld id="{3B0AF0F1-83F4-0746-A551-EEC1F1FEC0BD}" type="slidenum">
              <a:rPr lang="en-US" noProof="0" smtClean="0"/>
              <a:pPr/>
              <a:t>‹Nr.›</a:t>
            </a:fld>
            <a:endParaRPr lang="en-US" noProof="0"/>
          </a:p>
        </p:txBody>
      </p:sp>
      <p:pic>
        <p:nvPicPr>
          <p:cNvPr id="38" name="Afbeelding 37">
            <a:extLst>
              <a:ext uri="{FF2B5EF4-FFF2-40B4-BE49-F238E27FC236}">
                <a16:creationId xmlns:a16="http://schemas.microsoft.com/office/drawing/2014/main" id="{10CCC234-7BFD-D841-9F85-ED681A0DF82F}"/>
              </a:ext>
            </a:extLst>
          </p:cNvPr>
          <p:cNvPicPr>
            <a:picLocks noChangeAspect="1"/>
          </p:cNvPicPr>
          <p:nvPr userDrawn="1"/>
        </p:nvPicPr>
        <p:blipFill>
          <a:blip r:embed="rId65" cstate="screen">
            <a:extLst>
              <a:ext uri="{28A0092B-C50C-407E-A947-70E740481C1C}">
                <a14:useLocalDpi xmlns:a14="http://schemas.microsoft.com/office/drawing/2010/main"/>
              </a:ext>
            </a:extLst>
          </a:blip>
          <a:stretch>
            <a:fillRect/>
          </a:stretch>
        </p:blipFill>
        <p:spPr>
          <a:xfrm>
            <a:off x="10788279" y="6471518"/>
            <a:ext cx="952619" cy="179756"/>
          </a:xfrm>
          <a:prstGeom prst="rect">
            <a:avLst/>
          </a:prstGeom>
        </p:spPr>
      </p:pic>
      <p:cxnSp>
        <p:nvCxnSpPr>
          <p:cNvPr id="39" name="Rechte verbindingslijn 38">
            <a:extLst>
              <a:ext uri="{FF2B5EF4-FFF2-40B4-BE49-F238E27FC236}">
                <a16:creationId xmlns:a16="http://schemas.microsoft.com/office/drawing/2014/main" id="{B36359A0-E91A-C948-9E2D-C8AA9D1361A7}"/>
              </a:ext>
            </a:extLst>
          </p:cNvPr>
          <p:cNvCxnSpPr>
            <a:cxnSpLocks/>
          </p:cNvCxnSpPr>
          <p:nvPr userDrawn="1"/>
        </p:nvCxnSpPr>
        <p:spPr>
          <a:xfrm>
            <a:off x="351602" y="0"/>
            <a:ext cx="0" cy="6858000"/>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BE94826-FA11-214D-897F-2CD8FD5BB573}"/>
              </a:ext>
            </a:extLst>
          </p:cNvPr>
          <p:cNvCxnSpPr>
            <a:cxnSpLocks/>
          </p:cNvCxnSpPr>
          <p:nvPr userDrawn="1"/>
        </p:nvCxnSpPr>
        <p:spPr>
          <a:xfrm>
            <a:off x="1070221" y="0"/>
            <a:ext cx="0" cy="6858000"/>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B4561773-88AB-E044-B84E-677E0FFCFED6}"/>
              </a:ext>
            </a:extLst>
          </p:cNvPr>
          <p:cNvCxnSpPr>
            <a:cxnSpLocks/>
          </p:cNvCxnSpPr>
          <p:nvPr userDrawn="1"/>
        </p:nvCxnSpPr>
        <p:spPr>
          <a:xfrm>
            <a:off x="0" y="519915"/>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418D709E-9332-954E-A225-F2C5D11D39C5}"/>
              </a:ext>
            </a:extLst>
          </p:cNvPr>
          <p:cNvCxnSpPr>
            <a:cxnSpLocks/>
          </p:cNvCxnSpPr>
          <p:nvPr userDrawn="1"/>
        </p:nvCxnSpPr>
        <p:spPr>
          <a:xfrm>
            <a:off x="0" y="1239253"/>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ED62F15A-7EBE-E24A-9318-DBE4C7CA788E}"/>
              </a:ext>
            </a:extLst>
          </p:cNvPr>
          <p:cNvCxnSpPr>
            <a:cxnSpLocks/>
          </p:cNvCxnSpPr>
          <p:nvPr userDrawn="1"/>
        </p:nvCxnSpPr>
        <p:spPr>
          <a:xfrm>
            <a:off x="0" y="1958591"/>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a:extLst>
              <a:ext uri="{FF2B5EF4-FFF2-40B4-BE49-F238E27FC236}">
                <a16:creationId xmlns:a16="http://schemas.microsoft.com/office/drawing/2014/main" id="{A34228C6-BFD9-444A-A89B-9FEB02161F81}"/>
              </a:ext>
            </a:extLst>
          </p:cNvPr>
          <p:cNvCxnSpPr>
            <a:cxnSpLocks/>
          </p:cNvCxnSpPr>
          <p:nvPr userDrawn="1"/>
        </p:nvCxnSpPr>
        <p:spPr>
          <a:xfrm>
            <a:off x="0" y="2677929"/>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0156FDBD-32C4-D648-939D-C5DA0BDCCE68}"/>
              </a:ext>
            </a:extLst>
          </p:cNvPr>
          <p:cNvCxnSpPr>
            <a:cxnSpLocks/>
          </p:cNvCxnSpPr>
          <p:nvPr userDrawn="1"/>
        </p:nvCxnSpPr>
        <p:spPr>
          <a:xfrm>
            <a:off x="0" y="3397267"/>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a:extLst>
              <a:ext uri="{FF2B5EF4-FFF2-40B4-BE49-F238E27FC236}">
                <a16:creationId xmlns:a16="http://schemas.microsoft.com/office/drawing/2014/main" id="{80EB09A3-F614-FF4F-B0CC-46A73811227D}"/>
              </a:ext>
            </a:extLst>
          </p:cNvPr>
          <p:cNvCxnSpPr>
            <a:cxnSpLocks/>
          </p:cNvCxnSpPr>
          <p:nvPr userDrawn="1"/>
        </p:nvCxnSpPr>
        <p:spPr>
          <a:xfrm>
            <a:off x="0" y="4116605"/>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a:extLst>
              <a:ext uri="{FF2B5EF4-FFF2-40B4-BE49-F238E27FC236}">
                <a16:creationId xmlns:a16="http://schemas.microsoft.com/office/drawing/2014/main" id="{590DD0EF-EB0D-9E4D-966D-92999B0FAE88}"/>
              </a:ext>
            </a:extLst>
          </p:cNvPr>
          <p:cNvCxnSpPr>
            <a:cxnSpLocks/>
          </p:cNvCxnSpPr>
          <p:nvPr userDrawn="1"/>
        </p:nvCxnSpPr>
        <p:spPr>
          <a:xfrm>
            <a:off x="0" y="4835943"/>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5C61D250-6A7F-BE4D-8742-906A73AC1E27}"/>
              </a:ext>
            </a:extLst>
          </p:cNvPr>
          <p:cNvCxnSpPr>
            <a:cxnSpLocks/>
          </p:cNvCxnSpPr>
          <p:nvPr userDrawn="1"/>
        </p:nvCxnSpPr>
        <p:spPr>
          <a:xfrm>
            <a:off x="0" y="5555281"/>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5B4D090C-1013-0041-B593-85C798EA7BD6}"/>
              </a:ext>
            </a:extLst>
          </p:cNvPr>
          <p:cNvCxnSpPr>
            <a:cxnSpLocks/>
          </p:cNvCxnSpPr>
          <p:nvPr userDrawn="1"/>
        </p:nvCxnSpPr>
        <p:spPr>
          <a:xfrm>
            <a:off x="0" y="6274616"/>
            <a:ext cx="1044000" cy="2185"/>
          </a:xfrm>
          <a:prstGeom prst="line">
            <a:avLst/>
          </a:prstGeom>
          <a:ln w="3175">
            <a:solidFill>
              <a:srgbClr val="C8D3D8"/>
            </a:solidFill>
          </a:ln>
        </p:spPr>
        <p:style>
          <a:lnRef idx="1">
            <a:schemeClr val="accent1"/>
          </a:lnRef>
          <a:fillRef idx="0">
            <a:schemeClr val="accent1"/>
          </a:fillRef>
          <a:effectRef idx="0">
            <a:schemeClr val="accent1"/>
          </a:effectRef>
          <a:fontRef idx="minor">
            <a:schemeClr val="tx1"/>
          </a:fontRef>
        </p:style>
      </p:cxnSp>
      <p:sp>
        <p:nvSpPr>
          <p:cNvPr id="19" name="Rechthoek 18">
            <a:extLst>
              <a:ext uri="{FF2B5EF4-FFF2-40B4-BE49-F238E27FC236}">
                <a16:creationId xmlns:a16="http://schemas.microsoft.com/office/drawing/2014/main" id="{ADC83652-1593-F641-A03E-3A07043B8295}"/>
              </a:ext>
            </a:extLst>
          </p:cNvPr>
          <p:cNvSpPr/>
          <p:nvPr userDrawn="1"/>
        </p:nvSpPr>
        <p:spPr>
          <a:xfrm>
            <a:off x="1034214" y="1923676"/>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19">
            <a:extLst>
              <a:ext uri="{FF2B5EF4-FFF2-40B4-BE49-F238E27FC236}">
                <a16:creationId xmlns:a16="http://schemas.microsoft.com/office/drawing/2014/main" id="{24942A59-80C7-0341-B2A6-976CFFCBF650}"/>
              </a:ext>
            </a:extLst>
          </p:cNvPr>
          <p:cNvSpPr/>
          <p:nvPr userDrawn="1"/>
        </p:nvSpPr>
        <p:spPr>
          <a:xfrm>
            <a:off x="315595" y="1923676"/>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20">
            <a:extLst>
              <a:ext uri="{FF2B5EF4-FFF2-40B4-BE49-F238E27FC236}">
                <a16:creationId xmlns:a16="http://schemas.microsoft.com/office/drawing/2014/main" id="{14531B3D-4E6D-7A41-9FA6-32561A9631A7}"/>
              </a:ext>
            </a:extLst>
          </p:cNvPr>
          <p:cNvSpPr/>
          <p:nvPr userDrawn="1"/>
        </p:nvSpPr>
        <p:spPr>
          <a:xfrm>
            <a:off x="1034214" y="1204338"/>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21">
            <a:extLst>
              <a:ext uri="{FF2B5EF4-FFF2-40B4-BE49-F238E27FC236}">
                <a16:creationId xmlns:a16="http://schemas.microsoft.com/office/drawing/2014/main" id="{6763CAAC-0EA4-524D-9131-754B3CDE1F41}"/>
              </a:ext>
            </a:extLst>
          </p:cNvPr>
          <p:cNvSpPr/>
          <p:nvPr userDrawn="1"/>
        </p:nvSpPr>
        <p:spPr>
          <a:xfrm>
            <a:off x="315595" y="1204338"/>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3" name="Rechthoek 22">
            <a:extLst>
              <a:ext uri="{FF2B5EF4-FFF2-40B4-BE49-F238E27FC236}">
                <a16:creationId xmlns:a16="http://schemas.microsoft.com/office/drawing/2014/main" id="{0F9784FA-3D68-2047-8476-3DE5277A7EBB}"/>
              </a:ext>
            </a:extLst>
          </p:cNvPr>
          <p:cNvSpPr/>
          <p:nvPr userDrawn="1"/>
        </p:nvSpPr>
        <p:spPr>
          <a:xfrm>
            <a:off x="1034214" y="485000"/>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4" name="Rechthoek 23">
            <a:extLst>
              <a:ext uri="{FF2B5EF4-FFF2-40B4-BE49-F238E27FC236}">
                <a16:creationId xmlns:a16="http://schemas.microsoft.com/office/drawing/2014/main" id="{85D2B26D-2CC7-014B-994C-42FDA7CFFF11}"/>
              </a:ext>
            </a:extLst>
          </p:cNvPr>
          <p:cNvSpPr/>
          <p:nvPr userDrawn="1"/>
        </p:nvSpPr>
        <p:spPr>
          <a:xfrm>
            <a:off x="315595" y="485000"/>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5" name="Rechthoek 24">
            <a:extLst>
              <a:ext uri="{FF2B5EF4-FFF2-40B4-BE49-F238E27FC236}">
                <a16:creationId xmlns:a16="http://schemas.microsoft.com/office/drawing/2014/main" id="{44CD00D8-DABB-9349-B45F-4E7EE81D4DA9}"/>
              </a:ext>
            </a:extLst>
          </p:cNvPr>
          <p:cNvSpPr/>
          <p:nvPr userDrawn="1"/>
        </p:nvSpPr>
        <p:spPr>
          <a:xfrm>
            <a:off x="1034214" y="4081690"/>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6" name="Rechthoek 25">
            <a:extLst>
              <a:ext uri="{FF2B5EF4-FFF2-40B4-BE49-F238E27FC236}">
                <a16:creationId xmlns:a16="http://schemas.microsoft.com/office/drawing/2014/main" id="{2E48C458-13AB-3F40-BB11-78E47FA814C2}"/>
              </a:ext>
            </a:extLst>
          </p:cNvPr>
          <p:cNvSpPr/>
          <p:nvPr userDrawn="1"/>
        </p:nvSpPr>
        <p:spPr>
          <a:xfrm>
            <a:off x="315595" y="4081690"/>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7" name="Rechthoek 26">
            <a:extLst>
              <a:ext uri="{FF2B5EF4-FFF2-40B4-BE49-F238E27FC236}">
                <a16:creationId xmlns:a16="http://schemas.microsoft.com/office/drawing/2014/main" id="{1DB38224-2D4E-C448-935D-891FEA6ACFE8}"/>
              </a:ext>
            </a:extLst>
          </p:cNvPr>
          <p:cNvSpPr/>
          <p:nvPr userDrawn="1"/>
        </p:nvSpPr>
        <p:spPr>
          <a:xfrm>
            <a:off x="1034214" y="3362352"/>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8" name="Rechthoek 27">
            <a:extLst>
              <a:ext uri="{FF2B5EF4-FFF2-40B4-BE49-F238E27FC236}">
                <a16:creationId xmlns:a16="http://schemas.microsoft.com/office/drawing/2014/main" id="{A6BE3C81-32AD-A243-B7EB-B1955F7E6853}"/>
              </a:ext>
            </a:extLst>
          </p:cNvPr>
          <p:cNvSpPr/>
          <p:nvPr userDrawn="1"/>
        </p:nvSpPr>
        <p:spPr>
          <a:xfrm>
            <a:off x="315595" y="3362352"/>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28">
            <a:extLst>
              <a:ext uri="{FF2B5EF4-FFF2-40B4-BE49-F238E27FC236}">
                <a16:creationId xmlns:a16="http://schemas.microsoft.com/office/drawing/2014/main" id="{84415066-49B2-AC40-ADFA-39D3231038B3}"/>
              </a:ext>
            </a:extLst>
          </p:cNvPr>
          <p:cNvSpPr/>
          <p:nvPr userDrawn="1"/>
        </p:nvSpPr>
        <p:spPr>
          <a:xfrm>
            <a:off x="1034214" y="2643014"/>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29">
            <a:extLst>
              <a:ext uri="{FF2B5EF4-FFF2-40B4-BE49-F238E27FC236}">
                <a16:creationId xmlns:a16="http://schemas.microsoft.com/office/drawing/2014/main" id="{E23CA281-61E8-A041-B3F4-4E1E82E9A0B5}"/>
              </a:ext>
            </a:extLst>
          </p:cNvPr>
          <p:cNvSpPr/>
          <p:nvPr userDrawn="1"/>
        </p:nvSpPr>
        <p:spPr>
          <a:xfrm>
            <a:off x="315595" y="2643014"/>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30">
            <a:extLst>
              <a:ext uri="{FF2B5EF4-FFF2-40B4-BE49-F238E27FC236}">
                <a16:creationId xmlns:a16="http://schemas.microsoft.com/office/drawing/2014/main" id="{4E9AA2A2-C58A-EB4C-8CA5-1EF0E7EC102D}"/>
              </a:ext>
            </a:extLst>
          </p:cNvPr>
          <p:cNvSpPr/>
          <p:nvPr userDrawn="1"/>
        </p:nvSpPr>
        <p:spPr>
          <a:xfrm>
            <a:off x="1034214" y="4801028"/>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31">
            <a:extLst>
              <a:ext uri="{FF2B5EF4-FFF2-40B4-BE49-F238E27FC236}">
                <a16:creationId xmlns:a16="http://schemas.microsoft.com/office/drawing/2014/main" id="{BE28111B-BB60-7547-9E2B-C4AF0212DE53}"/>
              </a:ext>
            </a:extLst>
          </p:cNvPr>
          <p:cNvSpPr/>
          <p:nvPr userDrawn="1"/>
        </p:nvSpPr>
        <p:spPr>
          <a:xfrm>
            <a:off x="315595" y="4801028"/>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Rechthoek 32">
            <a:extLst>
              <a:ext uri="{FF2B5EF4-FFF2-40B4-BE49-F238E27FC236}">
                <a16:creationId xmlns:a16="http://schemas.microsoft.com/office/drawing/2014/main" id="{21C6AEAB-F006-5441-B2E3-742615B6BD2F}"/>
              </a:ext>
            </a:extLst>
          </p:cNvPr>
          <p:cNvSpPr/>
          <p:nvPr userDrawn="1"/>
        </p:nvSpPr>
        <p:spPr>
          <a:xfrm>
            <a:off x="1034214" y="5520366"/>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4" name="Rechthoek 33">
            <a:extLst>
              <a:ext uri="{FF2B5EF4-FFF2-40B4-BE49-F238E27FC236}">
                <a16:creationId xmlns:a16="http://schemas.microsoft.com/office/drawing/2014/main" id="{1298C22A-5786-8449-A7E2-AF80953842DC}"/>
              </a:ext>
            </a:extLst>
          </p:cNvPr>
          <p:cNvSpPr/>
          <p:nvPr userDrawn="1"/>
        </p:nvSpPr>
        <p:spPr>
          <a:xfrm>
            <a:off x="315595" y="5520366"/>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5" name="Rechthoek 34">
            <a:extLst>
              <a:ext uri="{FF2B5EF4-FFF2-40B4-BE49-F238E27FC236}">
                <a16:creationId xmlns:a16="http://schemas.microsoft.com/office/drawing/2014/main" id="{BB92441D-5108-354B-97E6-4B3A16D62BB8}"/>
              </a:ext>
            </a:extLst>
          </p:cNvPr>
          <p:cNvSpPr/>
          <p:nvPr userDrawn="1"/>
        </p:nvSpPr>
        <p:spPr>
          <a:xfrm>
            <a:off x="1034214" y="6239701"/>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6" name="Rechthoek 35">
            <a:extLst>
              <a:ext uri="{FF2B5EF4-FFF2-40B4-BE49-F238E27FC236}">
                <a16:creationId xmlns:a16="http://schemas.microsoft.com/office/drawing/2014/main" id="{25376380-7A74-084F-90A5-2D9AC58F066F}"/>
              </a:ext>
            </a:extLst>
          </p:cNvPr>
          <p:cNvSpPr/>
          <p:nvPr userDrawn="1"/>
        </p:nvSpPr>
        <p:spPr>
          <a:xfrm>
            <a:off x="315595" y="6239701"/>
            <a:ext cx="72014" cy="72014"/>
          </a:xfrm>
          <a:prstGeom prst="rect">
            <a:avLst/>
          </a:prstGeom>
          <a:solidFill>
            <a:srgbClr val="C8D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Text Placeholder 2">
            <a:extLst>
              <a:ext uri="{FF2B5EF4-FFF2-40B4-BE49-F238E27FC236}">
                <a16:creationId xmlns:a16="http://schemas.microsoft.com/office/drawing/2014/main" id="{BE9530E3-B69D-4C91-95FB-226964B2D455}"/>
              </a:ext>
            </a:extLst>
          </p:cNvPr>
          <p:cNvSpPr>
            <a:spLocks noGrp="1"/>
          </p:cNvSpPr>
          <p:nvPr>
            <p:ph type="body" idx="1"/>
          </p:nvPr>
        </p:nvSpPr>
        <p:spPr>
          <a:xfrm>
            <a:off x="1347597" y="1825625"/>
            <a:ext cx="10393553" cy="4249738"/>
          </a:xfrm>
          <a:prstGeom prst="rect">
            <a:avLst/>
          </a:prstGeom>
        </p:spPr>
        <p:txBody>
          <a:bodyPr vert="horz" lIns="0" tIns="0" rIns="0" bIns="0" rtlCol="0">
            <a:norm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2741245615"/>
      </p:ext>
    </p:extLst>
  </p:cSld>
  <p:clrMap bg1="lt1" tx1="dk1" bg2="lt2" tx2="dk2" accent1="accent1" accent2="accent2" accent3="accent3" accent4="accent4" accent5="accent5" accent6="accent6" hlink="hlink" folHlink="folHlink"/>
  <p:sldLayoutIdLst>
    <p:sldLayoutId id="2147483699" r:id="rId1"/>
    <p:sldLayoutId id="2147483708" r:id="rId2"/>
    <p:sldLayoutId id="2147483709" r:id="rId3"/>
    <p:sldLayoutId id="2147483711" r:id="rId4"/>
    <p:sldLayoutId id="2147483744" r:id="rId5"/>
    <p:sldLayoutId id="2147483746" r:id="rId6"/>
    <p:sldLayoutId id="2147483747" r:id="rId7"/>
    <p:sldLayoutId id="2147483695" r:id="rId8"/>
    <p:sldLayoutId id="2147483696" r:id="rId9"/>
    <p:sldLayoutId id="2147483712" r:id="rId10"/>
    <p:sldLayoutId id="2147483685" r:id="rId11"/>
    <p:sldLayoutId id="2147483715" r:id="rId12"/>
    <p:sldLayoutId id="2147483668" r:id="rId13"/>
    <p:sldLayoutId id="2147483718" r:id="rId14"/>
    <p:sldLayoutId id="2147483713" r:id="rId15"/>
    <p:sldLayoutId id="2147483716" r:id="rId16"/>
    <p:sldLayoutId id="2147483671" r:id="rId17"/>
    <p:sldLayoutId id="2147483719" r:id="rId18"/>
    <p:sldLayoutId id="2147483714" r:id="rId19"/>
    <p:sldLayoutId id="2147483731" r:id="rId20"/>
    <p:sldLayoutId id="2147483730" r:id="rId21"/>
    <p:sldLayoutId id="2147483729" r:id="rId22"/>
    <p:sldLayoutId id="2147483732" r:id="rId23"/>
    <p:sldLayoutId id="2147483728" r:id="rId24"/>
    <p:sldLayoutId id="2147483733" r:id="rId25"/>
    <p:sldLayoutId id="2147483734" r:id="rId26"/>
    <p:sldLayoutId id="2147483743" r:id="rId27"/>
    <p:sldLayoutId id="2147483742" r:id="rId28"/>
    <p:sldLayoutId id="2147483740" r:id="rId29"/>
    <p:sldLayoutId id="2147483741" r:id="rId30"/>
    <p:sldLayoutId id="2147483736" r:id="rId31"/>
    <p:sldLayoutId id="2147483735" r:id="rId32"/>
    <p:sldLayoutId id="2147483738" r:id="rId33"/>
    <p:sldLayoutId id="2147483737" r:id="rId34"/>
    <p:sldLayoutId id="2147483739" r:id="rId35"/>
    <p:sldLayoutId id="2147483720" r:id="rId36"/>
    <p:sldLayoutId id="2147483674" r:id="rId37"/>
    <p:sldLayoutId id="2147483721" r:id="rId38"/>
    <p:sldLayoutId id="2147483673" r:id="rId39"/>
    <p:sldLayoutId id="2147483722" r:id="rId40"/>
    <p:sldLayoutId id="2147483698" r:id="rId41"/>
    <p:sldLayoutId id="2147483723" r:id="rId42"/>
    <p:sldLayoutId id="2147483675" r:id="rId43"/>
    <p:sldLayoutId id="2147483724" r:id="rId44"/>
    <p:sldLayoutId id="2147483676" r:id="rId45"/>
    <p:sldLayoutId id="2147483677" r:id="rId46"/>
    <p:sldLayoutId id="2147483670" r:id="rId47"/>
    <p:sldLayoutId id="2147483725" r:id="rId48"/>
    <p:sldLayoutId id="2147483678" r:id="rId49"/>
    <p:sldLayoutId id="2147483679" r:id="rId50"/>
    <p:sldLayoutId id="2147483717" r:id="rId51"/>
    <p:sldLayoutId id="2147483680" r:id="rId52"/>
    <p:sldLayoutId id="2147483697" r:id="rId53"/>
    <p:sldLayoutId id="2147483756" r:id="rId54"/>
    <p:sldLayoutId id="2147483757" r:id="rId55"/>
    <p:sldLayoutId id="2147483755" r:id="rId56"/>
    <p:sldLayoutId id="2147483759" r:id="rId57"/>
    <p:sldLayoutId id="2147483760" r:id="rId58"/>
    <p:sldLayoutId id="2147483758" r:id="rId59"/>
    <p:sldLayoutId id="2147483686" r:id="rId60"/>
    <p:sldLayoutId id="2147483754" r:id="rId61"/>
    <p:sldLayoutId id="2147483753" r:id="rId62"/>
    <p:sldLayoutId id="2147483748" r:id="rId63"/>
  </p:sldLayoutIdLst>
  <p:hf hdr="0"/>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234000" indent="-234000" algn="l" defTabSz="914400" rtl="0" eaLnBrk="1" fontAlgn="ctr" latinLnBrk="0" hangingPunct="1">
        <a:lnSpc>
          <a:spcPct val="90000"/>
        </a:lnSpc>
        <a:spcBef>
          <a:spcPts val="900"/>
        </a:spcBef>
        <a:buSzPct val="80000"/>
        <a:buFont typeface="Systeemlettertype regulier"/>
        <a:buChar char="■"/>
        <a:defRPr sz="2000" kern="1200" spc="0">
          <a:solidFill>
            <a:schemeClr val="tx1"/>
          </a:solidFill>
          <a:latin typeface="+mn-lt"/>
          <a:ea typeface="+mn-ea"/>
          <a:cs typeface="+mn-cs"/>
        </a:defRPr>
      </a:lvl1pPr>
      <a:lvl2pPr marL="468000" indent="-234000" algn="l" defTabSz="914400" rtl="0" eaLnBrk="1" fontAlgn="ctr" latinLnBrk="0" hangingPunct="1">
        <a:lnSpc>
          <a:spcPct val="90000"/>
        </a:lnSpc>
        <a:spcBef>
          <a:spcPts val="900"/>
        </a:spcBef>
        <a:buSzPct val="100000"/>
        <a:buFont typeface=".Lucida Grande UI Regular"/>
        <a:buChar char="▫"/>
        <a:tabLst/>
        <a:defRPr sz="2000" kern="1200" spc="0">
          <a:solidFill>
            <a:schemeClr val="tx1"/>
          </a:solidFill>
          <a:latin typeface="+mn-lt"/>
          <a:ea typeface="+mn-ea"/>
          <a:cs typeface="+mn-cs"/>
        </a:defRPr>
      </a:lvl2pPr>
      <a:lvl3pPr marL="702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3pPr>
      <a:lvl4pPr marL="936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4pPr>
      <a:lvl5pPr marL="1170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846" userDrawn="1">
          <p15:clr>
            <a:srgbClr val="F26B43"/>
          </p15:clr>
        </p15:guide>
        <p15:guide id="4" orient="horz" pos="3827" userDrawn="1">
          <p15:clr>
            <a:srgbClr val="F26B43"/>
          </p15:clr>
        </p15:guide>
        <p15:guide id="5" orient="horz" pos="1148" userDrawn="1">
          <p15:clr>
            <a:srgbClr val="F26B43"/>
          </p15:clr>
        </p15:guide>
        <p15:guide id="6" orient="horz" pos="323" userDrawn="1">
          <p15:clr>
            <a:srgbClr val="F26B43"/>
          </p15:clr>
        </p15:guide>
        <p15:guide id="7" pos="739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publicationtool.jao.eu/coreID/" TargetMode="Externa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s://data.boerman.dev/" TargetMode="External"/><Relationship Id="rId2" Type="http://schemas.openxmlformats.org/officeDocument/2006/relationships/image" Target="../media/image22.png"/><Relationship Id="rId1" Type="http://schemas.openxmlformats.org/officeDocument/2006/relationships/slideLayout" Target="../slideLayouts/slideLayout8.xml"/><Relationship Id="rId5" Type="http://schemas.openxmlformats.org/officeDocument/2006/relationships/image" Target="../media/image23.png"/><Relationship Id="rId4" Type="http://schemas.openxmlformats.org/officeDocument/2006/relationships/hyperlink" Target="https://idcc.coreflowbased.eu/"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Layout" Target="../diagrams/layout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11" Type="http://schemas.openxmlformats.org/officeDocument/2006/relationships/image" Target="../media/image19.png"/><Relationship Id="rId5" Type="http://schemas.openxmlformats.org/officeDocument/2006/relationships/diagramColors" Target="../diagrams/colors2.xml"/><Relationship Id="rId10" Type="http://schemas.openxmlformats.org/officeDocument/2006/relationships/image" Target="../media/image18.png"/><Relationship Id="rId4" Type="http://schemas.openxmlformats.org/officeDocument/2006/relationships/diagramQuickStyle" Target="../diagrams/quickStyle2.xm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Ondertitel 4">
            <a:extLst>
              <a:ext uri="{FF2B5EF4-FFF2-40B4-BE49-F238E27FC236}">
                <a16:creationId xmlns:a16="http://schemas.microsoft.com/office/drawing/2014/main" id="{001FC4E8-933D-EF44-A27D-5F9E99D80CFE}"/>
              </a:ext>
            </a:extLst>
          </p:cNvPr>
          <p:cNvSpPr>
            <a:spLocks noGrp="1"/>
          </p:cNvSpPr>
          <p:nvPr>
            <p:ph type="subTitle" idx="1"/>
          </p:nvPr>
        </p:nvSpPr>
        <p:spPr>
          <a:xfrm>
            <a:off x="454698" y="4933790"/>
            <a:ext cx="8519233" cy="253692"/>
          </a:xfrm>
        </p:spPr>
        <p:txBody>
          <a:bodyPr>
            <a:noAutofit/>
          </a:bodyPr>
          <a:lstStyle/>
          <a:p>
            <a:r>
              <a:rPr lang="en-GB" dirty="0"/>
              <a:t>Adrian Curtze-Rodriguez</a:t>
            </a:r>
          </a:p>
        </p:txBody>
      </p:sp>
      <p:sp>
        <p:nvSpPr>
          <p:cNvPr id="4" name="Titel 3">
            <a:extLst>
              <a:ext uri="{FF2B5EF4-FFF2-40B4-BE49-F238E27FC236}">
                <a16:creationId xmlns:a16="http://schemas.microsoft.com/office/drawing/2014/main" id="{2A89855E-00F5-0442-90B3-DF6568355E54}"/>
              </a:ext>
            </a:extLst>
          </p:cNvPr>
          <p:cNvSpPr>
            <a:spLocks noGrp="1"/>
          </p:cNvSpPr>
          <p:nvPr>
            <p:ph type="ctrTitle"/>
          </p:nvPr>
        </p:nvSpPr>
        <p:spPr>
          <a:xfrm>
            <a:off x="454698" y="2348489"/>
            <a:ext cx="8519243" cy="2354244"/>
          </a:xfrm>
        </p:spPr>
        <p:txBody>
          <a:bodyPr/>
          <a:lstStyle/>
          <a:p>
            <a:r>
              <a:rPr lang="de-DE" b="0" i="0" dirty="0">
                <a:effectLst/>
                <a:latin typeface="Verdana" panose="020B0604030504040204" pitchFamily="34" charset="0"/>
              </a:rPr>
              <a:t>Flow-</a:t>
            </a:r>
            <a:r>
              <a:rPr lang="de-DE" b="0" i="0" dirty="0" err="1">
                <a:effectLst/>
                <a:latin typeface="Verdana" panose="020B0604030504040204" pitchFamily="34" charset="0"/>
              </a:rPr>
              <a:t>based</a:t>
            </a:r>
            <a:r>
              <a:rPr lang="de-DE" b="0" i="0" dirty="0">
                <a:effectLst/>
                <a:latin typeface="Verdana" panose="020B0604030504040204" pitchFamily="34" charset="0"/>
              </a:rPr>
              <a:t> </a:t>
            </a:r>
            <a:r>
              <a:rPr lang="de-DE" b="0" i="0" dirty="0" err="1">
                <a:effectLst/>
                <a:latin typeface="Verdana" panose="020B0604030504040204" pitchFamily="34" charset="0"/>
              </a:rPr>
              <a:t>Process</a:t>
            </a:r>
            <a:r>
              <a:rPr lang="de-DE" b="0" i="0" dirty="0">
                <a:effectLst/>
                <a:latin typeface="Verdana" panose="020B0604030504040204" pitchFamily="34" charset="0"/>
              </a:rPr>
              <a:t>: Intraday </a:t>
            </a:r>
            <a:r>
              <a:rPr lang="de-DE" b="0" i="0" dirty="0" err="1">
                <a:effectLst/>
                <a:latin typeface="Verdana" panose="020B0604030504040204" pitchFamily="34" charset="0"/>
              </a:rPr>
              <a:t>Capacity</a:t>
            </a:r>
            <a:r>
              <a:rPr lang="de-DE" b="0" i="0" dirty="0">
                <a:effectLst/>
                <a:latin typeface="Verdana" panose="020B0604030504040204" pitchFamily="34" charset="0"/>
              </a:rPr>
              <a:t> </a:t>
            </a:r>
            <a:r>
              <a:rPr lang="de-DE" b="0" i="0" dirty="0" err="1">
                <a:effectLst/>
                <a:latin typeface="Verdana" panose="020B0604030504040204" pitchFamily="34" charset="0"/>
              </a:rPr>
              <a:t>Calculation</a:t>
            </a:r>
            <a:r>
              <a:rPr lang="de-DE" b="0" i="0" dirty="0">
                <a:effectLst/>
                <a:latin typeface="Verdana" panose="020B0604030504040204" pitchFamily="34" charset="0"/>
              </a:rPr>
              <a:t> (IDCC)</a:t>
            </a:r>
            <a:endParaRPr lang="en-GB" dirty="0"/>
          </a:p>
        </p:txBody>
      </p:sp>
      <p:sp>
        <p:nvSpPr>
          <p:cNvPr id="2" name="Tijdelijke aanduiding voor datum 1">
            <a:extLst>
              <a:ext uri="{FF2B5EF4-FFF2-40B4-BE49-F238E27FC236}">
                <a16:creationId xmlns:a16="http://schemas.microsoft.com/office/drawing/2014/main" id="{51DDDAB7-F9AB-9D46-B4DA-0D1CE6E6E3B9}"/>
              </a:ext>
            </a:extLst>
          </p:cNvPr>
          <p:cNvSpPr>
            <a:spLocks noGrp="1"/>
          </p:cNvSpPr>
          <p:nvPr>
            <p:ph type="dt" sz="half" idx="20"/>
          </p:nvPr>
        </p:nvSpPr>
        <p:spPr>
          <a:xfrm>
            <a:off x="454698" y="6378834"/>
            <a:ext cx="1528579" cy="365125"/>
          </a:xfrm>
        </p:spPr>
        <p:txBody>
          <a:bodyPr/>
          <a:lstStyle/>
          <a:p>
            <a:pPr lvl="0"/>
            <a:fld id="{8E139D62-4963-4D43-8720-01B6DA832CF6}" type="datetime4">
              <a:rPr lang="en-GB" smtClean="0"/>
              <a:t>23 January 2025</a:t>
            </a:fld>
            <a:endParaRPr lang="en-GB"/>
          </a:p>
        </p:txBody>
      </p:sp>
      <p:sp>
        <p:nvSpPr>
          <p:cNvPr id="6" name="Footer Placeholder 5">
            <a:extLst>
              <a:ext uri="{FF2B5EF4-FFF2-40B4-BE49-F238E27FC236}">
                <a16:creationId xmlns:a16="http://schemas.microsoft.com/office/drawing/2014/main" id="{001308BB-494E-47D6-B5D2-27C423C6E30E}"/>
              </a:ext>
            </a:extLst>
          </p:cNvPr>
          <p:cNvSpPr>
            <a:spLocks noGrp="1"/>
          </p:cNvSpPr>
          <p:nvPr>
            <p:ph type="ftr" sz="quarter" idx="21"/>
          </p:nvPr>
        </p:nvSpPr>
        <p:spPr>
          <a:xfrm>
            <a:off x="2258853" y="6378834"/>
            <a:ext cx="4616234" cy="365125"/>
          </a:xfrm>
        </p:spPr>
        <p:txBody>
          <a:bodyPr/>
          <a:lstStyle/>
          <a:p>
            <a:r>
              <a:rPr lang="en-GB" dirty="0"/>
              <a:t>Intraday Capacity Calculation</a:t>
            </a:r>
          </a:p>
        </p:txBody>
      </p:sp>
    </p:spTree>
    <p:extLst>
      <p:ext uri="{BB962C8B-B14F-4D97-AF65-F5344CB8AC3E}">
        <p14:creationId xmlns:p14="http://schemas.microsoft.com/office/powerpoint/2010/main" val="29296319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BB5B916-03D3-80E3-6253-A63828DE44EB}"/>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9EE0F397-E685-D6EE-7A62-6793974F6EAD}"/>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A0407288-47EF-9FD1-1087-DDC0F4619EC0}"/>
              </a:ext>
            </a:extLst>
          </p:cNvPr>
          <p:cNvSpPr>
            <a:spLocks noGrp="1"/>
          </p:cNvSpPr>
          <p:nvPr>
            <p:ph type="sldNum" sz="quarter" idx="12"/>
          </p:nvPr>
        </p:nvSpPr>
        <p:spPr/>
        <p:txBody>
          <a:bodyPr/>
          <a:lstStyle/>
          <a:p>
            <a:fld id="{3B0AF0F1-83F4-0746-A551-EEC1F1FEC0BD}" type="slidenum">
              <a:rPr lang="en-GB" noProof="0" smtClean="0"/>
              <a:t>10</a:t>
            </a:fld>
            <a:endParaRPr lang="en-GB" noProof="0"/>
          </a:p>
        </p:txBody>
      </p:sp>
      <p:sp>
        <p:nvSpPr>
          <p:cNvPr id="5" name="Textplatzhalter 4">
            <a:extLst>
              <a:ext uri="{FF2B5EF4-FFF2-40B4-BE49-F238E27FC236}">
                <a16:creationId xmlns:a16="http://schemas.microsoft.com/office/drawing/2014/main" id="{13FFE093-B044-FD5A-8C5D-0917BA654172}"/>
              </a:ext>
            </a:extLst>
          </p:cNvPr>
          <p:cNvSpPr>
            <a:spLocks noGrp="1"/>
          </p:cNvSpPr>
          <p:nvPr>
            <p:ph type="body" sz="quarter" idx="13"/>
          </p:nvPr>
        </p:nvSpPr>
        <p:spPr/>
        <p:txBody>
          <a:bodyPr/>
          <a:lstStyle/>
          <a:p>
            <a:r>
              <a:rPr lang="de-DE" dirty="0"/>
              <a:t>IDCC (b) </a:t>
            </a:r>
            <a:r>
              <a:rPr lang="de-DE" dirty="0" err="1"/>
              <a:t>as</a:t>
            </a:r>
            <a:r>
              <a:rPr lang="de-DE" dirty="0"/>
              <a:t> </a:t>
            </a:r>
            <a:r>
              <a:rPr lang="de-DE" dirty="0" err="1"/>
              <a:t>example</a:t>
            </a:r>
            <a:endParaRPr lang="de-DE" dirty="0"/>
          </a:p>
        </p:txBody>
      </p:sp>
      <p:sp>
        <p:nvSpPr>
          <p:cNvPr id="6" name="Titel 5">
            <a:extLst>
              <a:ext uri="{FF2B5EF4-FFF2-40B4-BE49-F238E27FC236}">
                <a16:creationId xmlns:a16="http://schemas.microsoft.com/office/drawing/2014/main" id="{5AA00A66-CA5B-B603-884E-9BB762FADDD4}"/>
              </a:ext>
            </a:extLst>
          </p:cNvPr>
          <p:cNvSpPr>
            <a:spLocks noGrp="1"/>
          </p:cNvSpPr>
          <p:nvPr>
            <p:ph type="title"/>
          </p:nvPr>
        </p:nvSpPr>
        <p:spPr/>
        <p:txBody>
          <a:bodyPr/>
          <a:lstStyle/>
          <a:p>
            <a:r>
              <a:rPr lang="en-GB" dirty="0" err="1"/>
              <a:t>IntraDayCapacityCalculation</a:t>
            </a:r>
            <a:r>
              <a:rPr lang="en-GB" dirty="0"/>
              <a:t> in detail</a:t>
            </a:r>
            <a:endParaRPr lang="de-DE" dirty="0"/>
          </a:p>
        </p:txBody>
      </p:sp>
      <p:sp>
        <p:nvSpPr>
          <p:cNvPr id="8" name="Textplatzhalter 6">
            <a:extLst>
              <a:ext uri="{FF2B5EF4-FFF2-40B4-BE49-F238E27FC236}">
                <a16:creationId xmlns:a16="http://schemas.microsoft.com/office/drawing/2014/main" id="{91414491-5562-89F8-CD01-1BF7695F7F8A}"/>
              </a:ext>
            </a:extLst>
          </p:cNvPr>
          <p:cNvSpPr txBox="1">
            <a:spLocks/>
          </p:cNvSpPr>
          <p:nvPr/>
        </p:nvSpPr>
        <p:spPr>
          <a:xfrm>
            <a:off x="6732392" y="1079457"/>
            <a:ext cx="6102226" cy="1485985"/>
          </a:xfrm>
          <a:prstGeom prst="rect">
            <a:avLst/>
          </a:prstGeom>
        </p:spPr>
        <p:txBody>
          <a:bodyPr vert="horz" lIns="0" tIns="0" rIns="0" bIns="0" rtlCol="0">
            <a:normAutofit/>
          </a:bodyPr>
          <a:lstStyle>
            <a:lvl1pPr marL="234000" indent="-234000" algn="l" defTabSz="914400" rtl="0" eaLnBrk="1" fontAlgn="ctr" latinLnBrk="0" hangingPunct="1">
              <a:lnSpc>
                <a:spcPct val="90000"/>
              </a:lnSpc>
              <a:spcBef>
                <a:spcPts val="900"/>
              </a:spcBef>
              <a:buSzPct val="80000"/>
              <a:buFont typeface="Systeemlettertype regulier"/>
              <a:buChar char="■"/>
              <a:defRPr sz="2000" kern="1200" spc="0">
                <a:solidFill>
                  <a:schemeClr val="tx1"/>
                </a:solidFill>
                <a:latin typeface="+mn-lt"/>
                <a:ea typeface="+mn-ea"/>
                <a:cs typeface="+mn-cs"/>
              </a:defRPr>
            </a:lvl1pPr>
            <a:lvl2pPr marL="468000" indent="-234000" algn="l" defTabSz="914400" rtl="0" eaLnBrk="1" fontAlgn="ctr" latinLnBrk="0" hangingPunct="1">
              <a:lnSpc>
                <a:spcPct val="90000"/>
              </a:lnSpc>
              <a:spcBef>
                <a:spcPts val="900"/>
              </a:spcBef>
              <a:buSzPct val="100000"/>
              <a:buFont typeface=".Lucida Grande UI Regular"/>
              <a:buChar char="▫"/>
              <a:tabLst/>
              <a:defRPr sz="2000" kern="1200" spc="0">
                <a:solidFill>
                  <a:schemeClr val="tx1"/>
                </a:solidFill>
                <a:latin typeface="+mn-lt"/>
                <a:ea typeface="+mn-ea"/>
                <a:cs typeface="+mn-cs"/>
              </a:defRPr>
            </a:lvl2pPr>
            <a:lvl3pPr marL="702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3pPr>
            <a:lvl4pPr marL="936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4pPr>
            <a:lvl5pPr marL="1170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IDCC (b-e) process main steps</a:t>
            </a:r>
            <a:endParaRPr lang="de-DE" dirty="0"/>
          </a:p>
        </p:txBody>
      </p:sp>
      <p:graphicFrame>
        <p:nvGraphicFramePr>
          <p:cNvPr id="9" name="Diagramm 8">
            <a:extLst>
              <a:ext uri="{FF2B5EF4-FFF2-40B4-BE49-F238E27FC236}">
                <a16:creationId xmlns:a16="http://schemas.microsoft.com/office/drawing/2014/main" id="{224ECBDF-FC0C-58CC-0BF9-89B129BD58F8}"/>
              </a:ext>
            </a:extLst>
          </p:cNvPr>
          <p:cNvGraphicFramePr/>
          <p:nvPr>
            <p:extLst>
              <p:ext uri="{D42A27DB-BD31-4B8C-83A1-F6EECF244321}">
                <p14:modId xmlns:p14="http://schemas.microsoft.com/office/powerpoint/2010/main" val="1495944968"/>
              </p:ext>
            </p:extLst>
          </p:nvPr>
        </p:nvGraphicFramePr>
        <p:xfrm>
          <a:off x="6732392" y="949325"/>
          <a:ext cx="5371104" cy="15043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Freihandform: Form 92">
            <a:extLst>
              <a:ext uri="{FF2B5EF4-FFF2-40B4-BE49-F238E27FC236}">
                <a16:creationId xmlns:a16="http://schemas.microsoft.com/office/drawing/2014/main" id="{8CEA9928-B267-B0A1-ACF4-9D9E0A77DC3F}"/>
              </a:ext>
            </a:extLst>
          </p:cNvPr>
          <p:cNvSpPr/>
          <p:nvPr/>
        </p:nvSpPr>
        <p:spPr bwMode="auto">
          <a:xfrm>
            <a:off x="7837001" y="2652817"/>
            <a:ext cx="2271928" cy="2540899"/>
          </a:xfrm>
          <a:custGeom>
            <a:avLst/>
            <a:gdLst>
              <a:gd name="connsiteX0" fmla="*/ 0 w 1701800"/>
              <a:gd name="connsiteY0" fmla="*/ 1104900 h 1898650"/>
              <a:gd name="connsiteX1" fmla="*/ 266700 w 1701800"/>
              <a:gd name="connsiteY1" fmla="*/ 0 h 1898650"/>
              <a:gd name="connsiteX2" fmla="*/ 1238250 w 1701800"/>
              <a:gd name="connsiteY2" fmla="*/ 127000 h 1898650"/>
              <a:gd name="connsiteX3" fmla="*/ 1701800 w 1701800"/>
              <a:gd name="connsiteY3" fmla="*/ 603250 h 1898650"/>
              <a:gd name="connsiteX4" fmla="*/ 1701800 w 1701800"/>
              <a:gd name="connsiteY4" fmla="*/ 1460500 h 1898650"/>
              <a:gd name="connsiteX5" fmla="*/ 1276350 w 1701800"/>
              <a:gd name="connsiteY5" fmla="*/ 1898650 h 1898650"/>
              <a:gd name="connsiteX6" fmla="*/ 711200 w 1701800"/>
              <a:gd name="connsiteY6" fmla="*/ 1822450 h 1898650"/>
              <a:gd name="connsiteX7" fmla="*/ 0 w 1701800"/>
              <a:gd name="connsiteY7" fmla="*/ 1104900 h 1898650"/>
              <a:gd name="connsiteX0" fmla="*/ 0 w 1701800"/>
              <a:gd name="connsiteY0" fmla="*/ 1104900 h 1898650"/>
              <a:gd name="connsiteX1" fmla="*/ 266700 w 1701800"/>
              <a:gd name="connsiteY1" fmla="*/ 0 h 1898650"/>
              <a:gd name="connsiteX2" fmla="*/ 1428260 w 1701800"/>
              <a:gd name="connsiteY2" fmla="*/ 159388 h 1898650"/>
              <a:gd name="connsiteX3" fmla="*/ 1701800 w 1701800"/>
              <a:gd name="connsiteY3" fmla="*/ 603250 h 1898650"/>
              <a:gd name="connsiteX4" fmla="*/ 1701800 w 1701800"/>
              <a:gd name="connsiteY4" fmla="*/ 1460500 h 1898650"/>
              <a:gd name="connsiteX5" fmla="*/ 1276350 w 1701800"/>
              <a:gd name="connsiteY5" fmla="*/ 1898650 h 1898650"/>
              <a:gd name="connsiteX6" fmla="*/ 711200 w 1701800"/>
              <a:gd name="connsiteY6" fmla="*/ 1822450 h 1898650"/>
              <a:gd name="connsiteX7" fmla="*/ 0 w 1701800"/>
              <a:gd name="connsiteY7" fmla="*/ 1104900 h 1898650"/>
              <a:gd name="connsiteX0" fmla="*/ 0 w 1708277"/>
              <a:gd name="connsiteY0" fmla="*/ 1104900 h 1898650"/>
              <a:gd name="connsiteX1" fmla="*/ 266700 w 1708277"/>
              <a:gd name="connsiteY1" fmla="*/ 0 h 1898650"/>
              <a:gd name="connsiteX2" fmla="*/ 1428260 w 1708277"/>
              <a:gd name="connsiteY2" fmla="*/ 159388 h 1898650"/>
              <a:gd name="connsiteX3" fmla="*/ 1708277 w 1708277"/>
              <a:gd name="connsiteY3" fmla="*/ 449946 h 1898650"/>
              <a:gd name="connsiteX4" fmla="*/ 1701800 w 1708277"/>
              <a:gd name="connsiteY4" fmla="*/ 1460500 h 1898650"/>
              <a:gd name="connsiteX5" fmla="*/ 1276350 w 1708277"/>
              <a:gd name="connsiteY5" fmla="*/ 1898650 h 1898650"/>
              <a:gd name="connsiteX6" fmla="*/ 711200 w 1708277"/>
              <a:gd name="connsiteY6" fmla="*/ 1822450 h 1898650"/>
              <a:gd name="connsiteX7" fmla="*/ 0 w 1708277"/>
              <a:gd name="connsiteY7" fmla="*/ 1104900 h 1898650"/>
              <a:gd name="connsiteX0" fmla="*/ 0 w 1678048"/>
              <a:gd name="connsiteY0" fmla="*/ 994780 h 1898650"/>
              <a:gd name="connsiteX1" fmla="*/ 236471 w 1678048"/>
              <a:gd name="connsiteY1" fmla="*/ 0 h 1898650"/>
              <a:gd name="connsiteX2" fmla="*/ 1398031 w 1678048"/>
              <a:gd name="connsiteY2" fmla="*/ 159388 h 1898650"/>
              <a:gd name="connsiteX3" fmla="*/ 1678048 w 1678048"/>
              <a:gd name="connsiteY3" fmla="*/ 449946 h 1898650"/>
              <a:gd name="connsiteX4" fmla="*/ 1671571 w 1678048"/>
              <a:gd name="connsiteY4" fmla="*/ 1460500 h 1898650"/>
              <a:gd name="connsiteX5" fmla="*/ 1246121 w 1678048"/>
              <a:gd name="connsiteY5" fmla="*/ 1898650 h 1898650"/>
              <a:gd name="connsiteX6" fmla="*/ 680971 w 1678048"/>
              <a:gd name="connsiteY6" fmla="*/ 1822450 h 1898650"/>
              <a:gd name="connsiteX7" fmla="*/ 0 w 1678048"/>
              <a:gd name="connsiteY7" fmla="*/ 994780 h 1898650"/>
              <a:gd name="connsiteX0" fmla="*/ 0 w 1678048"/>
              <a:gd name="connsiteY0" fmla="*/ 994780 h 1898650"/>
              <a:gd name="connsiteX1" fmla="*/ 236471 w 1678048"/>
              <a:gd name="connsiteY1" fmla="*/ 0 h 1898650"/>
              <a:gd name="connsiteX2" fmla="*/ 1398031 w 1678048"/>
              <a:gd name="connsiteY2" fmla="*/ 159388 h 1898650"/>
              <a:gd name="connsiteX3" fmla="*/ 1678048 w 1678048"/>
              <a:gd name="connsiteY3" fmla="*/ 449946 h 1898650"/>
              <a:gd name="connsiteX4" fmla="*/ 1671571 w 1678048"/>
              <a:gd name="connsiteY4" fmla="*/ 1460500 h 1898650"/>
              <a:gd name="connsiteX5" fmla="*/ 1246121 w 1678048"/>
              <a:gd name="connsiteY5" fmla="*/ 1898650 h 1898650"/>
              <a:gd name="connsiteX6" fmla="*/ 832115 w 1678048"/>
              <a:gd name="connsiteY6" fmla="*/ 1844042 h 1898650"/>
              <a:gd name="connsiteX7" fmla="*/ 0 w 1678048"/>
              <a:gd name="connsiteY7" fmla="*/ 994780 h 1898650"/>
              <a:gd name="connsiteX0" fmla="*/ 0 w 1796085"/>
              <a:gd name="connsiteY0" fmla="*/ 994780 h 1898650"/>
              <a:gd name="connsiteX1" fmla="*/ 236471 w 1796085"/>
              <a:gd name="connsiteY1" fmla="*/ 0 h 1898650"/>
              <a:gd name="connsiteX2" fmla="*/ 1398031 w 1796085"/>
              <a:gd name="connsiteY2" fmla="*/ 159388 h 1898650"/>
              <a:gd name="connsiteX3" fmla="*/ 1796085 w 1796085"/>
              <a:gd name="connsiteY3" fmla="*/ 566543 h 1898650"/>
              <a:gd name="connsiteX4" fmla="*/ 1671571 w 1796085"/>
              <a:gd name="connsiteY4" fmla="*/ 1460500 h 1898650"/>
              <a:gd name="connsiteX5" fmla="*/ 1246121 w 1796085"/>
              <a:gd name="connsiteY5" fmla="*/ 1898650 h 1898650"/>
              <a:gd name="connsiteX6" fmla="*/ 832115 w 1796085"/>
              <a:gd name="connsiteY6" fmla="*/ 1844042 h 1898650"/>
              <a:gd name="connsiteX7" fmla="*/ 0 w 1796085"/>
              <a:gd name="connsiteY7" fmla="*/ 994780 h 1898650"/>
              <a:gd name="connsiteX0" fmla="*/ 0 w 1799684"/>
              <a:gd name="connsiteY0" fmla="*/ 994780 h 1898650"/>
              <a:gd name="connsiteX1" fmla="*/ 236471 w 1799684"/>
              <a:gd name="connsiteY1" fmla="*/ 0 h 1898650"/>
              <a:gd name="connsiteX2" fmla="*/ 1398031 w 1799684"/>
              <a:gd name="connsiteY2" fmla="*/ 159388 h 1898650"/>
              <a:gd name="connsiteX3" fmla="*/ 1796085 w 1799684"/>
              <a:gd name="connsiteY3" fmla="*/ 566543 h 1898650"/>
              <a:gd name="connsiteX4" fmla="*/ 1799684 w 1799684"/>
              <a:gd name="connsiteY4" fmla="*/ 1489289 h 1898650"/>
              <a:gd name="connsiteX5" fmla="*/ 1246121 w 1799684"/>
              <a:gd name="connsiteY5" fmla="*/ 1898650 h 1898650"/>
              <a:gd name="connsiteX6" fmla="*/ 832115 w 1799684"/>
              <a:gd name="connsiteY6" fmla="*/ 1844042 h 1898650"/>
              <a:gd name="connsiteX7" fmla="*/ 0 w 1799684"/>
              <a:gd name="connsiteY7" fmla="*/ 994780 h 1898650"/>
              <a:gd name="connsiteX0" fmla="*/ 0 w 1799684"/>
              <a:gd name="connsiteY0" fmla="*/ 994780 h 1917363"/>
              <a:gd name="connsiteX1" fmla="*/ 236471 w 1799684"/>
              <a:gd name="connsiteY1" fmla="*/ 0 h 1917363"/>
              <a:gd name="connsiteX2" fmla="*/ 1398031 w 1799684"/>
              <a:gd name="connsiteY2" fmla="*/ 159388 h 1917363"/>
              <a:gd name="connsiteX3" fmla="*/ 1796085 w 1799684"/>
              <a:gd name="connsiteY3" fmla="*/ 566543 h 1917363"/>
              <a:gd name="connsiteX4" fmla="*/ 1799684 w 1799684"/>
              <a:gd name="connsiteY4" fmla="*/ 1489289 h 1917363"/>
              <a:gd name="connsiteX5" fmla="*/ 1384310 w 1799684"/>
              <a:gd name="connsiteY5" fmla="*/ 1917363 h 1917363"/>
              <a:gd name="connsiteX6" fmla="*/ 832115 w 1799684"/>
              <a:gd name="connsiteY6" fmla="*/ 1844042 h 1917363"/>
              <a:gd name="connsiteX7" fmla="*/ 0 w 1799684"/>
              <a:gd name="connsiteY7" fmla="*/ 994780 h 1917363"/>
              <a:gd name="connsiteX0" fmla="*/ 0 w 1799684"/>
              <a:gd name="connsiteY0" fmla="*/ 994780 h 1917363"/>
              <a:gd name="connsiteX1" fmla="*/ 236471 w 1799684"/>
              <a:gd name="connsiteY1" fmla="*/ 0 h 1917363"/>
              <a:gd name="connsiteX2" fmla="*/ 1579403 w 1799684"/>
              <a:gd name="connsiteY2" fmla="*/ 183139 h 1917363"/>
              <a:gd name="connsiteX3" fmla="*/ 1796085 w 1799684"/>
              <a:gd name="connsiteY3" fmla="*/ 566543 h 1917363"/>
              <a:gd name="connsiteX4" fmla="*/ 1799684 w 1799684"/>
              <a:gd name="connsiteY4" fmla="*/ 1489289 h 1917363"/>
              <a:gd name="connsiteX5" fmla="*/ 1384310 w 1799684"/>
              <a:gd name="connsiteY5" fmla="*/ 1917363 h 1917363"/>
              <a:gd name="connsiteX6" fmla="*/ 832115 w 1799684"/>
              <a:gd name="connsiteY6" fmla="*/ 1844042 h 1917363"/>
              <a:gd name="connsiteX7" fmla="*/ 0 w 1799684"/>
              <a:gd name="connsiteY7" fmla="*/ 994780 h 1917363"/>
              <a:gd name="connsiteX0" fmla="*/ 0 w 1800683"/>
              <a:gd name="connsiteY0" fmla="*/ 994780 h 1917363"/>
              <a:gd name="connsiteX1" fmla="*/ 236471 w 1800683"/>
              <a:gd name="connsiteY1" fmla="*/ 0 h 1917363"/>
              <a:gd name="connsiteX2" fmla="*/ 1579403 w 1800683"/>
              <a:gd name="connsiteY2" fmla="*/ 183139 h 1917363"/>
              <a:gd name="connsiteX3" fmla="*/ 1800403 w 1800683"/>
              <a:gd name="connsiteY3" fmla="*/ 404603 h 1917363"/>
              <a:gd name="connsiteX4" fmla="*/ 1799684 w 1800683"/>
              <a:gd name="connsiteY4" fmla="*/ 1489289 h 1917363"/>
              <a:gd name="connsiteX5" fmla="*/ 1384310 w 1800683"/>
              <a:gd name="connsiteY5" fmla="*/ 1917363 h 1917363"/>
              <a:gd name="connsiteX6" fmla="*/ 832115 w 1800683"/>
              <a:gd name="connsiteY6" fmla="*/ 1844042 h 1917363"/>
              <a:gd name="connsiteX7" fmla="*/ 0 w 1800683"/>
              <a:gd name="connsiteY7" fmla="*/ 994780 h 1917363"/>
              <a:gd name="connsiteX0" fmla="*/ 0 w 1800683"/>
              <a:gd name="connsiteY0" fmla="*/ 994780 h 1917363"/>
              <a:gd name="connsiteX1" fmla="*/ 236471 w 1800683"/>
              <a:gd name="connsiteY1" fmla="*/ 0 h 1917363"/>
              <a:gd name="connsiteX2" fmla="*/ 1579403 w 1800683"/>
              <a:gd name="connsiteY2" fmla="*/ 183139 h 1917363"/>
              <a:gd name="connsiteX3" fmla="*/ 1800403 w 1800683"/>
              <a:gd name="connsiteY3" fmla="*/ 404603 h 1917363"/>
              <a:gd name="connsiteX4" fmla="*/ 1799684 w 1800683"/>
              <a:gd name="connsiteY4" fmla="*/ 1489289 h 1917363"/>
              <a:gd name="connsiteX5" fmla="*/ 1384310 w 1800683"/>
              <a:gd name="connsiteY5" fmla="*/ 1917363 h 1917363"/>
              <a:gd name="connsiteX6" fmla="*/ 626992 w 1800683"/>
              <a:gd name="connsiteY6" fmla="*/ 1815973 h 1917363"/>
              <a:gd name="connsiteX7" fmla="*/ 0 w 1800683"/>
              <a:gd name="connsiteY7" fmla="*/ 994780 h 1917363"/>
              <a:gd name="connsiteX0" fmla="*/ 0 w 1841708"/>
              <a:gd name="connsiteY0" fmla="*/ 1145924 h 1917363"/>
              <a:gd name="connsiteX1" fmla="*/ 277496 w 1841708"/>
              <a:gd name="connsiteY1" fmla="*/ 0 h 1917363"/>
              <a:gd name="connsiteX2" fmla="*/ 1620428 w 1841708"/>
              <a:gd name="connsiteY2" fmla="*/ 183139 h 1917363"/>
              <a:gd name="connsiteX3" fmla="*/ 1841428 w 1841708"/>
              <a:gd name="connsiteY3" fmla="*/ 404603 h 1917363"/>
              <a:gd name="connsiteX4" fmla="*/ 1840709 w 1841708"/>
              <a:gd name="connsiteY4" fmla="*/ 1489289 h 1917363"/>
              <a:gd name="connsiteX5" fmla="*/ 1425335 w 1841708"/>
              <a:gd name="connsiteY5" fmla="*/ 1917363 h 1917363"/>
              <a:gd name="connsiteX6" fmla="*/ 668017 w 1841708"/>
              <a:gd name="connsiteY6" fmla="*/ 1815973 h 1917363"/>
              <a:gd name="connsiteX7" fmla="*/ 0 w 1841708"/>
              <a:gd name="connsiteY7" fmla="*/ 1145924 h 1917363"/>
              <a:gd name="connsiteX0" fmla="*/ 0 w 1801403"/>
              <a:gd name="connsiteY0" fmla="*/ 996220 h 1917363"/>
              <a:gd name="connsiteX1" fmla="*/ 237191 w 1801403"/>
              <a:gd name="connsiteY1" fmla="*/ 0 h 1917363"/>
              <a:gd name="connsiteX2" fmla="*/ 1580123 w 1801403"/>
              <a:gd name="connsiteY2" fmla="*/ 183139 h 1917363"/>
              <a:gd name="connsiteX3" fmla="*/ 1801123 w 1801403"/>
              <a:gd name="connsiteY3" fmla="*/ 404603 h 1917363"/>
              <a:gd name="connsiteX4" fmla="*/ 1800404 w 1801403"/>
              <a:gd name="connsiteY4" fmla="*/ 1489289 h 1917363"/>
              <a:gd name="connsiteX5" fmla="*/ 1385030 w 1801403"/>
              <a:gd name="connsiteY5" fmla="*/ 1917363 h 1917363"/>
              <a:gd name="connsiteX6" fmla="*/ 627712 w 1801403"/>
              <a:gd name="connsiteY6" fmla="*/ 1815973 h 1917363"/>
              <a:gd name="connsiteX7" fmla="*/ 0 w 1801403"/>
              <a:gd name="connsiteY7" fmla="*/ 996220 h 1917363"/>
              <a:gd name="connsiteX0" fmla="*/ 0 w 1801403"/>
              <a:gd name="connsiteY0" fmla="*/ 996220 h 1917363"/>
              <a:gd name="connsiteX1" fmla="*/ 237191 w 1801403"/>
              <a:gd name="connsiteY1" fmla="*/ 0 h 1917363"/>
              <a:gd name="connsiteX2" fmla="*/ 1580123 w 1801403"/>
              <a:gd name="connsiteY2" fmla="*/ 183139 h 1917363"/>
              <a:gd name="connsiteX3" fmla="*/ 1801123 w 1801403"/>
              <a:gd name="connsiteY3" fmla="*/ 404603 h 1917363"/>
              <a:gd name="connsiteX4" fmla="*/ 1800404 w 1801403"/>
              <a:gd name="connsiteY4" fmla="*/ 1489289 h 1917363"/>
              <a:gd name="connsiteX5" fmla="*/ 1385030 w 1801403"/>
              <a:gd name="connsiteY5" fmla="*/ 1917363 h 1917363"/>
              <a:gd name="connsiteX6" fmla="*/ 834995 w 1801403"/>
              <a:gd name="connsiteY6" fmla="*/ 1841883 h 1917363"/>
              <a:gd name="connsiteX7" fmla="*/ 0 w 1801403"/>
              <a:gd name="connsiteY7" fmla="*/ 996220 h 1917363"/>
              <a:gd name="connsiteX0" fmla="*/ 0 w 1800404"/>
              <a:gd name="connsiteY0" fmla="*/ 996220 h 1917363"/>
              <a:gd name="connsiteX1" fmla="*/ 237191 w 1800404"/>
              <a:gd name="connsiteY1" fmla="*/ 0 h 1917363"/>
              <a:gd name="connsiteX2" fmla="*/ 1580123 w 1800404"/>
              <a:gd name="connsiteY2" fmla="*/ 183139 h 1917363"/>
              <a:gd name="connsiteX3" fmla="*/ 1799684 w 1800404"/>
              <a:gd name="connsiteY3" fmla="*/ 570142 h 1917363"/>
              <a:gd name="connsiteX4" fmla="*/ 1800404 w 1800404"/>
              <a:gd name="connsiteY4" fmla="*/ 1489289 h 1917363"/>
              <a:gd name="connsiteX5" fmla="*/ 1385030 w 1800404"/>
              <a:gd name="connsiteY5" fmla="*/ 1917363 h 1917363"/>
              <a:gd name="connsiteX6" fmla="*/ 834995 w 1800404"/>
              <a:gd name="connsiteY6" fmla="*/ 1841883 h 1917363"/>
              <a:gd name="connsiteX7" fmla="*/ 0 w 1800404"/>
              <a:gd name="connsiteY7" fmla="*/ 996220 h 1917363"/>
              <a:gd name="connsiteX0" fmla="*/ 0 w 1800404"/>
              <a:gd name="connsiteY0" fmla="*/ 996220 h 1917363"/>
              <a:gd name="connsiteX1" fmla="*/ 237191 w 1800404"/>
              <a:gd name="connsiteY1" fmla="*/ 0 h 1917363"/>
              <a:gd name="connsiteX2" fmla="*/ 1254804 w 1800404"/>
              <a:gd name="connsiteY2" fmla="*/ 16161 h 1917363"/>
              <a:gd name="connsiteX3" fmla="*/ 1799684 w 1800404"/>
              <a:gd name="connsiteY3" fmla="*/ 570142 h 1917363"/>
              <a:gd name="connsiteX4" fmla="*/ 1800404 w 1800404"/>
              <a:gd name="connsiteY4" fmla="*/ 1489289 h 1917363"/>
              <a:gd name="connsiteX5" fmla="*/ 1385030 w 1800404"/>
              <a:gd name="connsiteY5" fmla="*/ 1917363 h 1917363"/>
              <a:gd name="connsiteX6" fmla="*/ 834995 w 1800404"/>
              <a:gd name="connsiteY6" fmla="*/ 1841883 h 1917363"/>
              <a:gd name="connsiteX7" fmla="*/ 0 w 1800404"/>
              <a:gd name="connsiteY7" fmla="*/ 996220 h 1917363"/>
              <a:gd name="connsiteX0" fmla="*/ 0 w 1800404"/>
              <a:gd name="connsiteY0" fmla="*/ 1118574 h 2039717"/>
              <a:gd name="connsiteX1" fmla="*/ 268859 w 1800404"/>
              <a:gd name="connsiteY1" fmla="*/ 0 h 2039717"/>
              <a:gd name="connsiteX2" fmla="*/ 1254804 w 1800404"/>
              <a:gd name="connsiteY2" fmla="*/ 138515 h 2039717"/>
              <a:gd name="connsiteX3" fmla="*/ 1799684 w 1800404"/>
              <a:gd name="connsiteY3" fmla="*/ 692496 h 2039717"/>
              <a:gd name="connsiteX4" fmla="*/ 1800404 w 1800404"/>
              <a:gd name="connsiteY4" fmla="*/ 1611643 h 2039717"/>
              <a:gd name="connsiteX5" fmla="*/ 1385030 w 1800404"/>
              <a:gd name="connsiteY5" fmla="*/ 2039717 h 2039717"/>
              <a:gd name="connsiteX6" fmla="*/ 834995 w 1800404"/>
              <a:gd name="connsiteY6" fmla="*/ 1964237 h 2039717"/>
              <a:gd name="connsiteX7" fmla="*/ 0 w 1800404"/>
              <a:gd name="connsiteY7" fmla="*/ 1118574 h 2039717"/>
              <a:gd name="connsiteX0" fmla="*/ 0 w 1802563"/>
              <a:gd name="connsiteY0" fmla="*/ 1118574 h 2039717"/>
              <a:gd name="connsiteX1" fmla="*/ 268859 w 1802563"/>
              <a:gd name="connsiteY1" fmla="*/ 0 h 2039717"/>
              <a:gd name="connsiteX2" fmla="*/ 1254804 w 1802563"/>
              <a:gd name="connsiteY2" fmla="*/ 138515 h 2039717"/>
              <a:gd name="connsiteX3" fmla="*/ 1799684 w 1802563"/>
              <a:gd name="connsiteY3" fmla="*/ 692496 h 2039717"/>
              <a:gd name="connsiteX4" fmla="*/ 1802563 w 1802563"/>
              <a:gd name="connsiteY4" fmla="*/ 1384927 h 2039717"/>
              <a:gd name="connsiteX5" fmla="*/ 1385030 w 1802563"/>
              <a:gd name="connsiteY5" fmla="*/ 2039717 h 2039717"/>
              <a:gd name="connsiteX6" fmla="*/ 834995 w 1802563"/>
              <a:gd name="connsiteY6" fmla="*/ 1964237 h 2039717"/>
              <a:gd name="connsiteX7" fmla="*/ 0 w 1802563"/>
              <a:gd name="connsiteY7" fmla="*/ 1118574 h 2039717"/>
              <a:gd name="connsiteX0" fmla="*/ 0 w 1802563"/>
              <a:gd name="connsiteY0" fmla="*/ 1118574 h 2015966"/>
              <a:gd name="connsiteX1" fmla="*/ 268859 w 1802563"/>
              <a:gd name="connsiteY1" fmla="*/ 0 h 2015966"/>
              <a:gd name="connsiteX2" fmla="*/ 1254804 w 1802563"/>
              <a:gd name="connsiteY2" fmla="*/ 138515 h 2015966"/>
              <a:gd name="connsiteX3" fmla="*/ 1799684 w 1802563"/>
              <a:gd name="connsiteY3" fmla="*/ 692496 h 2015966"/>
              <a:gd name="connsiteX4" fmla="*/ 1802563 w 1802563"/>
              <a:gd name="connsiteY4" fmla="*/ 1384927 h 2015966"/>
              <a:gd name="connsiteX5" fmla="*/ 1164792 w 1802563"/>
              <a:gd name="connsiteY5" fmla="*/ 2015966 h 2015966"/>
              <a:gd name="connsiteX6" fmla="*/ 834995 w 1802563"/>
              <a:gd name="connsiteY6" fmla="*/ 1964237 h 2015966"/>
              <a:gd name="connsiteX7" fmla="*/ 0 w 1802563"/>
              <a:gd name="connsiteY7" fmla="*/ 1118574 h 201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2563" h="2015966">
                <a:moveTo>
                  <a:pt x="0" y="1118574"/>
                </a:moveTo>
                <a:lnTo>
                  <a:pt x="268859" y="0"/>
                </a:lnTo>
                <a:lnTo>
                  <a:pt x="1254804" y="138515"/>
                </a:lnTo>
                <a:lnTo>
                  <a:pt x="1799684" y="692496"/>
                </a:lnTo>
                <a:cubicBezTo>
                  <a:pt x="1800884" y="1000078"/>
                  <a:pt x="1801363" y="1077345"/>
                  <a:pt x="1802563" y="1384927"/>
                </a:cubicBezTo>
                <a:lnTo>
                  <a:pt x="1164792" y="2015966"/>
                </a:lnTo>
                <a:lnTo>
                  <a:pt x="834995" y="1964237"/>
                </a:lnTo>
                <a:lnTo>
                  <a:pt x="0" y="1118574"/>
                </a:lnTo>
                <a:close/>
              </a:path>
            </a:pathLst>
          </a:custGeom>
          <a:solidFill>
            <a:schemeClr val="accent5">
              <a:alpha val="21000"/>
            </a:schemeClr>
          </a:solidFill>
          <a:ln w="7144"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eaLnBrk="0" fontAlgn="base" hangingPunct="0">
              <a:spcBef>
                <a:spcPct val="0"/>
              </a:spcBef>
              <a:spcAft>
                <a:spcPct val="0"/>
              </a:spcAft>
            </a:pPr>
            <a:endParaRPr lang="de-DE" dirty="0"/>
          </a:p>
        </p:txBody>
      </p:sp>
      <p:cxnSp>
        <p:nvCxnSpPr>
          <p:cNvPr id="11" name="Gerade Verbindung mit Pfeil 31">
            <a:extLst>
              <a:ext uri="{FF2B5EF4-FFF2-40B4-BE49-F238E27FC236}">
                <a16:creationId xmlns:a16="http://schemas.microsoft.com/office/drawing/2014/main" id="{63E5CE82-338E-67A3-7452-2D69CC872A4E}"/>
              </a:ext>
            </a:extLst>
          </p:cNvPr>
          <p:cNvCxnSpPr>
            <a:cxnSpLocks/>
          </p:cNvCxnSpPr>
          <p:nvPr/>
        </p:nvCxnSpPr>
        <p:spPr>
          <a:xfrm flipV="1">
            <a:off x="8724425" y="1911347"/>
            <a:ext cx="0" cy="3678517"/>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 name="Gerade Verbindung mit Pfeil 32">
            <a:extLst>
              <a:ext uri="{FF2B5EF4-FFF2-40B4-BE49-F238E27FC236}">
                <a16:creationId xmlns:a16="http://schemas.microsoft.com/office/drawing/2014/main" id="{BDB1FA63-31D3-049E-FEB7-9671F6E29BB3}"/>
              </a:ext>
            </a:extLst>
          </p:cNvPr>
          <p:cNvCxnSpPr>
            <a:cxnSpLocks/>
          </p:cNvCxnSpPr>
          <p:nvPr/>
        </p:nvCxnSpPr>
        <p:spPr>
          <a:xfrm>
            <a:off x="7156407" y="3825693"/>
            <a:ext cx="4149262" cy="0"/>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52">
            <a:extLst>
              <a:ext uri="{FF2B5EF4-FFF2-40B4-BE49-F238E27FC236}">
                <a16:creationId xmlns:a16="http://schemas.microsoft.com/office/drawing/2014/main" id="{27ADBF5B-A503-5799-6828-7AE1238FD292}"/>
              </a:ext>
            </a:extLst>
          </p:cNvPr>
          <p:cNvCxnSpPr>
            <a:cxnSpLocks/>
          </p:cNvCxnSpPr>
          <p:nvPr/>
        </p:nvCxnSpPr>
        <p:spPr>
          <a:xfrm flipH="1">
            <a:off x="7648698" y="2519483"/>
            <a:ext cx="552094" cy="231351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Gerader Verbinder 53">
            <a:extLst>
              <a:ext uri="{FF2B5EF4-FFF2-40B4-BE49-F238E27FC236}">
                <a16:creationId xmlns:a16="http://schemas.microsoft.com/office/drawing/2014/main" id="{772F47E7-025C-A326-D532-2697B9E78F6E}"/>
              </a:ext>
            </a:extLst>
          </p:cNvPr>
          <p:cNvCxnSpPr>
            <a:cxnSpLocks/>
          </p:cNvCxnSpPr>
          <p:nvPr/>
        </p:nvCxnSpPr>
        <p:spPr>
          <a:xfrm>
            <a:off x="7573774" y="4968642"/>
            <a:ext cx="2301305" cy="290179"/>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Gerader Verbinder 52">
            <a:extLst>
              <a:ext uri="{FF2B5EF4-FFF2-40B4-BE49-F238E27FC236}">
                <a16:creationId xmlns:a16="http://schemas.microsoft.com/office/drawing/2014/main" id="{151781F5-ACA3-9F3D-6AD3-C759E99515BA}"/>
              </a:ext>
            </a:extLst>
          </p:cNvPr>
          <p:cNvCxnSpPr>
            <a:cxnSpLocks/>
          </p:cNvCxnSpPr>
          <p:nvPr/>
        </p:nvCxnSpPr>
        <p:spPr>
          <a:xfrm flipH="1">
            <a:off x="7243871" y="2120398"/>
            <a:ext cx="938305" cy="2434790"/>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Gerader Verbinder 52">
            <a:extLst>
              <a:ext uri="{FF2B5EF4-FFF2-40B4-BE49-F238E27FC236}">
                <a16:creationId xmlns:a16="http://schemas.microsoft.com/office/drawing/2014/main" id="{2EF50335-DC7B-3E8C-C075-65F0A54A4638}"/>
              </a:ext>
            </a:extLst>
          </p:cNvPr>
          <p:cNvCxnSpPr>
            <a:cxnSpLocks/>
          </p:cNvCxnSpPr>
          <p:nvPr/>
        </p:nvCxnSpPr>
        <p:spPr>
          <a:xfrm flipV="1">
            <a:off x="7880277" y="2120398"/>
            <a:ext cx="2573764" cy="199542"/>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Gerader Verbinder 52">
            <a:extLst>
              <a:ext uri="{FF2B5EF4-FFF2-40B4-BE49-F238E27FC236}">
                <a16:creationId xmlns:a16="http://schemas.microsoft.com/office/drawing/2014/main" id="{4370C8A9-B27B-1C04-D470-B84EECA90F03}"/>
              </a:ext>
            </a:extLst>
          </p:cNvPr>
          <p:cNvCxnSpPr>
            <a:cxnSpLocks/>
          </p:cNvCxnSpPr>
          <p:nvPr/>
        </p:nvCxnSpPr>
        <p:spPr>
          <a:xfrm>
            <a:off x="8724425" y="2176836"/>
            <a:ext cx="2424144" cy="744072"/>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52">
            <a:extLst>
              <a:ext uri="{FF2B5EF4-FFF2-40B4-BE49-F238E27FC236}">
                <a16:creationId xmlns:a16="http://schemas.microsoft.com/office/drawing/2014/main" id="{BF051B38-ECF8-1B3D-62A3-D06E7FF65ED0}"/>
              </a:ext>
            </a:extLst>
          </p:cNvPr>
          <p:cNvCxnSpPr>
            <a:cxnSpLocks/>
          </p:cNvCxnSpPr>
          <p:nvPr/>
        </p:nvCxnSpPr>
        <p:spPr>
          <a:xfrm>
            <a:off x="9366143" y="2063617"/>
            <a:ext cx="1773902" cy="2410001"/>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Gerader Verbinder 52">
            <a:extLst>
              <a:ext uri="{FF2B5EF4-FFF2-40B4-BE49-F238E27FC236}">
                <a16:creationId xmlns:a16="http://schemas.microsoft.com/office/drawing/2014/main" id="{206FE783-B817-5B87-046C-E91587A5073C}"/>
              </a:ext>
            </a:extLst>
          </p:cNvPr>
          <p:cNvCxnSpPr>
            <a:cxnSpLocks/>
          </p:cNvCxnSpPr>
          <p:nvPr/>
        </p:nvCxnSpPr>
        <p:spPr>
          <a:xfrm flipH="1">
            <a:off x="10454042" y="3056557"/>
            <a:ext cx="257297" cy="1997073"/>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52">
            <a:extLst>
              <a:ext uri="{FF2B5EF4-FFF2-40B4-BE49-F238E27FC236}">
                <a16:creationId xmlns:a16="http://schemas.microsoft.com/office/drawing/2014/main" id="{92FECF06-AD56-5CCE-832D-4F85E4E23353}"/>
              </a:ext>
            </a:extLst>
          </p:cNvPr>
          <p:cNvCxnSpPr>
            <a:cxnSpLocks/>
          </p:cNvCxnSpPr>
          <p:nvPr/>
        </p:nvCxnSpPr>
        <p:spPr>
          <a:xfrm flipH="1">
            <a:off x="9547607" y="3500921"/>
            <a:ext cx="1704331" cy="2171353"/>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52">
            <a:extLst>
              <a:ext uri="{FF2B5EF4-FFF2-40B4-BE49-F238E27FC236}">
                <a16:creationId xmlns:a16="http://schemas.microsoft.com/office/drawing/2014/main" id="{C5EF68B7-4682-12D6-8676-3FD14B15C466}"/>
              </a:ext>
            </a:extLst>
          </p:cNvPr>
          <p:cNvCxnSpPr>
            <a:cxnSpLocks/>
          </p:cNvCxnSpPr>
          <p:nvPr/>
        </p:nvCxnSpPr>
        <p:spPr>
          <a:xfrm flipH="1" flipV="1">
            <a:off x="7654632" y="5269105"/>
            <a:ext cx="2167459" cy="358030"/>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Gerader Verbinder 52">
            <a:extLst>
              <a:ext uri="{FF2B5EF4-FFF2-40B4-BE49-F238E27FC236}">
                <a16:creationId xmlns:a16="http://schemas.microsoft.com/office/drawing/2014/main" id="{562EB819-77CE-E3BE-B74B-8EB4A51D21E4}"/>
              </a:ext>
            </a:extLst>
          </p:cNvPr>
          <p:cNvCxnSpPr>
            <a:cxnSpLocks/>
          </p:cNvCxnSpPr>
          <p:nvPr/>
        </p:nvCxnSpPr>
        <p:spPr>
          <a:xfrm flipH="1" flipV="1">
            <a:off x="7243260" y="4187392"/>
            <a:ext cx="839443" cy="1292537"/>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ep 104">
            <a:extLst>
              <a:ext uri="{FF2B5EF4-FFF2-40B4-BE49-F238E27FC236}">
                <a16:creationId xmlns:a16="http://schemas.microsoft.com/office/drawing/2014/main" id="{B6AD04E0-7FDD-A9C4-E822-95D2CA2083EB}"/>
              </a:ext>
            </a:extLst>
          </p:cNvPr>
          <p:cNvGrpSpPr/>
          <p:nvPr/>
        </p:nvGrpSpPr>
        <p:grpSpPr>
          <a:xfrm>
            <a:off x="7713145" y="3299573"/>
            <a:ext cx="263214" cy="261610"/>
            <a:chOff x="2630320" y="3549423"/>
            <a:chExt cx="263214" cy="261610"/>
          </a:xfrm>
        </p:grpSpPr>
        <p:sp>
          <p:nvSpPr>
            <p:cNvPr id="24" name="Ovaal 105">
              <a:extLst>
                <a:ext uri="{FF2B5EF4-FFF2-40B4-BE49-F238E27FC236}">
                  <a16:creationId xmlns:a16="http://schemas.microsoft.com/office/drawing/2014/main" id="{D3599159-088E-F26E-FF62-F5DD9B9D9448}"/>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25" name="Tekstvak 106">
              <a:extLst>
                <a:ext uri="{FF2B5EF4-FFF2-40B4-BE49-F238E27FC236}">
                  <a16:creationId xmlns:a16="http://schemas.microsoft.com/office/drawing/2014/main" id="{4D277229-4731-9049-A8E8-3D6CE46B5511}"/>
                </a:ext>
              </a:extLst>
            </p:cNvPr>
            <p:cNvSpPr txBox="1"/>
            <p:nvPr/>
          </p:nvSpPr>
          <p:spPr>
            <a:xfrm>
              <a:off x="2630320" y="3549423"/>
              <a:ext cx="263214" cy="261610"/>
            </a:xfrm>
            <a:prstGeom prst="rect">
              <a:avLst/>
            </a:prstGeom>
            <a:noFill/>
          </p:spPr>
          <p:txBody>
            <a:bodyPr wrap="none" rtlCol="0">
              <a:spAutoFit/>
            </a:bodyPr>
            <a:lstStyle/>
            <a:p>
              <a:r>
                <a:rPr lang="en-US" sz="1100" dirty="0"/>
                <a:t>1</a:t>
              </a:r>
            </a:p>
          </p:txBody>
        </p:sp>
      </p:grpSp>
      <p:grpSp>
        <p:nvGrpSpPr>
          <p:cNvPr id="26" name="Groep 107">
            <a:extLst>
              <a:ext uri="{FF2B5EF4-FFF2-40B4-BE49-F238E27FC236}">
                <a16:creationId xmlns:a16="http://schemas.microsoft.com/office/drawing/2014/main" id="{0151013F-5464-C426-7E86-8A3373F8F952}"/>
              </a:ext>
            </a:extLst>
          </p:cNvPr>
          <p:cNvGrpSpPr/>
          <p:nvPr/>
        </p:nvGrpSpPr>
        <p:grpSpPr>
          <a:xfrm>
            <a:off x="8443720" y="2399280"/>
            <a:ext cx="263214" cy="261610"/>
            <a:chOff x="2630320" y="3549423"/>
            <a:chExt cx="263214" cy="261610"/>
          </a:xfrm>
        </p:grpSpPr>
        <p:sp>
          <p:nvSpPr>
            <p:cNvPr id="27" name="Ovaal 108">
              <a:extLst>
                <a:ext uri="{FF2B5EF4-FFF2-40B4-BE49-F238E27FC236}">
                  <a16:creationId xmlns:a16="http://schemas.microsoft.com/office/drawing/2014/main" id="{1A741957-C943-B4D4-8170-764698FB8386}"/>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28" name="Tekstvak 109">
              <a:extLst>
                <a:ext uri="{FF2B5EF4-FFF2-40B4-BE49-F238E27FC236}">
                  <a16:creationId xmlns:a16="http://schemas.microsoft.com/office/drawing/2014/main" id="{24220742-EBA8-57D0-AC38-C7D752103DE1}"/>
                </a:ext>
              </a:extLst>
            </p:cNvPr>
            <p:cNvSpPr txBox="1"/>
            <p:nvPr/>
          </p:nvSpPr>
          <p:spPr>
            <a:xfrm>
              <a:off x="2630320" y="3549423"/>
              <a:ext cx="263214" cy="261610"/>
            </a:xfrm>
            <a:prstGeom prst="rect">
              <a:avLst/>
            </a:prstGeom>
            <a:noFill/>
          </p:spPr>
          <p:txBody>
            <a:bodyPr wrap="none" rtlCol="0">
              <a:spAutoFit/>
            </a:bodyPr>
            <a:lstStyle/>
            <a:p>
              <a:r>
                <a:rPr lang="en-US" sz="1100" dirty="0"/>
                <a:t>2</a:t>
              </a:r>
            </a:p>
          </p:txBody>
        </p:sp>
      </p:grpSp>
      <p:grpSp>
        <p:nvGrpSpPr>
          <p:cNvPr id="29" name="Groep 110">
            <a:extLst>
              <a:ext uri="{FF2B5EF4-FFF2-40B4-BE49-F238E27FC236}">
                <a16:creationId xmlns:a16="http://schemas.microsoft.com/office/drawing/2014/main" id="{FB3F7C27-BCCF-EBF6-7B35-C917FC066840}"/>
              </a:ext>
            </a:extLst>
          </p:cNvPr>
          <p:cNvGrpSpPr/>
          <p:nvPr/>
        </p:nvGrpSpPr>
        <p:grpSpPr>
          <a:xfrm>
            <a:off x="10091762" y="3960707"/>
            <a:ext cx="263214" cy="261610"/>
            <a:chOff x="2630320" y="3549423"/>
            <a:chExt cx="263214" cy="261610"/>
          </a:xfrm>
        </p:grpSpPr>
        <p:sp>
          <p:nvSpPr>
            <p:cNvPr id="30" name="Ovaal 111">
              <a:extLst>
                <a:ext uri="{FF2B5EF4-FFF2-40B4-BE49-F238E27FC236}">
                  <a16:creationId xmlns:a16="http://schemas.microsoft.com/office/drawing/2014/main" id="{D6E31B23-F29F-88BE-CBFC-5C62A9098383}"/>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1" name="Tekstvak 112">
              <a:extLst>
                <a:ext uri="{FF2B5EF4-FFF2-40B4-BE49-F238E27FC236}">
                  <a16:creationId xmlns:a16="http://schemas.microsoft.com/office/drawing/2014/main" id="{5389293F-DE39-2B6A-0226-82D727F4B684}"/>
                </a:ext>
              </a:extLst>
            </p:cNvPr>
            <p:cNvSpPr txBox="1"/>
            <p:nvPr/>
          </p:nvSpPr>
          <p:spPr>
            <a:xfrm>
              <a:off x="2630320" y="3549423"/>
              <a:ext cx="263214" cy="261610"/>
            </a:xfrm>
            <a:prstGeom prst="rect">
              <a:avLst/>
            </a:prstGeom>
            <a:noFill/>
          </p:spPr>
          <p:txBody>
            <a:bodyPr wrap="none" rtlCol="0">
              <a:spAutoFit/>
            </a:bodyPr>
            <a:lstStyle/>
            <a:p>
              <a:r>
                <a:rPr lang="en-US" sz="1100" dirty="0"/>
                <a:t>4</a:t>
              </a:r>
            </a:p>
          </p:txBody>
        </p:sp>
      </p:grpSp>
      <p:grpSp>
        <p:nvGrpSpPr>
          <p:cNvPr id="32" name="Groep 113">
            <a:extLst>
              <a:ext uri="{FF2B5EF4-FFF2-40B4-BE49-F238E27FC236}">
                <a16:creationId xmlns:a16="http://schemas.microsoft.com/office/drawing/2014/main" id="{C8474DA3-8016-DD36-B49C-80A178E741EF}"/>
              </a:ext>
            </a:extLst>
          </p:cNvPr>
          <p:cNvGrpSpPr/>
          <p:nvPr/>
        </p:nvGrpSpPr>
        <p:grpSpPr>
          <a:xfrm>
            <a:off x="9662112" y="4803414"/>
            <a:ext cx="263214" cy="261610"/>
            <a:chOff x="2630320" y="3549423"/>
            <a:chExt cx="263214" cy="261610"/>
          </a:xfrm>
        </p:grpSpPr>
        <p:sp>
          <p:nvSpPr>
            <p:cNvPr id="33" name="Ovaal 114">
              <a:extLst>
                <a:ext uri="{FF2B5EF4-FFF2-40B4-BE49-F238E27FC236}">
                  <a16:creationId xmlns:a16="http://schemas.microsoft.com/office/drawing/2014/main" id="{BE26721B-DF5B-E906-013A-4BB53E58B514}"/>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4" name="Tekstvak 115">
              <a:extLst>
                <a:ext uri="{FF2B5EF4-FFF2-40B4-BE49-F238E27FC236}">
                  <a16:creationId xmlns:a16="http://schemas.microsoft.com/office/drawing/2014/main" id="{9B984BFF-0298-5E21-4754-72000FC5575E}"/>
                </a:ext>
              </a:extLst>
            </p:cNvPr>
            <p:cNvSpPr txBox="1"/>
            <p:nvPr/>
          </p:nvSpPr>
          <p:spPr>
            <a:xfrm>
              <a:off x="2630320" y="3549423"/>
              <a:ext cx="263214" cy="261610"/>
            </a:xfrm>
            <a:prstGeom prst="rect">
              <a:avLst/>
            </a:prstGeom>
            <a:noFill/>
          </p:spPr>
          <p:txBody>
            <a:bodyPr wrap="none" rtlCol="0">
              <a:spAutoFit/>
            </a:bodyPr>
            <a:lstStyle/>
            <a:p>
              <a:r>
                <a:rPr lang="en-US" sz="1100" dirty="0"/>
                <a:t>5</a:t>
              </a:r>
            </a:p>
          </p:txBody>
        </p:sp>
      </p:grpSp>
      <p:grpSp>
        <p:nvGrpSpPr>
          <p:cNvPr id="35" name="Groep 116">
            <a:extLst>
              <a:ext uri="{FF2B5EF4-FFF2-40B4-BE49-F238E27FC236}">
                <a16:creationId xmlns:a16="http://schemas.microsoft.com/office/drawing/2014/main" id="{1DA3E3AF-5462-D2C3-90A2-9D0D47D78D67}"/>
              </a:ext>
            </a:extLst>
          </p:cNvPr>
          <p:cNvGrpSpPr/>
          <p:nvPr/>
        </p:nvGrpSpPr>
        <p:grpSpPr>
          <a:xfrm>
            <a:off x="9052004" y="5190111"/>
            <a:ext cx="263214" cy="261610"/>
            <a:chOff x="2630320" y="3549423"/>
            <a:chExt cx="263214" cy="261610"/>
          </a:xfrm>
        </p:grpSpPr>
        <p:sp>
          <p:nvSpPr>
            <p:cNvPr id="36" name="Ovaal 117">
              <a:extLst>
                <a:ext uri="{FF2B5EF4-FFF2-40B4-BE49-F238E27FC236}">
                  <a16:creationId xmlns:a16="http://schemas.microsoft.com/office/drawing/2014/main" id="{2BBD889D-E434-E593-E0C8-51B3F1CE6101}"/>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7" name="Tekstvak 118">
              <a:extLst>
                <a:ext uri="{FF2B5EF4-FFF2-40B4-BE49-F238E27FC236}">
                  <a16:creationId xmlns:a16="http://schemas.microsoft.com/office/drawing/2014/main" id="{4284D84C-D7EF-95E0-E9C7-F16FFE1557B4}"/>
                </a:ext>
              </a:extLst>
            </p:cNvPr>
            <p:cNvSpPr txBox="1"/>
            <p:nvPr/>
          </p:nvSpPr>
          <p:spPr>
            <a:xfrm>
              <a:off x="2630320" y="3549423"/>
              <a:ext cx="263214" cy="261610"/>
            </a:xfrm>
            <a:prstGeom prst="rect">
              <a:avLst/>
            </a:prstGeom>
            <a:noFill/>
          </p:spPr>
          <p:txBody>
            <a:bodyPr wrap="none" rtlCol="0">
              <a:spAutoFit/>
            </a:bodyPr>
            <a:lstStyle/>
            <a:p>
              <a:r>
                <a:rPr lang="en-US" sz="1100" dirty="0"/>
                <a:t>6</a:t>
              </a:r>
            </a:p>
          </p:txBody>
        </p:sp>
      </p:grpSp>
      <p:cxnSp>
        <p:nvCxnSpPr>
          <p:cNvPr id="38" name="Gerader Verbinder 45">
            <a:extLst>
              <a:ext uri="{FF2B5EF4-FFF2-40B4-BE49-F238E27FC236}">
                <a16:creationId xmlns:a16="http://schemas.microsoft.com/office/drawing/2014/main" id="{F0563577-3A14-0FEE-8223-16DB1C7843E6}"/>
              </a:ext>
            </a:extLst>
          </p:cNvPr>
          <p:cNvCxnSpPr/>
          <p:nvPr/>
        </p:nvCxnSpPr>
        <p:spPr>
          <a:xfrm>
            <a:off x="9022621" y="2430461"/>
            <a:ext cx="2065912" cy="2087433"/>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r Verbinder 51">
            <a:extLst>
              <a:ext uri="{FF2B5EF4-FFF2-40B4-BE49-F238E27FC236}">
                <a16:creationId xmlns:a16="http://schemas.microsoft.com/office/drawing/2014/main" id="{DF81B9D1-5F98-51B5-700A-3DAC41C4EAF7}"/>
              </a:ext>
            </a:extLst>
          </p:cNvPr>
          <p:cNvCxnSpPr>
            <a:cxnSpLocks/>
          </p:cNvCxnSpPr>
          <p:nvPr/>
        </p:nvCxnSpPr>
        <p:spPr>
          <a:xfrm>
            <a:off x="7460808" y="3686442"/>
            <a:ext cx="1615307" cy="1632134"/>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Gerader Verbinder 44">
            <a:extLst>
              <a:ext uri="{FF2B5EF4-FFF2-40B4-BE49-F238E27FC236}">
                <a16:creationId xmlns:a16="http://schemas.microsoft.com/office/drawing/2014/main" id="{23F623D0-2CB6-74F7-6FCB-2A747DBA1152}"/>
              </a:ext>
            </a:extLst>
          </p:cNvPr>
          <p:cNvCxnSpPr/>
          <p:nvPr/>
        </p:nvCxnSpPr>
        <p:spPr>
          <a:xfrm>
            <a:off x="10101028" y="2518175"/>
            <a:ext cx="0" cy="2450466"/>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Gerader Verbinder 43">
            <a:extLst>
              <a:ext uri="{FF2B5EF4-FFF2-40B4-BE49-F238E27FC236}">
                <a16:creationId xmlns:a16="http://schemas.microsoft.com/office/drawing/2014/main" id="{BEB9B7B0-A50D-A7AB-EC8E-EDBE2BC1FA01}"/>
              </a:ext>
            </a:extLst>
          </p:cNvPr>
          <p:cNvCxnSpPr>
            <a:cxnSpLocks/>
          </p:cNvCxnSpPr>
          <p:nvPr/>
        </p:nvCxnSpPr>
        <p:spPr>
          <a:xfrm>
            <a:off x="7573774" y="2568124"/>
            <a:ext cx="3534597" cy="50787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42" name="Groep 126">
            <a:extLst>
              <a:ext uri="{FF2B5EF4-FFF2-40B4-BE49-F238E27FC236}">
                <a16:creationId xmlns:a16="http://schemas.microsoft.com/office/drawing/2014/main" id="{B5DF0548-0C8F-1995-F489-DE530FDA5D87}"/>
              </a:ext>
            </a:extLst>
          </p:cNvPr>
          <p:cNvGrpSpPr/>
          <p:nvPr/>
        </p:nvGrpSpPr>
        <p:grpSpPr>
          <a:xfrm>
            <a:off x="10184716" y="3399699"/>
            <a:ext cx="263214" cy="261610"/>
            <a:chOff x="2630320" y="3549423"/>
            <a:chExt cx="263214" cy="261610"/>
          </a:xfrm>
        </p:grpSpPr>
        <p:sp>
          <p:nvSpPr>
            <p:cNvPr id="43" name="Ovaal 127">
              <a:extLst>
                <a:ext uri="{FF2B5EF4-FFF2-40B4-BE49-F238E27FC236}">
                  <a16:creationId xmlns:a16="http://schemas.microsoft.com/office/drawing/2014/main" id="{6888D522-EEB8-7AF3-7CBE-B88FAAF1204B}"/>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44" name="Tekstvak 128">
              <a:extLst>
                <a:ext uri="{FF2B5EF4-FFF2-40B4-BE49-F238E27FC236}">
                  <a16:creationId xmlns:a16="http://schemas.microsoft.com/office/drawing/2014/main" id="{0FBA3BC8-9A09-AEED-EAAA-F05BC380BAF8}"/>
                </a:ext>
              </a:extLst>
            </p:cNvPr>
            <p:cNvSpPr txBox="1"/>
            <p:nvPr/>
          </p:nvSpPr>
          <p:spPr>
            <a:xfrm>
              <a:off x="2630320" y="3549423"/>
              <a:ext cx="263214" cy="261610"/>
            </a:xfrm>
            <a:prstGeom prst="rect">
              <a:avLst/>
            </a:prstGeom>
            <a:noFill/>
          </p:spPr>
          <p:txBody>
            <a:bodyPr wrap="none" rtlCol="0">
              <a:spAutoFit/>
            </a:bodyPr>
            <a:lstStyle/>
            <a:p>
              <a:r>
                <a:rPr lang="en-US" sz="1100" dirty="0"/>
                <a:t>3</a:t>
              </a:r>
            </a:p>
          </p:txBody>
        </p:sp>
      </p:grpSp>
      <p:grpSp>
        <p:nvGrpSpPr>
          <p:cNvPr id="45" name="Groep 129">
            <a:extLst>
              <a:ext uri="{FF2B5EF4-FFF2-40B4-BE49-F238E27FC236}">
                <a16:creationId xmlns:a16="http://schemas.microsoft.com/office/drawing/2014/main" id="{213426D7-423E-7324-6501-0E850D9C6507}"/>
              </a:ext>
            </a:extLst>
          </p:cNvPr>
          <p:cNvGrpSpPr/>
          <p:nvPr/>
        </p:nvGrpSpPr>
        <p:grpSpPr>
          <a:xfrm>
            <a:off x="7991310" y="4538195"/>
            <a:ext cx="263214" cy="261610"/>
            <a:chOff x="2630320" y="3549423"/>
            <a:chExt cx="263214" cy="261610"/>
          </a:xfrm>
        </p:grpSpPr>
        <p:sp>
          <p:nvSpPr>
            <p:cNvPr id="46" name="Ovaal 130">
              <a:extLst>
                <a:ext uri="{FF2B5EF4-FFF2-40B4-BE49-F238E27FC236}">
                  <a16:creationId xmlns:a16="http://schemas.microsoft.com/office/drawing/2014/main" id="{7B4C30F6-24AF-303E-C8D2-6115009B8A01}"/>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47" name="Tekstvak 131">
              <a:extLst>
                <a:ext uri="{FF2B5EF4-FFF2-40B4-BE49-F238E27FC236}">
                  <a16:creationId xmlns:a16="http://schemas.microsoft.com/office/drawing/2014/main" id="{EA7EC497-84CF-8E22-AADF-902794C73E21}"/>
                </a:ext>
              </a:extLst>
            </p:cNvPr>
            <p:cNvSpPr txBox="1"/>
            <p:nvPr/>
          </p:nvSpPr>
          <p:spPr>
            <a:xfrm>
              <a:off x="2630320" y="3549423"/>
              <a:ext cx="263214" cy="261610"/>
            </a:xfrm>
            <a:prstGeom prst="rect">
              <a:avLst/>
            </a:prstGeom>
            <a:noFill/>
          </p:spPr>
          <p:txBody>
            <a:bodyPr wrap="none" rtlCol="0">
              <a:spAutoFit/>
            </a:bodyPr>
            <a:lstStyle/>
            <a:p>
              <a:r>
                <a:rPr lang="en-US" sz="1100" dirty="0"/>
                <a:t>7</a:t>
              </a:r>
            </a:p>
          </p:txBody>
        </p:sp>
      </p:grpSp>
      <p:cxnSp>
        <p:nvCxnSpPr>
          <p:cNvPr id="48" name="Gerader Verbinder 46">
            <a:extLst>
              <a:ext uri="{FF2B5EF4-FFF2-40B4-BE49-F238E27FC236}">
                <a16:creationId xmlns:a16="http://schemas.microsoft.com/office/drawing/2014/main" id="{3EEF67F0-BAE5-D8BF-F656-57AD284826D9}"/>
              </a:ext>
            </a:extLst>
          </p:cNvPr>
          <p:cNvCxnSpPr>
            <a:cxnSpLocks/>
          </p:cNvCxnSpPr>
          <p:nvPr/>
        </p:nvCxnSpPr>
        <p:spPr>
          <a:xfrm flipH="1">
            <a:off x="9275774" y="3895910"/>
            <a:ext cx="1325848" cy="133083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mit Pfeil 31">
            <a:extLst>
              <a:ext uri="{FF2B5EF4-FFF2-40B4-BE49-F238E27FC236}">
                <a16:creationId xmlns:a16="http://schemas.microsoft.com/office/drawing/2014/main" id="{13004609-D506-C1AB-83C0-B40B0C5D8919}"/>
              </a:ext>
            </a:extLst>
          </p:cNvPr>
          <p:cNvCxnSpPr>
            <a:cxnSpLocks/>
          </p:cNvCxnSpPr>
          <p:nvPr/>
        </p:nvCxnSpPr>
        <p:spPr>
          <a:xfrm flipV="1">
            <a:off x="9196758" y="2147752"/>
            <a:ext cx="0" cy="3678517"/>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Gerade Verbindung mit Pfeil 32">
            <a:extLst>
              <a:ext uri="{FF2B5EF4-FFF2-40B4-BE49-F238E27FC236}">
                <a16:creationId xmlns:a16="http://schemas.microsoft.com/office/drawing/2014/main" id="{21FB078A-1EB8-EA8B-3ECD-E240A96C9881}"/>
              </a:ext>
            </a:extLst>
          </p:cNvPr>
          <p:cNvCxnSpPr>
            <a:cxnSpLocks/>
          </p:cNvCxnSpPr>
          <p:nvPr/>
        </p:nvCxnSpPr>
        <p:spPr>
          <a:xfrm>
            <a:off x="7314557" y="4124298"/>
            <a:ext cx="4149262"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 name="Multiply 2">
            <a:extLst>
              <a:ext uri="{FF2B5EF4-FFF2-40B4-BE49-F238E27FC236}">
                <a16:creationId xmlns:a16="http://schemas.microsoft.com/office/drawing/2014/main" id="{2CFB8DB9-BEF2-A90A-20F4-D62E2F00D0B0}"/>
              </a:ext>
            </a:extLst>
          </p:cNvPr>
          <p:cNvSpPr/>
          <p:nvPr/>
        </p:nvSpPr>
        <p:spPr bwMode="auto">
          <a:xfrm>
            <a:off x="8649753" y="3704977"/>
            <a:ext cx="197444" cy="241431"/>
          </a:xfrm>
          <a:prstGeom prst="mathMultiply">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52" name="Tekstvak 124">
            <a:extLst>
              <a:ext uri="{FF2B5EF4-FFF2-40B4-BE49-F238E27FC236}">
                <a16:creationId xmlns:a16="http://schemas.microsoft.com/office/drawing/2014/main" id="{320ECBFB-A70D-AF5B-A1F8-FFB4B645FC50}"/>
              </a:ext>
            </a:extLst>
          </p:cNvPr>
          <p:cNvSpPr txBox="1"/>
          <p:nvPr/>
        </p:nvSpPr>
        <p:spPr>
          <a:xfrm>
            <a:off x="8627755" y="3544434"/>
            <a:ext cx="1279517" cy="276999"/>
          </a:xfrm>
          <a:prstGeom prst="rect">
            <a:avLst/>
          </a:prstGeom>
          <a:noFill/>
        </p:spPr>
        <p:txBody>
          <a:bodyPr wrap="none" rtlCol="0">
            <a:spAutoFit/>
          </a:bodyPr>
          <a:lstStyle/>
          <a:p>
            <a:r>
              <a:rPr lang="hr-HR" sz="1200" dirty="0"/>
              <a:t>Shift to the </a:t>
            </a:r>
            <a:r>
              <a:rPr lang="fr-FR" sz="1200" dirty="0"/>
              <a:t>AAC</a:t>
            </a:r>
            <a:endParaRPr lang="en-US" sz="1200" b="1" dirty="0"/>
          </a:p>
        </p:txBody>
      </p:sp>
      <p:graphicFrame>
        <p:nvGraphicFramePr>
          <p:cNvPr id="53" name="Tabel 132">
            <a:extLst>
              <a:ext uri="{FF2B5EF4-FFF2-40B4-BE49-F238E27FC236}">
                <a16:creationId xmlns:a16="http://schemas.microsoft.com/office/drawing/2014/main" id="{DA3918E5-E27F-3430-DEA3-52E757995CE5}"/>
              </a:ext>
            </a:extLst>
          </p:cNvPr>
          <p:cNvGraphicFramePr>
            <a:graphicFrameLocks noGrp="1"/>
          </p:cNvGraphicFramePr>
          <p:nvPr>
            <p:extLst>
              <p:ext uri="{D42A27DB-BD31-4B8C-83A1-F6EECF244321}">
                <p14:modId xmlns:p14="http://schemas.microsoft.com/office/powerpoint/2010/main" val="431351278"/>
              </p:ext>
            </p:extLst>
          </p:nvPr>
        </p:nvGraphicFramePr>
        <p:xfrm>
          <a:off x="1390603" y="1938220"/>
          <a:ext cx="3416991" cy="2229827"/>
        </p:xfrm>
        <a:graphic>
          <a:graphicData uri="http://schemas.openxmlformats.org/drawingml/2006/table">
            <a:tbl>
              <a:tblPr firstRow="1" bandRow="1">
                <a:tableStyleId>{073A0DAA-6AF3-43AB-8588-CEC1D06C72B9}</a:tableStyleId>
              </a:tblPr>
              <a:tblGrid>
                <a:gridCol w="1138997">
                  <a:extLst>
                    <a:ext uri="{9D8B030D-6E8A-4147-A177-3AD203B41FA5}">
                      <a16:colId xmlns:a16="http://schemas.microsoft.com/office/drawing/2014/main" val="3128346855"/>
                    </a:ext>
                  </a:extLst>
                </a:gridCol>
                <a:gridCol w="1138997">
                  <a:extLst>
                    <a:ext uri="{9D8B030D-6E8A-4147-A177-3AD203B41FA5}">
                      <a16:colId xmlns:a16="http://schemas.microsoft.com/office/drawing/2014/main" val="211627717"/>
                    </a:ext>
                  </a:extLst>
                </a:gridCol>
                <a:gridCol w="1138997">
                  <a:extLst>
                    <a:ext uri="{9D8B030D-6E8A-4147-A177-3AD203B41FA5}">
                      <a16:colId xmlns:a16="http://schemas.microsoft.com/office/drawing/2014/main" val="2212173443"/>
                    </a:ext>
                  </a:extLst>
                </a:gridCol>
              </a:tblGrid>
              <a:tr h="279882">
                <a:tc>
                  <a:txBody>
                    <a:bodyPr/>
                    <a:lstStyle/>
                    <a:p>
                      <a:r>
                        <a:rPr lang="en-US" sz="1000" dirty="0"/>
                        <a:t>CNEC</a:t>
                      </a:r>
                    </a:p>
                  </a:txBody>
                  <a:tcPr>
                    <a:solidFill>
                      <a:srgbClr val="3366FF"/>
                    </a:solidFill>
                  </a:tcPr>
                </a:tc>
                <a:tc>
                  <a:txBody>
                    <a:bodyPr/>
                    <a:lstStyle/>
                    <a:p>
                      <a:r>
                        <a:rPr lang="en-US" sz="1000" dirty="0"/>
                        <a:t>RAM before AAC shift</a:t>
                      </a:r>
                    </a:p>
                  </a:txBody>
                  <a:tcPr>
                    <a:solidFill>
                      <a:srgbClr val="3366FF"/>
                    </a:solidFill>
                  </a:tcPr>
                </a:tc>
                <a:tc>
                  <a:txBody>
                    <a:bodyPr/>
                    <a:lstStyle/>
                    <a:p>
                      <a:r>
                        <a:rPr lang="en-US" sz="1000" dirty="0"/>
                        <a:t>Final</a:t>
                      </a:r>
                      <a:r>
                        <a:rPr lang="en-US" sz="1000" baseline="0" dirty="0"/>
                        <a:t> RAM</a:t>
                      </a:r>
                      <a:endParaRPr lang="en-US" sz="1000" dirty="0"/>
                    </a:p>
                  </a:txBody>
                  <a:tcPr>
                    <a:solidFill>
                      <a:srgbClr val="3366FF"/>
                    </a:solidFill>
                  </a:tcPr>
                </a:tc>
                <a:extLst>
                  <a:ext uri="{0D108BD9-81ED-4DB2-BD59-A6C34878D82A}">
                    <a16:rowId xmlns:a16="http://schemas.microsoft.com/office/drawing/2014/main" val="1839332249"/>
                  </a:ext>
                </a:extLst>
              </a:tr>
              <a:tr h="261941">
                <a:tc>
                  <a:txBody>
                    <a:bodyPr/>
                    <a:lstStyle/>
                    <a:p>
                      <a:r>
                        <a:rPr lang="en-US" sz="1000" dirty="0"/>
                        <a:t>1</a:t>
                      </a:r>
                    </a:p>
                  </a:txBody>
                  <a:tcPr/>
                </a:tc>
                <a:tc>
                  <a:txBody>
                    <a:bodyPr/>
                    <a:lstStyle/>
                    <a:p>
                      <a:r>
                        <a:rPr lang="en-US" sz="1000" b="1" dirty="0">
                          <a:solidFill>
                            <a:srgbClr val="FF0000"/>
                          </a:solidFill>
                        </a:rPr>
                        <a:t>800</a:t>
                      </a:r>
                    </a:p>
                  </a:txBody>
                  <a:tcPr/>
                </a:tc>
                <a:tc>
                  <a:txBody>
                    <a:bodyPr/>
                    <a:lstStyle/>
                    <a:p>
                      <a:r>
                        <a:rPr lang="en-US" sz="1000" b="1" dirty="0">
                          <a:solidFill>
                            <a:srgbClr val="00B050"/>
                          </a:solidFill>
                        </a:rPr>
                        <a:t>750</a:t>
                      </a:r>
                    </a:p>
                  </a:txBody>
                  <a:tcPr/>
                </a:tc>
                <a:extLst>
                  <a:ext uri="{0D108BD9-81ED-4DB2-BD59-A6C34878D82A}">
                    <a16:rowId xmlns:a16="http://schemas.microsoft.com/office/drawing/2014/main" val="2648937487"/>
                  </a:ext>
                </a:extLst>
              </a:tr>
              <a:tr h="261941">
                <a:tc>
                  <a:txBody>
                    <a:bodyPr/>
                    <a:lstStyle/>
                    <a:p>
                      <a:r>
                        <a:rPr lang="en-US" sz="1000" dirty="0">
                          <a:solidFill>
                            <a:schemeClr val="tx1"/>
                          </a:solidFill>
                        </a:rPr>
                        <a:t>2</a:t>
                      </a:r>
                    </a:p>
                  </a:txBody>
                  <a:tcPr/>
                </a:tc>
                <a:tc>
                  <a:txBody>
                    <a:bodyPr/>
                    <a:lstStyle/>
                    <a:p>
                      <a:r>
                        <a:rPr lang="en-US" sz="1000" b="1" dirty="0">
                          <a:solidFill>
                            <a:srgbClr val="FF0000"/>
                          </a:solidFill>
                        </a:rPr>
                        <a:t>700</a:t>
                      </a:r>
                    </a:p>
                  </a:txBody>
                  <a:tcPr/>
                </a:tc>
                <a:tc>
                  <a:txBody>
                    <a:bodyPr/>
                    <a:lstStyle/>
                    <a:p>
                      <a:r>
                        <a:rPr lang="en-US" sz="1000" b="1" dirty="0">
                          <a:solidFill>
                            <a:srgbClr val="00B050"/>
                          </a:solidFill>
                        </a:rPr>
                        <a:t>650</a:t>
                      </a:r>
                    </a:p>
                  </a:txBody>
                  <a:tcPr/>
                </a:tc>
                <a:extLst>
                  <a:ext uri="{0D108BD9-81ED-4DB2-BD59-A6C34878D82A}">
                    <a16:rowId xmlns:a16="http://schemas.microsoft.com/office/drawing/2014/main" val="1870670275"/>
                  </a:ext>
                </a:extLst>
              </a:tr>
              <a:tr h="261941">
                <a:tc>
                  <a:txBody>
                    <a:bodyPr/>
                    <a:lstStyle/>
                    <a:p>
                      <a:r>
                        <a:rPr lang="en-US" sz="1000" dirty="0"/>
                        <a:t>3</a:t>
                      </a:r>
                    </a:p>
                  </a:txBody>
                  <a:tcPr/>
                </a:tc>
                <a:tc>
                  <a:txBody>
                    <a:bodyPr/>
                    <a:lstStyle/>
                    <a:p>
                      <a:r>
                        <a:rPr lang="en-US" sz="1000" b="1" dirty="0">
                          <a:solidFill>
                            <a:srgbClr val="FF0000"/>
                          </a:solidFill>
                        </a:rPr>
                        <a:t>600</a:t>
                      </a:r>
                    </a:p>
                  </a:txBody>
                  <a:tcPr/>
                </a:tc>
                <a:tc>
                  <a:txBody>
                    <a:bodyPr/>
                    <a:lstStyle/>
                    <a:p>
                      <a:r>
                        <a:rPr lang="en-US" sz="1000" b="1" dirty="0">
                          <a:solidFill>
                            <a:srgbClr val="00B050"/>
                          </a:solidFill>
                        </a:rPr>
                        <a:t>600</a:t>
                      </a:r>
                    </a:p>
                  </a:txBody>
                  <a:tcPr/>
                </a:tc>
                <a:extLst>
                  <a:ext uri="{0D108BD9-81ED-4DB2-BD59-A6C34878D82A}">
                    <a16:rowId xmlns:a16="http://schemas.microsoft.com/office/drawing/2014/main" val="2524997097"/>
                  </a:ext>
                </a:extLst>
              </a:tr>
              <a:tr h="261941">
                <a:tc>
                  <a:txBody>
                    <a:bodyPr/>
                    <a:lstStyle/>
                    <a:p>
                      <a:r>
                        <a:rPr lang="en-US" sz="1000" dirty="0"/>
                        <a:t>4</a:t>
                      </a:r>
                    </a:p>
                  </a:txBody>
                  <a:tcPr/>
                </a:tc>
                <a:tc>
                  <a:txBody>
                    <a:bodyPr/>
                    <a:lstStyle/>
                    <a:p>
                      <a:r>
                        <a:rPr lang="en-US" sz="1000" b="1" dirty="0">
                          <a:solidFill>
                            <a:srgbClr val="FF0000"/>
                          </a:solidFill>
                        </a:rPr>
                        <a:t>500</a:t>
                      </a:r>
                    </a:p>
                  </a:txBody>
                  <a:tcPr/>
                </a:tc>
                <a:tc>
                  <a:txBody>
                    <a:bodyPr/>
                    <a:lstStyle/>
                    <a:p>
                      <a:r>
                        <a:rPr lang="en-US" sz="1000" b="1" dirty="0">
                          <a:solidFill>
                            <a:srgbClr val="00B050"/>
                          </a:solidFill>
                        </a:rPr>
                        <a:t>550</a:t>
                      </a:r>
                    </a:p>
                  </a:txBody>
                  <a:tcPr/>
                </a:tc>
                <a:extLst>
                  <a:ext uri="{0D108BD9-81ED-4DB2-BD59-A6C34878D82A}">
                    <a16:rowId xmlns:a16="http://schemas.microsoft.com/office/drawing/2014/main" val="675613622"/>
                  </a:ext>
                </a:extLst>
              </a:tr>
              <a:tr h="261941">
                <a:tc>
                  <a:txBody>
                    <a:bodyPr/>
                    <a:lstStyle/>
                    <a:p>
                      <a:r>
                        <a:rPr lang="en-US" sz="1000" dirty="0">
                          <a:solidFill>
                            <a:schemeClr val="tx1"/>
                          </a:solidFill>
                        </a:rPr>
                        <a:t>5</a:t>
                      </a:r>
                    </a:p>
                  </a:txBody>
                  <a:tcPr/>
                </a:tc>
                <a:tc>
                  <a:txBody>
                    <a:bodyPr/>
                    <a:lstStyle/>
                    <a:p>
                      <a:r>
                        <a:rPr lang="en-US" sz="1000" b="1" dirty="0">
                          <a:solidFill>
                            <a:srgbClr val="FF0000"/>
                          </a:solidFill>
                        </a:rPr>
                        <a:t>400</a:t>
                      </a:r>
                    </a:p>
                  </a:txBody>
                  <a:tcPr/>
                </a:tc>
                <a:tc>
                  <a:txBody>
                    <a:bodyPr/>
                    <a:lstStyle/>
                    <a:p>
                      <a:r>
                        <a:rPr lang="en-US" sz="1000" b="1" dirty="0">
                          <a:solidFill>
                            <a:srgbClr val="00B050"/>
                          </a:solidFill>
                        </a:rPr>
                        <a:t>450</a:t>
                      </a:r>
                    </a:p>
                  </a:txBody>
                  <a:tcPr/>
                </a:tc>
                <a:extLst>
                  <a:ext uri="{0D108BD9-81ED-4DB2-BD59-A6C34878D82A}">
                    <a16:rowId xmlns:a16="http://schemas.microsoft.com/office/drawing/2014/main" val="4120728013"/>
                  </a:ext>
                </a:extLst>
              </a:tr>
              <a:tr h="261941">
                <a:tc>
                  <a:txBody>
                    <a:bodyPr/>
                    <a:lstStyle/>
                    <a:p>
                      <a:r>
                        <a:rPr lang="en-US" sz="1000" dirty="0"/>
                        <a:t>6</a:t>
                      </a:r>
                    </a:p>
                  </a:txBody>
                  <a:tcPr/>
                </a:tc>
                <a:tc>
                  <a:txBody>
                    <a:bodyPr/>
                    <a:lstStyle/>
                    <a:p>
                      <a:r>
                        <a:rPr lang="en-US" sz="1000" b="1" dirty="0">
                          <a:solidFill>
                            <a:srgbClr val="FF0000"/>
                          </a:solidFill>
                        </a:rPr>
                        <a:t>600</a:t>
                      </a:r>
                    </a:p>
                  </a:txBody>
                  <a:tcPr/>
                </a:tc>
                <a:tc>
                  <a:txBody>
                    <a:bodyPr/>
                    <a:lstStyle/>
                    <a:p>
                      <a:r>
                        <a:rPr lang="en-US" sz="1000" b="1" dirty="0">
                          <a:solidFill>
                            <a:srgbClr val="00B050"/>
                          </a:solidFill>
                        </a:rPr>
                        <a:t>650</a:t>
                      </a:r>
                    </a:p>
                  </a:txBody>
                  <a:tcPr/>
                </a:tc>
                <a:extLst>
                  <a:ext uri="{0D108BD9-81ED-4DB2-BD59-A6C34878D82A}">
                    <a16:rowId xmlns:a16="http://schemas.microsoft.com/office/drawing/2014/main" val="4237058500"/>
                  </a:ext>
                </a:extLst>
              </a:tr>
              <a:tr h="261941">
                <a:tc>
                  <a:txBody>
                    <a:bodyPr/>
                    <a:lstStyle/>
                    <a:p>
                      <a:r>
                        <a:rPr lang="en-US" sz="1000" dirty="0"/>
                        <a:t>7</a:t>
                      </a:r>
                    </a:p>
                  </a:txBody>
                  <a:tcPr/>
                </a:tc>
                <a:tc>
                  <a:txBody>
                    <a:bodyPr/>
                    <a:lstStyle/>
                    <a:p>
                      <a:r>
                        <a:rPr lang="en-US" sz="1000" b="1" dirty="0">
                          <a:solidFill>
                            <a:srgbClr val="FF0000"/>
                          </a:solidFill>
                        </a:rPr>
                        <a:t>700</a:t>
                      </a:r>
                    </a:p>
                  </a:txBody>
                  <a:tcPr/>
                </a:tc>
                <a:tc>
                  <a:txBody>
                    <a:bodyPr/>
                    <a:lstStyle/>
                    <a:p>
                      <a:r>
                        <a:rPr lang="en-US" sz="1000" b="1" dirty="0">
                          <a:solidFill>
                            <a:srgbClr val="00B050"/>
                          </a:solidFill>
                        </a:rPr>
                        <a:t>700</a:t>
                      </a:r>
                    </a:p>
                  </a:txBody>
                  <a:tcPr/>
                </a:tc>
                <a:extLst>
                  <a:ext uri="{0D108BD9-81ED-4DB2-BD59-A6C34878D82A}">
                    <a16:rowId xmlns:a16="http://schemas.microsoft.com/office/drawing/2014/main" val="573721901"/>
                  </a:ext>
                </a:extLst>
              </a:tr>
            </a:tbl>
          </a:graphicData>
        </a:graphic>
      </p:graphicFrame>
      <p:cxnSp>
        <p:nvCxnSpPr>
          <p:cNvPr id="54" name="Straight Arrow Connector 239">
            <a:extLst>
              <a:ext uri="{FF2B5EF4-FFF2-40B4-BE49-F238E27FC236}">
                <a16:creationId xmlns:a16="http://schemas.microsoft.com/office/drawing/2014/main" id="{D5530E72-9D8E-01E2-896D-7D3A6038F792}"/>
              </a:ext>
            </a:extLst>
          </p:cNvPr>
          <p:cNvCxnSpPr>
            <a:cxnSpLocks/>
          </p:cNvCxnSpPr>
          <p:nvPr/>
        </p:nvCxnSpPr>
        <p:spPr bwMode="auto">
          <a:xfrm flipH="1" flipV="1">
            <a:off x="8803000" y="3897046"/>
            <a:ext cx="375438" cy="23753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55" name="Textfeld 41">
            <a:extLst>
              <a:ext uri="{FF2B5EF4-FFF2-40B4-BE49-F238E27FC236}">
                <a16:creationId xmlns:a16="http://schemas.microsoft.com/office/drawing/2014/main" id="{596EE222-512F-BBA1-61D3-9FF332C4950A}"/>
              </a:ext>
            </a:extLst>
          </p:cNvPr>
          <p:cNvSpPr txBox="1"/>
          <p:nvPr/>
        </p:nvSpPr>
        <p:spPr>
          <a:xfrm>
            <a:off x="9495115" y="2153469"/>
            <a:ext cx="813364" cy="184666"/>
          </a:xfrm>
          <a:prstGeom prst="rect">
            <a:avLst/>
          </a:prstGeom>
          <a:noFill/>
        </p:spPr>
        <p:txBody>
          <a:bodyPr wrap="none" lIns="68580" tIns="34290" rIns="68580" bIns="34290" rtlCol="0">
            <a:spAutoFit/>
          </a:bodyPr>
          <a:lstStyle/>
          <a:p>
            <a:pPr algn="r"/>
            <a:r>
              <a:rPr lang="en-US" sz="750" dirty="0"/>
              <a:t>Exchange A</a:t>
            </a:r>
            <a:r>
              <a:rPr lang="en-US" sz="750" dirty="0">
                <a:sym typeface="Wingdings" panose="05000000000000000000" pitchFamily="2" charset="2"/>
              </a:rPr>
              <a:t>B</a:t>
            </a:r>
            <a:endParaRPr lang="en-US" sz="750" dirty="0"/>
          </a:p>
        </p:txBody>
      </p:sp>
      <p:sp>
        <p:nvSpPr>
          <p:cNvPr id="56" name="Textfeld 42">
            <a:extLst>
              <a:ext uri="{FF2B5EF4-FFF2-40B4-BE49-F238E27FC236}">
                <a16:creationId xmlns:a16="http://schemas.microsoft.com/office/drawing/2014/main" id="{F2BF3234-F6F6-A2D6-DE55-26027B67D21C}"/>
              </a:ext>
            </a:extLst>
          </p:cNvPr>
          <p:cNvSpPr txBox="1"/>
          <p:nvPr/>
        </p:nvSpPr>
        <p:spPr>
          <a:xfrm>
            <a:off x="11012370" y="4193452"/>
            <a:ext cx="837396" cy="184666"/>
          </a:xfrm>
          <a:prstGeom prst="rect">
            <a:avLst/>
          </a:prstGeom>
          <a:noFill/>
        </p:spPr>
        <p:txBody>
          <a:bodyPr wrap="square" lIns="68580" tIns="34290" rIns="68580" bIns="34290" rtlCol="0">
            <a:spAutoFit/>
          </a:bodyPr>
          <a:lstStyle/>
          <a:p>
            <a:pPr algn="r"/>
            <a:r>
              <a:rPr lang="en-US" sz="750" dirty="0"/>
              <a:t>Exchange A</a:t>
            </a:r>
            <a:r>
              <a:rPr lang="en-US" sz="750" dirty="0">
                <a:sym typeface="Wingdings" panose="05000000000000000000" pitchFamily="2" charset="2"/>
              </a:rPr>
              <a:t>C</a:t>
            </a:r>
            <a:endParaRPr lang="en-US" sz="750" dirty="0"/>
          </a:p>
        </p:txBody>
      </p:sp>
      <p:sp>
        <p:nvSpPr>
          <p:cNvPr id="57" name="Tartalom helye 2">
            <a:extLst>
              <a:ext uri="{FF2B5EF4-FFF2-40B4-BE49-F238E27FC236}">
                <a16:creationId xmlns:a16="http://schemas.microsoft.com/office/drawing/2014/main" id="{7DAF73B5-1A44-C08E-E3B4-6C1E0182FCD2}"/>
              </a:ext>
            </a:extLst>
          </p:cNvPr>
          <p:cNvSpPr txBox="1">
            <a:spLocks/>
          </p:cNvSpPr>
          <p:nvPr/>
        </p:nvSpPr>
        <p:spPr>
          <a:xfrm>
            <a:off x="1347788" y="4443663"/>
            <a:ext cx="4752323" cy="1659555"/>
          </a:xfrm>
          <a:prstGeom prst="rect">
            <a:avLst/>
          </a:prstGeom>
          <a:solidFill>
            <a:schemeClr val="bg1"/>
          </a:solidFill>
        </p:spPr>
        <p:txBody>
          <a:bodyPr spcFirstLastPara="1"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r>
              <a:rPr lang="en-US" dirty="0"/>
              <a:t>Final Computation including shift to latest AACs</a:t>
            </a:r>
          </a:p>
          <a:p>
            <a:pPr lvl="1"/>
            <a:r>
              <a:rPr lang="en-US" kern="0" dirty="0">
                <a:sym typeface="Arial"/>
              </a:rPr>
              <a:t>During the IDCC process the </a:t>
            </a:r>
            <a:r>
              <a:rPr lang="en-US" b="1" kern="0" dirty="0">
                <a:sym typeface="Arial"/>
              </a:rPr>
              <a:t>Intraday market </a:t>
            </a:r>
            <a:r>
              <a:rPr lang="en-US" kern="0" dirty="0">
                <a:sym typeface="Arial"/>
              </a:rPr>
              <a:t>remains open and market participants can </a:t>
            </a:r>
            <a:r>
              <a:rPr lang="en-US" b="1" kern="0" dirty="0">
                <a:sym typeface="Arial"/>
              </a:rPr>
              <a:t>continue to trade. </a:t>
            </a:r>
          </a:p>
          <a:p>
            <a:pPr lvl="1"/>
            <a:r>
              <a:rPr lang="en-US" kern="0" dirty="0">
                <a:sym typeface="Arial"/>
              </a:rPr>
              <a:t>To ensure that the </a:t>
            </a:r>
            <a:r>
              <a:rPr lang="en-US" b="1" kern="0" dirty="0">
                <a:sym typeface="Arial"/>
              </a:rPr>
              <a:t>ID cross border trades </a:t>
            </a:r>
            <a:r>
              <a:rPr lang="en-US" kern="0" dirty="0">
                <a:sym typeface="Arial"/>
              </a:rPr>
              <a:t>that took place during the IDCC process are considered the </a:t>
            </a:r>
            <a:r>
              <a:rPr lang="en-US" b="1" kern="0" dirty="0">
                <a:sym typeface="Arial"/>
              </a:rPr>
              <a:t>Final FB domain </a:t>
            </a:r>
            <a:r>
              <a:rPr lang="en-US" kern="0" dirty="0">
                <a:sym typeface="Arial"/>
              </a:rPr>
              <a:t>is </a:t>
            </a:r>
            <a:r>
              <a:rPr lang="en-US" b="1" kern="0" dirty="0">
                <a:sym typeface="Arial"/>
              </a:rPr>
              <a:t>shifted</a:t>
            </a:r>
            <a:r>
              <a:rPr lang="en-US" kern="0" dirty="0">
                <a:sym typeface="Arial"/>
              </a:rPr>
              <a:t> to the “AAC” point, which stands for </a:t>
            </a:r>
            <a:r>
              <a:rPr lang="en-US" b="1" kern="0" dirty="0">
                <a:sym typeface="Arial"/>
              </a:rPr>
              <a:t>Already Allocated capacities </a:t>
            </a:r>
          </a:p>
          <a:p>
            <a:pPr lvl="1"/>
            <a:endParaRPr lang="en-US" kern="0" dirty="0">
              <a:sym typeface="Arial"/>
            </a:endParaRPr>
          </a:p>
          <a:p>
            <a:pPr marL="0" lvl="1" indent="0">
              <a:buNone/>
            </a:pPr>
            <a:endParaRPr lang="en-US" sz="400" b="1" kern="0" dirty="0">
              <a:sym typeface="Arial"/>
            </a:endParaRPr>
          </a:p>
          <a:p>
            <a:pPr marL="285750" indent="-285750">
              <a:buFont typeface="Arial" panose="020B0604020202020204" pitchFamily="34" charset="0"/>
              <a:buChar char="•"/>
            </a:pPr>
            <a:endParaRPr lang="en-US" kern="0" dirty="0">
              <a:sym typeface="Arial"/>
            </a:endParaRPr>
          </a:p>
          <a:p>
            <a:endParaRPr lang="hu-HU" kern="0" dirty="0">
              <a:sym typeface="Arial"/>
            </a:endParaRPr>
          </a:p>
        </p:txBody>
      </p:sp>
    </p:spTree>
    <p:extLst>
      <p:ext uri="{BB962C8B-B14F-4D97-AF65-F5344CB8AC3E}">
        <p14:creationId xmlns:p14="http://schemas.microsoft.com/office/powerpoint/2010/main" val="633672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BB5B916-03D3-80E3-6253-A63828DE44EB}"/>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9EE0F397-E685-D6EE-7A62-6793974F6EAD}"/>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A0407288-47EF-9FD1-1087-DDC0F4619EC0}"/>
              </a:ext>
            </a:extLst>
          </p:cNvPr>
          <p:cNvSpPr>
            <a:spLocks noGrp="1"/>
          </p:cNvSpPr>
          <p:nvPr>
            <p:ph type="sldNum" sz="quarter" idx="12"/>
          </p:nvPr>
        </p:nvSpPr>
        <p:spPr/>
        <p:txBody>
          <a:bodyPr/>
          <a:lstStyle/>
          <a:p>
            <a:fld id="{3B0AF0F1-83F4-0746-A551-EEC1F1FEC0BD}" type="slidenum">
              <a:rPr lang="en-GB" noProof="0" smtClean="0"/>
              <a:t>11</a:t>
            </a:fld>
            <a:endParaRPr lang="en-GB" noProof="0" dirty="0"/>
          </a:p>
        </p:txBody>
      </p:sp>
      <p:sp>
        <p:nvSpPr>
          <p:cNvPr id="5" name="Textplatzhalter 4">
            <a:extLst>
              <a:ext uri="{FF2B5EF4-FFF2-40B4-BE49-F238E27FC236}">
                <a16:creationId xmlns:a16="http://schemas.microsoft.com/office/drawing/2014/main" id="{13FFE093-B044-FD5A-8C5D-0917BA654172}"/>
              </a:ext>
            </a:extLst>
          </p:cNvPr>
          <p:cNvSpPr>
            <a:spLocks noGrp="1"/>
          </p:cNvSpPr>
          <p:nvPr>
            <p:ph type="body" sz="quarter" idx="13"/>
          </p:nvPr>
        </p:nvSpPr>
        <p:spPr/>
        <p:txBody>
          <a:bodyPr/>
          <a:lstStyle/>
          <a:p>
            <a:r>
              <a:rPr lang="de-DE" dirty="0"/>
              <a:t>IDCC (b) </a:t>
            </a:r>
            <a:r>
              <a:rPr lang="de-DE" dirty="0" err="1"/>
              <a:t>as</a:t>
            </a:r>
            <a:r>
              <a:rPr lang="de-DE" dirty="0"/>
              <a:t> </a:t>
            </a:r>
            <a:r>
              <a:rPr lang="de-DE" dirty="0" err="1"/>
              <a:t>example</a:t>
            </a:r>
            <a:endParaRPr lang="de-DE" dirty="0"/>
          </a:p>
        </p:txBody>
      </p:sp>
      <p:sp>
        <p:nvSpPr>
          <p:cNvPr id="6" name="Titel 5">
            <a:extLst>
              <a:ext uri="{FF2B5EF4-FFF2-40B4-BE49-F238E27FC236}">
                <a16:creationId xmlns:a16="http://schemas.microsoft.com/office/drawing/2014/main" id="{5AA00A66-CA5B-B603-884E-9BB762FADDD4}"/>
              </a:ext>
            </a:extLst>
          </p:cNvPr>
          <p:cNvSpPr>
            <a:spLocks noGrp="1"/>
          </p:cNvSpPr>
          <p:nvPr>
            <p:ph type="title"/>
          </p:nvPr>
        </p:nvSpPr>
        <p:spPr/>
        <p:txBody>
          <a:bodyPr/>
          <a:lstStyle/>
          <a:p>
            <a:r>
              <a:rPr lang="en-GB" dirty="0" err="1"/>
              <a:t>IntraDayCapacityCalculation</a:t>
            </a:r>
            <a:r>
              <a:rPr lang="en-GB" dirty="0"/>
              <a:t> in detail</a:t>
            </a:r>
            <a:endParaRPr lang="de-DE" dirty="0"/>
          </a:p>
        </p:txBody>
      </p:sp>
      <p:sp>
        <p:nvSpPr>
          <p:cNvPr id="8" name="Textplatzhalter 6">
            <a:extLst>
              <a:ext uri="{FF2B5EF4-FFF2-40B4-BE49-F238E27FC236}">
                <a16:creationId xmlns:a16="http://schemas.microsoft.com/office/drawing/2014/main" id="{91414491-5562-89F8-CD01-1BF7695F7F8A}"/>
              </a:ext>
            </a:extLst>
          </p:cNvPr>
          <p:cNvSpPr txBox="1">
            <a:spLocks/>
          </p:cNvSpPr>
          <p:nvPr/>
        </p:nvSpPr>
        <p:spPr>
          <a:xfrm>
            <a:off x="6732392" y="1079457"/>
            <a:ext cx="6102226" cy="1485985"/>
          </a:xfrm>
          <a:prstGeom prst="rect">
            <a:avLst/>
          </a:prstGeom>
        </p:spPr>
        <p:txBody>
          <a:bodyPr vert="horz" lIns="0" tIns="0" rIns="0" bIns="0" rtlCol="0">
            <a:normAutofit/>
          </a:bodyPr>
          <a:lstStyle>
            <a:lvl1pPr marL="234000" indent="-234000" algn="l" defTabSz="914400" rtl="0" eaLnBrk="1" fontAlgn="ctr" latinLnBrk="0" hangingPunct="1">
              <a:lnSpc>
                <a:spcPct val="90000"/>
              </a:lnSpc>
              <a:spcBef>
                <a:spcPts val="900"/>
              </a:spcBef>
              <a:buSzPct val="80000"/>
              <a:buFont typeface="Systeemlettertype regulier"/>
              <a:buChar char="■"/>
              <a:defRPr sz="2000" kern="1200" spc="0">
                <a:solidFill>
                  <a:schemeClr val="tx1"/>
                </a:solidFill>
                <a:latin typeface="+mn-lt"/>
                <a:ea typeface="+mn-ea"/>
                <a:cs typeface="+mn-cs"/>
              </a:defRPr>
            </a:lvl1pPr>
            <a:lvl2pPr marL="468000" indent="-234000" algn="l" defTabSz="914400" rtl="0" eaLnBrk="1" fontAlgn="ctr" latinLnBrk="0" hangingPunct="1">
              <a:lnSpc>
                <a:spcPct val="90000"/>
              </a:lnSpc>
              <a:spcBef>
                <a:spcPts val="900"/>
              </a:spcBef>
              <a:buSzPct val="100000"/>
              <a:buFont typeface=".Lucida Grande UI Regular"/>
              <a:buChar char="▫"/>
              <a:tabLst/>
              <a:defRPr sz="2000" kern="1200" spc="0">
                <a:solidFill>
                  <a:schemeClr val="tx1"/>
                </a:solidFill>
                <a:latin typeface="+mn-lt"/>
                <a:ea typeface="+mn-ea"/>
                <a:cs typeface="+mn-cs"/>
              </a:defRPr>
            </a:lvl2pPr>
            <a:lvl3pPr marL="702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3pPr>
            <a:lvl4pPr marL="936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4pPr>
            <a:lvl5pPr marL="1170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IDCC (b-e) process main steps</a:t>
            </a:r>
            <a:endParaRPr lang="de-DE" dirty="0"/>
          </a:p>
        </p:txBody>
      </p:sp>
      <p:graphicFrame>
        <p:nvGraphicFramePr>
          <p:cNvPr id="9" name="Diagramm 8">
            <a:extLst>
              <a:ext uri="{FF2B5EF4-FFF2-40B4-BE49-F238E27FC236}">
                <a16:creationId xmlns:a16="http://schemas.microsoft.com/office/drawing/2014/main" id="{224ECBDF-FC0C-58CC-0BF9-89B129BD58F8}"/>
              </a:ext>
            </a:extLst>
          </p:cNvPr>
          <p:cNvGraphicFramePr/>
          <p:nvPr/>
        </p:nvGraphicFramePr>
        <p:xfrm>
          <a:off x="6732392" y="949325"/>
          <a:ext cx="5371104" cy="15043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Freihandform: Form 92">
            <a:extLst>
              <a:ext uri="{FF2B5EF4-FFF2-40B4-BE49-F238E27FC236}">
                <a16:creationId xmlns:a16="http://schemas.microsoft.com/office/drawing/2014/main" id="{2E133B70-44A1-3CD2-24DF-4BE43FDE4A8E}"/>
              </a:ext>
            </a:extLst>
          </p:cNvPr>
          <p:cNvSpPr/>
          <p:nvPr/>
        </p:nvSpPr>
        <p:spPr bwMode="auto">
          <a:xfrm>
            <a:off x="7741509" y="2746611"/>
            <a:ext cx="2271928" cy="2540899"/>
          </a:xfrm>
          <a:custGeom>
            <a:avLst/>
            <a:gdLst>
              <a:gd name="connsiteX0" fmla="*/ 0 w 1701800"/>
              <a:gd name="connsiteY0" fmla="*/ 1104900 h 1898650"/>
              <a:gd name="connsiteX1" fmla="*/ 266700 w 1701800"/>
              <a:gd name="connsiteY1" fmla="*/ 0 h 1898650"/>
              <a:gd name="connsiteX2" fmla="*/ 1238250 w 1701800"/>
              <a:gd name="connsiteY2" fmla="*/ 127000 h 1898650"/>
              <a:gd name="connsiteX3" fmla="*/ 1701800 w 1701800"/>
              <a:gd name="connsiteY3" fmla="*/ 603250 h 1898650"/>
              <a:gd name="connsiteX4" fmla="*/ 1701800 w 1701800"/>
              <a:gd name="connsiteY4" fmla="*/ 1460500 h 1898650"/>
              <a:gd name="connsiteX5" fmla="*/ 1276350 w 1701800"/>
              <a:gd name="connsiteY5" fmla="*/ 1898650 h 1898650"/>
              <a:gd name="connsiteX6" fmla="*/ 711200 w 1701800"/>
              <a:gd name="connsiteY6" fmla="*/ 1822450 h 1898650"/>
              <a:gd name="connsiteX7" fmla="*/ 0 w 1701800"/>
              <a:gd name="connsiteY7" fmla="*/ 1104900 h 1898650"/>
              <a:gd name="connsiteX0" fmla="*/ 0 w 1701800"/>
              <a:gd name="connsiteY0" fmla="*/ 1104900 h 1898650"/>
              <a:gd name="connsiteX1" fmla="*/ 266700 w 1701800"/>
              <a:gd name="connsiteY1" fmla="*/ 0 h 1898650"/>
              <a:gd name="connsiteX2" fmla="*/ 1428260 w 1701800"/>
              <a:gd name="connsiteY2" fmla="*/ 159388 h 1898650"/>
              <a:gd name="connsiteX3" fmla="*/ 1701800 w 1701800"/>
              <a:gd name="connsiteY3" fmla="*/ 603250 h 1898650"/>
              <a:gd name="connsiteX4" fmla="*/ 1701800 w 1701800"/>
              <a:gd name="connsiteY4" fmla="*/ 1460500 h 1898650"/>
              <a:gd name="connsiteX5" fmla="*/ 1276350 w 1701800"/>
              <a:gd name="connsiteY5" fmla="*/ 1898650 h 1898650"/>
              <a:gd name="connsiteX6" fmla="*/ 711200 w 1701800"/>
              <a:gd name="connsiteY6" fmla="*/ 1822450 h 1898650"/>
              <a:gd name="connsiteX7" fmla="*/ 0 w 1701800"/>
              <a:gd name="connsiteY7" fmla="*/ 1104900 h 1898650"/>
              <a:gd name="connsiteX0" fmla="*/ 0 w 1708277"/>
              <a:gd name="connsiteY0" fmla="*/ 1104900 h 1898650"/>
              <a:gd name="connsiteX1" fmla="*/ 266700 w 1708277"/>
              <a:gd name="connsiteY1" fmla="*/ 0 h 1898650"/>
              <a:gd name="connsiteX2" fmla="*/ 1428260 w 1708277"/>
              <a:gd name="connsiteY2" fmla="*/ 159388 h 1898650"/>
              <a:gd name="connsiteX3" fmla="*/ 1708277 w 1708277"/>
              <a:gd name="connsiteY3" fmla="*/ 449946 h 1898650"/>
              <a:gd name="connsiteX4" fmla="*/ 1701800 w 1708277"/>
              <a:gd name="connsiteY4" fmla="*/ 1460500 h 1898650"/>
              <a:gd name="connsiteX5" fmla="*/ 1276350 w 1708277"/>
              <a:gd name="connsiteY5" fmla="*/ 1898650 h 1898650"/>
              <a:gd name="connsiteX6" fmla="*/ 711200 w 1708277"/>
              <a:gd name="connsiteY6" fmla="*/ 1822450 h 1898650"/>
              <a:gd name="connsiteX7" fmla="*/ 0 w 1708277"/>
              <a:gd name="connsiteY7" fmla="*/ 1104900 h 1898650"/>
              <a:gd name="connsiteX0" fmla="*/ 0 w 1678048"/>
              <a:gd name="connsiteY0" fmla="*/ 994780 h 1898650"/>
              <a:gd name="connsiteX1" fmla="*/ 236471 w 1678048"/>
              <a:gd name="connsiteY1" fmla="*/ 0 h 1898650"/>
              <a:gd name="connsiteX2" fmla="*/ 1398031 w 1678048"/>
              <a:gd name="connsiteY2" fmla="*/ 159388 h 1898650"/>
              <a:gd name="connsiteX3" fmla="*/ 1678048 w 1678048"/>
              <a:gd name="connsiteY3" fmla="*/ 449946 h 1898650"/>
              <a:gd name="connsiteX4" fmla="*/ 1671571 w 1678048"/>
              <a:gd name="connsiteY4" fmla="*/ 1460500 h 1898650"/>
              <a:gd name="connsiteX5" fmla="*/ 1246121 w 1678048"/>
              <a:gd name="connsiteY5" fmla="*/ 1898650 h 1898650"/>
              <a:gd name="connsiteX6" fmla="*/ 680971 w 1678048"/>
              <a:gd name="connsiteY6" fmla="*/ 1822450 h 1898650"/>
              <a:gd name="connsiteX7" fmla="*/ 0 w 1678048"/>
              <a:gd name="connsiteY7" fmla="*/ 994780 h 1898650"/>
              <a:gd name="connsiteX0" fmla="*/ 0 w 1678048"/>
              <a:gd name="connsiteY0" fmla="*/ 994780 h 1898650"/>
              <a:gd name="connsiteX1" fmla="*/ 236471 w 1678048"/>
              <a:gd name="connsiteY1" fmla="*/ 0 h 1898650"/>
              <a:gd name="connsiteX2" fmla="*/ 1398031 w 1678048"/>
              <a:gd name="connsiteY2" fmla="*/ 159388 h 1898650"/>
              <a:gd name="connsiteX3" fmla="*/ 1678048 w 1678048"/>
              <a:gd name="connsiteY3" fmla="*/ 449946 h 1898650"/>
              <a:gd name="connsiteX4" fmla="*/ 1671571 w 1678048"/>
              <a:gd name="connsiteY4" fmla="*/ 1460500 h 1898650"/>
              <a:gd name="connsiteX5" fmla="*/ 1246121 w 1678048"/>
              <a:gd name="connsiteY5" fmla="*/ 1898650 h 1898650"/>
              <a:gd name="connsiteX6" fmla="*/ 832115 w 1678048"/>
              <a:gd name="connsiteY6" fmla="*/ 1844042 h 1898650"/>
              <a:gd name="connsiteX7" fmla="*/ 0 w 1678048"/>
              <a:gd name="connsiteY7" fmla="*/ 994780 h 1898650"/>
              <a:gd name="connsiteX0" fmla="*/ 0 w 1796085"/>
              <a:gd name="connsiteY0" fmla="*/ 994780 h 1898650"/>
              <a:gd name="connsiteX1" fmla="*/ 236471 w 1796085"/>
              <a:gd name="connsiteY1" fmla="*/ 0 h 1898650"/>
              <a:gd name="connsiteX2" fmla="*/ 1398031 w 1796085"/>
              <a:gd name="connsiteY2" fmla="*/ 159388 h 1898650"/>
              <a:gd name="connsiteX3" fmla="*/ 1796085 w 1796085"/>
              <a:gd name="connsiteY3" fmla="*/ 566543 h 1898650"/>
              <a:gd name="connsiteX4" fmla="*/ 1671571 w 1796085"/>
              <a:gd name="connsiteY4" fmla="*/ 1460500 h 1898650"/>
              <a:gd name="connsiteX5" fmla="*/ 1246121 w 1796085"/>
              <a:gd name="connsiteY5" fmla="*/ 1898650 h 1898650"/>
              <a:gd name="connsiteX6" fmla="*/ 832115 w 1796085"/>
              <a:gd name="connsiteY6" fmla="*/ 1844042 h 1898650"/>
              <a:gd name="connsiteX7" fmla="*/ 0 w 1796085"/>
              <a:gd name="connsiteY7" fmla="*/ 994780 h 1898650"/>
              <a:gd name="connsiteX0" fmla="*/ 0 w 1799684"/>
              <a:gd name="connsiteY0" fmla="*/ 994780 h 1898650"/>
              <a:gd name="connsiteX1" fmla="*/ 236471 w 1799684"/>
              <a:gd name="connsiteY1" fmla="*/ 0 h 1898650"/>
              <a:gd name="connsiteX2" fmla="*/ 1398031 w 1799684"/>
              <a:gd name="connsiteY2" fmla="*/ 159388 h 1898650"/>
              <a:gd name="connsiteX3" fmla="*/ 1796085 w 1799684"/>
              <a:gd name="connsiteY3" fmla="*/ 566543 h 1898650"/>
              <a:gd name="connsiteX4" fmla="*/ 1799684 w 1799684"/>
              <a:gd name="connsiteY4" fmla="*/ 1489289 h 1898650"/>
              <a:gd name="connsiteX5" fmla="*/ 1246121 w 1799684"/>
              <a:gd name="connsiteY5" fmla="*/ 1898650 h 1898650"/>
              <a:gd name="connsiteX6" fmla="*/ 832115 w 1799684"/>
              <a:gd name="connsiteY6" fmla="*/ 1844042 h 1898650"/>
              <a:gd name="connsiteX7" fmla="*/ 0 w 1799684"/>
              <a:gd name="connsiteY7" fmla="*/ 994780 h 1898650"/>
              <a:gd name="connsiteX0" fmla="*/ 0 w 1799684"/>
              <a:gd name="connsiteY0" fmla="*/ 994780 h 1917363"/>
              <a:gd name="connsiteX1" fmla="*/ 236471 w 1799684"/>
              <a:gd name="connsiteY1" fmla="*/ 0 h 1917363"/>
              <a:gd name="connsiteX2" fmla="*/ 1398031 w 1799684"/>
              <a:gd name="connsiteY2" fmla="*/ 159388 h 1917363"/>
              <a:gd name="connsiteX3" fmla="*/ 1796085 w 1799684"/>
              <a:gd name="connsiteY3" fmla="*/ 566543 h 1917363"/>
              <a:gd name="connsiteX4" fmla="*/ 1799684 w 1799684"/>
              <a:gd name="connsiteY4" fmla="*/ 1489289 h 1917363"/>
              <a:gd name="connsiteX5" fmla="*/ 1384310 w 1799684"/>
              <a:gd name="connsiteY5" fmla="*/ 1917363 h 1917363"/>
              <a:gd name="connsiteX6" fmla="*/ 832115 w 1799684"/>
              <a:gd name="connsiteY6" fmla="*/ 1844042 h 1917363"/>
              <a:gd name="connsiteX7" fmla="*/ 0 w 1799684"/>
              <a:gd name="connsiteY7" fmla="*/ 994780 h 1917363"/>
              <a:gd name="connsiteX0" fmla="*/ 0 w 1799684"/>
              <a:gd name="connsiteY0" fmla="*/ 994780 h 1917363"/>
              <a:gd name="connsiteX1" fmla="*/ 236471 w 1799684"/>
              <a:gd name="connsiteY1" fmla="*/ 0 h 1917363"/>
              <a:gd name="connsiteX2" fmla="*/ 1579403 w 1799684"/>
              <a:gd name="connsiteY2" fmla="*/ 183139 h 1917363"/>
              <a:gd name="connsiteX3" fmla="*/ 1796085 w 1799684"/>
              <a:gd name="connsiteY3" fmla="*/ 566543 h 1917363"/>
              <a:gd name="connsiteX4" fmla="*/ 1799684 w 1799684"/>
              <a:gd name="connsiteY4" fmla="*/ 1489289 h 1917363"/>
              <a:gd name="connsiteX5" fmla="*/ 1384310 w 1799684"/>
              <a:gd name="connsiteY5" fmla="*/ 1917363 h 1917363"/>
              <a:gd name="connsiteX6" fmla="*/ 832115 w 1799684"/>
              <a:gd name="connsiteY6" fmla="*/ 1844042 h 1917363"/>
              <a:gd name="connsiteX7" fmla="*/ 0 w 1799684"/>
              <a:gd name="connsiteY7" fmla="*/ 994780 h 1917363"/>
              <a:gd name="connsiteX0" fmla="*/ 0 w 1800683"/>
              <a:gd name="connsiteY0" fmla="*/ 994780 h 1917363"/>
              <a:gd name="connsiteX1" fmla="*/ 236471 w 1800683"/>
              <a:gd name="connsiteY1" fmla="*/ 0 h 1917363"/>
              <a:gd name="connsiteX2" fmla="*/ 1579403 w 1800683"/>
              <a:gd name="connsiteY2" fmla="*/ 183139 h 1917363"/>
              <a:gd name="connsiteX3" fmla="*/ 1800403 w 1800683"/>
              <a:gd name="connsiteY3" fmla="*/ 404603 h 1917363"/>
              <a:gd name="connsiteX4" fmla="*/ 1799684 w 1800683"/>
              <a:gd name="connsiteY4" fmla="*/ 1489289 h 1917363"/>
              <a:gd name="connsiteX5" fmla="*/ 1384310 w 1800683"/>
              <a:gd name="connsiteY5" fmla="*/ 1917363 h 1917363"/>
              <a:gd name="connsiteX6" fmla="*/ 832115 w 1800683"/>
              <a:gd name="connsiteY6" fmla="*/ 1844042 h 1917363"/>
              <a:gd name="connsiteX7" fmla="*/ 0 w 1800683"/>
              <a:gd name="connsiteY7" fmla="*/ 994780 h 1917363"/>
              <a:gd name="connsiteX0" fmla="*/ 0 w 1800683"/>
              <a:gd name="connsiteY0" fmla="*/ 994780 h 1917363"/>
              <a:gd name="connsiteX1" fmla="*/ 236471 w 1800683"/>
              <a:gd name="connsiteY1" fmla="*/ 0 h 1917363"/>
              <a:gd name="connsiteX2" fmla="*/ 1579403 w 1800683"/>
              <a:gd name="connsiteY2" fmla="*/ 183139 h 1917363"/>
              <a:gd name="connsiteX3" fmla="*/ 1800403 w 1800683"/>
              <a:gd name="connsiteY3" fmla="*/ 404603 h 1917363"/>
              <a:gd name="connsiteX4" fmla="*/ 1799684 w 1800683"/>
              <a:gd name="connsiteY4" fmla="*/ 1489289 h 1917363"/>
              <a:gd name="connsiteX5" fmla="*/ 1384310 w 1800683"/>
              <a:gd name="connsiteY5" fmla="*/ 1917363 h 1917363"/>
              <a:gd name="connsiteX6" fmla="*/ 626992 w 1800683"/>
              <a:gd name="connsiteY6" fmla="*/ 1815973 h 1917363"/>
              <a:gd name="connsiteX7" fmla="*/ 0 w 1800683"/>
              <a:gd name="connsiteY7" fmla="*/ 994780 h 1917363"/>
              <a:gd name="connsiteX0" fmla="*/ 0 w 1841708"/>
              <a:gd name="connsiteY0" fmla="*/ 1145924 h 1917363"/>
              <a:gd name="connsiteX1" fmla="*/ 277496 w 1841708"/>
              <a:gd name="connsiteY1" fmla="*/ 0 h 1917363"/>
              <a:gd name="connsiteX2" fmla="*/ 1620428 w 1841708"/>
              <a:gd name="connsiteY2" fmla="*/ 183139 h 1917363"/>
              <a:gd name="connsiteX3" fmla="*/ 1841428 w 1841708"/>
              <a:gd name="connsiteY3" fmla="*/ 404603 h 1917363"/>
              <a:gd name="connsiteX4" fmla="*/ 1840709 w 1841708"/>
              <a:gd name="connsiteY4" fmla="*/ 1489289 h 1917363"/>
              <a:gd name="connsiteX5" fmla="*/ 1425335 w 1841708"/>
              <a:gd name="connsiteY5" fmla="*/ 1917363 h 1917363"/>
              <a:gd name="connsiteX6" fmla="*/ 668017 w 1841708"/>
              <a:gd name="connsiteY6" fmla="*/ 1815973 h 1917363"/>
              <a:gd name="connsiteX7" fmla="*/ 0 w 1841708"/>
              <a:gd name="connsiteY7" fmla="*/ 1145924 h 1917363"/>
              <a:gd name="connsiteX0" fmla="*/ 0 w 1801403"/>
              <a:gd name="connsiteY0" fmla="*/ 996220 h 1917363"/>
              <a:gd name="connsiteX1" fmla="*/ 237191 w 1801403"/>
              <a:gd name="connsiteY1" fmla="*/ 0 h 1917363"/>
              <a:gd name="connsiteX2" fmla="*/ 1580123 w 1801403"/>
              <a:gd name="connsiteY2" fmla="*/ 183139 h 1917363"/>
              <a:gd name="connsiteX3" fmla="*/ 1801123 w 1801403"/>
              <a:gd name="connsiteY3" fmla="*/ 404603 h 1917363"/>
              <a:gd name="connsiteX4" fmla="*/ 1800404 w 1801403"/>
              <a:gd name="connsiteY4" fmla="*/ 1489289 h 1917363"/>
              <a:gd name="connsiteX5" fmla="*/ 1385030 w 1801403"/>
              <a:gd name="connsiteY5" fmla="*/ 1917363 h 1917363"/>
              <a:gd name="connsiteX6" fmla="*/ 627712 w 1801403"/>
              <a:gd name="connsiteY6" fmla="*/ 1815973 h 1917363"/>
              <a:gd name="connsiteX7" fmla="*/ 0 w 1801403"/>
              <a:gd name="connsiteY7" fmla="*/ 996220 h 1917363"/>
              <a:gd name="connsiteX0" fmla="*/ 0 w 1801403"/>
              <a:gd name="connsiteY0" fmla="*/ 996220 h 1917363"/>
              <a:gd name="connsiteX1" fmla="*/ 237191 w 1801403"/>
              <a:gd name="connsiteY1" fmla="*/ 0 h 1917363"/>
              <a:gd name="connsiteX2" fmla="*/ 1580123 w 1801403"/>
              <a:gd name="connsiteY2" fmla="*/ 183139 h 1917363"/>
              <a:gd name="connsiteX3" fmla="*/ 1801123 w 1801403"/>
              <a:gd name="connsiteY3" fmla="*/ 404603 h 1917363"/>
              <a:gd name="connsiteX4" fmla="*/ 1800404 w 1801403"/>
              <a:gd name="connsiteY4" fmla="*/ 1489289 h 1917363"/>
              <a:gd name="connsiteX5" fmla="*/ 1385030 w 1801403"/>
              <a:gd name="connsiteY5" fmla="*/ 1917363 h 1917363"/>
              <a:gd name="connsiteX6" fmla="*/ 834995 w 1801403"/>
              <a:gd name="connsiteY6" fmla="*/ 1841883 h 1917363"/>
              <a:gd name="connsiteX7" fmla="*/ 0 w 1801403"/>
              <a:gd name="connsiteY7" fmla="*/ 996220 h 1917363"/>
              <a:gd name="connsiteX0" fmla="*/ 0 w 1800404"/>
              <a:gd name="connsiteY0" fmla="*/ 996220 h 1917363"/>
              <a:gd name="connsiteX1" fmla="*/ 237191 w 1800404"/>
              <a:gd name="connsiteY1" fmla="*/ 0 h 1917363"/>
              <a:gd name="connsiteX2" fmla="*/ 1580123 w 1800404"/>
              <a:gd name="connsiteY2" fmla="*/ 183139 h 1917363"/>
              <a:gd name="connsiteX3" fmla="*/ 1799684 w 1800404"/>
              <a:gd name="connsiteY3" fmla="*/ 570142 h 1917363"/>
              <a:gd name="connsiteX4" fmla="*/ 1800404 w 1800404"/>
              <a:gd name="connsiteY4" fmla="*/ 1489289 h 1917363"/>
              <a:gd name="connsiteX5" fmla="*/ 1385030 w 1800404"/>
              <a:gd name="connsiteY5" fmla="*/ 1917363 h 1917363"/>
              <a:gd name="connsiteX6" fmla="*/ 834995 w 1800404"/>
              <a:gd name="connsiteY6" fmla="*/ 1841883 h 1917363"/>
              <a:gd name="connsiteX7" fmla="*/ 0 w 1800404"/>
              <a:gd name="connsiteY7" fmla="*/ 996220 h 1917363"/>
              <a:gd name="connsiteX0" fmla="*/ 0 w 1800404"/>
              <a:gd name="connsiteY0" fmla="*/ 996220 h 1917363"/>
              <a:gd name="connsiteX1" fmla="*/ 237191 w 1800404"/>
              <a:gd name="connsiteY1" fmla="*/ 0 h 1917363"/>
              <a:gd name="connsiteX2" fmla="*/ 1254804 w 1800404"/>
              <a:gd name="connsiteY2" fmla="*/ 16161 h 1917363"/>
              <a:gd name="connsiteX3" fmla="*/ 1799684 w 1800404"/>
              <a:gd name="connsiteY3" fmla="*/ 570142 h 1917363"/>
              <a:gd name="connsiteX4" fmla="*/ 1800404 w 1800404"/>
              <a:gd name="connsiteY4" fmla="*/ 1489289 h 1917363"/>
              <a:gd name="connsiteX5" fmla="*/ 1385030 w 1800404"/>
              <a:gd name="connsiteY5" fmla="*/ 1917363 h 1917363"/>
              <a:gd name="connsiteX6" fmla="*/ 834995 w 1800404"/>
              <a:gd name="connsiteY6" fmla="*/ 1841883 h 1917363"/>
              <a:gd name="connsiteX7" fmla="*/ 0 w 1800404"/>
              <a:gd name="connsiteY7" fmla="*/ 996220 h 1917363"/>
              <a:gd name="connsiteX0" fmla="*/ 0 w 1800404"/>
              <a:gd name="connsiteY0" fmla="*/ 1118574 h 2039717"/>
              <a:gd name="connsiteX1" fmla="*/ 268859 w 1800404"/>
              <a:gd name="connsiteY1" fmla="*/ 0 h 2039717"/>
              <a:gd name="connsiteX2" fmla="*/ 1254804 w 1800404"/>
              <a:gd name="connsiteY2" fmla="*/ 138515 h 2039717"/>
              <a:gd name="connsiteX3" fmla="*/ 1799684 w 1800404"/>
              <a:gd name="connsiteY3" fmla="*/ 692496 h 2039717"/>
              <a:gd name="connsiteX4" fmla="*/ 1800404 w 1800404"/>
              <a:gd name="connsiteY4" fmla="*/ 1611643 h 2039717"/>
              <a:gd name="connsiteX5" fmla="*/ 1385030 w 1800404"/>
              <a:gd name="connsiteY5" fmla="*/ 2039717 h 2039717"/>
              <a:gd name="connsiteX6" fmla="*/ 834995 w 1800404"/>
              <a:gd name="connsiteY6" fmla="*/ 1964237 h 2039717"/>
              <a:gd name="connsiteX7" fmla="*/ 0 w 1800404"/>
              <a:gd name="connsiteY7" fmla="*/ 1118574 h 2039717"/>
              <a:gd name="connsiteX0" fmla="*/ 0 w 1802563"/>
              <a:gd name="connsiteY0" fmla="*/ 1118574 h 2039717"/>
              <a:gd name="connsiteX1" fmla="*/ 268859 w 1802563"/>
              <a:gd name="connsiteY1" fmla="*/ 0 h 2039717"/>
              <a:gd name="connsiteX2" fmla="*/ 1254804 w 1802563"/>
              <a:gd name="connsiteY2" fmla="*/ 138515 h 2039717"/>
              <a:gd name="connsiteX3" fmla="*/ 1799684 w 1802563"/>
              <a:gd name="connsiteY3" fmla="*/ 692496 h 2039717"/>
              <a:gd name="connsiteX4" fmla="*/ 1802563 w 1802563"/>
              <a:gd name="connsiteY4" fmla="*/ 1384927 h 2039717"/>
              <a:gd name="connsiteX5" fmla="*/ 1385030 w 1802563"/>
              <a:gd name="connsiteY5" fmla="*/ 2039717 h 2039717"/>
              <a:gd name="connsiteX6" fmla="*/ 834995 w 1802563"/>
              <a:gd name="connsiteY6" fmla="*/ 1964237 h 2039717"/>
              <a:gd name="connsiteX7" fmla="*/ 0 w 1802563"/>
              <a:gd name="connsiteY7" fmla="*/ 1118574 h 2039717"/>
              <a:gd name="connsiteX0" fmla="*/ 0 w 1802563"/>
              <a:gd name="connsiteY0" fmla="*/ 1118574 h 2015966"/>
              <a:gd name="connsiteX1" fmla="*/ 268859 w 1802563"/>
              <a:gd name="connsiteY1" fmla="*/ 0 h 2015966"/>
              <a:gd name="connsiteX2" fmla="*/ 1254804 w 1802563"/>
              <a:gd name="connsiteY2" fmla="*/ 138515 h 2015966"/>
              <a:gd name="connsiteX3" fmla="*/ 1799684 w 1802563"/>
              <a:gd name="connsiteY3" fmla="*/ 692496 h 2015966"/>
              <a:gd name="connsiteX4" fmla="*/ 1802563 w 1802563"/>
              <a:gd name="connsiteY4" fmla="*/ 1384927 h 2015966"/>
              <a:gd name="connsiteX5" fmla="*/ 1164792 w 1802563"/>
              <a:gd name="connsiteY5" fmla="*/ 2015966 h 2015966"/>
              <a:gd name="connsiteX6" fmla="*/ 834995 w 1802563"/>
              <a:gd name="connsiteY6" fmla="*/ 1964237 h 2015966"/>
              <a:gd name="connsiteX7" fmla="*/ 0 w 1802563"/>
              <a:gd name="connsiteY7" fmla="*/ 1118574 h 201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2563" h="2015966">
                <a:moveTo>
                  <a:pt x="0" y="1118574"/>
                </a:moveTo>
                <a:lnTo>
                  <a:pt x="268859" y="0"/>
                </a:lnTo>
                <a:lnTo>
                  <a:pt x="1254804" y="138515"/>
                </a:lnTo>
                <a:lnTo>
                  <a:pt x="1799684" y="692496"/>
                </a:lnTo>
                <a:cubicBezTo>
                  <a:pt x="1800884" y="1000078"/>
                  <a:pt x="1801363" y="1077345"/>
                  <a:pt x="1802563" y="1384927"/>
                </a:cubicBezTo>
                <a:lnTo>
                  <a:pt x="1164792" y="2015966"/>
                </a:lnTo>
                <a:lnTo>
                  <a:pt x="834995" y="1964237"/>
                </a:lnTo>
                <a:lnTo>
                  <a:pt x="0" y="1118574"/>
                </a:lnTo>
                <a:close/>
              </a:path>
            </a:pathLst>
          </a:custGeom>
          <a:solidFill>
            <a:schemeClr val="accent5">
              <a:alpha val="21000"/>
            </a:schemeClr>
          </a:solidFill>
          <a:ln w="7144"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eaLnBrk="0" fontAlgn="base" hangingPunct="0">
              <a:spcBef>
                <a:spcPct val="0"/>
              </a:spcBef>
              <a:spcAft>
                <a:spcPct val="0"/>
              </a:spcAft>
            </a:pPr>
            <a:endParaRPr lang="de-DE" dirty="0"/>
          </a:p>
        </p:txBody>
      </p:sp>
      <p:cxnSp>
        <p:nvCxnSpPr>
          <p:cNvPr id="11" name="Gerade Verbindung mit Pfeil 31">
            <a:extLst>
              <a:ext uri="{FF2B5EF4-FFF2-40B4-BE49-F238E27FC236}">
                <a16:creationId xmlns:a16="http://schemas.microsoft.com/office/drawing/2014/main" id="{8F5A2C00-2975-7D64-6237-406C1CE1D45B}"/>
              </a:ext>
            </a:extLst>
          </p:cNvPr>
          <p:cNvCxnSpPr>
            <a:cxnSpLocks/>
          </p:cNvCxnSpPr>
          <p:nvPr/>
        </p:nvCxnSpPr>
        <p:spPr>
          <a:xfrm flipV="1">
            <a:off x="8943116" y="2077568"/>
            <a:ext cx="0" cy="3678517"/>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 name="Gerade Verbindung mit Pfeil 32">
            <a:extLst>
              <a:ext uri="{FF2B5EF4-FFF2-40B4-BE49-F238E27FC236}">
                <a16:creationId xmlns:a16="http://schemas.microsoft.com/office/drawing/2014/main" id="{FBF8930D-26BD-6411-CB15-1ABC3BA4F486}"/>
              </a:ext>
            </a:extLst>
          </p:cNvPr>
          <p:cNvCxnSpPr>
            <a:cxnSpLocks/>
          </p:cNvCxnSpPr>
          <p:nvPr/>
        </p:nvCxnSpPr>
        <p:spPr>
          <a:xfrm>
            <a:off x="7060915" y="4054114"/>
            <a:ext cx="4149262" cy="0"/>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 name="Textfeld 41">
            <a:extLst>
              <a:ext uri="{FF2B5EF4-FFF2-40B4-BE49-F238E27FC236}">
                <a16:creationId xmlns:a16="http://schemas.microsoft.com/office/drawing/2014/main" id="{A6526279-5AA1-8E5F-2E2A-F27198264F22}"/>
              </a:ext>
            </a:extLst>
          </p:cNvPr>
          <p:cNvSpPr txBox="1"/>
          <p:nvPr/>
        </p:nvSpPr>
        <p:spPr>
          <a:xfrm>
            <a:off x="9241473" y="2083285"/>
            <a:ext cx="813364" cy="184666"/>
          </a:xfrm>
          <a:prstGeom prst="rect">
            <a:avLst/>
          </a:prstGeom>
          <a:noFill/>
        </p:spPr>
        <p:txBody>
          <a:bodyPr wrap="none" lIns="68580" tIns="34290" rIns="68580" bIns="34290" rtlCol="0">
            <a:spAutoFit/>
          </a:bodyPr>
          <a:lstStyle/>
          <a:p>
            <a:pPr algn="r"/>
            <a:r>
              <a:rPr lang="en-US" sz="750" dirty="0"/>
              <a:t>Exchange A</a:t>
            </a:r>
            <a:r>
              <a:rPr lang="en-US" sz="750" dirty="0">
                <a:sym typeface="Wingdings" panose="05000000000000000000" pitchFamily="2" charset="2"/>
              </a:rPr>
              <a:t>B</a:t>
            </a:r>
            <a:endParaRPr lang="en-US" sz="750" dirty="0"/>
          </a:p>
        </p:txBody>
      </p:sp>
      <p:sp>
        <p:nvSpPr>
          <p:cNvPr id="14" name="Textfeld 42">
            <a:extLst>
              <a:ext uri="{FF2B5EF4-FFF2-40B4-BE49-F238E27FC236}">
                <a16:creationId xmlns:a16="http://schemas.microsoft.com/office/drawing/2014/main" id="{B15E74CE-58E0-F0BD-266B-8C6FD6050257}"/>
              </a:ext>
            </a:extLst>
          </p:cNvPr>
          <p:cNvSpPr txBox="1"/>
          <p:nvPr/>
        </p:nvSpPr>
        <p:spPr>
          <a:xfrm>
            <a:off x="10758728" y="4123268"/>
            <a:ext cx="837396" cy="184666"/>
          </a:xfrm>
          <a:prstGeom prst="rect">
            <a:avLst/>
          </a:prstGeom>
          <a:noFill/>
        </p:spPr>
        <p:txBody>
          <a:bodyPr wrap="square" lIns="68580" tIns="34290" rIns="68580" bIns="34290" rtlCol="0">
            <a:spAutoFit/>
          </a:bodyPr>
          <a:lstStyle/>
          <a:p>
            <a:pPr algn="r"/>
            <a:r>
              <a:rPr lang="en-US" sz="750" dirty="0"/>
              <a:t>Exchange A</a:t>
            </a:r>
            <a:r>
              <a:rPr lang="en-US" sz="750" dirty="0">
                <a:sym typeface="Wingdings" panose="05000000000000000000" pitchFamily="2" charset="2"/>
              </a:rPr>
              <a:t>C</a:t>
            </a:r>
            <a:endParaRPr lang="en-US" sz="750" dirty="0"/>
          </a:p>
        </p:txBody>
      </p:sp>
      <p:cxnSp>
        <p:nvCxnSpPr>
          <p:cNvPr id="15" name="Gerader Verbinder 52">
            <a:extLst>
              <a:ext uri="{FF2B5EF4-FFF2-40B4-BE49-F238E27FC236}">
                <a16:creationId xmlns:a16="http://schemas.microsoft.com/office/drawing/2014/main" id="{A98D651B-6FFF-EEBB-AE27-FEF2A1D6C814}"/>
              </a:ext>
            </a:extLst>
          </p:cNvPr>
          <p:cNvCxnSpPr>
            <a:cxnSpLocks/>
          </p:cNvCxnSpPr>
          <p:nvPr/>
        </p:nvCxnSpPr>
        <p:spPr>
          <a:xfrm flipH="1">
            <a:off x="7561519" y="2603294"/>
            <a:ext cx="552094" cy="231351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Gerader Verbinder 53">
            <a:extLst>
              <a:ext uri="{FF2B5EF4-FFF2-40B4-BE49-F238E27FC236}">
                <a16:creationId xmlns:a16="http://schemas.microsoft.com/office/drawing/2014/main" id="{28DB3888-3B64-923F-09FC-EA4A9464F5D5}"/>
              </a:ext>
            </a:extLst>
          </p:cNvPr>
          <p:cNvCxnSpPr>
            <a:cxnSpLocks/>
          </p:cNvCxnSpPr>
          <p:nvPr/>
        </p:nvCxnSpPr>
        <p:spPr>
          <a:xfrm>
            <a:off x="7478282" y="5052453"/>
            <a:ext cx="2301305" cy="290179"/>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Gerader Verbinder 52">
            <a:extLst>
              <a:ext uri="{FF2B5EF4-FFF2-40B4-BE49-F238E27FC236}">
                <a16:creationId xmlns:a16="http://schemas.microsoft.com/office/drawing/2014/main" id="{E06B5414-49AD-76E6-408D-5A9E076667DE}"/>
              </a:ext>
            </a:extLst>
          </p:cNvPr>
          <p:cNvCxnSpPr>
            <a:cxnSpLocks/>
          </p:cNvCxnSpPr>
          <p:nvPr/>
        </p:nvCxnSpPr>
        <p:spPr>
          <a:xfrm flipH="1">
            <a:off x="7148379" y="2204209"/>
            <a:ext cx="938305" cy="2434790"/>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52">
            <a:extLst>
              <a:ext uri="{FF2B5EF4-FFF2-40B4-BE49-F238E27FC236}">
                <a16:creationId xmlns:a16="http://schemas.microsoft.com/office/drawing/2014/main" id="{AF5909FD-204C-613E-367C-BD31DE9D664F}"/>
              </a:ext>
            </a:extLst>
          </p:cNvPr>
          <p:cNvCxnSpPr>
            <a:cxnSpLocks/>
          </p:cNvCxnSpPr>
          <p:nvPr/>
        </p:nvCxnSpPr>
        <p:spPr>
          <a:xfrm flipV="1">
            <a:off x="7784785" y="2204209"/>
            <a:ext cx="2573764" cy="199542"/>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Gerader Verbinder 52">
            <a:extLst>
              <a:ext uri="{FF2B5EF4-FFF2-40B4-BE49-F238E27FC236}">
                <a16:creationId xmlns:a16="http://schemas.microsoft.com/office/drawing/2014/main" id="{3EE26CDB-9163-3A08-035E-0CF91935E8D4}"/>
              </a:ext>
            </a:extLst>
          </p:cNvPr>
          <p:cNvCxnSpPr>
            <a:cxnSpLocks/>
          </p:cNvCxnSpPr>
          <p:nvPr/>
        </p:nvCxnSpPr>
        <p:spPr>
          <a:xfrm>
            <a:off x="8628933" y="2260647"/>
            <a:ext cx="2424144" cy="744072"/>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52">
            <a:extLst>
              <a:ext uri="{FF2B5EF4-FFF2-40B4-BE49-F238E27FC236}">
                <a16:creationId xmlns:a16="http://schemas.microsoft.com/office/drawing/2014/main" id="{8B97E25A-3EC7-3158-3D8F-5EB054BAB973}"/>
              </a:ext>
            </a:extLst>
          </p:cNvPr>
          <p:cNvCxnSpPr>
            <a:cxnSpLocks/>
          </p:cNvCxnSpPr>
          <p:nvPr/>
        </p:nvCxnSpPr>
        <p:spPr>
          <a:xfrm>
            <a:off x="9270651" y="2147428"/>
            <a:ext cx="1773902" cy="2410001"/>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52">
            <a:extLst>
              <a:ext uri="{FF2B5EF4-FFF2-40B4-BE49-F238E27FC236}">
                <a16:creationId xmlns:a16="http://schemas.microsoft.com/office/drawing/2014/main" id="{F66F3BE0-6E19-5142-4F5C-4BDA9849DA62}"/>
              </a:ext>
            </a:extLst>
          </p:cNvPr>
          <p:cNvCxnSpPr>
            <a:cxnSpLocks/>
          </p:cNvCxnSpPr>
          <p:nvPr/>
        </p:nvCxnSpPr>
        <p:spPr>
          <a:xfrm flipH="1">
            <a:off x="10358550" y="3140368"/>
            <a:ext cx="257297" cy="1997073"/>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Gerader Verbinder 52">
            <a:extLst>
              <a:ext uri="{FF2B5EF4-FFF2-40B4-BE49-F238E27FC236}">
                <a16:creationId xmlns:a16="http://schemas.microsoft.com/office/drawing/2014/main" id="{91EA9611-4EB6-0AAA-DA1D-FAACA2215594}"/>
              </a:ext>
            </a:extLst>
          </p:cNvPr>
          <p:cNvCxnSpPr>
            <a:cxnSpLocks/>
          </p:cNvCxnSpPr>
          <p:nvPr/>
        </p:nvCxnSpPr>
        <p:spPr>
          <a:xfrm flipH="1">
            <a:off x="9452115" y="3584732"/>
            <a:ext cx="1704331" cy="2171353"/>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52">
            <a:extLst>
              <a:ext uri="{FF2B5EF4-FFF2-40B4-BE49-F238E27FC236}">
                <a16:creationId xmlns:a16="http://schemas.microsoft.com/office/drawing/2014/main" id="{12E87AEF-3348-AE99-0D79-E70A87601CCD}"/>
              </a:ext>
            </a:extLst>
          </p:cNvPr>
          <p:cNvCxnSpPr>
            <a:cxnSpLocks/>
          </p:cNvCxnSpPr>
          <p:nvPr/>
        </p:nvCxnSpPr>
        <p:spPr>
          <a:xfrm flipH="1" flipV="1">
            <a:off x="7559140" y="5352916"/>
            <a:ext cx="2167459" cy="358030"/>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Gerader Verbinder 52">
            <a:extLst>
              <a:ext uri="{FF2B5EF4-FFF2-40B4-BE49-F238E27FC236}">
                <a16:creationId xmlns:a16="http://schemas.microsoft.com/office/drawing/2014/main" id="{23028EE1-2556-4BE0-3D56-A1B7BFE3290F}"/>
              </a:ext>
            </a:extLst>
          </p:cNvPr>
          <p:cNvCxnSpPr>
            <a:cxnSpLocks/>
          </p:cNvCxnSpPr>
          <p:nvPr/>
        </p:nvCxnSpPr>
        <p:spPr>
          <a:xfrm flipH="1" flipV="1">
            <a:off x="7147768" y="4271203"/>
            <a:ext cx="839443" cy="1292537"/>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grpSp>
        <p:nvGrpSpPr>
          <p:cNvPr id="25" name="Groep 104">
            <a:extLst>
              <a:ext uri="{FF2B5EF4-FFF2-40B4-BE49-F238E27FC236}">
                <a16:creationId xmlns:a16="http://schemas.microsoft.com/office/drawing/2014/main" id="{D398FCDE-EDE9-861A-56F4-3383381E9DD0}"/>
              </a:ext>
            </a:extLst>
          </p:cNvPr>
          <p:cNvGrpSpPr/>
          <p:nvPr/>
        </p:nvGrpSpPr>
        <p:grpSpPr>
          <a:xfrm>
            <a:off x="7617653" y="3383384"/>
            <a:ext cx="263214" cy="261610"/>
            <a:chOff x="2630320" y="3549423"/>
            <a:chExt cx="263214" cy="261610"/>
          </a:xfrm>
        </p:grpSpPr>
        <p:sp>
          <p:nvSpPr>
            <p:cNvPr id="26" name="Ovaal 105">
              <a:extLst>
                <a:ext uri="{FF2B5EF4-FFF2-40B4-BE49-F238E27FC236}">
                  <a16:creationId xmlns:a16="http://schemas.microsoft.com/office/drawing/2014/main" id="{032FDC6D-A23F-6F93-5CAC-0C6D9F0DAEFB}"/>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27" name="Tekstvak 106">
              <a:extLst>
                <a:ext uri="{FF2B5EF4-FFF2-40B4-BE49-F238E27FC236}">
                  <a16:creationId xmlns:a16="http://schemas.microsoft.com/office/drawing/2014/main" id="{9247F483-879C-32E5-1CD3-12565357FFE1}"/>
                </a:ext>
              </a:extLst>
            </p:cNvPr>
            <p:cNvSpPr txBox="1"/>
            <p:nvPr/>
          </p:nvSpPr>
          <p:spPr>
            <a:xfrm>
              <a:off x="2630320" y="3549423"/>
              <a:ext cx="263214" cy="261610"/>
            </a:xfrm>
            <a:prstGeom prst="rect">
              <a:avLst/>
            </a:prstGeom>
            <a:noFill/>
          </p:spPr>
          <p:txBody>
            <a:bodyPr wrap="none" rtlCol="0">
              <a:spAutoFit/>
            </a:bodyPr>
            <a:lstStyle/>
            <a:p>
              <a:r>
                <a:rPr lang="en-US" sz="1100" dirty="0"/>
                <a:t>1</a:t>
              </a:r>
            </a:p>
          </p:txBody>
        </p:sp>
      </p:grpSp>
      <p:grpSp>
        <p:nvGrpSpPr>
          <p:cNvPr id="28" name="Groep 107">
            <a:extLst>
              <a:ext uri="{FF2B5EF4-FFF2-40B4-BE49-F238E27FC236}">
                <a16:creationId xmlns:a16="http://schemas.microsoft.com/office/drawing/2014/main" id="{84A38945-3D90-EF77-ED4E-77A63B5D2007}"/>
              </a:ext>
            </a:extLst>
          </p:cNvPr>
          <p:cNvGrpSpPr/>
          <p:nvPr/>
        </p:nvGrpSpPr>
        <p:grpSpPr>
          <a:xfrm>
            <a:off x="8348228" y="2483091"/>
            <a:ext cx="263214" cy="261610"/>
            <a:chOff x="2630320" y="3549423"/>
            <a:chExt cx="263214" cy="261610"/>
          </a:xfrm>
        </p:grpSpPr>
        <p:sp>
          <p:nvSpPr>
            <p:cNvPr id="29" name="Ovaal 108">
              <a:extLst>
                <a:ext uri="{FF2B5EF4-FFF2-40B4-BE49-F238E27FC236}">
                  <a16:creationId xmlns:a16="http://schemas.microsoft.com/office/drawing/2014/main" id="{4437C459-4EEA-3B62-419A-4DF5CCE3052E}"/>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0" name="Tekstvak 109">
              <a:extLst>
                <a:ext uri="{FF2B5EF4-FFF2-40B4-BE49-F238E27FC236}">
                  <a16:creationId xmlns:a16="http://schemas.microsoft.com/office/drawing/2014/main" id="{69494FE5-EDB1-F7F3-EF4F-B823E5C6B7CA}"/>
                </a:ext>
              </a:extLst>
            </p:cNvPr>
            <p:cNvSpPr txBox="1"/>
            <p:nvPr/>
          </p:nvSpPr>
          <p:spPr>
            <a:xfrm>
              <a:off x="2630320" y="3549423"/>
              <a:ext cx="263214" cy="261610"/>
            </a:xfrm>
            <a:prstGeom prst="rect">
              <a:avLst/>
            </a:prstGeom>
            <a:noFill/>
          </p:spPr>
          <p:txBody>
            <a:bodyPr wrap="none" rtlCol="0">
              <a:spAutoFit/>
            </a:bodyPr>
            <a:lstStyle/>
            <a:p>
              <a:r>
                <a:rPr lang="en-US" sz="1100" dirty="0"/>
                <a:t>2</a:t>
              </a:r>
            </a:p>
          </p:txBody>
        </p:sp>
      </p:grpSp>
      <p:grpSp>
        <p:nvGrpSpPr>
          <p:cNvPr id="31" name="Groep 110">
            <a:extLst>
              <a:ext uri="{FF2B5EF4-FFF2-40B4-BE49-F238E27FC236}">
                <a16:creationId xmlns:a16="http://schemas.microsoft.com/office/drawing/2014/main" id="{A579E227-8093-0153-F8A0-84FCD6356959}"/>
              </a:ext>
            </a:extLst>
          </p:cNvPr>
          <p:cNvGrpSpPr/>
          <p:nvPr/>
        </p:nvGrpSpPr>
        <p:grpSpPr>
          <a:xfrm>
            <a:off x="9996270" y="4044518"/>
            <a:ext cx="263214" cy="261610"/>
            <a:chOff x="2630320" y="3549423"/>
            <a:chExt cx="263214" cy="261610"/>
          </a:xfrm>
        </p:grpSpPr>
        <p:sp>
          <p:nvSpPr>
            <p:cNvPr id="32" name="Ovaal 111">
              <a:extLst>
                <a:ext uri="{FF2B5EF4-FFF2-40B4-BE49-F238E27FC236}">
                  <a16:creationId xmlns:a16="http://schemas.microsoft.com/office/drawing/2014/main" id="{50700CC2-B8B3-2D35-98F1-F235AF842E1D}"/>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3" name="Tekstvak 112">
              <a:extLst>
                <a:ext uri="{FF2B5EF4-FFF2-40B4-BE49-F238E27FC236}">
                  <a16:creationId xmlns:a16="http://schemas.microsoft.com/office/drawing/2014/main" id="{5328EA81-F309-2C28-2501-F1FDFE5E203C}"/>
                </a:ext>
              </a:extLst>
            </p:cNvPr>
            <p:cNvSpPr txBox="1"/>
            <p:nvPr/>
          </p:nvSpPr>
          <p:spPr>
            <a:xfrm>
              <a:off x="2630320" y="3549423"/>
              <a:ext cx="263214" cy="261610"/>
            </a:xfrm>
            <a:prstGeom prst="rect">
              <a:avLst/>
            </a:prstGeom>
            <a:noFill/>
          </p:spPr>
          <p:txBody>
            <a:bodyPr wrap="none" rtlCol="0">
              <a:spAutoFit/>
            </a:bodyPr>
            <a:lstStyle/>
            <a:p>
              <a:r>
                <a:rPr lang="en-US" sz="1100" dirty="0"/>
                <a:t>4</a:t>
              </a:r>
            </a:p>
          </p:txBody>
        </p:sp>
      </p:grpSp>
      <p:grpSp>
        <p:nvGrpSpPr>
          <p:cNvPr id="34" name="Groep 113">
            <a:extLst>
              <a:ext uri="{FF2B5EF4-FFF2-40B4-BE49-F238E27FC236}">
                <a16:creationId xmlns:a16="http://schemas.microsoft.com/office/drawing/2014/main" id="{6AEF9C5F-718F-EE73-055C-6C5C38993E9A}"/>
              </a:ext>
            </a:extLst>
          </p:cNvPr>
          <p:cNvGrpSpPr/>
          <p:nvPr/>
        </p:nvGrpSpPr>
        <p:grpSpPr>
          <a:xfrm>
            <a:off x="9566620" y="4887225"/>
            <a:ext cx="263214" cy="261610"/>
            <a:chOff x="2630320" y="3549423"/>
            <a:chExt cx="263214" cy="261610"/>
          </a:xfrm>
        </p:grpSpPr>
        <p:sp>
          <p:nvSpPr>
            <p:cNvPr id="35" name="Ovaal 114">
              <a:extLst>
                <a:ext uri="{FF2B5EF4-FFF2-40B4-BE49-F238E27FC236}">
                  <a16:creationId xmlns:a16="http://schemas.microsoft.com/office/drawing/2014/main" id="{FAAD2FB8-7A42-BC8B-E84D-73EFDE754025}"/>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6" name="Tekstvak 115">
              <a:extLst>
                <a:ext uri="{FF2B5EF4-FFF2-40B4-BE49-F238E27FC236}">
                  <a16:creationId xmlns:a16="http://schemas.microsoft.com/office/drawing/2014/main" id="{A9742617-CF39-E543-144F-E038B1A40818}"/>
                </a:ext>
              </a:extLst>
            </p:cNvPr>
            <p:cNvSpPr txBox="1"/>
            <p:nvPr/>
          </p:nvSpPr>
          <p:spPr>
            <a:xfrm>
              <a:off x="2630320" y="3549423"/>
              <a:ext cx="263214" cy="261610"/>
            </a:xfrm>
            <a:prstGeom prst="rect">
              <a:avLst/>
            </a:prstGeom>
            <a:noFill/>
          </p:spPr>
          <p:txBody>
            <a:bodyPr wrap="none" rtlCol="0">
              <a:spAutoFit/>
            </a:bodyPr>
            <a:lstStyle/>
            <a:p>
              <a:r>
                <a:rPr lang="en-US" sz="1100" dirty="0"/>
                <a:t>5</a:t>
              </a:r>
            </a:p>
          </p:txBody>
        </p:sp>
      </p:grpSp>
      <p:grpSp>
        <p:nvGrpSpPr>
          <p:cNvPr id="37" name="Groep 116">
            <a:extLst>
              <a:ext uri="{FF2B5EF4-FFF2-40B4-BE49-F238E27FC236}">
                <a16:creationId xmlns:a16="http://schemas.microsoft.com/office/drawing/2014/main" id="{A7FC6D19-C04A-6C1E-D0CB-CC8D5B6671A5}"/>
              </a:ext>
            </a:extLst>
          </p:cNvPr>
          <p:cNvGrpSpPr/>
          <p:nvPr/>
        </p:nvGrpSpPr>
        <p:grpSpPr>
          <a:xfrm>
            <a:off x="8956512" y="5273922"/>
            <a:ext cx="263214" cy="261610"/>
            <a:chOff x="2630320" y="3549423"/>
            <a:chExt cx="263214" cy="261610"/>
          </a:xfrm>
        </p:grpSpPr>
        <p:sp>
          <p:nvSpPr>
            <p:cNvPr id="38" name="Ovaal 117">
              <a:extLst>
                <a:ext uri="{FF2B5EF4-FFF2-40B4-BE49-F238E27FC236}">
                  <a16:creationId xmlns:a16="http://schemas.microsoft.com/office/drawing/2014/main" id="{8A128A2E-8377-A406-B089-403537C41559}"/>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9" name="Tekstvak 118">
              <a:extLst>
                <a:ext uri="{FF2B5EF4-FFF2-40B4-BE49-F238E27FC236}">
                  <a16:creationId xmlns:a16="http://schemas.microsoft.com/office/drawing/2014/main" id="{20E0C21E-FECD-08E0-58B8-56986F549B19}"/>
                </a:ext>
              </a:extLst>
            </p:cNvPr>
            <p:cNvSpPr txBox="1"/>
            <p:nvPr/>
          </p:nvSpPr>
          <p:spPr>
            <a:xfrm>
              <a:off x="2630320" y="3549423"/>
              <a:ext cx="263214" cy="261610"/>
            </a:xfrm>
            <a:prstGeom prst="rect">
              <a:avLst/>
            </a:prstGeom>
            <a:noFill/>
          </p:spPr>
          <p:txBody>
            <a:bodyPr wrap="none" rtlCol="0">
              <a:spAutoFit/>
            </a:bodyPr>
            <a:lstStyle/>
            <a:p>
              <a:r>
                <a:rPr lang="en-US" sz="1100" dirty="0"/>
                <a:t>6</a:t>
              </a:r>
            </a:p>
          </p:txBody>
        </p:sp>
      </p:grpSp>
      <p:cxnSp>
        <p:nvCxnSpPr>
          <p:cNvPr id="40" name="Gerader Verbinder 45">
            <a:extLst>
              <a:ext uri="{FF2B5EF4-FFF2-40B4-BE49-F238E27FC236}">
                <a16:creationId xmlns:a16="http://schemas.microsoft.com/office/drawing/2014/main" id="{7381BE8F-410D-3449-11D2-AFE85D28309E}"/>
              </a:ext>
            </a:extLst>
          </p:cNvPr>
          <p:cNvCxnSpPr/>
          <p:nvPr/>
        </p:nvCxnSpPr>
        <p:spPr>
          <a:xfrm>
            <a:off x="8927129" y="2514272"/>
            <a:ext cx="2065912" cy="2087433"/>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Gerader Verbinder 51">
            <a:extLst>
              <a:ext uri="{FF2B5EF4-FFF2-40B4-BE49-F238E27FC236}">
                <a16:creationId xmlns:a16="http://schemas.microsoft.com/office/drawing/2014/main" id="{C0BFE81F-A155-CAE3-4F93-686CC74C3EAE}"/>
              </a:ext>
            </a:extLst>
          </p:cNvPr>
          <p:cNvCxnSpPr>
            <a:cxnSpLocks/>
          </p:cNvCxnSpPr>
          <p:nvPr/>
        </p:nvCxnSpPr>
        <p:spPr>
          <a:xfrm>
            <a:off x="7365316" y="3770253"/>
            <a:ext cx="1615307" cy="1632134"/>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Gerader Verbinder 44">
            <a:extLst>
              <a:ext uri="{FF2B5EF4-FFF2-40B4-BE49-F238E27FC236}">
                <a16:creationId xmlns:a16="http://schemas.microsoft.com/office/drawing/2014/main" id="{72B7CF8D-4000-3DFF-F0B7-3C3CD3EFDF2F}"/>
              </a:ext>
            </a:extLst>
          </p:cNvPr>
          <p:cNvCxnSpPr/>
          <p:nvPr/>
        </p:nvCxnSpPr>
        <p:spPr>
          <a:xfrm>
            <a:off x="10005536" y="2601986"/>
            <a:ext cx="0" cy="2450466"/>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Gerader Verbinder 43">
            <a:extLst>
              <a:ext uri="{FF2B5EF4-FFF2-40B4-BE49-F238E27FC236}">
                <a16:creationId xmlns:a16="http://schemas.microsoft.com/office/drawing/2014/main" id="{5D5227D6-7B8E-B62D-7A44-DE36AE480576}"/>
              </a:ext>
            </a:extLst>
          </p:cNvPr>
          <p:cNvCxnSpPr>
            <a:cxnSpLocks/>
          </p:cNvCxnSpPr>
          <p:nvPr/>
        </p:nvCxnSpPr>
        <p:spPr>
          <a:xfrm>
            <a:off x="7478282" y="2651935"/>
            <a:ext cx="3534597" cy="50787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44" name="Groep 126">
            <a:extLst>
              <a:ext uri="{FF2B5EF4-FFF2-40B4-BE49-F238E27FC236}">
                <a16:creationId xmlns:a16="http://schemas.microsoft.com/office/drawing/2014/main" id="{6E0A0945-3864-3279-616F-57B8CF4F8613}"/>
              </a:ext>
            </a:extLst>
          </p:cNvPr>
          <p:cNvGrpSpPr/>
          <p:nvPr/>
        </p:nvGrpSpPr>
        <p:grpSpPr>
          <a:xfrm>
            <a:off x="10089224" y="3483510"/>
            <a:ext cx="263214" cy="261610"/>
            <a:chOff x="2630320" y="3549423"/>
            <a:chExt cx="263214" cy="261610"/>
          </a:xfrm>
        </p:grpSpPr>
        <p:sp>
          <p:nvSpPr>
            <p:cNvPr id="45" name="Ovaal 127">
              <a:extLst>
                <a:ext uri="{FF2B5EF4-FFF2-40B4-BE49-F238E27FC236}">
                  <a16:creationId xmlns:a16="http://schemas.microsoft.com/office/drawing/2014/main" id="{37481773-E0BE-32F5-D016-D5B45BF16A8C}"/>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46" name="Tekstvak 128">
              <a:extLst>
                <a:ext uri="{FF2B5EF4-FFF2-40B4-BE49-F238E27FC236}">
                  <a16:creationId xmlns:a16="http://schemas.microsoft.com/office/drawing/2014/main" id="{8DEDE9F2-DED6-DF76-B61B-7563EAB3A114}"/>
                </a:ext>
              </a:extLst>
            </p:cNvPr>
            <p:cNvSpPr txBox="1"/>
            <p:nvPr/>
          </p:nvSpPr>
          <p:spPr>
            <a:xfrm>
              <a:off x="2630320" y="3549423"/>
              <a:ext cx="263214" cy="261610"/>
            </a:xfrm>
            <a:prstGeom prst="rect">
              <a:avLst/>
            </a:prstGeom>
            <a:noFill/>
          </p:spPr>
          <p:txBody>
            <a:bodyPr wrap="none" rtlCol="0">
              <a:spAutoFit/>
            </a:bodyPr>
            <a:lstStyle/>
            <a:p>
              <a:r>
                <a:rPr lang="en-US" sz="1100" dirty="0"/>
                <a:t>3</a:t>
              </a:r>
            </a:p>
          </p:txBody>
        </p:sp>
      </p:grpSp>
      <p:grpSp>
        <p:nvGrpSpPr>
          <p:cNvPr id="47" name="Groep 129">
            <a:extLst>
              <a:ext uri="{FF2B5EF4-FFF2-40B4-BE49-F238E27FC236}">
                <a16:creationId xmlns:a16="http://schemas.microsoft.com/office/drawing/2014/main" id="{E5AF6541-D2F2-ABDA-EBCD-058FFFD5D941}"/>
              </a:ext>
            </a:extLst>
          </p:cNvPr>
          <p:cNvGrpSpPr/>
          <p:nvPr/>
        </p:nvGrpSpPr>
        <p:grpSpPr>
          <a:xfrm>
            <a:off x="7895818" y="4622006"/>
            <a:ext cx="263214" cy="261610"/>
            <a:chOff x="2630320" y="3549423"/>
            <a:chExt cx="263214" cy="261610"/>
          </a:xfrm>
        </p:grpSpPr>
        <p:sp>
          <p:nvSpPr>
            <p:cNvPr id="48" name="Ovaal 130">
              <a:extLst>
                <a:ext uri="{FF2B5EF4-FFF2-40B4-BE49-F238E27FC236}">
                  <a16:creationId xmlns:a16="http://schemas.microsoft.com/office/drawing/2014/main" id="{8D403A63-5163-07DE-EACF-8A1840B9F033}"/>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49" name="Tekstvak 131">
              <a:extLst>
                <a:ext uri="{FF2B5EF4-FFF2-40B4-BE49-F238E27FC236}">
                  <a16:creationId xmlns:a16="http://schemas.microsoft.com/office/drawing/2014/main" id="{1BE4650A-8F75-91F2-8401-BDBB43F479E1}"/>
                </a:ext>
              </a:extLst>
            </p:cNvPr>
            <p:cNvSpPr txBox="1"/>
            <p:nvPr/>
          </p:nvSpPr>
          <p:spPr>
            <a:xfrm>
              <a:off x="2630320" y="3549423"/>
              <a:ext cx="263214" cy="261610"/>
            </a:xfrm>
            <a:prstGeom prst="rect">
              <a:avLst/>
            </a:prstGeom>
            <a:noFill/>
          </p:spPr>
          <p:txBody>
            <a:bodyPr wrap="none" rtlCol="0">
              <a:spAutoFit/>
            </a:bodyPr>
            <a:lstStyle/>
            <a:p>
              <a:r>
                <a:rPr lang="en-US" sz="1100" dirty="0"/>
                <a:t>7</a:t>
              </a:r>
            </a:p>
          </p:txBody>
        </p:sp>
      </p:grpSp>
      <p:cxnSp>
        <p:nvCxnSpPr>
          <p:cNvPr id="50" name="Gerader Verbinder 46">
            <a:extLst>
              <a:ext uri="{FF2B5EF4-FFF2-40B4-BE49-F238E27FC236}">
                <a16:creationId xmlns:a16="http://schemas.microsoft.com/office/drawing/2014/main" id="{06F6732E-1CBE-AB0E-EA85-8091ABB890DE}"/>
              </a:ext>
            </a:extLst>
          </p:cNvPr>
          <p:cNvCxnSpPr>
            <a:cxnSpLocks/>
          </p:cNvCxnSpPr>
          <p:nvPr/>
        </p:nvCxnSpPr>
        <p:spPr>
          <a:xfrm flipH="1">
            <a:off x="9180282" y="3979721"/>
            <a:ext cx="1325848" cy="133083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Multiply 2">
            <a:extLst>
              <a:ext uri="{FF2B5EF4-FFF2-40B4-BE49-F238E27FC236}">
                <a16:creationId xmlns:a16="http://schemas.microsoft.com/office/drawing/2014/main" id="{29DD3D9D-AA38-09B4-8C44-3944B5A4C7AF}"/>
              </a:ext>
            </a:extLst>
          </p:cNvPr>
          <p:cNvSpPr/>
          <p:nvPr/>
        </p:nvSpPr>
        <p:spPr bwMode="auto">
          <a:xfrm>
            <a:off x="8829988" y="3909504"/>
            <a:ext cx="197444" cy="241431"/>
          </a:xfrm>
          <a:prstGeom prst="mathMultiply">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graphicFrame>
        <p:nvGraphicFramePr>
          <p:cNvPr id="52" name="Tabel 132">
            <a:extLst>
              <a:ext uri="{FF2B5EF4-FFF2-40B4-BE49-F238E27FC236}">
                <a16:creationId xmlns:a16="http://schemas.microsoft.com/office/drawing/2014/main" id="{372ADB56-8DE8-B445-B832-759205F78CCA}"/>
              </a:ext>
            </a:extLst>
          </p:cNvPr>
          <p:cNvGraphicFramePr>
            <a:graphicFrameLocks noGrp="1"/>
          </p:cNvGraphicFramePr>
          <p:nvPr>
            <p:extLst>
              <p:ext uri="{D42A27DB-BD31-4B8C-83A1-F6EECF244321}">
                <p14:modId xmlns:p14="http://schemas.microsoft.com/office/powerpoint/2010/main" val="1392052823"/>
              </p:ext>
            </p:extLst>
          </p:nvPr>
        </p:nvGraphicFramePr>
        <p:xfrm>
          <a:off x="1292951" y="2022031"/>
          <a:ext cx="1784070" cy="1950720"/>
        </p:xfrm>
        <a:graphic>
          <a:graphicData uri="http://schemas.openxmlformats.org/drawingml/2006/table">
            <a:tbl>
              <a:tblPr firstRow="1" bandRow="1">
                <a:tableStyleId>{073A0DAA-6AF3-43AB-8588-CEC1D06C72B9}</a:tableStyleId>
              </a:tblPr>
              <a:tblGrid>
                <a:gridCol w="792033">
                  <a:extLst>
                    <a:ext uri="{9D8B030D-6E8A-4147-A177-3AD203B41FA5}">
                      <a16:colId xmlns:a16="http://schemas.microsoft.com/office/drawing/2014/main" val="3128346855"/>
                    </a:ext>
                  </a:extLst>
                </a:gridCol>
                <a:gridCol w="992037">
                  <a:extLst>
                    <a:ext uri="{9D8B030D-6E8A-4147-A177-3AD203B41FA5}">
                      <a16:colId xmlns:a16="http://schemas.microsoft.com/office/drawing/2014/main" val="2212173443"/>
                    </a:ext>
                  </a:extLst>
                </a:gridCol>
              </a:tblGrid>
              <a:tr h="154329">
                <a:tc>
                  <a:txBody>
                    <a:bodyPr/>
                    <a:lstStyle/>
                    <a:p>
                      <a:r>
                        <a:rPr lang="en-US" sz="1000" dirty="0"/>
                        <a:t>CNEC</a:t>
                      </a:r>
                    </a:p>
                  </a:txBody>
                  <a:tcPr>
                    <a:solidFill>
                      <a:srgbClr val="3366FF"/>
                    </a:solidFill>
                  </a:tcPr>
                </a:tc>
                <a:tc>
                  <a:txBody>
                    <a:bodyPr/>
                    <a:lstStyle/>
                    <a:p>
                      <a:r>
                        <a:rPr lang="en-US" sz="1000" dirty="0"/>
                        <a:t>Final</a:t>
                      </a:r>
                      <a:r>
                        <a:rPr lang="en-US" sz="1000" baseline="0" dirty="0"/>
                        <a:t> RAM</a:t>
                      </a:r>
                      <a:endParaRPr lang="en-US" sz="1000" dirty="0"/>
                    </a:p>
                  </a:txBody>
                  <a:tcPr>
                    <a:solidFill>
                      <a:srgbClr val="3366FF"/>
                    </a:solidFill>
                  </a:tcPr>
                </a:tc>
                <a:extLst>
                  <a:ext uri="{0D108BD9-81ED-4DB2-BD59-A6C34878D82A}">
                    <a16:rowId xmlns:a16="http://schemas.microsoft.com/office/drawing/2014/main" val="1839332249"/>
                  </a:ext>
                </a:extLst>
              </a:tr>
              <a:tr h="154329">
                <a:tc>
                  <a:txBody>
                    <a:bodyPr/>
                    <a:lstStyle/>
                    <a:p>
                      <a:r>
                        <a:rPr lang="en-US" sz="1000" dirty="0"/>
                        <a:t>1</a:t>
                      </a:r>
                    </a:p>
                  </a:txBody>
                  <a:tcPr/>
                </a:tc>
                <a:tc>
                  <a:txBody>
                    <a:bodyPr/>
                    <a:lstStyle/>
                    <a:p>
                      <a:r>
                        <a:rPr lang="en-US" sz="1000" b="1" dirty="0">
                          <a:solidFill>
                            <a:srgbClr val="00B050"/>
                          </a:solidFill>
                        </a:rPr>
                        <a:t>750</a:t>
                      </a:r>
                    </a:p>
                  </a:txBody>
                  <a:tcPr/>
                </a:tc>
                <a:extLst>
                  <a:ext uri="{0D108BD9-81ED-4DB2-BD59-A6C34878D82A}">
                    <a16:rowId xmlns:a16="http://schemas.microsoft.com/office/drawing/2014/main" val="2648937487"/>
                  </a:ext>
                </a:extLst>
              </a:tr>
              <a:tr h="154329">
                <a:tc>
                  <a:txBody>
                    <a:bodyPr/>
                    <a:lstStyle/>
                    <a:p>
                      <a:r>
                        <a:rPr lang="en-US" sz="1000" dirty="0">
                          <a:solidFill>
                            <a:schemeClr val="tx1"/>
                          </a:solidFill>
                        </a:rPr>
                        <a:t>2</a:t>
                      </a:r>
                    </a:p>
                  </a:txBody>
                  <a:tcPr/>
                </a:tc>
                <a:tc>
                  <a:txBody>
                    <a:bodyPr/>
                    <a:lstStyle/>
                    <a:p>
                      <a:r>
                        <a:rPr lang="en-US" sz="1000" b="1" dirty="0">
                          <a:solidFill>
                            <a:srgbClr val="00B050"/>
                          </a:solidFill>
                        </a:rPr>
                        <a:t>650</a:t>
                      </a:r>
                    </a:p>
                  </a:txBody>
                  <a:tcPr/>
                </a:tc>
                <a:extLst>
                  <a:ext uri="{0D108BD9-81ED-4DB2-BD59-A6C34878D82A}">
                    <a16:rowId xmlns:a16="http://schemas.microsoft.com/office/drawing/2014/main" val="1870670275"/>
                  </a:ext>
                </a:extLst>
              </a:tr>
              <a:tr h="154329">
                <a:tc>
                  <a:txBody>
                    <a:bodyPr/>
                    <a:lstStyle/>
                    <a:p>
                      <a:r>
                        <a:rPr lang="en-US" sz="1000" dirty="0"/>
                        <a:t>3</a:t>
                      </a:r>
                    </a:p>
                  </a:txBody>
                  <a:tcPr/>
                </a:tc>
                <a:tc>
                  <a:txBody>
                    <a:bodyPr/>
                    <a:lstStyle/>
                    <a:p>
                      <a:r>
                        <a:rPr lang="en-US" sz="1000" b="1" dirty="0">
                          <a:solidFill>
                            <a:srgbClr val="00B050"/>
                          </a:solidFill>
                        </a:rPr>
                        <a:t>600</a:t>
                      </a:r>
                    </a:p>
                  </a:txBody>
                  <a:tcPr/>
                </a:tc>
                <a:extLst>
                  <a:ext uri="{0D108BD9-81ED-4DB2-BD59-A6C34878D82A}">
                    <a16:rowId xmlns:a16="http://schemas.microsoft.com/office/drawing/2014/main" val="2524997097"/>
                  </a:ext>
                </a:extLst>
              </a:tr>
              <a:tr h="154329">
                <a:tc>
                  <a:txBody>
                    <a:bodyPr/>
                    <a:lstStyle/>
                    <a:p>
                      <a:r>
                        <a:rPr lang="en-US" sz="1000" dirty="0"/>
                        <a:t>4</a:t>
                      </a:r>
                    </a:p>
                  </a:txBody>
                  <a:tcPr/>
                </a:tc>
                <a:tc>
                  <a:txBody>
                    <a:bodyPr/>
                    <a:lstStyle/>
                    <a:p>
                      <a:r>
                        <a:rPr lang="en-US" sz="1000" b="1" dirty="0">
                          <a:solidFill>
                            <a:srgbClr val="00B050"/>
                          </a:solidFill>
                        </a:rPr>
                        <a:t>550</a:t>
                      </a:r>
                    </a:p>
                  </a:txBody>
                  <a:tcPr/>
                </a:tc>
                <a:extLst>
                  <a:ext uri="{0D108BD9-81ED-4DB2-BD59-A6C34878D82A}">
                    <a16:rowId xmlns:a16="http://schemas.microsoft.com/office/drawing/2014/main" val="675613622"/>
                  </a:ext>
                </a:extLst>
              </a:tr>
              <a:tr h="154329">
                <a:tc>
                  <a:txBody>
                    <a:bodyPr/>
                    <a:lstStyle/>
                    <a:p>
                      <a:r>
                        <a:rPr lang="en-US" sz="1000" dirty="0">
                          <a:solidFill>
                            <a:schemeClr val="tx1"/>
                          </a:solidFill>
                        </a:rPr>
                        <a:t>5</a:t>
                      </a:r>
                    </a:p>
                  </a:txBody>
                  <a:tcPr/>
                </a:tc>
                <a:tc>
                  <a:txBody>
                    <a:bodyPr/>
                    <a:lstStyle/>
                    <a:p>
                      <a:r>
                        <a:rPr lang="en-US" sz="1000" b="1" dirty="0">
                          <a:solidFill>
                            <a:srgbClr val="00B050"/>
                          </a:solidFill>
                        </a:rPr>
                        <a:t>450</a:t>
                      </a:r>
                    </a:p>
                  </a:txBody>
                  <a:tcPr/>
                </a:tc>
                <a:extLst>
                  <a:ext uri="{0D108BD9-81ED-4DB2-BD59-A6C34878D82A}">
                    <a16:rowId xmlns:a16="http://schemas.microsoft.com/office/drawing/2014/main" val="4120728013"/>
                  </a:ext>
                </a:extLst>
              </a:tr>
              <a:tr h="154329">
                <a:tc>
                  <a:txBody>
                    <a:bodyPr/>
                    <a:lstStyle/>
                    <a:p>
                      <a:r>
                        <a:rPr lang="en-US" sz="1000" dirty="0"/>
                        <a:t>6</a:t>
                      </a:r>
                    </a:p>
                  </a:txBody>
                  <a:tcPr/>
                </a:tc>
                <a:tc>
                  <a:txBody>
                    <a:bodyPr/>
                    <a:lstStyle/>
                    <a:p>
                      <a:r>
                        <a:rPr lang="en-US" sz="1000" b="1" dirty="0">
                          <a:solidFill>
                            <a:srgbClr val="00B050"/>
                          </a:solidFill>
                        </a:rPr>
                        <a:t>650</a:t>
                      </a:r>
                    </a:p>
                  </a:txBody>
                  <a:tcPr/>
                </a:tc>
                <a:extLst>
                  <a:ext uri="{0D108BD9-81ED-4DB2-BD59-A6C34878D82A}">
                    <a16:rowId xmlns:a16="http://schemas.microsoft.com/office/drawing/2014/main" val="4237058500"/>
                  </a:ext>
                </a:extLst>
              </a:tr>
              <a:tr h="0">
                <a:tc>
                  <a:txBody>
                    <a:bodyPr/>
                    <a:lstStyle/>
                    <a:p>
                      <a:r>
                        <a:rPr lang="en-US" sz="1000" dirty="0"/>
                        <a:t>7</a:t>
                      </a:r>
                    </a:p>
                  </a:txBody>
                  <a:tcPr/>
                </a:tc>
                <a:tc>
                  <a:txBody>
                    <a:bodyPr/>
                    <a:lstStyle/>
                    <a:p>
                      <a:r>
                        <a:rPr lang="en-US" sz="1000" b="1" dirty="0">
                          <a:solidFill>
                            <a:srgbClr val="00B050"/>
                          </a:solidFill>
                        </a:rPr>
                        <a:t>700</a:t>
                      </a:r>
                    </a:p>
                  </a:txBody>
                  <a:tcPr/>
                </a:tc>
                <a:extLst>
                  <a:ext uri="{0D108BD9-81ED-4DB2-BD59-A6C34878D82A}">
                    <a16:rowId xmlns:a16="http://schemas.microsoft.com/office/drawing/2014/main" val="573721901"/>
                  </a:ext>
                </a:extLst>
              </a:tr>
            </a:tbl>
          </a:graphicData>
        </a:graphic>
      </p:graphicFrame>
      <p:graphicFrame>
        <p:nvGraphicFramePr>
          <p:cNvPr id="53" name="Tabel 132">
            <a:extLst>
              <a:ext uri="{FF2B5EF4-FFF2-40B4-BE49-F238E27FC236}">
                <a16:creationId xmlns:a16="http://schemas.microsoft.com/office/drawing/2014/main" id="{2388EA39-8C83-736D-D203-A3C03826C57A}"/>
              </a:ext>
            </a:extLst>
          </p:cNvPr>
          <p:cNvGraphicFramePr>
            <a:graphicFrameLocks noGrp="1"/>
          </p:cNvGraphicFramePr>
          <p:nvPr>
            <p:extLst>
              <p:ext uri="{D42A27DB-BD31-4B8C-83A1-F6EECF244321}">
                <p14:modId xmlns:p14="http://schemas.microsoft.com/office/powerpoint/2010/main" val="594379830"/>
              </p:ext>
            </p:extLst>
          </p:nvPr>
        </p:nvGraphicFramePr>
        <p:xfrm>
          <a:off x="4870024" y="2007603"/>
          <a:ext cx="1477164" cy="1219200"/>
        </p:xfrm>
        <a:graphic>
          <a:graphicData uri="http://schemas.openxmlformats.org/drawingml/2006/table">
            <a:tbl>
              <a:tblPr firstRow="1" bandRow="1">
                <a:tableStyleId>{073A0DAA-6AF3-43AB-8588-CEC1D06C72B9}</a:tableStyleId>
              </a:tblPr>
              <a:tblGrid>
                <a:gridCol w="735292">
                  <a:extLst>
                    <a:ext uri="{9D8B030D-6E8A-4147-A177-3AD203B41FA5}">
                      <a16:colId xmlns:a16="http://schemas.microsoft.com/office/drawing/2014/main" val="3128346855"/>
                    </a:ext>
                  </a:extLst>
                </a:gridCol>
                <a:gridCol w="741872">
                  <a:extLst>
                    <a:ext uri="{9D8B030D-6E8A-4147-A177-3AD203B41FA5}">
                      <a16:colId xmlns:a16="http://schemas.microsoft.com/office/drawing/2014/main" val="2212173443"/>
                    </a:ext>
                  </a:extLst>
                </a:gridCol>
              </a:tblGrid>
              <a:tr h="0">
                <a:tc>
                  <a:txBody>
                    <a:bodyPr/>
                    <a:lstStyle/>
                    <a:p>
                      <a:pPr marL="0" algn="l" defTabSz="440284" rtl="0" eaLnBrk="1" latinLnBrk="0" hangingPunct="1"/>
                      <a:r>
                        <a:rPr lang="en-US" sz="1000" b="1" kern="1200" dirty="0">
                          <a:solidFill>
                            <a:schemeClr val="lt1"/>
                          </a:solidFill>
                        </a:rPr>
                        <a:t>Border</a:t>
                      </a:r>
                      <a:endParaRPr lang="en-US" sz="1000" b="1" kern="1200" dirty="0">
                        <a:solidFill>
                          <a:schemeClr val="lt1"/>
                        </a:solidFill>
                        <a:latin typeface="+mn-lt"/>
                        <a:ea typeface="+mn-ea"/>
                        <a:cs typeface="+mn-cs"/>
                      </a:endParaRPr>
                    </a:p>
                  </a:txBody>
                  <a:tcPr>
                    <a:solidFill>
                      <a:srgbClr val="3366FF"/>
                    </a:solidFill>
                  </a:tcPr>
                </a:tc>
                <a:tc>
                  <a:txBody>
                    <a:bodyPr/>
                    <a:lstStyle/>
                    <a:p>
                      <a:pPr marL="0" algn="l" defTabSz="440284" rtl="0" eaLnBrk="1" latinLnBrk="0" hangingPunct="1"/>
                      <a:r>
                        <a:rPr lang="en-US" sz="1000" b="1" kern="1200" dirty="0">
                          <a:solidFill>
                            <a:schemeClr val="lt1"/>
                          </a:solidFill>
                        </a:rPr>
                        <a:t>ID ATC</a:t>
                      </a:r>
                      <a:endParaRPr lang="en-US" sz="1000" b="1" kern="1200" dirty="0">
                        <a:solidFill>
                          <a:schemeClr val="lt1"/>
                        </a:solidFill>
                        <a:latin typeface="+mn-lt"/>
                        <a:ea typeface="+mn-ea"/>
                        <a:cs typeface="+mn-cs"/>
                      </a:endParaRPr>
                    </a:p>
                  </a:txBody>
                  <a:tcPr>
                    <a:solidFill>
                      <a:srgbClr val="3366FF"/>
                    </a:solidFill>
                  </a:tcPr>
                </a:tc>
                <a:extLst>
                  <a:ext uri="{0D108BD9-81ED-4DB2-BD59-A6C34878D82A}">
                    <a16:rowId xmlns:a16="http://schemas.microsoft.com/office/drawing/2014/main" val="1839332249"/>
                  </a:ext>
                </a:extLst>
              </a:tr>
              <a:tr h="144314">
                <a:tc>
                  <a:txBody>
                    <a:bodyPr/>
                    <a:lstStyle/>
                    <a:p>
                      <a:r>
                        <a:rPr lang="en-US" sz="1000" kern="1200" dirty="0">
                          <a:solidFill>
                            <a:schemeClr val="dk1"/>
                          </a:solidFill>
                        </a:rPr>
                        <a:t>A</a:t>
                      </a:r>
                      <a:r>
                        <a:rPr lang="en-US" sz="1000" kern="1200" dirty="0">
                          <a:solidFill>
                            <a:schemeClr val="dk1"/>
                          </a:solidFill>
                          <a:sym typeface="Wingdings" panose="05000000000000000000" pitchFamily="2" charset="2"/>
                        </a:rPr>
                        <a:t>B</a:t>
                      </a:r>
                      <a:endParaRPr lang="en-US" sz="1000" kern="1200" dirty="0">
                        <a:solidFill>
                          <a:schemeClr val="dk1"/>
                        </a:solidFill>
                        <a:latin typeface="+mn-lt"/>
                        <a:ea typeface="+mn-ea"/>
                        <a:cs typeface="+mn-cs"/>
                      </a:endParaRPr>
                    </a:p>
                  </a:txBody>
                  <a:tcPr/>
                </a:tc>
                <a:tc>
                  <a:txBody>
                    <a:bodyPr/>
                    <a:lstStyle/>
                    <a:p>
                      <a:r>
                        <a:rPr lang="en-US" sz="1000" b="1" kern="1200" dirty="0">
                          <a:solidFill>
                            <a:srgbClr val="00B050"/>
                          </a:solidFill>
                        </a:rPr>
                        <a:t>400</a:t>
                      </a:r>
                      <a:endParaRPr lang="en-US" sz="1000" b="1" kern="1200" dirty="0">
                        <a:solidFill>
                          <a:srgbClr val="00B050"/>
                        </a:solidFill>
                        <a:latin typeface="+mn-lt"/>
                        <a:ea typeface="+mn-ea"/>
                        <a:cs typeface="+mn-cs"/>
                      </a:endParaRPr>
                    </a:p>
                  </a:txBody>
                  <a:tcPr/>
                </a:tc>
                <a:extLst>
                  <a:ext uri="{0D108BD9-81ED-4DB2-BD59-A6C34878D82A}">
                    <a16:rowId xmlns:a16="http://schemas.microsoft.com/office/drawing/2014/main" val="2648937487"/>
                  </a:ext>
                </a:extLst>
              </a:tr>
              <a:tr h="144314">
                <a:tc>
                  <a:txBody>
                    <a:bodyPr/>
                    <a:lstStyle/>
                    <a:p>
                      <a:r>
                        <a:rPr lang="en-US" sz="1000" kern="1200" dirty="0">
                          <a:solidFill>
                            <a:schemeClr val="dk1"/>
                          </a:solidFill>
                        </a:rPr>
                        <a:t>B</a:t>
                      </a:r>
                      <a:r>
                        <a:rPr lang="en-US" sz="1000" kern="1200" dirty="0">
                          <a:solidFill>
                            <a:schemeClr val="dk1"/>
                          </a:solidFill>
                          <a:sym typeface="Wingdings" panose="05000000000000000000" pitchFamily="2" charset="2"/>
                        </a:rPr>
                        <a:t>A</a:t>
                      </a:r>
                      <a:endParaRPr lang="en-US" sz="1000" kern="1200" dirty="0">
                        <a:solidFill>
                          <a:schemeClr val="dk1"/>
                        </a:solidFill>
                        <a:latin typeface="+mn-lt"/>
                        <a:ea typeface="+mn-ea"/>
                        <a:cs typeface="+mn-cs"/>
                      </a:endParaRPr>
                    </a:p>
                  </a:txBody>
                  <a:tcPr/>
                </a:tc>
                <a:tc>
                  <a:txBody>
                    <a:bodyPr/>
                    <a:lstStyle/>
                    <a:p>
                      <a:r>
                        <a:rPr lang="en-US" sz="1000" b="1" kern="1200" dirty="0">
                          <a:solidFill>
                            <a:srgbClr val="00B050"/>
                          </a:solidFill>
                        </a:rPr>
                        <a:t>450</a:t>
                      </a:r>
                      <a:endParaRPr lang="en-US" sz="1000" b="1" kern="1200" dirty="0">
                        <a:solidFill>
                          <a:srgbClr val="00B050"/>
                        </a:solidFill>
                        <a:latin typeface="+mn-lt"/>
                        <a:ea typeface="+mn-ea"/>
                        <a:cs typeface="+mn-cs"/>
                      </a:endParaRPr>
                    </a:p>
                  </a:txBody>
                  <a:tcPr/>
                </a:tc>
                <a:extLst>
                  <a:ext uri="{0D108BD9-81ED-4DB2-BD59-A6C34878D82A}">
                    <a16:rowId xmlns:a16="http://schemas.microsoft.com/office/drawing/2014/main" val="1870670275"/>
                  </a:ext>
                </a:extLst>
              </a:tr>
              <a:tr h="144314">
                <a:tc>
                  <a:txBody>
                    <a:bodyPr/>
                    <a:lstStyle/>
                    <a:p>
                      <a:r>
                        <a:rPr lang="en-US" sz="1000" kern="1200" dirty="0">
                          <a:solidFill>
                            <a:schemeClr val="dk1"/>
                          </a:solidFill>
                        </a:rPr>
                        <a:t>A</a:t>
                      </a:r>
                      <a:r>
                        <a:rPr lang="en-US" sz="1000" kern="1200" dirty="0">
                          <a:solidFill>
                            <a:schemeClr val="dk1"/>
                          </a:solidFill>
                          <a:sym typeface="Wingdings" panose="05000000000000000000" pitchFamily="2" charset="2"/>
                        </a:rPr>
                        <a:t>C</a:t>
                      </a:r>
                      <a:endParaRPr lang="en-US" sz="1000" kern="1200" dirty="0">
                        <a:solidFill>
                          <a:schemeClr val="dk1"/>
                        </a:solidFill>
                        <a:latin typeface="+mn-lt"/>
                        <a:ea typeface="+mn-ea"/>
                        <a:cs typeface="+mn-cs"/>
                      </a:endParaRPr>
                    </a:p>
                  </a:txBody>
                  <a:tcPr/>
                </a:tc>
                <a:tc>
                  <a:txBody>
                    <a:bodyPr/>
                    <a:lstStyle/>
                    <a:p>
                      <a:r>
                        <a:rPr lang="en-US" sz="1000" b="1" kern="1200" dirty="0">
                          <a:solidFill>
                            <a:srgbClr val="00B050"/>
                          </a:solidFill>
                        </a:rPr>
                        <a:t>300</a:t>
                      </a:r>
                      <a:endParaRPr lang="en-US" sz="1000" b="1" kern="1200" dirty="0">
                        <a:solidFill>
                          <a:srgbClr val="00B050"/>
                        </a:solidFill>
                        <a:latin typeface="+mn-lt"/>
                        <a:ea typeface="+mn-ea"/>
                        <a:cs typeface="+mn-cs"/>
                      </a:endParaRPr>
                    </a:p>
                  </a:txBody>
                  <a:tcPr/>
                </a:tc>
                <a:extLst>
                  <a:ext uri="{0D108BD9-81ED-4DB2-BD59-A6C34878D82A}">
                    <a16:rowId xmlns:a16="http://schemas.microsoft.com/office/drawing/2014/main" val="2524997097"/>
                  </a:ext>
                </a:extLst>
              </a:tr>
              <a:tr h="144314">
                <a:tc>
                  <a:txBody>
                    <a:bodyPr/>
                    <a:lstStyle/>
                    <a:p>
                      <a:r>
                        <a:rPr lang="en-US" sz="1000" kern="1200" dirty="0">
                          <a:solidFill>
                            <a:schemeClr val="dk1"/>
                          </a:solidFill>
                        </a:rPr>
                        <a:t>C</a:t>
                      </a:r>
                      <a:r>
                        <a:rPr lang="en-US" sz="1000" kern="1200" dirty="0">
                          <a:solidFill>
                            <a:schemeClr val="dk1"/>
                          </a:solidFill>
                          <a:sym typeface="Wingdings" panose="05000000000000000000" pitchFamily="2" charset="2"/>
                        </a:rPr>
                        <a:t>A</a:t>
                      </a:r>
                      <a:endParaRPr lang="en-US" sz="1000" kern="1200" dirty="0">
                        <a:solidFill>
                          <a:schemeClr val="dk1"/>
                        </a:solidFill>
                        <a:latin typeface="+mn-lt"/>
                        <a:ea typeface="+mn-ea"/>
                        <a:cs typeface="+mn-cs"/>
                      </a:endParaRPr>
                    </a:p>
                  </a:txBody>
                  <a:tcPr/>
                </a:tc>
                <a:tc>
                  <a:txBody>
                    <a:bodyPr/>
                    <a:lstStyle/>
                    <a:p>
                      <a:r>
                        <a:rPr lang="en-US" sz="1000" b="1" kern="1200" dirty="0">
                          <a:solidFill>
                            <a:srgbClr val="00B050"/>
                          </a:solidFill>
                        </a:rPr>
                        <a:t>350</a:t>
                      </a:r>
                      <a:endParaRPr lang="en-US" sz="1000" b="1" kern="1200" dirty="0">
                        <a:solidFill>
                          <a:srgbClr val="00B050"/>
                        </a:solidFill>
                        <a:latin typeface="+mn-lt"/>
                        <a:ea typeface="+mn-ea"/>
                        <a:cs typeface="+mn-cs"/>
                      </a:endParaRPr>
                    </a:p>
                  </a:txBody>
                  <a:tcPr/>
                </a:tc>
                <a:extLst>
                  <a:ext uri="{0D108BD9-81ED-4DB2-BD59-A6C34878D82A}">
                    <a16:rowId xmlns:a16="http://schemas.microsoft.com/office/drawing/2014/main" val="675613622"/>
                  </a:ext>
                </a:extLst>
              </a:tr>
            </a:tbl>
          </a:graphicData>
        </a:graphic>
      </p:graphicFrame>
      <p:sp>
        <p:nvSpPr>
          <p:cNvPr id="54" name="Textfeld 41">
            <a:extLst>
              <a:ext uri="{FF2B5EF4-FFF2-40B4-BE49-F238E27FC236}">
                <a16:creationId xmlns:a16="http://schemas.microsoft.com/office/drawing/2014/main" id="{86362BB8-4AB3-8D67-BD10-E0E4F750FD99}"/>
              </a:ext>
            </a:extLst>
          </p:cNvPr>
          <p:cNvSpPr txBox="1"/>
          <p:nvPr/>
        </p:nvSpPr>
        <p:spPr>
          <a:xfrm>
            <a:off x="3249730" y="2316146"/>
            <a:ext cx="1429430" cy="253916"/>
          </a:xfrm>
          <a:prstGeom prst="rect">
            <a:avLst/>
          </a:prstGeom>
          <a:noFill/>
        </p:spPr>
        <p:txBody>
          <a:bodyPr wrap="none" lIns="68580" tIns="34290" rIns="68580" bIns="34290" rtlCol="0">
            <a:spAutoFit/>
          </a:bodyPr>
          <a:lstStyle/>
          <a:p>
            <a:pPr algn="r"/>
            <a:r>
              <a:rPr lang="en-US" sz="1200" b="1" dirty="0">
                <a:solidFill>
                  <a:srgbClr val="595959"/>
                </a:solidFill>
              </a:rPr>
              <a:t>ID ATC Extraction</a:t>
            </a:r>
          </a:p>
        </p:txBody>
      </p:sp>
      <p:sp>
        <p:nvSpPr>
          <p:cNvPr id="55" name="Rechteck 54">
            <a:extLst>
              <a:ext uri="{FF2B5EF4-FFF2-40B4-BE49-F238E27FC236}">
                <a16:creationId xmlns:a16="http://schemas.microsoft.com/office/drawing/2014/main" id="{59BF86DF-DD3A-1901-0CB2-61930A583400}"/>
              </a:ext>
            </a:extLst>
          </p:cNvPr>
          <p:cNvSpPr/>
          <p:nvPr/>
        </p:nvSpPr>
        <p:spPr bwMode="auto">
          <a:xfrm>
            <a:off x="8127268" y="3428676"/>
            <a:ext cx="1696701" cy="1073866"/>
          </a:xfrm>
          <a:prstGeom prst="rect">
            <a:avLst/>
          </a:prstGeom>
          <a:solidFill>
            <a:srgbClr val="00B050">
              <a:alpha val="51000"/>
            </a:srgbClr>
          </a:solidFill>
          <a:ln w="2857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a:p>
        </p:txBody>
      </p:sp>
      <p:sp>
        <p:nvSpPr>
          <p:cNvPr id="56" name="Textfeld 55">
            <a:extLst>
              <a:ext uri="{FF2B5EF4-FFF2-40B4-BE49-F238E27FC236}">
                <a16:creationId xmlns:a16="http://schemas.microsoft.com/office/drawing/2014/main" id="{750D1657-D621-F603-4E3B-75B1EDDA32A9}"/>
              </a:ext>
            </a:extLst>
          </p:cNvPr>
          <p:cNvSpPr txBox="1"/>
          <p:nvPr/>
        </p:nvSpPr>
        <p:spPr>
          <a:xfrm>
            <a:off x="8051748" y="3211700"/>
            <a:ext cx="1173719" cy="261610"/>
          </a:xfrm>
          <a:prstGeom prst="rect">
            <a:avLst/>
          </a:prstGeom>
          <a:noFill/>
        </p:spPr>
        <p:txBody>
          <a:bodyPr wrap="none" rtlCol="0">
            <a:spAutoFit/>
          </a:bodyPr>
          <a:lstStyle/>
          <a:p>
            <a:r>
              <a:rPr lang="de-DE" sz="1100" dirty="0">
                <a:solidFill>
                  <a:srgbClr val="00B050"/>
                </a:solidFill>
              </a:rPr>
              <a:t>ID ATC Domain</a:t>
            </a:r>
          </a:p>
        </p:txBody>
      </p:sp>
      <p:cxnSp>
        <p:nvCxnSpPr>
          <p:cNvPr id="57" name="Gerade Verbindung mit Pfeil 56">
            <a:extLst>
              <a:ext uri="{FF2B5EF4-FFF2-40B4-BE49-F238E27FC236}">
                <a16:creationId xmlns:a16="http://schemas.microsoft.com/office/drawing/2014/main" id="{FADAAFD6-65D7-47F6-4F1C-83E73BE256FB}"/>
              </a:ext>
            </a:extLst>
          </p:cNvPr>
          <p:cNvCxnSpPr/>
          <p:nvPr/>
        </p:nvCxnSpPr>
        <p:spPr bwMode="auto">
          <a:xfrm flipV="1">
            <a:off x="8955369" y="4048162"/>
            <a:ext cx="868172" cy="10320"/>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cxnSp>
        <p:nvCxnSpPr>
          <p:cNvPr id="58" name="Gerade Verbindung mit Pfeil 57">
            <a:extLst>
              <a:ext uri="{FF2B5EF4-FFF2-40B4-BE49-F238E27FC236}">
                <a16:creationId xmlns:a16="http://schemas.microsoft.com/office/drawing/2014/main" id="{0F28F7C1-6240-AD44-6062-DA637196BF2D}"/>
              </a:ext>
            </a:extLst>
          </p:cNvPr>
          <p:cNvCxnSpPr/>
          <p:nvPr/>
        </p:nvCxnSpPr>
        <p:spPr bwMode="auto">
          <a:xfrm flipH="1" flipV="1">
            <a:off x="8930863" y="3427275"/>
            <a:ext cx="8312" cy="656704"/>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59" name="Textfeld 58">
            <a:extLst>
              <a:ext uri="{FF2B5EF4-FFF2-40B4-BE49-F238E27FC236}">
                <a16:creationId xmlns:a16="http://schemas.microsoft.com/office/drawing/2014/main" id="{01A4EB48-302E-FF0F-8FA5-0FAABDEA5D9B}"/>
              </a:ext>
            </a:extLst>
          </p:cNvPr>
          <p:cNvSpPr txBox="1"/>
          <p:nvPr/>
        </p:nvSpPr>
        <p:spPr>
          <a:xfrm>
            <a:off x="8885458" y="3497426"/>
            <a:ext cx="710451" cy="200055"/>
          </a:xfrm>
          <a:prstGeom prst="rect">
            <a:avLst/>
          </a:prstGeom>
          <a:noFill/>
        </p:spPr>
        <p:txBody>
          <a:bodyPr wrap="none" rtlCol="0">
            <a:spAutoFit/>
          </a:bodyPr>
          <a:lstStyle/>
          <a:p>
            <a:r>
              <a:rPr lang="de-DE" sz="700" dirty="0"/>
              <a:t>ID ATC A</a:t>
            </a:r>
            <a:r>
              <a:rPr lang="de-DE" sz="700" dirty="0">
                <a:sym typeface="Wingdings" panose="05000000000000000000" pitchFamily="2" charset="2"/>
              </a:rPr>
              <a:t>B</a:t>
            </a:r>
            <a:endParaRPr lang="de-DE" sz="700" dirty="0"/>
          </a:p>
        </p:txBody>
      </p:sp>
      <p:sp>
        <p:nvSpPr>
          <p:cNvPr id="60" name="Textfeld 59">
            <a:extLst>
              <a:ext uri="{FF2B5EF4-FFF2-40B4-BE49-F238E27FC236}">
                <a16:creationId xmlns:a16="http://schemas.microsoft.com/office/drawing/2014/main" id="{175CAAD7-DF3D-9C88-ACE9-B225143D6865}"/>
              </a:ext>
            </a:extLst>
          </p:cNvPr>
          <p:cNvSpPr txBox="1"/>
          <p:nvPr/>
        </p:nvSpPr>
        <p:spPr>
          <a:xfrm>
            <a:off x="9161785" y="4066165"/>
            <a:ext cx="715260" cy="200055"/>
          </a:xfrm>
          <a:prstGeom prst="rect">
            <a:avLst/>
          </a:prstGeom>
          <a:noFill/>
        </p:spPr>
        <p:txBody>
          <a:bodyPr wrap="none" rtlCol="0">
            <a:spAutoFit/>
          </a:bodyPr>
          <a:lstStyle/>
          <a:p>
            <a:r>
              <a:rPr lang="de-DE" sz="700" dirty="0"/>
              <a:t>ID ATC A</a:t>
            </a:r>
            <a:r>
              <a:rPr lang="de-DE" sz="700" dirty="0">
                <a:sym typeface="Wingdings" panose="05000000000000000000" pitchFamily="2" charset="2"/>
              </a:rPr>
              <a:t>C</a:t>
            </a:r>
            <a:endParaRPr lang="de-DE" sz="700" dirty="0"/>
          </a:p>
        </p:txBody>
      </p:sp>
      <p:sp>
        <p:nvSpPr>
          <p:cNvPr id="61" name="Tekstvak 124">
            <a:extLst>
              <a:ext uri="{FF2B5EF4-FFF2-40B4-BE49-F238E27FC236}">
                <a16:creationId xmlns:a16="http://schemas.microsoft.com/office/drawing/2014/main" id="{3F568DC3-6F7E-6276-9E30-7D072EF7AD35}"/>
              </a:ext>
            </a:extLst>
          </p:cNvPr>
          <p:cNvSpPr txBox="1"/>
          <p:nvPr/>
        </p:nvSpPr>
        <p:spPr>
          <a:xfrm>
            <a:off x="8536942" y="4061122"/>
            <a:ext cx="500458" cy="276999"/>
          </a:xfrm>
          <a:prstGeom prst="rect">
            <a:avLst/>
          </a:prstGeom>
          <a:noFill/>
        </p:spPr>
        <p:txBody>
          <a:bodyPr wrap="none" rtlCol="0">
            <a:spAutoFit/>
          </a:bodyPr>
          <a:lstStyle/>
          <a:p>
            <a:r>
              <a:rPr lang="fr-FR" sz="1200" dirty="0"/>
              <a:t>AAC</a:t>
            </a:r>
            <a:endParaRPr lang="en-US" sz="1200" b="1" dirty="0"/>
          </a:p>
        </p:txBody>
      </p:sp>
      <p:sp>
        <p:nvSpPr>
          <p:cNvPr id="62" name="Tartalom helye 2">
            <a:extLst>
              <a:ext uri="{FF2B5EF4-FFF2-40B4-BE49-F238E27FC236}">
                <a16:creationId xmlns:a16="http://schemas.microsoft.com/office/drawing/2014/main" id="{8E2A935E-78DD-452A-CFAD-F8DEBFB2DD50}"/>
              </a:ext>
            </a:extLst>
          </p:cNvPr>
          <p:cNvSpPr txBox="1">
            <a:spLocks/>
          </p:cNvSpPr>
          <p:nvPr/>
        </p:nvSpPr>
        <p:spPr>
          <a:xfrm>
            <a:off x="1341672" y="4266220"/>
            <a:ext cx="4752323" cy="1659555"/>
          </a:xfrm>
          <a:prstGeom prst="rect">
            <a:avLst/>
          </a:prstGeom>
          <a:solidFill>
            <a:schemeClr val="bg1"/>
          </a:solidFill>
        </p:spPr>
        <p:txBody>
          <a:bodyPr spcFirstLastPara="1"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r>
              <a:rPr lang="en-US" dirty="0"/>
              <a:t>ATC Extraction </a:t>
            </a:r>
          </a:p>
          <a:p>
            <a:pPr lvl="1"/>
            <a:r>
              <a:rPr lang="en-US" b="1" kern="0" dirty="0">
                <a:sym typeface="Arial"/>
              </a:rPr>
              <a:t>Reminder</a:t>
            </a:r>
            <a:r>
              <a:rPr lang="en-US" kern="0" dirty="0">
                <a:sym typeface="Arial"/>
              </a:rPr>
              <a:t>: The ID market (both Continuous Trading on XBID as the ID auctions) are not compatible with FB domains. Thus, FB domains need to be converted to </a:t>
            </a:r>
            <a:r>
              <a:rPr lang="en-US" b="1" kern="0" dirty="0">
                <a:sym typeface="Arial"/>
              </a:rPr>
              <a:t>ATC/NTCs. </a:t>
            </a:r>
          </a:p>
          <a:p>
            <a:pPr lvl="1"/>
            <a:r>
              <a:rPr lang="en-US" kern="0" dirty="0">
                <a:sym typeface="Arial"/>
              </a:rPr>
              <a:t>This is done via an </a:t>
            </a:r>
            <a:r>
              <a:rPr lang="en-US" b="1" kern="0" dirty="0">
                <a:sym typeface="Arial"/>
              </a:rPr>
              <a:t>iterative algorithm </a:t>
            </a:r>
            <a:r>
              <a:rPr lang="en-US" kern="0" dirty="0">
                <a:sym typeface="Arial"/>
              </a:rPr>
              <a:t>that tries to extract the largest ATCs possible within the FB domain. </a:t>
            </a:r>
            <a:r>
              <a:rPr lang="en-US" b="1" kern="0" dirty="0">
                <a:sym typeface="Wingdings" panose="05000000000000000000" pitchFamily="2" charset="2"/>
              </a:rPr>
              <a:t> i.e. the rectangle should not go outside the FB domain</a:t>
            </a:r>
            <a:r>
              <a:rPr lang="en-US" kern="0" dirty="0">
                <a:sym typeface="Wingdings" panose="05000000000000000000" pitchFamily="2" charset="2"/>
              </a:rPr>
              <a:t>.</a:t>
            </a:r>
            <a:endParaRPr lang="en-US" kern="0" dirty="0">
              <a:sym typeface="Arial"/>
            </a:endParaRPr>
          </a:p>
          <a:p>
            <a:pPr lvl="1"/>
            <a:endParaRPr lang="en-US" b="1" kern="0" dirty="0">
              <a:sym typeface="Arial"/>
            </a:endParaRPr>
          </a:p>
          <a:p>
            <a:pPr lvl="1"/>
            <a:endParaRPr lang="en-US" kern="0" dirty="0">
              <a:sym typeface="Arial"/>
            </a:endParaRPr>
          </a:p>
          <a:p>
            <a:pPr marL="0" lvl="1" indent="0">
              <a:buNone/>
            </a:pPr>
            <a:endParaRPr lang="en-US" sz="400" b="1" kern="0" dirty="0">
              <a:sym typeface="Arial"/>
            </a:endParaRPr>
          </a:p>
          <a:p>
            <a:pPr marL="285750" indent="-285750">
              <a:buFont typeface="Arial" panose="020B0604020202020204" pitchFamily="34" charset="0"/>
              <a:buChar char="•"/>
            </a:pPr>
            <a:endParaRPr lang="en-US" kern="0" dirty="0">
              <a:sym typeface="Arial"/>
            </a:endParaRPr>
          </a:p>
          <a:p>
            <a:endParaRPr lang="hu-HU" kern="0" dirty="0">
              <a:sym typeface="Arial"/>
            </a:endParaRPr>
          </a:p>
        </p:txBody>
      </p:sp>
      <p:cxnSp>
        <p:nvCxnSpPr>
          <p:cNvPr id="63" name="Straight Arrow Connector 129">
            <a:extLst>
              <a:ext uri="{FF2B5EF4-FFF2-40B4-BE49-F238E27FC236}">
                <a16:creationId xmlns:a16="http://schemas.microsoft.com/office/drawing/2014/main" id="{5188BC7D-9801-1FB6-CC0E-187E1DF46E3C}"/>
              </a:ext>
            </a:extLst>
          </p:cNvPr>
          <p:cNvCxnSpPr>
            <a:cxnSpLocks/>
          </p:cNvCxnSpPr>
          <p:nvPr/>
        </p:nvCxnSpPr>
        <p:spPr bwMode="auto">
          <a:xfrm>
            <a:off x="3694445" y="2651935"/>
            <a:ext cx="540000" cy="0"/>
          </a:xfrm>
          <a:prstGeom prst="straightConnector1">
            <a:avLst/>
          </a:prstGeom>
          <a:solidFill>
            <a:srgbClr val="C0C0C0"/>
          </a:solidFill>
          <a:ln w="47625" cap="rnd" cmpd="sng" algn="ctr">
            <a:solidFill>
              <a:schemeClr val="tx1">
                <a:lumMod val="65000"/>
                <a:lumOff val="35000"/>
              </a:schemeClr>
            </a:solidFill>
            <a:prstDash val="solid"/>
            <a:round/>
            <a:headEnd type="none" w="med" len="sm"/>
            <a:tailEnd type="triangle" w="med" len="sm"/>
          </a:ln>
          <a:effectLst/>
        </p:spPr>
      </p:cxnSp>
      <p:sp>
        <p:nvSpPr>
          <p:cNvPr id="64" name="Multiply 2">
            <a:extLst>
              <a:ext uri="{FF2B5EF4-FFF2-40B4-BE49-F238E27FC236}">
                <a16:creationId xmlns:a16="http://schemas.microsoft.com/office/drawing/2014/main" id="{B5D17C9C-13B2-BBA4-CA8F-EAC393257992}"/>
              </a:ext>
            </a:extLst>
          </p:cNvPr>
          <p:cNvSpPr/>
          <p:nvPr/>
        </p:nvSpPr>
        <p:spPr bwMode="auto">
          <a:xfrm>
            <a:off x="8822937" y="3912279"/>
            <a:ext cx="197444" cy="241431"/>
          </a:xfrm>
          <a:prstGeom prst="mathMultiply">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Tree>
    <p:extLst>
      <p:ext uri="{BB962C8B-B14F-4D97-AF65-F5344CB8AC3E}">
        <p14:creationId xmlns:p14="http://schemas.microsoft.com/office/powerpoint/2010/main" val="655837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196AF4B-B4C7-380A-6DD4-723E2F2E844D}"/>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82A1F161-2E60-AF95-4AD4-467F6EC348C9}"/>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9CA27BCA-D9EC-951B-D86B-59450BFD1A20}"/>
              </a:ext>
            </a:extLst>
          </p:cNvPr>
          <p:cNvSpPr>
            <a:spLocks noGrp="1"/>
          </p:cNvSpPr>
          <p:nvPr>
            <p:ph type="sldNum" sz="quarter" idx="12"/>
          </p:nvPr>
        </p:nvSpPr>
        <p:spPr/>
        <p:txBody>
          <a:bodyPr/>
          <a:lstStyle/>
          <a:p>
            <a:fld id="{3B0AF0F1-83F4-0746-A551-EEC1F1FEC0BD}" type="slidenum">
              <a:rPr lang="en-GB" noProof="0" smtClean="0"/>
              <a:t>12</a:t>
            </a:fld>
            <a:endParaRPr lang="en-GB" noProof="0"/>
          </a:p>
        </p:txBody>
      </p:sp>
      <p:sp>
        <p:nvSpPr>
          <p:cNvPr id="6" name="Titel 5">
            <a:extLst>
              <a:ext uri="{FF2B5EF4-FFF2-40B4-BE49-F238E27FC236}">
                <a16:creationId xmlns:a16="http://schemas.microsoft.com/office/drawing/2014/main" id="{F734F825-CDF2-FAF3-5148-FF608EF933A7}"/>
              </a:ext>
            </a:extLst>
          </p:cNvPr>
          <p:cNvSpPr>
            <a:spLocks noGrp="1"/>
          </p:cNvSpPr>
          <p:nvPr>
            <p:ph type="title"/>
          </p:nvPr>
        </p:nvSpPr>
        <p:spPr/>
        <p:txBody>
          <a:bodyPr/>
          <a:lstStyle/>
          <a:p>
            <a:r>
              <a:rPr lang="en-GB" dirty="0"/>
              <a:t>Information sources – JAO publication tool</a:t>
            </a:r>
            <a:br>
              <a:rPr lang="en-GB" dirty="0"/>
            </a:br>
            <a:endParaRPr lang="de-DE" dirty="0"/>
          </a:p>
        </p:txBody>
      </p:sp>
      <p:sp>
        <p:nvSpPr>
          <p:cNvPr id="7" name="Textplatzhalter 6">
            <a:extLst>
              <a:ext uri="{FF2B5EF4-FFF2-40B4-BE49-F238E27FC236}">
                <a16:creationId xmlns:a16="http://schemas.microsoft.com/office/drawing/2014/main" id="{14168E70-2B21-6B6E-356A-1D7479729047}"/>
              </a:ext>
            </a:extLst>
          </p:cNvPr>
          <p:cNvSpPr>
            <a:spLocks noGrp="1"/>
          </p:cNvSpPr>
          <p:nvPr>
            <p:ph type="body" sz="quarter" idx="14"/>
          </p:nvPr>
        </p:nvSpPr>
        <p:spPr>
          <a:xfrm>
            <a:off x="1347788" y="1822450"/>
            <a:ext cx="2630825" cy="4252913"/>
          </a:xfrm>
        </p:spPr>
        <p:txBody>
          <a:bodyPr/>
          <a:lstStyle/>
          <a:p>
            <a:r>
              <a:rPr lang="de-DE" dirty="0">
                <a:hlinkClick r:id="rId2"/>
              </a:rPr>
              <a:t>https://publicationtool.jao.eu/coreID/</a:t>
            </a:r>
            <a:endParaRPr lang="de-DE" dirty="0"/>
          </a:p>
          <a:p>
            <a:endParaRPr lang="de-DE" dirty="0"/>
          </a:p>
        </p:txBody>
      </p:sp>
      <p:pic>
        <p:nvPicPr>
          <p:cNvPr id="9" name="Grafik 8">
            <a:extLst>
              <a:ext uri="{FF2B5EF4-FFF2-40B4-BE49-F238E27FC236}">
                <a16:creationId xmlns:a16="http://schemas.microsoft.com/office/drawing/2014/main" id="{DA3D212A-8569-466E-2F9D-99A5E13524AD}"/>
              </a:ext>
            </a:extLst>
          </p:cNvPr>
          <p:cNvPicPr>
            <a:picLocks noChangeAspect="1"/>
          </p:cNvPicPr>
          <p:nvPr/>
        </p:nvPicPr>
        <p:blipFill>
          <a:blip r:embed="rId3"/>
          <a:stretch>
            <a:fillRect/>
          </a:stretch>
        </p:blipFill>
        <p:spPr>
          <a:xfrm>
            <a:off x="4144310" y="1252796"/>
            <a:ext cx="6776532" cy="50355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169268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hidden="1">
            <a:extLst>
              <a:ext uri="{FF2B5EF4-FFF2-40B4-BE49-F238E27FC236}">
                <a16:creationId xmlns:a16="http://schemas.microsoft.com/office/drawing/2014/main" id="{5AA94CF9-E113-3B83-E710-E67DB84DF889}"/>
              </a:ext>
            </a:extLst>
          </p:cNvPr>
          <p:cNvSpPr>
            <a:spLocks noGrp="1"/>
          </p:cNvSpPr>
          <p:nvPr>
            <p:ph type="dt" sz="half" idx="10"/>
          </p:nvPr>
        </p:nvSpPr>
        <p:spPr>
          <a:xfrm>
            <a:off x="1347597" y="6378834"/>
            <a:ext cx="1528579" cy="365125"/>
          </a:xfrm>
        </p:spPr>
        <p:txBody>
          <a:bodyPr anchor="ctr">
            <a:normAutofit/>
          </a:bodyPr>
          <a:lstStyle/>
          <a:p>
            <a:pPr>
              <a:spcAft>
                <a:spcPts val="600"/>
              </a:spcAft>
            </a:pPr>
            <a:fld id="{FBBD662F-D740-4D90-9184-8FDCC08DB2D7}" type="datetime4">
              <a:rPr lang="en-GB" noProof="0" smtClean="0"/>
              <a:pPr>
                <a:spcAft>
                  <a:spcPts val="600"/>
                </a:spcAft>
              </a:pPr>
              <a:t>23 January 2025</a:t>
            </a:fld>
            <a:endParaRPr lang="en-GB" noProof="0"/>
          </a:p>
        </p:txBody>
      </p:sp>
      <p:sp>
        <p:nvSpPr>
          <p:cNvPr id="3" name="Fußzeilenplatzhalter 2">
            <a:extLst>
              <a:ext uri="{FF2B5EF4-FFF2-40B4-BE49-F238E27FC236}">
                <a16:creationId xmlns:a16="http://schemas.microsoft.com/office/drawing/2014/main" id="{8717419D-D792-53B4-6E83-449EE2460A30}"/>
              </a:ext>
            </a:extLst>
          </p:cNvPr>
          <p:cNvSpPr>
            <a:spLocks noGrp="1"/>
          </p:cNvSpPr>
          <p:nvPr>
            <p:ph type="ftr" sz="quarter" idx="11"/>
          </p:nvPr>
        </p:nvSpPr>
        <p:spPr>
          <a:xfrm>
            <a:off x="3151752" y="6378834"/>
            <a:ext cx="4616234" cy="365125"/>
          </a:xfrm>
        </p:spPr>
        <p:txBody>
          <a:bodyPr anchor="ctr">
            <a:normAutofit/>
          </a:bodyPr>
          <a:lstStyle/>
          <a:p>
            <a:pPr>
              <a:spcAft>
                <a:spcPts val="600"/>
              </a:spcAft>
            </a:pPr>
            <a:r>
              <a:rPr lang="en-GB" noProof="0"/>
              <a:t>Confidentiality</a:t>
            </a:r>
            <a:endParaRPr lang="en-GB" b="1" noProof="0"/>
          </a:p>
        </p:txBody>
      </p:sp>
      <p:sp>
        <p:nvSpPr>
          <p:cNvPr id="4" name="Foliennummernplatzhalter 3" hidden="1">
            <a:extLst>
              <a:ext uri="{FF2B5EF4-FFF2-40B4-BE49-F238E27FC236}">
                <a16:creationId xmlns:a16="http://schemas.microsoft.com/office/drawing/2014/main" id="{15A9C43C-C749-4236-9FF4-959DF52F26D3}"/>
              </a:ext>
            </a:extLst>
          </p:cNvPr>
          <p:cNvSpPr>
            <a:spLocks noGrp="1"/>
          </p:cNvSpPr>
          <p:nvPr>
            <p:ph type="sldNum" sz="quarter" idx="12"/>
          </p:nvPr>
        </p:nvSpPr>
        <p:spPr>
          <a:xfrm>
            <a:off x="454699" y="6378834"/>
            <a:ext cx="514165" cy="365125"/>
          </a:xfrm>
        </p:spPr>
        <p:txBody>
          <a:bodyPr anchor="ctr">
            <a:normAutofit/>
          </a:bodyPr>
          <a:lstStyle/>
          <a:p>
            <a:pPr>
              <a:spcAft>
                <a:spcPts val="600"/>
              </a:spcAft>
            </a:pPr>
            <a:fld id="{3B0AF0F1-83F4-0746-A551-EEC1F1FEC0BD}" type="slidenum">
              <a:rPr lang="en-GB" noProof="0" smtClean="0"/>
              <a:pPr>
                <a:spcAft>
                  <a:spcPts val="600"/>
                </a:spcAft>
              </a:pPr>
              <a:t>13</a:t>
            </a:fld>
            <a:endParaRPr lang="en-GB" noProof="0"/>
          </a:p>
        </p:txBody>
      </p:sp>
      <p:pic>
        <p:nvPicPr>
          <p:cNvPr id="13" name="Grafik 12">
            <a:extLst>
              <a:ext uri="{FF2B5EF4-FFF2-40B4-BE49-F238E27FC236}">
                <a16:creationId xmlns:a16="http://schemas.microsoft.com/office/drawing/2014/main" id="{33284948-0CD4-63D6-A06C-BBC49186ADE3}"/>
              </a:ext>
            </a:extLst>
          </p:cNvPr>
          <p:cNvPicPr>
            <a:picLocks noChangeAspect="1"/>
          </p:cNvPicPr>
          <p:nvPr/>
        </p:nvPicPr>
        <p:blipFill rotWithShape="1">
          <a:blip r:embed="rId2"/>
          <a:srcRect r="55472"/>
          <a:stretch/>
        </p:blipFill>
        <p:spPr>
          <a:xfrm>
            <a:off x="1227138" y="918225"/>
            <a:ext cx="4561103" cy="4726152"/>
          </a:xfrm>
          <a:prstGeom prst="rect">
            <a:avLst/>
          </a:prstGeom>
          <a:ln>
            <a:noFill/>
          </a:ln>
          <a:effectLst>
            <a:outerShdw blurRad="292100" dist="139700" dir="2700000" algn="tl" rotWithShape="0">
              <a:srgbClr val="333333">
                <a:alpha val="65000"/>
              </a:srgbClr>
            </a:outerShdw>
          </a:effectLst>
        </p:spPr>
      </p:pic>
      <p:sp>
        <p:nvSpPr>
          <p:cNvPr id="15" name="Textfeld 14">
            <a:extLst>
              <a:ext uri="{FF2B5EF4-FFF2-40B4-BE49-F238E27FC236}">
                <a16:creationId xmlns:a16="http://schemas.microsoft.com/office/drawing/2014/main" id="{E34C56D2-502B-9ED6-7668-58FEB91A43F1}"/>
              </a:ext>
            </a:extLst>
          </p:cNvPr>
          <p:cNvSpPr txBox="1"/>
          <p:nvPr/>
        </p:nvSpPr>
        <p:spPr>
          <a:xfrm>
            <a:off x="1227137" y="6009502"/>
            <a:ext cx="9665763" cy="338554"/>
          </a:xfrm>
          <a:prstGeom prst="rect">
            <a:avLst/>
          </a:prstGeom>
          <a:noFill/>
        </p:spPr>
        <p:txBody>
          <a:bodyPr wrap="square" rtlCol="0">
            <a:spAutoFit/>
          </a:bodyPr>
          <a:lstStyle/>
          <a:p>
            <a:pPr algn="l"/>
            <a:r>
              <a:rPr lang="de-DE" sz="1600" dirty="0" err="1"/>
              <a:t>Credit</a:t>
            </a:r>
            <a:r>
              <a:rPr lang="de-DE" sz="1600" dirty="0"/>
              <a:t> </a:t>
            </a:r>
            <a:r>
              <a:rPr lang="de-DE" sz="1600" dirty="0" err="1"/>
              <a:t>goes</a:t>
            </a:r>
            <a:r>
              <a:rPr lang="de-DE" sz="1600" dirty="0"/>
              <a:t> </a:t>
            </a:r>
            <a:r>
              <a:rPr lang="de-DE" sz="1600" dirty="0" err="1"/>
              <a:t>to</a:t>
            </a:r>
            <a:r>
              <a:rPr lang="de-DE" sz="1600" dirty="0"/>
              <a:t> Frank Boerman:  </a:t>
            </a:r>
            <a:r>
              <a:rPr lang="de-DE" sz="1600" dirty="0">
                <a:hlinkClick r:id="rId3"/>
              </a:rPr>
              <a:t>https://data.boerman.dev/</a:t>
            </a:r>
            <a:r>
              <a:rPr lang="de-DE" sz="1600" dirty="0"/>
              <a:t> &amp; </a:t>
            </a:r>
            <a:r>
              <a:rPr lang="de-DE" sz="1600" dirty="0">
                <a:hlinkClick r:id="rId4"/>
              </a:rPr>
              <a:t>https://idcc.coreflowbased.eu/</a:t>
            </a:r>
            <a:r>
              <a:rPr lang="de-DE" sz="1600" dirty="0"/>
              <a:t> </a:t>
            </a:r>
          </a:p>
        </p:txBody>
      </p:sp>
      <p:sp>
        <p:nvSpPr>
          <p:cNvPr id="7" name="Titel 5">
            <a:extLst>
              <a:ext uri="{FF2B5EF4-FFF2-40B4-BE49-F238E27FC236}">
                <a16:creationId xmlns:a16="http://schemas.microsoft.com/office/drawing/2014/main" id="{9C7C7206-3A62-65E7-71DE-FFB24A3FA4AD}"/>
              </a:ext>
            </a:extLst>
          </p:cNvPr>
          <p:cNvSpPr txBox="1">
            <a:spLocks/>
          </p:cNvSpPr>
          <p:nvPr/>
        </p:nvSpPr>
        <p:spPr>
          <a:xfrm>
            <a:off x="900655" y="361586"/>
            <a:ext cx="10390690" cy="430503"/>
          </a:xfrm>
          <a:prstGeom prst="rect">
            <a:avLst/>
          </a:prstGeom>
        </p:spPr>
        <p:txBody>
          <a:bodyPr/>
          <a:lst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a:lstStyle>
          <a:p>
            <a:r>
              <a:rPr lang="en-GB" dirty="0"/>
              <a:t>Information sources </a:t>
            </a:r>
            <a:endParaRPr lang="de-DE" dirty="0"/>
          </a:p>
        </p:txBody>
      </p:sp>
      <p:pic>
        <p:nvPicPr>
          <p:cNvPr id="6" name="Grafik 5">
            <a:extLst>
              <a:ext uri="{FF2B5EF4-FFF2-40B4-BE49-F238E27FC236}">
                <a16:creationId xmlns:a16="http://schemas.microsoft.com/office/drawing/2014/main" id="{FFE231BA-3F2E-7B42-068E-385605D73724}"/>
              </a:ext>
            </a:extLst>
          </p:cNvPr>
          <p:cNvPicPr>
            <a:picLocks noChangeAspect="1"/>
          </p:cNvPicPr>
          <p:nvPr/>
        </p:nvPicPr>
        <p:blipFill>
          <a:blip r:embed="rId5"/>
          <a:stretch>
            <a:fillRect/>
          </a:stretch>
        </p:blipFill>
        <p:spPr>
          <a:xfrm>
            <a:off x="6663000" y="918225"/>
            <a:ext cx="4443279" cy="472615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831703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BC558AD-EAEE-8B0F-B148-1C91FB7F72A9}"/>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078C2D43-3F88-60A7-63D3-1A405E5876CB}"/>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39CEB071-7801-B833-7708-3E3D83D1F296}"/>
              </a:ext>
            </a:extLst>
          </p:cNvPr>
          <p:cNvSpPr>
            <a:spLocks noGrp="1"/>
          </p:cNvSpPr>
          <p:nvPr>
            <p:ph type="sldNum" sz="quarter" idx="12"/>
          </p:nvPr>
        </p:nvSpPr>
        <p:spPr/>
        <p:txBody>
          <a:bodyPr/>
          <a:lstStyle/>
          <a:p>
            <a:fld id="{3B0AF0F1-83F4-0746-A551-EEC1F1FEC0BD}" type="slidenum">
              <a:rPr lang="en-GB" noProof="0" smtClean="0"/>
              <a:t>14</a:t>
            </a:fld>
            <a:endParaRPr lang="en-GB" noProof="0"/>
          </a:p>
        </p:txBody>
      </p:sp>
      <p:sp>
        <p:nvSpPr>
          <p:cNvPr id="6" name="Titel 5">
            <a:extLst>
              <a:ext uri="{FF2B5EF4-FFF2-40B4-BE49-F238E27FC236}">
                <a16:creationId xmlns:a16="http://schemas.microsoft.com/office/drawing/2014/main" id="{C28F8F8F-7F31-A9BB-EC63-4A9262DCDD70}"/>
              </a:ext>
            </a:extLst>
          </p:cNvPr>
          <p:cNvSpPr>
            <a:spLocks noGrp="1"/>
          </p:cNvSpPr>
          <p:nvPr>
            <p:ph type="title"/>
          </p:nvPr>
        </p:nvSpPr>
        <p:spPr/>
        <p:txBody>
          <a:bodyPr/>
          <a:lstStyle/>
          <a:p>
            <a:r>
              <a:rPr lang="de-DE" sz="3200" dirty="0"/>
              <a:t>Distribution </a:t>
            </a:r>
            <a:r>
              <a:rPr lang="de-DE" sz="3200" dirty="0" err="1"/>
              <a:t>of</a:t>
            </a:r>
            <a:r>
              <a:rPr lang="de-DE" sz="3200" dirty="0"/>
              <a:t> </a:t>
            </a:r>
            <a:r>
              <a:rPr lang="de-DE" sz="3200" dirty="0" err="1"/>
              <a:t>Hourly</a:t>
            </a:r>
            <a:r>
              <a:rPr lang="de-DE" sz="3200" dirty="0"/>
              <a:t> positive NTC </a:t>
            </a:r>
            <a:r>
              <a:rPr lang="de-DE" sz="3200" dirty="0" err="1"/>
              <a:t>increase</a:t>
            </a:r>
            <a:r>
              <a:rPr lang="de-DE" sz="3200" dirty="0"/>
              <a:t> via IDCC (b) in 2024</a:t>
            </a:r>
          </a:p>
        </p:txBody>
      </p:sp>
      <p:sp>
        <p:nvSpPr>
          <p:cNvPr id="14" name="Textfeld 13">
            <a:extLst>
              <a:ext uri="{FF2B5EF4-FFF2-40B4-BE49-F238E27FC236}">
                <a16:creationId xmlns:a16="http://schemas.microsoft.com/office/drawing/2014/main" id="{7F047F99-C7D0-757C-8467-AC92DDFF4DE5}"/>
              </a:ext>
            </a:extLst>
          </p:cNvPr>
          <p:cNvSpPr txBox="1"/>
          <p:nvPr/>
        </p:nvSpPr>
        <p:spPr>
          <a:xfrm>
            <a:off x="7601528" y="6216067"/>
            <a:ext cx="3814618" cy="246221"/>
          </a:xfrm>
          <a:prstGeom prst="rect">
            <a:avLst/>
          </a:prstGeom>
          <a:noFill/>
        </p:spPr>
        <p:txBody>
          <a:bodyPr wrap="square" rtlCol="0">
            <a:spAutoFit/>
          </a:bodyPr>
          <a:lstStyle/>
          <a:p>
            <a:pPr algn="l"/>
            <a:r>
              <a:rPr lang="de-DE" sz="1000" dirty="0"/>
              <a:t>*</a:t>
            </a:r>
            <a:r>
              <a:rPr lang="de-DE" sz="1000" dirty="0" err="1"/>
              <a:t>only</a:t>
            </a:r>
            <a:r>
              <a:rPr lang="de-DE" sz="1000" dirty="0"/>
              <a:t> positive [NTC (b) - NTC (a)] </a:t>
            </a:r>
            <a:r>
              <a:rPr lang="de-DE" sz="1000" dirty="0" err="1"/>
              <a:t>values</a:t>
            </a:r>
            <a:r>
              <a:rPr lang="de-DE" sz="1000" dirty="0"/>
              <a:t> </a:t>
            </a:r>
            <a:r>
              <a:rPr lang="de-DE" sz="1000" dirty="0" err="1"/>
              <a:t>are</a:t>
            </a:r>
            <a:r>
              <a:rPr lang="de-DE" sz="1000" dirty="0"/>
              <a:t> </a:t>
            </a:r>
            <a:r>
              <a:rPr lang="de-DE" sz="1000" dirty="0" err="1"/>
              <a:t>taken</a:t>
            </a:r>
            <a:r>
              <a:rPr lang="de-DE" sz="1000" dirty="0"/>
              <a:t> </a:t>
            </a:r>
            <a:r>
              <a:rPr lang="de-DE" sz="1000" dirty="0" err="1"/>
              <a:t>into</a:t>
            </a:r>
            <a:r>
              <a:rPr lang="de-DE" sz="1000" dirty="0"/>
              <a:t> </a:t>
            </a:r>
            <a:r>
              <a:rPr lang="de-DE" sz="1000" dirty="0" err="1"/>
              <a:t>account</a:t>
            </a:r>
            <a:endParaRPr lang="de-DE" sz="1000" dirty="0"/>
          </a:p>
        </p:txBody>
      </p:sp>
      <p:pic>
        <p:nvPicPr>
          <p:cNvPr id="16" name="Grafik 15">
            <a:extLst>
              <a:ext uri="{FF2B5EF4-FFF2-40B4-BE49-F238E27FC236}">
                <a16:creationId xmlns:a16="http://schemas.microsoft.com/office/drawing/2014/main" id="{57E18367-7F44-BC63-91EB-D9C3AE6A502D}"/>
              </a:ext>
            </a:extLst>
          </p:cNvPr>
          <p:cNvPicPr>
            <a:picLocks noChangeAspect="1"/>
          </p:cNvPicPr>
          <p:nvPr/>
        </p:nvPicPr>
        <p:blipFill>
          <a:blip r:embed="rId2"/>
          <a:stretch>
            <a:fillRect/>
          </a:stretch>
        </p:blipFill>
        <p:spPr>
          <a:xfrm>
            <a:off x="1342070" y="1334775"/>
            <a:ext cx="9867524" cy="4873633"/>
          </a:xfrm>
          <a:prstGeom prst="rect">
            <a:avLst/>
          </a:prstGeom>
        </p:spPr>
      </p:pic>
    </p:spTree>
    <p:extLst>
      <p:ext uri="{BB962C8B-B14F-4D97-AF65-F5344CB8AC3E}">
        <p14:creationId xmlns:p14="http://schemas.microsoft.com/office/powerpoint/2010/main" val="13377399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E8E52D3E-1013-0D4F-B125-14674390F32D}"/>
              </a:ext>
            </a:extLst>
          </p:cNvPr>
          <p:cNvSpPr>
            <a:spLocks noGrp="1"/>
          </p:cNvSpPr>
          <p:nvPr>
            <p:ph type="dt" sz="half" idx="10"/>
          </p:nvPr>
        </p:nvSpPr>
        <p:spPr>
          <a:xfrm>
            <a:off x="1347597" y="6378834"/>
            <a:ext cx="1528579" cy="365125"/>
          </a:xfrm>
        </p:spPr>
        <p:txBody>
          <a:bodyPr/>
          <a:lstStyle/>
          <a:p>
            <a:fld id="{381FDED3-5070-4389-9C9B-A4915D5AADED}" type="datetime4">
              <a:rPr lang="en-GB" smtClean="0"/>
              <a:t>23 January 2025</a:t>
            </a:fld>
            <a:endParaRPr lang="en-GB"/>
          </a:p>
        </p:txBody>
      </p:sp>
      <p:sp>
        <p:nvSpPr>
          <p:cNvPr id="5" name="Slide Number Placeholder 4">
            <a:extLst>
              <a:ext uri="{FF2B5EF4-FFF2-40B4-BE49-F238E27FC236}">
                <a16:creationId xmlns:a16="http://schemas.microsoft.com/office/drawing/2014/main" id="{62A38887-A32F-4814-9DA0-0E1384CFEF07}"/>
              </a:ext>
            </a:extLst>
          </p:cNvPr>
          <p:cNvSpPr>
            <a:spLocks noGrp="1"/>
          </p:cNvSpPr>
          <p:nvPr>
            <p:ph type="sldNum" sz="quarter" idx="12"/>
          </p:nvPr>
        </p:nvSpPr>
        <p:spPr/>
        <p:txBody>
          <a:bodyPr/>
          <a:lstStyle/>
          <a:p>
            <a:fld id="{3B0AF0F1-83F4-0746-A551-EEC1F1FEC0BD}" type="slidenum">
              <a:rPr lang="en-GB" smtClean="0"/>
              <a:pPr/>
              <a:t>15</a:t>
            </a:fld>
            <a:endParaRPr lang="en-GB"/>
          </a:p>
        </p:txBody>
      </p:sp>
      <p:sp>
        <p:nvSpPr>
          <p:cNvPr id="4" name="Footer Placeholder 3">
            <a:extLst>
              <a:ext uri="{FF2B5EF4-FFF2-40B4-BE49-F238E27FC236}">
                <a16:creationId xmlns:a16="http://schemas.microsoft.com/office/drawing/2014/main" id="{5F16C2AC-C18C-47BD-A4CF-8A4F865F7508}"/>
              </a:ext>
            </a:extLst>
          </p:cNvPr>
          <p:cNvSpPr>
            <a:spLocks noGrp="1"/>
          </p:cNvSpPr>
          <p:nvPr>
            <p:ph type="ftr" sz="quarter" idx="11"/>
          </p:nvPr>
        </p:nvSpPr>
        <p:spPr/>
        <p:txBody>
          <a:bodyPr/>
          <a:lstStyle/>
          <a:p>
            <a:r>
              <a:rPr lang="en-GB" noProof="0"/>
              <a:t>Confidentiality</a:t>
            </a:r>
            <a:endParaRPr lang="en-GB" b="1" noProof="0"/>
          </a:p>
        </p:txBody>
      </p:sp>
    </p:spTree>
    <p:extLst>
      <p:ext uri="{BB962C8B-B14F-4D97-AF65-F5344CB8AC3E}">
        <p14:creationId xmlns:p14="http://schemas.microsoft.com/office/powerpoint/2010/main" val="3138319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D866144-35A6-2AE6-9CB2-6CB3728B295D}"/>
              </a:ext>
            </a:extLst>
          </p:cNvPr>
          <p:cNvSpPr>
            <a:spLocks noGrp="1"/>
          </p:cNvSpPr>
          <p:nvPr>
            <p:ph type="dt" sz="half" idx="10"/>
          </p:nvPr>
        </p:nvSpPr>
        <p:spPr/>
        <p:txBody>
          <a:bodyPr/>
          <a:lstStyle/>
          <a:p>
            <a:fld id="{069529D5-3790-459D-9D97-5B91C2EB4E1B}" type="datetime4">
              <a:rPr lang="en-GB" noProof="0" smtClean="0"/>
              <a:t>23 January 2025</a:t>
            </a:fld>
            <a:endParaRPr lang="en-GB" noProof="0" dirty="0"/>
          </a:p>
        </p:txBody>
      </p:sp>
      <p:sp>
        <p:nvSpPr>
          <p:cNvPr id="4" name="Foliennummernplatzhalter 3">
            <a:extLst>
              <a:ext uri="{FF2B5EF4-FFF2-40B4-BE49-F238E27FC236}">
                <a16:creationId xmlns:a16="http://schemas.microsoft.com/office/drawing/2014/main" id="{C3976C80-0A71-1DD4-6FDD-969BDD06F473}"/>
              </a:ext>
            </a:extLst>
          </p:cNvPr>
          <p:cNvSpPr>
            <a:spLocks noGrp="1"/>
          </p:cNvSpPr>
          <p:nvPr>
            <p:ph type="sldNum" sz="quarter" idx="12"/>
          </p:nvPr>
        </p:nvSpPr>
        <p:spPr/>
        <p:txBody>
          <a:bodyPr/>
          <a:lstStyle/>
          <a:p>
            <a:fld id="{3B0AF0F1-83F4-0746-A551-EEC1F1FEC0BD}" type="slidenum">
              <a:rPr lang="en-GB" noProof="0" smtClean="0"/>
              <a:t>2</a:t>
            </a:fld>
            <a:endParaRPr lang="en-GB" noProof="0" dirty="0"/>
          </a:p>
        </p:txBody>
      </p:sp>
      <p:sp>
        <p:nvSpPr>
          <p:cNvPr id="6" name="Titel 5">
            <a:extLst>
              <a:ext uri="{FF2B5EF4-FFF2-40B4-BE49-F238E27FC236}">
                <a16:creationId xmlns:a16="http://schemas.microsoft.com/office/drawing/2014/main" id="{3A213BAD-2E67-0D39-6C2E-9DB39B0DE1CD}"/>
              </a:ext>
            </a:extLst>
          </p:cNvPr>
          <p:cNvSpPr>
            <a:spLocks noGrp="1"/>
          </p:cNvSpPr>
          <p:nvPr>
            <p:ph type="title"/>
          </p:nvPr>
        </p:nvSpPr>
        <p:spPr/>
        <p:txBody>
          <a:bodyPr/>
          <a:lstStyle/>
          <a:p>
            <a:r>
              <a:rPr lang="en-GB" dirty="0"/>
              <a:t>Agenda</a:t>
            </a:r>
            <a:endParaRPr lang="de-DE" dirty="0"/>
          </a:p>
        </p:txBody>
      </p:sp>
      <p:sp>
        <p:nvSpPr>
          <p:cNvPr id="7" name="Textplatzhalter 6">
            <a:extLst>
              <a:ext uri="{FF2B5EF4-FFF2-40B4-BE49-F238E27FC236}">
                <a16:creationId xmlns:a16="http://schemas.microsoft.com/office/drawing/2014/main" id="{CCCF7196-AB7D-44E2-DFB4-3E38D18738F5}"/>
              </a:ext>
            </a:extLst>
          </p:cNvPr>
          <p:cNvSpPr>
            <a:spLocks noGrp="1"/>
          </p:cNvSpPr>
          <p:nvPr>
            <p:ph type="body" sz="quarter" idx="13"/>
          </p:nvPr>
        </p:nvSpPr>
        <p:spPr>
          <a:xfrm>
            <a:off x="6604092" y="1607194"/>
            <a:ext cx="4644777" cy="4698999"/>
          </a:xfrm>
        </p:spPr>
        <p:txBody>
          <a:bodyPr/>
          <a:lstStyle/>
          <a:p>
            <a:pPr>
              <a:lnSpc>
                <a:spcPct val="100000"/>
              </a:lnSpc>
            </a:pPr>
            <a:r>
              <a:rPr lang="en-GB" sz="2400" dirty="0">
                <a:solidFill>
                  <a:schemeClr val="tx1"/>
                </a:solidFill>
              </a:rPr>
              <a:t>Aim and goal of TSO regarding </a:t>
            </a:r>
            <a:r>
              <a:rPr lang="en-GB" sz="2400" dirty="0" err="1">
                <a:solidFill>
                  <a:schemeClr val="tx1"/>
                </a:solidFill>
              </a:rPr>
              <a:t>CrossZonalCapacities</a:t>
            </a:r>
            <a:endParaRPr lang="en-GB" sz="2400" dirty="0">
              <a:solidFill>
                <a:schemeClr val="tx1"/>
              </a:solidFill>
            </a:endParaRPr>
          </a:p>
          <a:p>
            <a:pPr>
              <a:lnSpc>
                <a:spcPct val="100000"/>
              </a:lnSpc>
            </a:pPr>
            <a:r>
              <a:rPr lang="en-GB" sz="2400" dirty="0">
                <a:solidFill>
                  <a:schemeClr val="tx1"/>
                </a:solidFill>
              </a:rPr>
              <a:t>Process overview DACC &amp; IDCC</a:t>
            </a:r>
          </a:p>
          <a:p>
            <a:pPr>
              <a:lnSpc>
                <a:spcPct val="100000"/>
              </a:lnSpc>
            </a:pPr>
            <a:r>
              <a:rPr lang="en-GB" sz="2400" dirty="0">
                <a:solidFill>
                  <a:schemeClr val="tx1"/>
                </a:solidFill>
              </a:rPr>
              <a:t>IDCC in detail</a:t>
            </a:r>
          </a:p>
          <a:p>
            <a:pPr>
              <a:lnSpc>
                <a:spcPct val="100000"/>
              </a:lnSpc>
            </a:pPr>
            <a:r>
              <a:rPr lang="en-GB" sz="2400" dirty="0">
                <a:solidFill>
                  <a:schemeClr val="tx1"/>
                </a:solidFill>
              </a:rPr>
              <a:t>Publication locations</a:t>
            </a:r>
          </a:p>
          <a:p>
            <a:pPr>
              <a:lnSpc>
                <a:spcPct val="100000"/>
              </a:lnSpc>
            </a:pPr>
            <a:r>
              <a:rPr lang="en-GB" sz="2400" dirty="0">
                <a:solidFill>
                  <a:schemeClr val="tx1"/>
                </a:solidFill>
              </a:rPr>
              <a:t>Key numbers and figures</a:t>
            </a:r>
          </a:p>
          <a:p>
            <a:endParaRPr lang="de-DE" dirty="0"/>
          </a:p>
        </p:txBody>
      </p:sp>
      <p:pic>
        <p:nvPicPr>
          <p:cNvPr id="8" name="Tijdelijke aanduiding voor afbeelding 107" descr="Afbeelding met lucht, buiten, water, wolken&#10;&#10;Automatisch gegenereerde beschrijving">
            <a:extLst>
              <a:ext uri="{FF2B5EF4-FFF2-40B4-BE49-F238E27FC236}">
                <a16:creationId xmlns:a16="http://schemas.microsoft.com/office/drawing/2014/main" id="{E21FAB51-37F0-1DE0-4325-DCBDEA633BE7}"/>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l="8352" r="8352"/>
          <a:stretch/>
        </p:blipFill>
        <p:spPr>
          <a:xfrm>
            <a:off x="1347788" y="1198563"/>
            <a:ext cx="4645025" cy="4298950"/>
          </a:xfrm>
        </p:spPr>
      </p:pic>
      <p:sp>
        <p:nvSpPr>
          <p:cNvPr id="9" name="Fußzeilenplatzhalter 2">
            <a:extLst>
              <a:ext uri="{FF2B5EF4-FFF2-40B4-BE49-F238E27FC236}">
                <a16:creationId xmlns:a16="http://schemas.microsoft.com/office/drawing/2014/main" id="{091DD4BF-022E-A1F3-FC8B-7E0FFB9C24A5}"/>
              </a:ext>
            </a:extLst>
          </p:cNvPr>
          <p:cNvSpPr>
            <a:spLocks noGrp="1"/>
          </p:cNvSpPr>
          <p:nvPr>
            <p:ph type="ftr" sz="quarter" idx="11"/>
          </p:nvPr>
        </p:nvSpPr>
        <p:spPr>
          <a:xfrm>
            <a:off x="3151752" y="6378834"/>
            <a:ext cx="4616234" cy="365125"/>
          </a:xfrm>
        </p:spPr>
        <p:txBody>
          <a:bodyPr/>
          <a:lstStyle/>
          <a:p>
            <a:r>
              <a:rPr lang="en-GB" dirty="0"/>
              <a:t>Intraday Capacity Calculation</a:t>
            </a:r>
          </a:p>
        </p:txBody>
      </p:sp>
    </p:spTree>
    <p:extLst>
      <p:ext uri="{BB962C8B-B14F-4D97-AF65-F5344CB8AC3E}">
        <p14:creationId xmlns:p14="http://schemas.microsoft.com/office/powerpoint/2010/main" val="3679899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F63B595-C81B-FA4C-29CA-F6B9C3BCADBF}"/>
              </a:ext>
            </a:extLst>
          </p:cNvPr>
          <p:cNvSpPr>
            <a:spLocks noGrp="1"/>
          </p:cNvSpPr>
          <p:nvPr>
            <p:ph type="dt" sz="half" idx="10"/>
          </p:nvPr>
        </p:nvSpPr>
        <p:spPr/>
        <p:txBody>
          <a:bodyPr/>
          <a:lstStyle/>
          <a:p>
            <a:fld id="{FBBD662F-D740-4D90-9184-8FDCC08DB2D7}" type="datetime4">
              <a:rPr lang="en-GB" noProof="0" smtClean="0"/>
              <a:t>23 January 2025</a:t>
            </a:fld>
            <a:endParaRPr lang="en-GB" noProof="0" dirty="0"/>
          </a:p>
        </p:txBody>
      </p:sp>
      <p:sp>
        <p:nvSpPr>
          <p:cNvPr id="4" name="Foliennummernplatzhalter 3">
            <a:extLst>
              <a:ext uri="{FF2B5EF4-FFF2-40B4-BE49-F238E27FC236}">
                <a16:creationId xmlns:a16="http://schemas.microsoft.com/office/drawing/2014/main" id="{41214305-BCFD-500A-DB23-12E526954BC4}"/>
              </a:ext>
            </a:extLst>
          </p:cNvPr>
          <p:cNvSpPr>
            <a:spLocks noGrp="1"/>
          </p:cNvSpPr>
          <p:nvPr>
            <p:ph type="sldNum" sz="quarter" idx="12"/>
          </p:nvPr>
        </p:nvSpPr>
        <p:spPr/>
        <p:txBody>
          <a:bodyPr/>
          <a:lstStyle/>
          <a:p>
            <a:fld id="{3B0AF0F1-83F4-0746-A551-EEC1F1FEC0BD}" type="slidenum">
              <a:rPr lang="en-GB" noProof="0" smtClean="0"/>
              <a:t>3</a:t>
            </a:fld>
            <a:endParaRPr lang="en-GB" noProof="0"/>
          </a:p>
        </p:txBody>
      </p:sp>
      <p:sp>
        <p:nvSpPr>
          <p:cNvPr id="6" name="Titel 5">
            <a:extLst>
              <a:ext uri="{FF2B5EF4-FFF2-40B4-BE49-F238E27FC236}">
                <a16:creationId xmlns:a16="http://schemas.microsoft.com/office/drawing/2014/main" id="{15AC6E1E-9D45-E367-FF57-34D675C39700}"/>
              </a:ext>
            </a:extLst>
          </p:cNvPr>
          <p:cNvSpPr>
            <a:spLocks noGrp="1"/>
          </p:cNvSpPr>
          <p:nvPr>
            <p:ph type="title"/>
          </p:nvPr>
        </p:nvSpPr>
        <p:spPr>
          <a:xfrm>
            <a:off x="1347597" y="518822"/>
            <a:ext cx="5861071" cy="680562"/>
          </a:xfrm>
        </p:spPr>
        <p:txBody>
          <a:bodyPr/>
          <a:lstStyle/>
          <a:p>
            <a:r>
              <a:rPr lang="en-GB" dirty="0"/>
              <a:t>Aim and goal of TSO regarding </a:t>
            </a:r>
            <a:r>
              <a:rPr lang="en-GB" dirty="0" err="1"/>
              <a:t>CrossZonalCapacities</a:t>
            </a:r>
            <a:br>
              <a:rPr lang="en-GB" dirty="0"/>
            </a:br>
            <a:endParaRPr lang="de-DE" dirty="0"/>
          </a:p>
        </p:txBody>
      </p:sp>
      <p:sp>
        <p:nvSpPr>
          <p:cNvPr id="8" name="Freihandform: Form 2">
            <a:extLst>
              <a:ext uri="{FF2B5EF4-FFF2-40B4-BE49-F238E27FC236}">
                <a16:creationId xmlns:a16="http://schemas.microsoft.com/office/drawing/2014/main" id="{F4722992-F30A-5567-5B49-E940B4D4DEAD}"/>
              </a:ext>
            </a:extLst>
          </p:cNvPr>
          <p:cNvSpPr/>
          <p:nvPr/>
        </p:nvSpPr>
        <p:spPr>
          <a:xfrm>
            <a:off x="10157397" y="762283"/>
            <a:ext cx="616930" cy="744822"/>
          </a:xfrm>
          <a:custGeom>
            <a:avLst/>
            <a:gdLst>
              <a:gd name="connsiteX0" fmla="*/ 322564 w 616930"/>
              <a:gd name="connsiteY0" fmla="*/ 4327 h 744822"/>
              <a:gd name="connsiteX1" fmla="*/ 345003 w 616930"/>
              <a:gd name="connsiteY1" fmla="*/ 15546 h 744822"/>
              <a:gd name="connsiteX2" fmla="*/ 361833 w 616930"/>
              <a:gd name="connsiteY2" fmla="*/ 35181 h 744822"/>
              <a:gd name="connsiteX3" fmla="*/ 373052 w 616930"/>
              <a:gd name="connsiteY3" fmla="*/ 40791 h 744822"/>
              <a:gd name="connsiteX4" fmla="*/ 387077 w 616930"/>
              <a:gd name="connsiteY4" fmla="*/ 52010 h 744822"/>
              <a:gd name="connsiteX5" fmla="*/ 395492 w 616930"/>
              <a:gd name="connsiteY5" fmla="*/ 57620 h 744822"/>
              <a:gd name="connsiteX6" fmla="*/ 403906 w 616930"/>
              <a:gd name="connsiteY6" fmla="*/ 66035 h 744822"/>
              <a:gd name="connsiteX7" fmla="*/ 426346 w 616930"/>
              <a:gd name="connsiteY7" fmla="*/ 80059 h 744822"/>
              <a:gd name="connsiteX8" fmla="*/ 434760 w 616930"/>
              <a:gd name="connsiteY8" fmla="*/ 82864 h 744822"/>
              <a:gd name="connsiteX9" fmla="*/ 462809 w 616930"/>
              <a:gd name="connsiteY9" fmla="*/ 88474 h 744822"/>
              <a:gd name="connsiteX10" fmla="*/ 468419 w 616930"/>
              <a:gd name="connsiteY10" fmla="*/ 96889 h 744822"/>
              <a:gd name="connsiteX11" fmla="*/ 476834 w 616930"/>
              <a:gd name="connsiteY11" fmla="*/ 99694 h 744822"/>
              <a:gd name="connsiteX12" fmla="*/ 485249 w 616930"/>
              <a:gd name="connsiteY12" fmla="*/ 105303 h 744822"/>
              <a:gd name="connsiteX13" fmla="*/ 499273 w 616930"/>
              <a:gd name="connsiteY13" fmla="*/ 122133 h 744822"/>
              <a:gd name="connsiteX14" fmla="*/ 504883 w 616930"/>
              <a:gd name="connsiteY14" fmla="*/ 130548 h 744822"/>
              <a:gd name="connsiteX15" fmla="*/ 521712 w 616930"/>
              <a:gd name="connsiteY15" fmla="*/ 152987 h 744822"/>
              <a:gd name="connsiteX16" fmla="*/ 530127 w 616930"/>
              <a:gd name="connsiteY16" fmla="*/ 164207 h 744822"/>
              <a:gd name="connsiteX17" fmla="*/ 532932 w 616930"/>
              <a:gd name="connsiteY17" fmla="*/ 178231 h 744822"/>
              <a:gd name="connsiteX18" fmla="*/ 535737 w 616930"/>
              <a:gd name="connsiteY18" fmla="*/ 186646 h 744822"/>
              <a:gd name="connsiteX19" fmla="*/ 544152 w 616930"/>
              <a:gd name="connsiteY19" fmla="*/ 223110 h 744822"/>
              <a:gd name="connsiteX20" fmla="*/ 546957 w 616930"/>
              <a:gd name="connsiteY20" fmla="*/ 237134 h 744822"/>
              <a:gd name="connsiteX21" fmla="*/ 558176 w 616930"/>
              <a:gd name="connsiteY21" fmla="*/ 304452 h 744822"/>
              <a:gd name="connsiteX22" fmla="*/ 560981 w 616930"/>
              <a:gd name="connsiteY22" fmla="*/ 315672 h 744822"/>
              <a:gd name="connsiteX23" fmla="*/ 563786 w 616930"/>
              <a:gd name="connsiteY23" fmla="*/ 329696 h 744822"/>
              <a:gd name="connsiteX24" fmla="*/ 569396 w 616930"/>
              <a:gd name="connsiteY24" fmla="*/ 343721 h 744822"/>
              <a:gd name="connsiteX25" fmla="*/ 572201 w 616930"/>
              <a:gd name="connsiteY25" fmla="*/ 352135 h 744822"/>
              <a:gd name="connsiteX26" fmla="*/ 586225 w 616930"/>
              <a:gd name="connsiteY26" fmla="*/ 380184 h 744822"/>
              <a:gd name="connsiteX27" fmla="*/ 591835 w 616930"/>
              <a:gd name="connsiteY27" fmla="*/ 425063 h 744822"/>
              <a:gd name="connsiteX28" fmla="*/ 594640 w 616930"/>
              <a:gd name="connsiteY28" fmla="*/ 439088 h 744822"/>
              <a:gd name="connsiteX29" fmla="*/ 600250 w 616930"/>
              <a:gd name="connsiteY29" fmla="*/ 447502 h 744822"/>
              <a:gd name="connsiteX30" fmla="*/ 603055 w 616930"/>
              <a:gd name="connsiteY30" fmla="*/ 455917 h 744822"/>
              <a:gd name="connsiteX31" fmla="*/ 608665 w 616930"/>
              <a:gd name="connsiteY31" fmla="*/ 467137 h 744822"/>
              <a:gd name="connsiteX32" fmla="*/ 614274 w 616930"/>
              <a:gd name="connsiteY32" fmla="*/ 489576 h 744822"/>
              <a:gd name="connsiteX33" fmla="*/ 600250 w 616930"/>
              <a:gd name="connsiteY33" fmla="*/ 486771 h 744822"/>
              <a:gd name="connsiteX34" fmla="*/ 563786 w 616930"/>
              <a:gd name="connsiteY34" fmla="*/ 497991 h 744822"/>
              <a:gd name="connsiteX35" fmla="*/ 546957 w 616930"/>
              <a:gd name="connsiteY35" fmla="*/ 503600 h 744822"/>
              <a:gd name="connsiteX36" fmla="*/ 507688 w 616930"/>
              <a:gd name="connsiteY36" fmla="*/ 506405 h 744822"/>
              <a:gd name="connsiteX37" fmla="*/ 462809 w 616930"/>
              <a:gd name="connsiteY37" fmla="*/ 537259 h 744822"/>
              <a:gd name="connsiteX38" fmla="*/ 471224 w 616930"/>
              <a:gd name="connsiteY38" fmla="*/ 540064 h 744822"/>
              <a:gd name="connsiteX39" fmla="*/ 474029 w 616930"/>
              <a:gd name="connsiteY39" fmla="*/ 548479 h 744822"/>
              <a:gd name="connsiteX40" fmla="*/ 448785 w 616930"/>
              <a:gd name="connsiteY40" fmla="*/ 582138 h 744822"/>
              <a:gd name="connsiteX41" fmla="*/ 443175 w 616930"/>
              <a:gd name="connsiteY41" fmla="*/ 666285 h 744822"/>
              <a:gd name="connsiteX42" fmla="*/ 437565 w 616930"/>
              <a:gd name="connsiteY42" fmla="*/ 677505 h 744822"/>
              <a:gd name="connsiteX43" fmla="*/ 440370 w 616930"/>
              <a:gd name="connsiteY43" fmla="*/ 711164 h 744822"/>
              <a:gd name="connsiteX44" fmla="*/ 445980 w 616930"/>
              <a:gd name="connsiteY44" fmla="*/ 719578 h 744822"/>
              <a:gd name="connsiteX45" fmla="*/ 457200 w 616930"/>
              <a:gd name="connsiteY45" fmla="*/ 739213 h 744822"/>
              <a:gd name="connsiteX46" fmla="*/ 440370 w 616930"/>
              <a:gd name="connsiteY46" fmla="*/ 739213 h 744822"/>
              <a:gd name="connsiteX47" fmla="*/ 401101 w 616930"/>
              <a:gd name="connsiteY47" fmla="*/ 744822 h 744822"/>
              <a:gd name="connsiteX48" fmla="*/ 367442 w 616930"/>
              <a:gd name="connsiteY48" fmla="*/ 742018 h 744822"/>
              <a:gd name="connsiteX49" fmla="*/ 364638 w 616930"/>
              <a:gd name="connsiteY49" fmla="*/ 730798 h 744822"/>
              <a:gd name="connsiteX50" fmla="*/ 347808 w 616930"/>
              <a:gd name="connsiteY50" fmla="*/ 702749 h 744822"/>
              <a:gd name="connsiteX51" fmla="*/ 342198 w 616930"/>
              <a:gd name="connsiteY51" fmla="*/ 691529 h 744822"/>
              <a:gd name="connsiteX52" fmla="*/ 325369 w 616930"/>
              <a:gd name="connsiteY52" fmla="*/ 677505 h 744822"/>
              <a:gd name="connsiteX53" fmla="*/ 319759 w 616930"/>
              <a:gd name="connsiteY53" fmla="*/ 666285 h 744822"/>
              <a:gd name="connsiteX54" fmla="*/ 311344 w 616930"/>
              <a:gd name="connsiteY54" fmla="*/ 660675 h 744822"/>
              <a:gd name="connsiteX55" fmla="*/ 274881 w 616930"/>
              <a:gd name="connsiteY55" fmla="*/ 641041 h 744822"/>
              <a:gd name="connsiteX56" fmla="*/ 252441 w 616930"/>
              <a:gd name="connsiteY56" fmla="*/ 627016 h 744822"/>
              <a:gd name="connsiteX57" fmla="*/ 235612 w 616930"/>
              <a:gd name="connsiteY57" fmla="*/ 618602 h 744822"/>
              <a:gd name="connsiteX58" fmla="*/ 232807 w 616930"/>
              <a:gd name="connsiteY58" fmla="*/ 610187 h 744822"/>
              <a:gd name="connsiteX59" fmla="*/ 221587 w 616930"/>
              <a:gd name="connsiteY59" fmla="*/ 593357 h 744822"/>
              <a:gd name="connsiteX60" fmla="*/ 204758 w 616930"/>
              <a:gd name="connsiteY60" fmla="*/ 568113 h 744822"/>
              <a:gd name="connsiteX61" fmla="*/ 176709 w 616930"/>
              <a:gd name="connsiteY61" fmla="*/ 554089 h 744822"/>
              <a:gd name="connsiteX62" fmla="*/ 157074 w 616930"/>
              <a:gd name="connsiteY62" fmla="*/ 551284 h 744822"/>
              <a:gd name="connsiteX63" fmla="*/ 148660 w 616930"/>
              <a:gd name="connsiteY63" fmla="*/ 548479 h 744822"/>
              <a:gd name="connsiteX64" fmla="*/ 115001 w 616930"/>
              <a:gd name="connsiteY64" fmla="*/ 531649 h 744822"/>
              <a:gd name="connsiteX65" fmla="*/ 106586 w 616930"/>
              <a:gd name="connsiteY65" fmla="*/ 528845 h 744822"/>
              <a:gd name="connsiteX66" fmla="*/ 70122 w 616930"/>
              <a:gd name="connsiteY66" fmla="*/ 506405 h 744822"/>
              <a:gd name="connsiteX67" fmla="*/ 33658 w 616930"/>
              <a:gd name="connsiteY67" fmla="*/ 486771 h 744822"/>
              <a:gd name="connsiteX68" fmla="*/ 0 w 616930"/>
              <a:gd name="connsiteY68" fmla="*/ 478356 h 744822"/>
              <a:gd name="connsiteX69" fmla="*/ 2804 w 616930"/>
              <a:gd name="connsiteY69" fmla="*/ 447502 h 744822"/>
              <a:gd name="connsiteX70" fmla="*/ 14024 w 616930"/>
              <a:gd name="connsiteY70" fmla="*/ 430673 h 744822"/>
              <a:gd name="connsiteX71" fmla="*/ 33658 w 616930"/>
              <a:gd name="connsiteY71" fmla="*/ 405429 h 744822"/>
              <a:gd name="connsiteX72" fmla="*/ 42073 w 616930"/>
              <a:gd name="connsiteY72" fmla="*/ 394209 h 744822"/>
              <a:gd name="connsiteX73" fmla="*/ 64512 w 616930"/>
              <a:gd name="connsiteY73" fmla="*/ 371770 h 744822"/>
              <a:gd name="connsiteX74" fmla="*/ 78537 w 616930"/>
              <a:gd name="connsiteY74" fmla="*/ 343721 h 744822"/>
              <a:gd name="connsiteX75" fmla="*/ 75732 w 616930"/>
              <a:gd name="connsiteY75" fmla="*/ 329696 h 744822"/>
              <a:gd name="connsiteX76" fmla="*/ 70122 w 616930"/>
              <a:gd name="connsiteY76" fmla="*/ 321281 h 744822"/>
              <a:gd name="connsiteX77" fmla="*/ 61708 w 616930"/>
              <a:gd name="connsiteY77" fmla="*/ 298842 h 744822"/>
              <a:gd name="connsiteX78" fmla="*/ 64512 w 616930"/>
              <a:gd name="connsiteY78" fmla="*/ 267988 h 744822"/>
              <a:gd name="connsiteX79" fmla="*/ 72927 w 616930"/>
              <a:gd name="connsiteY79" fmla="*/ 256769 h 744822"/>
              <a:gd name="connsiteX80" fmla="*/ 78537 w 616930"/>
              <a:gd name="connsiteY80" fmla="*/ 248354 h 744822"/>
              <a:gd name="connsiteX81" fmla="*/ 106586 w 616930"/>
              <a:gd name="connsiteY81" fmla="*/ 209085 h 744822"/>
              <a:gd name="connsiteX82" fmla="*/ 134635 w 616930"/>
              <a:gd name="connsiteY82" fmla="*/ 186646 h 744822"/>
              <a:gd name="connsiteX83" fmla="*/ 143050 w 616930"/>
              <a:gd name="connsiteY83" fmla="*/ 192256 h 744822"/>
              <a:gd name="connsiteX84" fmla="*/ 171099 w 616930"/>
              <a:gd name="connsiteY84" fmla="*/ 197865 h 744822"/>
              <a:gd name="connsiteX85" fmla="*/ 179514 w 616930"/>
              <a:gd name="connsiteY85" fmla="*/ 195061 h 744822"/>
              <a:gd name="connsiteX86" fmla="*/ 193538 w 616930"/>
              <a:gd name="connsiteY86" fmla="*/ 105303 h 744822"/>
              <a:gd name="connsiteX87" fmla="*/ 210368 w 616930"/>
              <a:gd name="connsiteY87" fmla="*/ 99694 h 744822"/>
              <a:gd name="connsiteX88" fmla="*/ 241222 w 616930"/>
              <a:gd name="connsiteY88" fmla="*/ 102499 h 744822"/>
              <a:gd name="connsiteX89" fmla="*/ 280490 w 616930"/>
              <a:gd name="connsiteY89" fmla="*/ 113718 h 744822"/>
              <a:gd name="connsiteX90" fmla="*/ 291710 w 616930"/>
              <a:gd name="connsiteY90" fmla="*/ 116523 h 744822"/>
              <a:gd name="connsiteX91" fmla="*/ 300125 w 616930"/>
              <a:gd name="connsiteY91" fmla="*/ 77254 h 744822"/>
              <a:gd name="connsiteX92" fmla="*/ 305734 w 616930"/>
              <a:gd name="connsiteY92" fmla="*/ 52010 h 744822"/>
              <a:gd name="connsiteX93" fmla="*/ 302930 w 616930"/>
              <a:gd name="connsiteY93" fmla="*/ 7132 h 744822"/>
              <a:gd name="connsiteX94" fmla="*/ 322564 w 616930"/>
              <a:gd name="connsiteY94" fmla="*/ 4327 h 74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16930" h="744822">
                <a:moveTo>
                  <a:pt x="322564" y="4327"/>
                </a:moveTo>
                <a:cubicBezTo>
                  <a:pt x="329576" y="5729"/>
                  <a:pt x="339403" y="9947"/>
                  <a:pt x="345003" y="15546"/>
                </a:cubicBezTo>
                <a:cubicBezTo>
                  <a:pt x="354583" y="25125"/>
                  <a:pt x="351143" y="27545"/>
                  <a:pt x="361833" y="35181"/>
                </a:cubicBezTo>
                <a:cubicBezTo>
                  <a:pt x="365235" y="37611"/>
                  <a:pt x="369573" y="38472"/>
                  <a:pt x="373052" y="40791"/>
                </a:cubicBezTo>
                <a:cubicBezTo>
                  <a:pt x="378033" y="44112"/>
                  <a:pt x="382288" y="48418"/>
                  <a:pt x="387077" y="52010"/>
                </a:cubicBezTo>
                <a:cubicBezTo>
                  <a:pt x="389774" y="54033"/>
                  <a:pt x="392902" y="55462"/>
                  <a:pt x="395492" y="57620"/>
                </a:cubicBezTo>
                <a:cubicBezTo>
                  <a:pt x="398539" y="60159"/>
                  <a:pt x="400894" y="63454"/>
                  <a:pt x="403906" y="66035"/>
                </a:cubicBezTo>
                <a:cubicBezTo>
                  <a:pt x="411958" y="72937"/>
                  <a:pt x="416771" y="75955"/>
                  <a:pt x="426346" y="80059"/>
                </a:cubicBezTo>
                <a:cubicBezTo>
                  <a:pt x="429063" y="81224"/>
                  <a:pt x="431917" y="82052"/>
                  <a:pt x="434760" y="82864"/>
                </a:cubicBezTo>
                <a:cubicBezTo>
                  <a:pt x="446474" y="86211"/>
                  <a:pt x="449587" y="86270"/>
                  <a:pt x="462809" y="88474"/>
                </a:cubicBezTo>
                <a:cubicBezTo>
                  <a:pt x="464679" y="91279"/>
                  <a:pt x="465787" y="94783"/>
                  <a:pt x="468419" y="96889"/>
                </a:cubicBezTo>
                <a:cubicBezTo>
                  <a:pt x="470728" y="98736"/>
                  <a:pt x="474189" y="98372"/>
                  <a:pt x="476834" y="99694"/>
                </a:cubicBezTo>
                <a:cubicBezTo>
                  <a:pt x="479849" y="101201"/>
                  <a:pt x="482444" y="103433"/>
                  <a:pt x="485249" y="105303"/>
                </a:cubicBezTo>
                <a:cubicBezTo>
                  <a:pt x="499170" y="126189"/>
                  <a:pt x="481282" y="100543"/>
                  <a:pt x="499273" y="122133"/>
                </a:cubicBezTo>
                <a:cubicBezTo>
                  <a:pt x="501431" y="124723"/>
                  <a:pt x="502900" y="127822"/>
                  <a:pt x="504883" y="130548"/>
                </a:cubicBezTo>
                <a:cubicBezTo>
                  <a:pt x="510382" y="138109"/>
                  <a:pt x="516102" y="145507"/>
                  <a:pt x="521712" y="152987"/>
                </a:cubicBezTo>
                <a:lnTo>
                  <a:pt x="530127" y="164207"/>
                </a:lnTo>
                <a:cubicBezTo>
                  <a:pt x="531062" y="168882"/>
                  <a:pt x="531776" y="173606"/>
                  <a:pt x="532932" y="178231"/>
                </a:cubicBezTo>
                <a:cubicBezTo>
                  <a:pt x="533649" y="181099"/>
                  <a:pt x="535251" y="183730"/>
                  <a:pt x="535737" y="186646"/>
                </a:cubicBezTo>
                <a:cubicBezTo>
                  <a:pt x="541454" y="220946"/>
                  <a:pt x="533546" y="201897"/>
                  <a:pt x="544152" y="223110"/>
                </a:cubicBezTo>
                <a:cubicBezTo>
                  <a:pt x="545087" y="227785"/>
                  <a:pt x="546411" y="232398"/>
                  <a:pt x="546957" y="237134"/>
                </a:cubicBezTo>
                <a:cubicBezTo>
                  <a:pt x="554403" y="301669"/>
                  <a:pt x="541366" y="279237"/>
                  <a:pt x="558176" y="304452"/>
                </a:cubicBezTo>
                <a:cubicBezTo>
                  <a:pt x="559111" y="308192"/>
                  <a:pt x="560145" y="311909"/>
                  <a:pt x="560981" y="315672"/>
                </a:cubicBezTo>
                <a:cubicBezTo>
                  <a:pt x="562015" y="320326"/>
                  <a:pt x="562416" y="325130"/>
                  <a:pt x="563786" y="329696"/>
                </a:cubicBezTo>
                <a:cubicBezTo>
                  <a:pt x="565233" y="334519"/>
                  <a:pt x="567628" y="339006"/>
                  <a:pt x="569396" y="343721"/>
                </a:cubicBezTo>
                <a:cubicBezTo>
                  <a:pt x="570434" y="346489"/>
                  <a:pt x="570879" y="349491"/>
                  <a:pt x="572201" y="352135"/>
                </a:cubicBezTo>
                <a:cubicBezTo>
                  <a:pt x="590543" y="388820"/>
                  <a:pt x="571814" y="344158"/>
                  <a:pt x="586225" y="380184"/>
                </a:cubicBezTo>
                <a:cubicBezTo>
                  <a:pt x="590428" y="430618"/>
                  <a:pt x="585930" y="398492"/>
                  <a:pt x="591835" y="425063"/>
                </a:cubicBezTo>
                <a:cubicBezTo>
                  <a:pt x="592869" y="429717"/>
                  <a:pt x="592966" y="434624"/>
                  <a:pt x="594640" y="439088"/>
                </a:cubicBezTo>
                <a:cubicBezTo>
                  <a:pt x="595824" y="442244"/>
                  <a:pt x="598380" y="444697"/>
                  <a:pt x="600250" y="447502"/>
                </a:cubicBezTo>
                <a:cubicBezTo>
                  <a:pt x="601185" y="450307"/>
                  <a:pt x="601890" y="453199"/>
                  <a:pt x="603055" y="455917"/>
                </a:cubicBezTo>
                <a:cubicBezTo>
                  <a:pt x="604702" y="459760"/>
                  <a:pt x="607343" y="463170"/>
                  <a:pt x="608665" y="467137"/>
                </a:cubicBezTo>
                <a:cubicBezTo>
                  <a:pt x="611103" y="474451"/>
                  <a:pt x="621834" y="491088"/>
                  <a:pt x="614274" y="489576"/>
                </a:cubicBezTo>
                <a:lnTo>
                  <a:pt x="600250" y="486771"/>
                </a:lnTo>
                <a:cubicBezTo>
                  <a:pt x="573494" y="497473"/>
                  <a:pt x="599642" y="487747"/>
                  <a:pt x="563786" y="497991"/>
                </a:cubicBezTo>
                <a:cubicBezTo>
                  <a:pt x="558100" y="499615"/>
                  <a:pt x="552805" y="502723"/>
                  <a:pt x="546957" y="503600"/>
                </a:cubicBezTo>
                <a:cubicBezTo>
                  <a:pt x="533979" y="505547"/>
                  <a:pt x="520778" y="505470"/>
                  <a:pt x="507688" y="506405"/>
                </a:cubicBezTo>
                <a:cubicBezTo>
                  <a:pt x="455025" y="566595"/>
                  <a:pt x="521747" y="497970"/>
                  <a:pt x="462809" y="537259"/>
                </a:cubicBezTo>
                <a:cubicBezTo>
                  <a:pt x="460349" y="538899"/>
                  <a:pt x="468419" y="539129"/>
                  <a:pt x="471224" y="540064"/>
                </a:cubicBezTo>
                <a:cubicBezTo>
                  <a:pt x="472159" y="542869"/>
                  <a:pt x="474029" y="545522"/>
                  <a:pt x="474029" y="548479"/>
                </a:cubicBezTo>
                <a:cubicBezTo>
                  <a:pt x="474029" y="574312"/>
                  <a:pt x="471423" y="567988"/>
                  <a:pt x="448785" y="582138"/>
                </a:cubicBezTo>
                <a:cubicBezTo>
                  <a:pt x="437216" y="616844"/>
                  <a:pt x="452713" y="567727"/>
                  <a:pt x="443175" y="666285"/>
                </a:cubicBezTo>
                <a:cubicBezTo>
                  <a:pt x="442772" y="670447"/>
                  <a:pt x="439435" y="673765"/>
                  <a:pt x="437565" y="677505"/>
                </a:cubicBezTo>
                <a:cubicBezTo>
                  <a:pt x="438500" y="688725"/>
                  <a:pt x="438162" y="700124"/>
                  <a:pt x="440370" y="711164"/>
                </a:cubicBezTo>
                <a:cubicBezTo>
                  <a:pt x="441031" y="714469"/>
                  <a:pt x="444307" y="716651"/>
                  <a:pt x="445980" y="719578"/>
                </a:cubicBezTo>
                <a:cubicBezTo>
                  <a:pt x="460220" y="744497"/>
                  <a:pt x="443528" y="718705"/>
                  <a:pt x="457200" y="739213"/>
                </a:cubicBezTo>
                <a:cubicBezTo>
                  <a:pt x="429953" y="748295"/>
                  <a:pt x="467617" y="737611"/>
                  <a:pt x="440370" y="739213"/>
                </a:cubicBezTo>
                <a:cubicBezTo>
                  <a:pt x="427170" y="739989"/>
                  <a:pt x="414191" y="742952"/>
                  <a:pt x="401101" y="744822"/>
                </a:cubicBezTo>
                <a:cubicBezTo>
                  <a:pt x="389881" y="743887"/>
                  <a:pt x="377950" y="746060"/>
                  <a:pt x="367442" y="742018"/>
                </a:cubicBezTo>
                <a:cubicBezTo>
                  <a:pt x="363844" y="740634"/>
                  <a:pt x="366233" y="734308"/>
                  <a:pt x="364638" y="730798"/>
                </a:cubicBezTo>
                <a:cubicBezTo>
                  <a:pt x="352480" y="704049"/>
                  <a:pt x="357271" y="719309"/>
                  <a:pt x="347808" y="702749"/>
                </a:cubicBezTo>
                <a:cubicBezTo>
                  <a:pt x="345733" y="699118"/>
                  <a:pt x="344976" y="694654"/>
                  <a:pt x="342198" y="691529"/>
                </a:cubicBezTo>
                <a:cubicBezTo>
                  <a:pt x="337347" y="686071"/>
                  <a:pt x="330979" y="682180"/>
                  <a:pt x="325369" y="677505"/>
                </a:cubicBezTo>
                <a:cubicBezTo>
                  <a:pt x="323499" y="673765"/>
                  <a:pt x="322436" y="669497"/>
                  <a:pt x="319759" y="666285"/>
                </a:cubicBezTo>
                <a:cubicBezTo>
                  <a:pt x="317601" y="663695"/>
                  <a:pt x="314087" y="662634"/>
                  <a:pt x="311344" y="660675"/>
                </a:cubicBezTo>
                <a:cubicBezTo>
                  <a:pt x="282281" y="639916"/>
                  <a:pt x="325035" y="667594"/>
                  <a:pt x="274881" y="641041"/>
                </a:cubicBezTo>
                <a:cubicBezTo>
                  <a:pt x="267085" y="636914"/>
                  <a:pt x="260100" y="631392"/>
                  <a:pt x="252441" y="627016"/>
                </a:cubicBezTo>
                <a:cubicBezTo>
                  <a:pt x="246996" y="623904"/>
                  <a:pt x="241222" y="621407"/>
                  <a:pt x="235612" y="618602"/>
                </a:cubicBezTo>
                <a:cubicBezTo>
                  <a:pt x="234677" y="615797"/>
                  <a:pt x="234243" y="612772"/>
                  <a:pt x="232807" y="610187"/>
                </a:cubicBezTo>
                <a:cubicBezTo>
                  <a:pt x="229533" y="604293"/>
                  <a:pt x="223719" y="599753"/>
                  <a:pt x="221587" y="593357"/>
                </a:cubicBezTo>
                <a:cubicBezTo>
                  <a:pt x="217394" y="580778"/>
                  <a:pt x="218400" y="580390"/>
                  <a:pt x="204758" y="568113"/>
                </a:cubicBezTo>
                <a:cubicBezTo>
                  <a:pt x="199653" y="563519"/>
                  <a:pt x="183569" y="555804"/>
                  <a:pt x="176709" y="554089"/>
                </a:cubicBezTo>
                <a:cubicBezTo>
                  <a:pt x="170295" y="552485"/>
                  <a:pt x="163619" y="552219"/>
                  <a:pt x="157074" y="551284"/>
                </a:cubicBezTo>
                <a:cubicBezTo>
                  <a:pt x="154269" y="550349"/>
                  <a:pt x="151339" y="549729"/>
                  <a:pt x="148660" y="548479"/>
                </a:cubicBezTo>
                <a:cubicBezTo>
                  <a:pt x="137293" y="543174"/>
                  <a:pt x="126902" y="535615"/>
                  <a:pt x="115001" y="531649"/>
                </a:cubicBezTo>
                <a:lnTo>
                  <a:pt x="106586" y="528845"/>
                </a:lnTo>
                <a:cubicBezTo>
                  <a:pt x="70652" y="498043"/>
                  <a:pt x="103232" y="521686"/>
                  <a:pt x="70122" y="506405"/>
                </a:cubicBezTo>
                <a:cubicBezTo>
                  <a:pt x="51707" y="497906"/>
                  <a:pt x="51684" y="493704"/>
                  <a:pt x="33658" y="486771"/>
                </a:cubicBezTo>
                <a:cubicBezTo>
                  <a:pt x="22414" y="482446"/>
                  <a:pt x="11612" y="480679"/>
                  <a:pt x="0" y="478356"/>
                </a:cubicBezTo>
                <a:cubicBezTo>
                  <a:pt x="935" y="468071"/>
                  <a:pt x="-110" y="457409"/>
                  <a:pt x="2804" y="447502"/>
                </a:cubicBezTo>
                <a:cubicBezTo>
                  <a:pt x="4706" y="441034"/>
                  <a:pt x="9885" y="435995"/>
                  <a:pt x="14024" y="430673"/>
                </a:cubicBezTo>
                <a:lnTo>
                  <a:pt x="33658" y="405429"/>
                </a:lnTo>
                <a:cubicBezTo>
                  <a:pt x="36508" y="401723"/>
                  <a:pt x="38767" y="397515"/>
                  <a:pt x="42073" y="394209"/>
                </a:cubicBezTo>
                <a:cubicBezTo>
                  <a:pt x="49553" y="386729"/>
                  <a:pt x="57679" y="379845"/>
                  <a:pt x="64512" y="371770"/>
                </a:cubicBezTo>
                <a:cubicBezTo>
                  <a:pt x="71469" y="363548"/>
                  <a:pt x="74641" y="353461"/>
                  <a:pt x="78537" y="343721"/>
                </a:cubicBezTo>
                <a:cubicBezTo>
                  <a:pt x="77602" y="339046"/>
                  <a:pt x="77406" y="334160"/>
                  <a:pt x="75732" y="329696"/>
                </a:cubicBezTo>
                <a:cubicBezTo>
                  <a:pt x="74548" y="326539"/>
                  <a:pt x="71306" y="324438"/>
                  <a:pt x="70122" y="321281"/>
                </a:cubicBezTo>
                <a:cubicBezTo>
                  <a:pt x="59722" y="293549"/>
                  <a:pt x="74864" y="318580"/>
                  <a:pt x="61708" y="298842"/>
                </a:cubicBezTo>
                <a:cubicBezTo>
                  <a:pt x="62643" y="288557"/>
                  <a:pt x="61851" y="277966"/>
                  <a:pt x="64512" y="267988"/>
                </a:cubicBezTo>
                <a:cubicBezTo>
                  <a:pt x="65716" y="263471"/>
                  <a:pt x="70210" y="260573"/>
                  <a:pt x="72927" y="256769"/>
                </a:cubicBezTo>
                <a:cubicBezTo>
                  <a:pt x="74887" y="254026"/>
                  <a:pt x="76750" y="251213"/>
                  <a:pt x="78537" y="248354"/>
                </a:cubicBezTo>
                <a:cubicBezTo>
                  <a:pt x="88384" y="232599"/>
                  <a:pt x="91529" y="224142"/>
                  <a:pt x="106586" y="209085"/>
                </a:cubicBezTo>
                <a:cubicBezTo>
                  <a:pt x="128311" y="187360"/>
                  <a:pt x="117439" y="192378"/>
                  <a:pt x="134635" y="186646"/>
                </a:cubicBezTo>
                <a:cubicBezTo>
                  <a:pt x="137440" y="188516"/>
                  <a:pt x="139951" y="190928"/>
                  <a:pt x="143050" y="192256"/>
                </a:cubicBezTo>
                <a:cubicBezTo>
                  <a:pt x="148379" y="194540"/>
                  <a:pt x="167297" y="197232"/>
                  <a:pt x="171099" y="197865"/>
                </a:cubicBezTo>
                <a:cubicBezTo>
                  <a:pt x="173904" y="196930"/>
                  <a:pt x="177423" y="197152"/>
                  <a:pt x="179514" y="195061"/>
                </a:cubicBezTo>
                <a:cubicBezTo>
                  <a:pt x="206334" y="168241"/>
                  <a:pt x="182869" y="147977"/>
                  <a:pt x="193538" y="105303"/>
                </a:cubicBezTo>
                <a:cubicBezTo>
                  <a:pt x="194972" y="99566"/>
                  <a:pt x="204758" y="101564"/>
                  <a:pt x="210368" y="99694"/>
                </a:cubicBezTo>
                <a:cubicBezTo>
                  <a:pt x="220653" y="100629"/>
                  <a:pt x="231095" y="100474"/>
                  <a:pt x="241222" y="102499"/>
                </a:cubicBezTo>
                <a:cubicBezTo>
                  <a:pt x="254571" y="105169"/>
                  <a:pt x="267374" y="110075"/>
                  <a:pt x="280490" y="113718"/>
                </a:cubicBezTo>
                <a:cubicBezTo>
                  <a:pt x="284204" y="114750"/>
                  <a:pt x="287970" y="115588"/>
                  <a:pt x="291710" y="116523"/>
                </a:cubicBezTo>
                <a:cubicBezTo>
                  <a:pt x="303900" y="98238"/>
                  <a:pt x="294407" y="115377"/>
                  <a:pt x="300125" y="77254"/>
                </a:cubicBezTo>
                <a:cubicBezTo>
                  <a:pt x="301404" y="68729"/>
                  <a:pt x="303864" y="60425"/>
                  <a:pt x="305734" y="52010"/>
                </a:cubicBezTo>
                <a:cubicBezTo>
                  <a:pt x="304799" y="37051"/>
                  <a:pt x="300325" y="21892"/>
                  <a:pt x="302930" y="7132"/>
                </a:cubicBezTo>
                <a:cubicBezTo>
                  <a:pt x="305274" y="-6151"/>
                  <a:pt x="315552" y="2925"/>
                  <a:pt x="322564" y="4327"/>
                </a:cubicBezTo>
                <a:close/>
              </a:path>
            </a:pathLst>
          </a:custGeom>
          <a:solidFill>
            <a:srgbClr val="00A194"/>
          </a:solidFill>
          <a:ln w="12700">
            <a:solidFill>
              <a:schemeClr val="bg1"/>
            </a:solidFill>
            <a:round/>
            <a:headEnd/>
            <a:tailEnd/>
          </a:ln>
          <a:effectLst/>
        </p:spPr>
        <p:txBody>
          <a:bodyPr wrap="square"/>
          <a:lstStyle/>
          <a:p>
            <a:endParaRPr lang="en-US" sz="1100" i="1"/>
          </a:p>
        </p:txBody>
      </p:sp>
      <p:sp>
        <p:nvSpPr>
          <p:cNvPr id="9" name="Sweden 2">
            <a:extLst>
              <a:ext uri="{FF2B5EF4-FFF2-40B4-BE49-F238E27FC236}">
                <a16:creationId xmlns:a16="http://schemas.microsoft.com/office/drawing/2014/main" id="{904F11EE-54A5-9E01-9B82-45A111CB0112}"/>
              </a:ext>
            </a:extLst>
          </p:cNvPr>
          <p:cNvSpPr>
            <a:spLocks/>
          </p:cNvSpPr>
          <p:nvPr/>
        </p:nvSpPr>
        <p:spPr bwMode="auto">
          <a:xfrm rot="21249101">
            <a:off x="9780313" y="1240947"/>
            <a:ext cx="906194" cy="1770012"/>
          </a:xfrm>
          <a:custGeom>
            <a:avLst/>
            <a:gdLst>
              <a:gd name="T0" fmla="*/ 2147483647 w 2296"/>
              <a:gd name="T1" fmla="*/ 2147483647 h 4909"/>
              <a:gd name="T2" fmla="*/ 2147483647 w 2296"/>
              <a:gd name="T3" fmla="*/ 2147483647 h 4909"/>
              <a:gd name="T4" fmla="*/ 2147483647 w 2296"/>
              <a:gd name="T5" fmla="*/ 2147483647 h 4909"/>
              <a:gd name="T6" fmla="*/ 2147483647 w 2296"/>
              <a:gd name="T7" fmla="*/ 2147483647 h 4909"/>
              <a:gd name="T8" fmla="*/ 2147483647 w 2296"/>
              <a:gd name="T9" fmla="*/ 2147483647 h 4909"/>
              <a:gd name="T10" fmla="*/ 2147483647 w 2296"/>
              <a:gd name="T11" fmla="*/ 2147483647 h 4909"/>
              <a:gd name="T12" fmla="*/ 2147483647 w 2296"/>
              <a:gd name="T13" fmla="*/ 2147483647 h 4909"/>
              <a:gd name="T14" fmla="*/ 2147483647 w 2296"/>
              <a:gd name="T15" fmla="*/ 2147483647 h 4909"/>
              <a:gd name="T16" fmla="*/ 2147483647 w 2296"/>
              <a:gd name="T17" fmla="*/ 2147483647 h 4909"/>
              <a:gd name="T18" fmla="*/ 2147483647 w 2296"/>
              <a:gd name="T19" fmla="*/ 2147483647 h 4909"/>
              <a:gd name="T20" fmla="*/ 2147483647 w 2296"/>
              <a:gd name="T21" fmla="*/ 2147483647 h 4909"/>
              <a:gd name="T22" fmla="*/ 2147483647 w 2296"/>
              <a:gd name="T23" fmla="*/ 2147483647 h 4909"/>
              <a:gd name="T24" fmla="*/ 2147483647 w 2296"/>
              <a:gd name="T25" fmla="*/ 2147483647 h 4909"/>
              <a:gd name="T26" fmla="*/ 2147483647 w 2296"/>
              <a:gd name="T27" fmla="*/ 2147483647 h 4909"/>
              <a:gd name="T28" fmla="*/ 2147483647 w 2296"/>
              <a:gd name="T29" fmla="*/ 2147483647 h 4909"/>
              <a:gd name="T30" fmla="*/ 2147483647 w 2296"/>
              <a:gd name="T31" fmla="*/ 2147483647 h 4909"/>
              <a:gd name="T32" fmla="*/ 2147483647 w 2296"/>
              <a:gd name="T33" fmla="*/ 2147483647 h 4909"/>
              <a:gd name="T34" fmla="*/ 2147483647 w 2296"/>
              <a:gd name="T35" fmla="*/ 2147483647 h 4909"/>
              <a:gd name="T36" fmla="*/ 2147483647 w 2296"/>
              <a:gd name="T37" fmla="*/ 2147483647 h 4909"/>
              <a:gd name="T38" fmla="*/ 2147483647 w 2296"/>
              <a:gd name="T39" fmla="*/ 2147483647 h 4909"/>
              <a:gd name="T40" fmla="*/ 2147483647 w 2296"/>
              <a:gd name="T41" fmla="*/ 2147483647 h 4909"/>
              <a:gd name="T42" fmla="*/ 2147483647 w 2296"/>
              <a:gd name="T43" fmla="*/ 2147483647 h 4909"/>
              <a:gd name="T44" fmla="*/ 2147483647 w 2296"/>
              <a:gd name="T45" fmla="*/ 2147483647 h 4909"/>
              <a:gd name="T46" fmla="*/ 2147483647 w 2296"/>
              <a:gd name="T47" fmla="*/ 2147483647 h 4909"/>
              <a:gd name="T48" fmla="*/ 2147483647 w 2296"/>
              <a:gd name="T49" fmla="*/ 2147483647 h 4909"/>
              <a:gd name="T50" fmla="*/ 2147483647 w 2296"/>
              <a:gd name="T51" fmla="*/ 2147483647 h 4909"/>
              <a:gd name="T52" fmla="*/ 2147483647 w 2296"/>
              <a:gd name="T53" fmla="*/ 2147483647 h 4909"/>
              <a:gd name="T54" fmla="*/ 2147483647 w 2296"/>
              <a:gd name="T55" fmla="*/ 2147483647 h 4909"/>
              <a:gd name="T56" fmla="*/ 2147483647 w 2296"/>
              <a:gd name="T57" fmla="*/ 2147483647 h 4909"/>
              <a:gd name="T58" fmla="*/ 2147483647 w 2296"/>
              <a:gd name="T59" fmla="*/ 2147483647 h 4909"/>
              <a:gd name="T60" fmla="*/ 2147483647 w 2296"/>
              <a:gd name="T61" fmla="*/ 2147483647 h 4909"/>
              <a:gd name="T62" fmla="*/ 2147483647 w 2296"/>
              <a:gd name="T63" fmla="*/ 2147483647 h 4909"/>
              <a:gd name="T64" fmla="*/ 2147483647 w 2296"/>
              <a:gd name="T65" fmla="*/ 2147483647 h 4909"/>
              <a:gd name="T66" fmla="*/ 2147483647 w 2296"/>
              <a:gd name="T67" fmla="*/ 2147483647 h 4909"/>
              <a:gd name="T68" fmla="*/ 2147483647 w 2296"/>
              <a:gd name="T69" fmla="*/ 2147483647 h 4909"/>
              <a:gd name="T70" fmla="*/ 2147483647 w 2296"/>
              <a:gd name="T71" fmla="*/ 2147483647 h 4909"/>
              <a:gd name="T72" fmla="*/ 2147483647 w 2296"/>
              <a:gd name="T73" fmla="*/ 2147483647 h 4909"/>
              <a:gd name="T74" fmla="*/ 2147483647 w 2296"/>
              <a:gd name="T75" fmla="*/ 2147483647 h 4909"/>
              <a:gd name="T76" fmla="*/ 2147483647 w 2296"/>
              <a:gd name="T77" fmla="*/ 2147483647 h 4909"/>
              <a:gd name="T78" fmla="*/ 2147483647 w 2296"/>
              <a:gd name="T79" fmla="*/ 2147483647 h 4909"/>
              <a:gd name="T80" fmla="*/ 2147483647 w 2296"/>
              <a:gd name="T81" fmla="*/ 2147483647 h 4909"/>
              <a:gd name="T82" fmla="*/ 2147483647 w 2296"/>
              <a:gd name="T83" fmla="*/ 2147483647 h 4909"/>
              <a:gd name="T84" fmla="*/ 2147483647 w 2296"/>
              <a:gd name="T85" fmla="*/ 2147483647 h 4909"/>
              <a:gd name="T86" fmla="*/ 2147483647 w 2296"/>
              <a:gd name="T87" fmla="*/ 2147483647 h 4909"/>
              <a:gd name="T88" fmla="*/ 2147483647 w 2296"/>
              <a:gd name="T89" fmla="*/ 2147483647 h 4909"/>
              <a:gd name="T90" fmla="*/ 2147483647 w 2296"/>
              <a:gd name="T91" fmla="*/ 2147483647 h 4909"/>
              <a:gd name="T92" fmla="*/ 2147483647 w 2296"/>
              <a:gd name="T93" fmla="*/ 2147483647 h 4909"/>
              <a:gd name="T94" fmla="*/ 2147483647 w 2296"/>
              <a:gd name="T95" fmla="*/ 2147483647 h 4909"/>
              <a:gd name="T96" fmla="*/ 2147483647 w 2296"/>
              <a:gd name="T97" fmla="*/ 2147483647 h 4909"/>
              <a:gd name="T98" fmla="*/ 2147483647 w 2296"/>
              <a:gd name="T99" fmla="*/ 2147483647 h 4909"/>
              <a:gd name="T100" fmla="*/ 2147483647 w 2296"/>
              <a:gd name="T101" fmla="*/ 2147483647 h 4909"/>
              <a:gd name="T102" fmla="*/ 2147483647 w 2296"/>
              <a:gd name="T103" fmla="*/ 2147483647 h 4909"/>
              <a:gd name="T104" fmla="*/ 2147483647 w 2296"/>
              <a:gd name="T105" fmla="*/ 2147483647 h 4909"/>
              <a:gd name="T106" fmla="*/ 2147483647 w 2296"/>
              <a:gd name="T107" fmla="*/ 2147483647 h 4909"/>
              <a:gd name="T108" fmla="*/ 2147483647 w 2296"/>
              <a:gd name="T109" fmla="*/ 2147483647 h 4909"/>
              <a:gd name="T110" fmla="*/ 2147483647 w 2296"/>
              <a:gd name="T111" fmla="*/ 2147483647 h 4909"/>
              <a:gd name="T112" fmla="*/ 2147483647 w 2296"/>
              <a:gd name="T113" fmla="*/ 2147483647 h 4909"/>
              <a:gd name="T114" fmla="*/ 2147483647 w 2296"/>
              <a:gd name="T115" fmla="*/ 2147483647 h 49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96"/>
              <a:gd name="T175" fmla="*/ 0 h 4909"/>
              <a:gd name="T176" fmla="*/ 2296 w 2296"/>
              <a:gd name="T177" fmla="*/ 4909 h 4909"/>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332 w 10000"/>
              <a:gd name="connsiteY210" fmla="*/ 3353 h 10000"/>
              <a:gd name="connsiteX211" fmla="*/ 8145 w 10000"/>
              <a:gd name="connsiteY211" fmla="*/ 3267 h 10000"/>
              <a:gd name="connsiteX212" fmla="*/ 8123 w 10000"/>
              <a:gd name="connsiteY212" fmla="*/ 3229 h 10000"/>
              <a:gd name="connsiteX213" fmla="*/ 8153 w 10000"/>
              <a:gd name="connsiteY213" fmla="*/ 3219 h 10000"/>
              <a:gd name="connsiteX214" fmla="*/ 8136 w 10000"/>
              <a:gd name="connsiteY214" fmla="*/ 3180 h 10000"/>
              <a:gd name="connsiteX215" fmla="*/ 8075 w 10000"/>
              <a:gd name="connsiteY215" fmla="*/ 3147 h 10000"/>
              <a:gd name="connsiteX216" fmla="*/ 8079 w 10000"/>
              <a:gd name="connsiteY216" fmla="*/ 3127 h 10000"/>
              <a:gd name="connsiteX217" fmla="*/ 8132 w 10000"/>
              <a:gd name="connsiteY217" fmla="*/ 3100 h 10000"/>
              <a:gd name="connsiteX218" fmla="*/ 8145 w 10000"/>
              <a:gd name="connsiteY218" fmla="*/ 3064 h 10000"/>
              <a:gd name="connsiteX219" fmla="*/ 8258 w 10000"/>
              <a:gd name="connsiteY219" fmla="*/ 3037 h 10000"/>
              <a:gd name="connsiteX220" fmla="*/ 8380 w 10000"/>
              <a:gd name="connsiteY220" fmla="*/ 2860 h 10000"/>
              <a:gd name="connsiteX221" fmla="*/ 8253 w 10000"/>
              <a:gd name="connsiteY221" fmla="*/ 2762 h 10000"/>
              <a:gd name="connsiteX222" fmla="*/ 8267 w 10000"/>
              <a:gd name="connsiteY222" fmla="*/ 2748 h 10000"/>
              <a:gd name="connsiteX223" fmla="*/ 8397 w 10000"/>
              <a:gd name="connsiteY223" fmla="*/ 2705 h 10000"/>
              <a:gd name="connsiteX224" fmla="*/ 8402 w 10000"/>
              <a:gd name="connsiteY224" fmla="*/ 2662 h 10000"/>
              <a:gd name="connsiteX225" fmla="*/ 8449 w 10000"/>
              <a:gd name="connsiteY225" fmla="*/ 2656 h 10000"/>
              <a:gd name="connsiteX226" fmla="*/ 8558 w 10000"/>
              <a:gd name="connsiteY226" fmla="*/ 2677 h 10000"/>
              <a:gd name="connsiteX227" fmla="*/ 8593 w 10000"/>
              <a:gd name="connsiteY227" fmla="*/ 2669 h 10000"/>
              <a:gd name="connsiteX228" fmla="*/ 8606 w 10000"/>
              <a:gd name="connsiteY228" fmla="*/ 2630 h 10000"/>
              <a:gd name="connsiteX229" fmla="*/ 8567 w 10000"/>
              <a:gd name="connsiteY229" fmla="*/ 2605 h 10000"/>
              <a:gd name="connsiteX230" fmla="*/ 8685 w 10000"/>
              <a:gd name="connsiteY230" fmla="*/ 2597 h 10000"/>
              <a:gd name="connsiteX231" fmla="*/ 8698 w 10000"/>
              <a:gd name="connsiteY231" fmla="*/ 2565 h 10000"/>
              <a:gd name="connsiteX232" fmla="*/ 8558 w 10000"/>
              <a:gd name="connsiteY232" fmla="*/ 2481 h 10000"/>
              <a:gd name="connsiteX233" fmla="*/ 8558 w 10000"/>
              <a:gd name="connsiteY233" fmla="*/ 2459 h 10000"/>
              <a:gd name="connsiteX234" fmla="*/ 8698 w 10000"/>
              <a:gd name="connsiteY234" fmla="*/ 2504 h 10000"/>
              <a:gd name="connsiteX235" fmla="*/ 8763 w 10000"/>
              <a:gd name="connsiteY235" fmla="*/ 2548 h 10000"/>
              <a:gd name="connsiteX236" fmla="*/ 8815 w 10000"/>
              <a:gd name="connsiteY236" fmla="*/ 2548 h 10000"/>
              <a:gd name="connsiteX237" fmla="*/ 8789 w 10000"/>
              <a:gd name="connsiteY237" fmla="*/ 2457 h 10000"/>
              <a:gd name="connsiteX238" fmla="*/ 8798 w 10000"/>
              <a:gd name="connsiteY238" fmla="*/ 2467 h 10000"/>
              <a:gd name="connsiteX239" fmla="*/ 8841 w 10000"/>
              <a:gd name="connsiteY239" fmla="*/ 2457 h 10000"/>
              <a:gd name="connsiteX240" fmla="*/ 8855 w 10000"/>
              <a:gd name="connsiteY240" fmla="*/ 2341 h 10000"/>
              <a:gd name="connsiteX241" fmla="*/ 8898 w 10000"/>
              <a:gd name="connsiteY241" fmla="*/ 2332 h 10000"/>
              <a:gd name="connsiteX242" fmla="*/ 8946 w 10000"/>
              <a:gd name="connsiteY242" fmla="*/ 2330 h 10000"/>
              <a:gd name="connsiteX243" fmla="*/ 8946 w 10000"/>
              <a:gd name="connsiteY243" fmla="*/ 2361 h 10000"/>
              <a:gd name="connsiteX244" fmla="*/ 8994 w 10000"/>
              <a:gd name="connsiteY244" fmla="*/ 2389 h 10000"/>
              <a:gd name="connsiteX245" fmla="*/ 9051 w 10000"/>
              <a:gd name="connsiteY245" fmla="*/ 2400 h 10000"/>
              <a:gd name="connsiteX246" fmla="*/ 9094 w 10000"/>
              <a:gd name="connsiteY246" fmla="*/ 2324 h 10000"/>
              <a:gd name="connsiteX247" fmla="*/ 9164 w 10000"/>
              <a:gd name="connsiteY247" fmla="*/ 2347 h 10000"/>
              <a:gd name="connsiteX248" fmla="*/ 9247 w 10000"/>
              <a:gd name="connsiteY248" fmla="*/ 2402 h 10000"/>
              <a:gd name="connsiteX249" fmla="*/ 9286 w 10000"/>
              <a:gd name="connsiteY249" fmla="*/ 2400 h 10000"/>
              <a:gd name="connsiteX250" fmla="*/ 9355 w 10000"/>
              <a:gd name="connsiteY250" fmla="*/ 2428 h 10000"/>
              <a:gd name="connsiteX251" fmla="*/ 9408 w 10000"/>
              <a:gd name="connsiteY251" fmla="*/ 2359 h 10000"/>
              <a:gd name="connsiteX252" fmla="*/ 9717 w 10000"/>
              <a:gd name="connsiteY252" fmla="*/ 2343 h 10000"/>
              <a:gd name="connsiteX253" fmla="*/ 9830 w 10000"/>
              <a:gd name="connsiteY253" fmla="*/ 2369 h 10000"/>
              <a:gd name="connsiteX254" fmla="*/ 9909 w 10000"/>
              <a:gd name="connsiteY254" fmla="*/ 2410 h 10000"/>
              <a:gd name="connsiteX255" fmla="*/ 9948 w 10000"/>
              <a:gd name="connsiteY255" fmla="*/ 2365 h 10000"/>
              <a:gd name="connsiteX256" fmla="*/ 10000 w 10000"/>
              <a:gd name="connsiteY256" fmla="*/ 2349 h 10000"/>
              <a:gd name="connsiteX257" fmla="*/ 9704 w 10000"/>
              <a:gd name="connsiteY257" fmla="*/ 1992 h 10000"/>
              <a:gd name="connsiteX258" fmla="*/ 9743 w 10000"/>
              <a:gd name="connsiteY258" fmla="*/ 1897 h 10000"/>
              <a:gd name="connsiteX259" fmla="*/ 9830 w 10000"/>
              <a:gd name="connsiteY259" fmla="*/ 1819 h 10000"/>
              <a:gd name="connsiteX260" fmla="*/ 9830 w 10000"/>
              <a:gd name="connsiteY260" fmla="*/ 1699 h 10000"/>
              <a:gd name="connsiteX261" fmla="*/ 9556 w 10000"/>
              <a:gd name="connsiteY261" fmla="*/ 1465 h 10000"/>
              <a:gd name="connsiteX262" fmla="*/ 9512 w 10000"/>
              <a:gd name="connsiteY262" fmla="*/ 1379 h 10000"/>
              <a:gd name="connsiteX263" fmla="*/ 9573 w 10000"/>
              <a:gd name="connsiteY263" fmla="*/ 1271 h 10000"/>
              <a:gd name="connsiteX264" fmla="*/ 9543 w 10000"/>
              <a:gd name="connsiteY264" fmla="*/ 1194 h 10000"/>
              <a:gd name="connsiteX265" fmla="*/ 9486 w 10000"/>
              <a:gd name="connsiteY265" fmla="*/ 1159 h 10000"/>
              <a:gd name="connsiteX266" fmla="*/ 9438 w 10000"/>
              <a:gd name="connsiteY266" fmla="*/ 978 h 10000"/>
              <a:gd name="connsiteX267" fmla="*/ 9495 w 10000"/>
              <a:gd name="connsiteY267" fmla="*/ 831 h 10000"/>
              <a:gd name="connsiteX268" fmla="*/ 9077 w 10000"/>
              <a:gd name="connsiteY268" fmla="*/ 517 h 10000"/>
              <a:gd name="connsiteX269" fmla="*/ 8872 w 10000"/>
              <a:gd name="connsiteY269" fmla="*/ 440 h 10000"/>
              <a:gd name="connsiteX270" fmla="*/ 8493 w 10000"/>
              <a:gd name="connsiteY270" fmla="*/ 389 h 10000"/>
              <a:gd name="connsiteX271" fmla="*/ 7709 w 10000"/>
              <a:gd name="connsiteY271" fmla="*/ 26 h 10000"/>
              <a:gd name="connsiteX272" fmla="*/ 7683 w 10000"/>
              <a:gd name="connsiteY272" fmla="*/ 2 h 10000"/>
              <a:gd name="connsiteX273" fmla="*/ 7417 w 10000"/>
              <a:gd name="connsiteY273" fmla="*/ 0 h 10000"/>
              <a:gd name="connsiteX274" fmla="*/ 7356 w 10000"/>
              <a:gd name="connsiteY274" fmla="*/ 14 h 10000"/>
              <a:gd name="connsiteX275" fmla="*/ 7369 w 10000"/>
              <a:gd name="connsiteY275" fmla="*/ 61 h 10000"/>
              <a:gd name="connsiteX276" fmla="*/ 7422 w 10000"/>
              <a:gd name="connsiteY276" fmla="*/ 86 h 10000"/>
              <a:gd name="connsiteX277" fmla="*/ 7435 w 10000"/>
              <a:gd name="connsiteY277" fmla="*/ 139 h 10000"/>
              <a:gd name="connsiteX278" fmla="*/ 7417 w 10000"/>
              <a:gd name="connsiteY278" fmla="*/ 181 h 10000"/>
              <a:gd name="connsiteX279" fmla="*/ 7369 w 10000"/>
              <a:gd name="connsiteY279" fmla="*/ 208 h 10000"/>
              <a:gd name="connsiteX280" fmla="*/ 7334 w 10000"/>
              <a:gd name="connsiteY280" fmla="*/ 283 h 10000"/>
              <a:gd name="connsiteX281" fmla="*/ 7269 w 10000"/>
              <a:gd name="connsiteY281" fmla="*/ 336 h 10000"/>
              <a:gd name="connsiteX282" fmla="*/ 7282 w 10000"/>
              <a:gd name="connsiteY282" fmla="*/ 387 h 10000"/>
              <a:gd name="connsiteX283" fmla="*/ 7382 w 10000"/>
              <a:gd name="connsiteY283" fmla="*/ 434 h 10000"/>
              <a:gd name="connsiteX284" fmla="*/ 7317 w 10000"/>
              <a:gd name="connsiteY284" fmla="*/ 475 h 10000"/>
              <a:gd name="connsiteX285" fmla="*/ 7221 w 10000"/>
              <a:gd name="connsiteY285" fmla="*/ 485 h 10000"/>
              <a:gd name="connsiteX286" fmla="*/ 6420 w 10000"/>
              <a:gd name="connsiteY286" fmla="*/ 387 h 10000"/>
              <a:gd name="connsiteX287" fmla="*/ 6324 w 10000"/>
              <a:gd name="connsiteY287" fmla="*/ 395 h 10000"/>
              <a:gd name="connsiteX288" fmla="*/ 6267 w 10000"/>
              <a:gd name="connsiteY288" fmla="*/ 414 h 10000"/>
              <a:gd name="connsiteX289" fmla="*/ 6211 w 10000"/>
              <a:gd name="connsiteY289" fmla="*/ 462 h 10000"/>
              <a:gd name="connsiteX290" fmla="*/ 6220 w 10000"/>
              <a:gd name="connsiteY290" fmla="*/ 581 h 10000"/>
              <a:gd name="connsiteX291" fmla="*/ 6132 w 10000"/>
              <a:gd name="connsiteY291" fmla="*/ 735 h 10000"/>
              <a:gd name="connsiteX292" fmla="*/ 6024 w 10000"/>
              <a:gd name="connsiteY292" fmla="*/ 815 h 10000"/>
              <a:gd name="connsiteX293" fmla="*/ 5980 w 10000"/>
              <a:gd name="connsiteY293" fmla="*/ 805 h 10000"/>
              <a:gd name="connsiteX294" fmla="*/ 5880 w 10000"/>
              <a:gd name="connsiteY294" fmla="*/ 739 h 10000"/>
              <a:gd name="connsiteX295" fmla="*/ 5753 w 10000"/>
              <a:gd name="connsiteY295" fmla="*/ 705 h 10000"/>
              <a:gd name="connsiteX296" fmla="*/ 5618 w 10000"/>
              <a:gd name="connsiteY296" fmla="*/ 715 h 10000"/>
              <a:gd name="connsiteX297" fmla="*/ 5301 w 10000"/>
              <a:gd name="connsiteY297" fmla="*/ 866 h 10000"/>
              <a:gd name="connsiteX298" fmla="*/ 5218 w 10000"/>
              <a:gd name="connsiteY298" fmla="*/ 1017 h 10000"/>
              <a:gd name="connsiteX299" fmla="*/ 4978 w 10000"/>
              <a:gd name="connsiteY299" fmla="*/ 1153 h 10000"/>
              <a:gd name="connsiteX300" fmla="*/ 4935 w 10000"/>
              <a:gd name="connsiteY300" fmla="*/ 1222 h 10000"/>
              <a:gd name="connsiteX301" fmla="*/ 5061 w 10000"/>
              <a:gd name="connsiteY301" fmla="*/ 1344 h 10000"/>
              <a:gd name="connsiteX302" fmla="*/ 5074 w 10000"/>
              <a:gd name="connsiteY302" fmla="*/ 1412 h 10000"/>
              <a:gd name="connsiteX303" fmla="*/ 4421 w 10000"/>
              <a:gd name="connsiteY303" fmla="*/ 1813 h 10000"/>
              <a:gd name="connsiteX304" fmla="*/ 4220 w 10000"/>
              <a:gd name="connsiteY304" fmla="*/ 2070 h 10000"/>
              <a:gd name="connsiteX305" fmla="*/ 4003 w 10000"/>
              <a:gd name="connsiteY305" fmla="*/ 2135 h 10000"/>
              <a:gd name="connsiteX306" fmla="*/ 3868 w 10000"/>
              <a:gd name="connsiteY306" fmla="*/ 2131 h 10000"/>
              <a:gd name="connsiteX307" fmla="*/ 3785 w 10000"/>
              <a:gd name="connsiteY307" fmla="*/ 2153 h 10000"/>
              <a:gd name="connsiteX308" fmla="*/ 3558 w 10000"/>
              <a:gd name="connsiteY308" fmla="*/ 2793 h 10000"/>
              <a:gd name="connsiteX309" fmla="*/ 3036 w 10000"/>
              <a:gd name="connsiteY309" fmla="*/ 3166 h 10000"/>
              <a:gd name="connsiteX310" fmla="*/ 3040 w 10000"/>
              <a:gd name="connsiteY310" fmla="*/ 3225 h 10000"/>
              <a:gd name="connsiteX311" fmla="*/ 3271 w 10000"/>
              <a:gd name="connsiteY311" fmla="*/ 3392 h 10000"/>
              <a:gd name="connsiteX312" fmla="*/ 3197 w 10000"/>
              <a:gd name="connsiteY312" fmla="*/ 3573 h 10000"/>
              <a:gd name="connsiteX313" fmla="*/ 3062 w 10000"/>
              <a:gd name="connsiteY313" fmla="*/ 3640 h 10000"/>
              <a:gd name="connsiteX314" fmla="*/ 2657 w 10000"/>
              <a:gd name="connsiteY314" fmla="*/ 3595 h 10000"/>
              <a:gd name="connsiteX315" fmla="*/ 2378 w 10000"/>
              <a:gd name="connsiteY315" fmla="*/ 3620 h 10000"/>
              <a:gd name="connsiteX316" fmla="*/ 2152 w 10000"/>
              <a:gd name="connsiteY316" fmla="*/ 3673 h 10000"/>
              <a:gd name="connsiteX317" fmla="*/ 1790 w 10000"/>
              <a:gd name="connsiteY317" fmla="*/ 3840 h 10000"/>
              <a:gd name="connsiteX318" fmla="*/ 1598 w 10000"/>
              <a:gd name="connsiteY318" fmla="*/ 4042 h 10000"/>
              <a:gd name="connsiteX319" fmla="*/ 1616 w 10000"/>
              <a:gd name="connsiteY319" fmla="*/ 4154 h 10000"/>
              <a:gd name="connsiteX320" fmla="*/ 1681 w 10000"/>
              <a:gd name="connsiteY320" fmla="*/ 4241 h 10000"/>
              <a:gd name="connsiteX321" fmla="*/ 1733 w 10000"/>
              <a:gd name="connsiteY321" fmla="*/ 4276 h 10000"/>
              <a:gd name="connsiteX322" fmla="*/ 1638 w 10000"/>
              <a:gd name="connsiteY322" fmla="*/ 4331 h 10000"/>
              <a:gd name="connsiteX323" fmla="*/ 1433 w 10000"/>
              <a:gd name="connsiteY323" fmla="*/ 4710 h 10000"/>
              <a:gd name="connsiteX324" fmla="*/ 1472 w 10000"/>
              <a:gd name="connsiteY324" fmla="*/ 4732 h 10000"/>
              <a:gd name="connsiteX325" fmla="*/ 1503 w 10000"/>
              <a:gd name="connsiteY325" fmla="*/ 4828 h 10000"/>
              <a:gd name="connsiteX326" fmla="*/ 1407 w 10000"/>
              <a:gd name="connsiteY326" fmla="*/ 5227 h 10000"/>
              <a:gd name="connsiteX327" fmla="*/ 1503 w 10000"/>
              <a:gd name="connsiteY327" fmla="*/ 5329 h 10000"/>
              <a:gd name="connsiteX328" fmla="*/ 1764 w 10000"/>
              <a:gd name="connsiteY328" fmla="*/ 5441 h 10000"/>
              <a:gd name="connsiteX329" fmla="*/ 1777 w 10000"/>
              <a:gd name="connsiteY329" fmla="*/ 5578 h 10000"/>
              <a:gd name="connsiteX330" fmla="*/ 1664 w 10000"/>
              <a:gd name="connsiteY330" fmla="*/ 5690 h 10000"/>
              <a:gd name="connsiteX331" fmla="*/ 1503 w 10000"/>
              <a:gd name="connsiteY331" fmla="*/ 5759 h 10000"/>
              <a:gd name="connsiteX332" fmla="*/ 1289 w 10000"/>
              <a:gd name="connsiteY332" fmla="*/ 5787 h 10000"/>
              <a:gd name="connsiteX333" fmla="*/ 1233 w 10000"/>
              <a:gd name="connsiteY333" fmla="*/ 5826 h 10000"/>
              <a:gd name="connsiteX334" fmla="*/ 1359 w 10000"/>
              <a:gd name="connsiteY334" fmla="*/ 5920 h 10000"/>
              <a:gd name="connsiteX335" fmla="*/ 1429 w 10000"/>
              <a:gd name="connsiteY335" fmla="*/ 6142 h 10000"/>
              <a:gd name="connsiteX336" fmla="*/ 1267 w 10000"/>
              <a:gd name="connsiteY336" fmla="*/ 6333 h 10000"/>
              <a:gd name="connsiteX337" fmla="*/ 1324 w 10000"/>
              <a:gd name="connsiteY337" fmla="*/ 6392 h 10000"/>
              <a:gd name="connsiteX338" fmla="*/ 1272 w 10000"/>
              <a:gd name="connsiteY338" fmla="*/ 6492 h 10000"/>
              <a:gd name="connsiteX339" fmla="*/ 1167 w 10000"/>
              <a:gd name="connsiteY339" fmla="*/ 6561 h 10000"/>
              <a:gd name="connsiteX340" fmla="*/ 758 w 10000"/>
              <a:gd name="connsiteY340" fmla="*/ 6614 h 10000"/>
              <a:gd name="connsiteX341" fmla="*/ 732 w 10000"/>
              <a:gd name="connsiteY341" fmla="*/ 6706 h 10000"/>
              <a:gd name="connsiteX342" fmla="*/ 510 w 10000"/>
              <a:gd name="connsiteY342" fmla="*/ 6843 h 10000"/>
              <a:gd name="connsiteX343" fmla="*/ 540 w 10000"/>
              <a:gd name="connsiteY343" fmla="*/ 7040 h 10000"/>
              <a:gd name="connsiteX344" fmla="*/ 353 w 10000"/>
              <a:gd name="connsiteY344" fmla="*/ 7293 h 10000"/>
              <a:gd name="connsiteX345" fmla="*/ 226 w 10000"/>
              <a:gd name="connsiteY345" fmla="*/ 7323 h 10000"/>
              <a:gd name="connsiteX346" fmla="*/ 174 w 10000"/>
              <a:gd name="connsiteY346" fmla="*/ 7262 h 10000"/>
              <a:gd name="connsiteX347" fmla="*/ 109 w 10000"/>
              <a:gd name="connsiteY347" fmla="*/ 7354 h 10000"/>
              <a:gd name="connsiteX348" fmla="*/ 152 w 10000"/>
              <a:gd name="connsiteY348" fmla="*/ 7197 h 10000"/>
              <a:gd name="connsiteX349" fmla="*/ 126 w 10000"/>
              <a:gd name="connsiteY34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145 w 10000"/>
              <a:gd name="connsiteY210" fmla="*/ 3267 h 10000"/>
              <a:gd name="connsiteX211" fmla="*/ 8123 w 10000"/>
              <a:gd name="connsiteY211" fmla="*/ 3229 h 10000"/>
              <a:gd name="connsiteX212" fmla="*/ 8153 w 10000"/>
              <a:gd name="connsiteY212" fmla="*/ 3219 h 10000"/>
              <a:gd name="connsiteX213" fmla="*/ 8136 w 10000"/>
              <a:gd name="connsiteY213" fmla="*/ 3180 h 10000"/>
              <a:gd name="connsiteX214" fmla="*/ 8075 w 10000"/>
              <a:gd name="connsiteY214" fmla="*/ 3147 h 10000"/>
              <a:gd name="connsiteX215" fmla="*/ 8079 w 10000"/>
              <a:gd name="connsiteY215" fmla="*/ 3127 h 10000"/>
              <a:gd name="connsiteX216" fmla="*/ 8132 w 10000"/>
              <a:gd name="connsiteY216" fmla="*/ 3100 h 10000"/>
              <a:gd name="connsiteX217" fmla="*/ 8145 w 10000"/>
              <a:gd name="connsiteY217" fmla="*/ 3064 h 10000"/>
              <a:gd name="connsiteX218" fmla="*/ 8258 w 10000"/>
              <a:gd name="connsiteY218" fmla="*/ 3037 h 10000"/>
              <a:gd name="connsiteX219" fmla="*/ 8380 w 10000"/>
              <a:gd name="connsiteY219" fmla="*/ 2860 h 10000"/>
              <a:gd name="connsiteX220" fmla="*/ 8253 w 10000"/>
              <a:gd name="connsiteY220" fmla="*/ 2762 h 10000"/>
              <a:gd name="connsiteX221" fmla="*/ 8267 w 10000"/>
              <a:gd name="connsiteY221" fmla="*/ 2748 h 10000"/>
              <a:gd name="connsiteX222" fmla="*/ 8397 w 10000"/>
              <a:gd name="connsiteY222" fmla="*/ 2705 h 10000"/>
              <a:gd name="connsiteX223" fmla="*/ 8402 w 10000"/>
              <a:gd name="connsiteY223" fmla="*/ 2662 h 10000"/>
              <a:gd name="connsiteX224" fmla="*/ 8449 w 10000"/>
              <a:gd name="connsiteY224" fmla="*/ 2656 h 10000"/>
              <a:gd name="connsiteX225" fmla="*/ 8558 w 10000"/>
              <a:gd name="connsiteY225" fmla="*/ 2677 h 10000"/>
              <a:gd name="connsiteX226" fmla="*/ 8593 w 10000"/>
              <a:gd name="connsiteY226" fmla="*/ 2669 h 10000"/>
              <a:gd name="connsiteX227" fmla="*/ 8606 w 10000"/>
              <a:gd name="connsiteY227" fmla="*/ 2630 h 10000"/>
              <a:gd name="connsiteX228" fmla="*/ 8567 w 10000"/>
              <a:gd name="connsiteY228" fmla="*/ 2605 h 10000"/>
              <a:gd name="connsiteX229" fmla="*/ 8685 w 10000"/>
              <a:gd name="connsiteY229" fmla="*/ 2597 h 10000"/>
              <a:gd name="connsiteX230" fmla="*/ 8698 w 10000"/>
              <a:gd name="connsiteY230" fmla="*/ 2565 h 10000"/>
              <a:gd name="connsiteX231" fmla="*/ 8558 w 10000"/>
              <a:gd name="connsiteY231" fmla="*/ 2481 h 10000"/>
              <a:gd name="connsiteX232" fmla="*/ 8558 w 10000"/>
              <a:gd name="connsiteY232" fmla="*/ 2459 h 10000"/>
              <a:gd name="connsiteX233" fmla="*/ 8698 w 10000"/>
              <a:gd name="connsiteY233" fmla="*/ 2504 h 10000"/>
              <a:gd name="connsiteX234" fmla="*/ 8763 w 10000"/>
              <a:gd name="connsiteY234" fmla="*/ 2548 h 10000"/>
              <a:gd name="connsiteX235" fmla="*/ 8815 w 10000"/>
              <a:gd name="connsiteY235" fmla="*/ 2548 h 10000"/>
              <a:gd name="connsiteX236" fmla="*/ 8789 w 10000"/>
              <a:gd name="connsiteY236" fmla="*/ 2457 h 10000"/>
              <a:gd name="connsiteX237" fmla="*/ 8798 w 10000"/>
              <a:gd name="connsiteY237" fmla="*/ 2467 h 10000"/>
              <a:gd name="connsiteX238" fmla="*/ 8841 w 10000"/>
              <a:gd name="connsiteY238" fmla="*/ 2457 h 10000"/>
              <a:gd name="connsiteX239" fmla="*/ 8855 w 10000"/>
              <a:gd name="connsiteY239" fmla="*/ 2341 h 10000"/>
              <a:gd name="connsiteX240" fmla="*/ 8898 w 10000"/>
              <a:gd name="connsiteY240" fmla="*/ 2332 h 10000"/>
              <a:gd name="connsiteX241" fmla="*/ 8946 w 10000"/>
              <a:gd name="connsiteY241" fmla="*/ 2330 h 10000"/>
              <a:gd name="connsiteX242" fmla="*/ 8946 w 10000"/>
              <a:gd name="connsiteY242" fmla="*/ 2361 h 10000"/>
              <a:gd name="connsiteX243" fmla="*/ 8994 w 10000"/>
              <a:gd name="connsiteY243" fmla="*/ 2389 h 10000"/>
              <a:gd name="connsiteX244" fmla="*/ 9051 w 10000"/>
              <a:gd name="connsiteY244" fmla="*/ 2400 h 10000"/>
              <a:gd name="connsiteX245" fmla="*/ 9094 w 10000"/>
              <a:gd name="connsiteY245" fmla="*/ 2324 h 10000"/>
              <a:gd name="connsiteX246" fmla="*/ 9164 w 10000"/>
              <a:gd name="connsiteY246" fmla="*/ 2347 h 10000"/>
              <a:gd name="connsiteX247" fmla="*/ 9247 w 10000"/>
              <a:gd name="connsiteY247" fmla="*/ 2402 h 10000"/>
              <a:gd name="connsiteX248" fmla="*/ 9286 w 10000"/>
              <a:gd name="connsiteY248" fmla="*/ 2400 h 10000"/>
              <a:gd name="connsiteX249" fmla="*/ 9355 w 10000"/>
              <a:gd name="connsiteY249" fmla="*/ 2428 h 10000"/>
              <a:gd name="connsiteX250" fmla="*/ 9408 w 10000"/>
              <a:gd name="connsiteY250" fmla="*/ 2359 h 10000"/>
              <a:gd name="connsiteX251" fmla="*/ 9717 w 10000"/>
              <a:gd name="connsiteY251" fmla="*/ 2343 h 10000"/>
              <a:gd name="connsiteX252" fmla="*/ 9830 w 10000"/>
              <a:gd name="connsiteY252" fmla="*/ 2369 h 10000"/>
              <a:gd name="connsiteX253" fmla="*/ 9909 w 10000"/>
              <a:gd name="connsiteY253" fmla="*/ 2410 h 10000"/>
              <a:gd name="connsiteX254" fmla="*/ 9948 w 10000"/>
              <a:gd name="connsiteY254" fmla="*/ 2365 h 10000"/>
              <a:gd name="connsiteX255" fmla="*/ 10000 w 10000"/>
              <a:gd name="connsiteY255" fmla="*/ 2349 h 10000"/>
              <a:gd name="connsiteX256" fmla="*/ 9704 w 10000"/>
              <a:gd name="connsiteY256" fmla="*/ 1992 h 10000"/>
              <a:gd name="connsiteX257" fmla="*/ 9743 w 10000"/>
              <a:gd name="connsiteY257" fmla="*/ 1897 h 10000"/>
              <a:gd name="connsiteX258" fmla="*/ 9830 w 10000"/>
              <a:gd name="connsiteY258" fmla="*/ 1819 h 10000"/>
              <a:gd name="connsiteX259" fmla="*/ 9830 w 10000"/>
              <a:gd name="connsiteY259" fmla="*/ 1699 h 10000"/>
              <a:gd name="connsiteX260" fmla="*/ 9556 w 10000"/>
              <a:gd name="connsiteY260" fmla="*/ 1465 h 10000"/>
              <a:gd name="connsiteX261" fmla="*/ 9512 w 10000"/>
              <a:gd name="connsiteY261" fmla="*/ 1379 h 10000"/>
              <a:gd name="connsiteX262" fmla="*/ 9573 w 10000"/>
              <a:gd name="connsiteY262" fmla="*/ 1271 h 10000"/>
              <a:gd name="connsiteX263" fmla="*/ 9543 w 10000"/>
              <a:gd name="connsiteY263" fmla="*/ 1194 h 10000"/>
              <a:gd name="connsiteX264" fmla="*/ 9486 w 10000"/>
              <a:gd name="connsiteY264" fmla="*/ 1159 h 10000"/>
              <a:gd name="connsiteX265" fmla="*/ 9438 w 10000"/>
              <a:gd name="connsiteY265" fmla="*/ 978 h 10000"/>
              <a:gd name="connsiteX266" fmla="*/ 9495 w 10000"/>
              <a:gd name="connsiteY266" fmla="*/ 831 h 10000"/>
              <a:gd name="connsiteX267" fmla="*/ 9077 w 10000"/>
              <a:gd name="connsiteY267" fmla="*/ 517 h 10000"/>
              <a:gd name="connsiteX268" fmla="*/ 8872 w 10000"/>
              <a:gd name="connsiteY268" fmla="*/ 440 h 10000"/>
              <a:gd name="connsiteX269" fmla="*/ 8493 w 10000"/>
              <a:gd name="connsiteY269" fmla="*/ 389 h 10000"/>
              <a:gd name="connsiteX270" fmla="*/ 7709 w 10000"/>
              <a:gd name="connsiteY270" fmla="*/ 26 h 10000"/>
              <a:gd name="connsiteX271" fmla="*/ 7683 w 10000"/>
              <a:gd name="connsiteY271" fmla="*/ 2 h 10000"/>
              <a:gd name="connsiteX272" fmla="*/ 7417 w 10000"/>
              <a:gd name="connsiteY272" fmla="*/ 0 h 10000"/>
              <a:gd name="connsiteX273" fmla="*/ 7356 w 10000"/>
              <a:gd name="connsiteY273" fmla="*/ 14 h 10000"/>
              <a:gd name="connsiteX274" fmla="*/ 7369 w 10000"/>
              <a:gd name="connsiteY274" fmla="*/ 61 h 10000"/>
              <a:gd name="connsiteX275" fmla="*/ 7422 w 10000"/>
              <a:gd name="connsiteY275" fmla="*/ 86 h 10000"/>
              <a:gd name="connsiteX276" fmla="*/ 7435 w 10000"/>
              <a:gd name="connsiteY276" fmla="*/ 139 h 10000"/>
              <a:gd name="connsiteX277" fmla="*/ 7417 w 10000"/>
              <a:gd name="connsiteY277" fmla="*/ 181 h 10000"/>
              <a:gd name="connsiteX278" fmla="*/ 7369 w 10000"/>
              <a:gd name="connsiteY278" fmla="*/ 208 h 10000"/>
              <a:gd name="connsiteX279" fmla="*/ 7334 w 10000"/>
              <a:gd name="connsiteY279" fmla="*/ 283 h 10000"/>
              <a:gd name="connsiteX280" fmla="*/ 7269 w 10000"/>
              <a:gd name="connsiteY280" fmla="*/ 336 h 10000"/>
              <a:gd name="connsiteX281" fmla="*/ 7282 w 10000"/>
              <a:gd name="connsiteY281" fmla="*/ 387 h 10000"/>
              <a:gd name="connsiteX282" fmla="*/ 7382 w 10000"/>
              <a:gd name="connsiteY282" fmla="*/ 434 h 10000"/>
              <a:gd name="connsiteX283" fmla="*/ 7317 w 10000"/>
              <a:gd name="connsiteY283" fmla="*/ 475 h 10000"/>
              <a:gd name="connsiteX284" fmla="*/ 7221 w 10000"/>
              <a:gd name="connsiteY284" fmla="*/ 485 h 10000"/>
              <a:gd name="connsiteX285" fmla="*/ 6420 w 10000"/>
              <a:gd name="connsiteY285" fmla="*/ 387 h 10000"/>
              <a:gd name="connsiteX286" fmla="*/ 6324 w 10000"/>
              <a:gd name="connsiteY286" fmla="*/ 395 h 10000"/>
              <a:gd name="connsiteX287" fmla="*/ 6267 w 10000"/>
              <a:gd name="connsiteY287" fmla="*/ 414 h 10000"/>
              <a:gd name="connsiteX288" fmla="*/ 6211 w 10000"/>
              <a:gd name="connsiteY288" fmla="*/ 462 h 10000"/>
              <a:gd name="connsiteX289" fmla="*/ 6220 w 10000"/>
              <a:gd name="connsiteY289" fmla="*/ 581 h 10000"/>
              <a:gd name="connsiteX290" fmla="*/ 6132 w 10000"/>
              <a:gd name="connsiteY290" fmla="*/ 735 h 10000"/>
              <a:gd name="connsiteX291" fmla="*/ 6024 w 10000"/>
              <a:gd name="connsiteY291" fmla="*/ 815 h 10000"/>
              <a:gd name="connsiteX292" fmla="*/ 5980 w 10000"/>
              <a:gd name="connsiteY292" fmla="*/ 805 h 10000"/>
              <a:gd name="connsiteX293" fmla="*/ 5880 w 10000"/>
              <a:gd name="connsiteY293" fmla="*/ 739 h 10000"/>
              <a:gd name="connsiteX294" fmla="*/ 5753 w 10000"/>
              <a:gd name="connsiteY294" fmla="*/ 705 h 10000"/>
              <a:gd name="connsiteX295" fmla="*/ 5618 w 10000"/>
              <a:gd name="connsiteY295" fmla="*/ 715 h 10000"/>
              <a:gd name="connsiteX296" fmla="*/ 5301 w 10000"/>
              <a:gd name="connsiteY296" fmla="*/ 866 h 10000"/>
              <a:gd name="connsiteX297" fmla="*/ 5218 w 10000"/>
              <a:gd name="connsiteY297" fmla="*/ 1017 h 10000"/>
              <a:gd name="connsiteX298" fmla="*/ 4978 w 10000"/>
              <a:gd name="connsiteY298" fmla="*/ 1153 h 10000"/>
              <a:gd name="connsiteX299" fmla="*/ 4935 w 10000"/>
              <a:gd name="connsiteY299" fmla="*/ 1222 h 10000"/>
              <a:gd name="connsiteX300" fmla="*/ 5061 w 10000"/>
              <a:gd name="connsiteY300" fmla="*/ 1344 h 10000"/>
              <a:gd name="connsiteX301" fmla="*/ 5074 w 10000"/>
              <a:gd name="connsiteY301" fmla="*/ 1412 h 10000"/>
              <a:gd name="connsiteX302" fmla="*/ 4421 w 10000"/>
              <a:gd name="connsiteY302" fmla="*/ 1813 h 10000"/>
              <a:gd name="connsiteX303" fmla="*/ 4220 w 10000"/>
              <a:gd name="connsiteY303" fmla="*/ 2070 h 10000"/>
              <a:gd name="connsiteX304" fmla="*/ 4003 w 10000"/>
              <a:gd name="connsiteY304" fmla="*/ 2135 h 10000"/>
              <a:gd name="connsiteX305" fmla="*/ 3868 w 10000"/>
              <a:gd name="connsiteY305" fmla="*/ 2131 h 10000"/>
              <a:gd name="connsiteX306" fmla="*/ 3785 w 10000"/>
              <a:gd name="connsiteY306" fmla="*/ 2153 h 10000"/>
              <a:gd name="connsiteX307" fmla="*/ 3558 w 10000"/>
              <a:gd name="connsiteY307" fmla="*/ 2793 h 10000"/>
              <a:gd name="connsiteX308" fmla="*/ 3036 w 10000"/>
              <a:gd name="connsiteY308" fmla="*/ 3166 h 10000"/>
              <a:gd name="connsiteX309" fmla="*/ 3040 w 10000"/>
              <a:gd name="connsiteY309" fmla="*/ 3225 h 10000"/>
              <a:gd name="connsiteX310" fmla="*/ 3271 w 10000"/>
              <a:gd name="connsiteY310" fmla="*/ 3392 h 10000"/>
              <a:gd name="connsiteX311" fmla="*/ 3197 w 10000"/>
              <a:gd name="connsiteY311" fmla="*/ 3573 h 10000"/>
              <a:gd name="connsiteX312" fmla="*/ 3062 w 10000"/>
              <a:gd name="connsiteY312" fmla="*/ 3640 h 10000"/>
              <a:gd name="connsiteX313" fmla="*/ 2657 w 10000"/>
              <a:gd name="connsiteY313" fmla="*/ 3595 h 10000"/>
              <a:gd name="connsiteX314" fmla="*/ 2378 w 10000"/>
              <a:gd name="connsiteY314" fmla="*/ 3620 h 10000"/>
              <a:gd name="connsiteX315" fmla="*/ 2152 w 10000"/>
              <a:gd name="connsiteY315" fmla="*/ 3673 h 10000"/>
              <a:gd name="connsiteX316" fmla="*/ 1790 w 10000"/>
              <a:gd name="connsiteY316" fmla="*/ 3840 h 10000"/>
              <a:gd name="connsiteX317" fmla="*/ 1598 w 10000"/>
              <a:gd name="connsiteY317" fmla="*/ 4042 h 10000"/>
              <a:gd name="connsiteX318" fmla="*/ 1616 w 10000"/>
              <a:gd name="connsiteY318" fmla="*/ 4154 h 10000"/>
              <a:gd name="connsiteX319" fmla="*/ 1681 w 10000"/>
              <a:gd name="connsiteY319" fmla="*/ 4241 h 10000"/>
              <a:gd name="connsiteX320" fmla="*/ 1733 w 10000"/>
              <a:gd name="connsiteY320" fmla="*/ 4276 h 10000"/>
              <a:gd name="connsiteX321" fmla="*/ 1638 w 10000"/>
              <a:gd name="connsiteY321" fmla="*/ 4331 h 10000"/>
              <a:gd name="connsiteX322" fmla="*/ 1433 w 10000"/>
              <a:gd name="connsiteY322" fmla="*/ 4710 h 10000"/>
              <a:gd name="connsiteX323" fmla="*/ 1472 w 10000"/>
              <a:gd name="connsiteY323" fmla="*/ 4732 h 10000"/>
              <a:gd name="connsiteX324" fmla="*/ 1503 w 10000"/>
              <a:gd name="connsiteY324" fmla="*/ 4828 h 10000"/>
              <a:gd name="connsiteX325" fmla="*/ 1407 w 10000"/>
              <a:gd name="connsiteY325" fmla="*/ 5227 h 10000"/>
              <a:gd name="connsiteX326" fmla="*/ 1503 w 10000"/>
              <a:gd name="connsiteY326" fmla="*/ 5329 h 10000"/>
              <a:gd name="connsiteX327" fmla="*/ 1764 w 10000"/>
              <a:gd name="connsiteY327" fmla="*/ 5441 h 10000"/>
              <a:gd name="connsiteX328" fmla="*/ 1777 w 10000"/>
              <a:gd name="connsiteY328" fmla="*/ 5578 h 10000"/>
              <a:gd name="connsiteX329" fmla="*/ 1664 w 10000"/>
              <a:gd name="connsiteY329" fmla="*/ 5690 h 10000"/>
              <a:gd name="connsiteX330" fmla="*/ 1503 w 10000"/>
              <a:gd name="connsiteY330" fmla="*/ 5759 h 10000"/>
              <a:gd name="connsiteX331" fmla="*/ 1289 w 10000"/>
              <a:gd name="connsiteY331" fmla="*/ 5787 h 10000"/>
              <a:gd name="connsiteX332" fmla="*/ 1233 w 10000"/>
              <a:gd name="connsiteY332" fmla="*/ 5826 h 10000"/>
              <a:gd name="connsiteX333" fmla="*/ 1359 w 10000"/>
              <a:gd name="connsiteY333" fmla="*/ 5920 h 10000"/>
              <a:gd name="connsiteX334" fmla="*/ 1429 w 10000"/>
              <a:gd name="connsiteY334" fmla="*/ 6142 h 10000"/>
              <a:gd name="connsiteX335" fmla="*/ 1267 w 10000"/>
              <a:gd name="connsiteY335" fmla="*/ 6333 h 10000"/>
              <a:gd name="connsiteX336" fmla="*/ 1324 w 10000"/>
              <a:gd name="connsiteY336" fmla="*/ 6392 h 10000"/>
              <a:gd name="connsiteX337" fmla="*/ 1272 w 10000"/>
              <a:gd name="connsiteY337" fmla="*/ 6492 h 10000"/>
              <a:gd name="connsiteX338" fmla="*/ 1167 w 10000"/>
              <a:gd name="connsiteY338" fmla="*/ 6561 h 10000"/>
              <a:gd name="connsiteX339" fmla="*/ 758 w 10000"/>
              <a:gd name="connsiteY339" fmla="*/ 6614 h 10000"/>
              <a:gd name="connsiteX340" fmla="*/ 732 w 10000"/>
              <a:gd name="connsiteY340" fmla="*/ 6706 h 10000"/>
              <a:gd name="connsiteX341" fmla="*/ 510 w 10000"/>
              <a:gd name="connsiteY341" fmla="*/ 6843 h 10000"/>
              <a:gd name="connsiteX342" fmla="*/ 540 w 10000"/>
              <a:gd name="connsiteY342" fmla="*/ 7040 h 10000"/>
              <a:gd name="connsiteX343" fmla="*/ 353 w 10000"/>
              <a:gd name="connsiteY343" fmla="*/ 7293 h 10000"/>
              <a:gd name="connsiteX344" fmla="*/ 226 w 10000"/>
              <a:gd name="connsiteY344" fmla="*/ 7323 h 10000"/>
              <a:gd name="connsiteX345" fmla="*/ 174 w 10000"/>
              <a:gd name="connsiteY345" fmla="*/ 7262 h 10000"/>
              <a:gd name="connsiteX346" fmla="*/ 109 w 10000"/>
              <a:gd name="connsiteY346" fmla="*/ 7354 h 10000"/>
              <a:gd name="connsiteX347" fmla="*/ 152 w 10000"/>
              <a:gd name="connsiteY347" fmla="*/ 7197 h 10000"/>
              <a:gd name="connsiteX348" fmla="*/ 126 w 10000"/>
              <a:gd name="connsiteY34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145 w 10000"/>
              <a:gd name="connsiteY210" fmla="*/ 3267 h 10000"/>
              <a:gd name="connsiteX211" fmla="*/ 8123 w 10000"/>
              <a:gd name="connsiteY211" fmla="*/ 3229 h 10000"/>
              <a:gd name="connsiteX212" fmla="*/ 8153 w 10000"/>
              <a:gd name="connsiteY212" fmla="*/ 3219 h 10000"/>
              <a:gd name="connsiteX213" fmla="*/ 8075 w 10000"/>
              <a:gd name="connsiteY213" fmla="*/ 3147 h 10000"/>
              <a:gd name="connsiteX214" fmla="*/ 8079 w 10000"/>
              <a:gd name="connsiteY214" fmla="*/ 3127 h 10000"/>
              <a:gd name="connsiteX215" fmla="*/ 8132 w 10000"/>
              <a:gd name="connsiteY215" fmla="*/ 3100 h 10000"/>
              <a:gd name="connsiteX216" fmla="*/ 8145 w 10000"/>
              <a:gd name="connsiteY216" fmla="*/ 3064 h 10000"/>
              <a:gd name="connsiteX217" fmla="*/ 8258 w 10000"/>
              <a:gd name="connsiteY217" fmla="*/ 3037 h 10000"/>
              <a:gd name="connsiteX218" fmla="*/ 8380 w 10000"/>
              <a:gd name="connsiteY218" fmla="*/ 2860 h 10000"/>
              <a:gd name="connsiteX219" fmla="*/ 8253 w 10000"/>
              <a:gd name="connsiteY219" fmla="*/ 2762 h 10000"/>
              <a:gd name="connsiteX220" fmla="*/ 8267 w 10000"/>
              <a:gd name="connsiteY220" fmla="*/ 2748 h 10000"/>
              <a:gd name="connsiteX221" fmla="*/ 8397 w 10000"/>
              <a:gd name="connsiteY221" fmla="*/ 2705 h 10000"/>
              <a:gd name="connsiteX222" fmla="*/ 8402 w 10000"/>
              <a:gd name="connsiteY222" fmla="*/ 2662 h 10000"/>
              <a:gd name="connsiteX223" fmla="*/ 8449 w 10000"/>
              <a:gd name="connsiteY223" fmla="*/ 2656 h 10000"/>
              <a:gd name="connsiteX224" fmla="*/ 8558 w 10000"/>
              <a:gd name="connsiteY224" fmla="*/ 2677 h 10000"/>
              <a:gd name="connsiteX225" fmla="*/ 8593 w 10000"/>
              <a:gd name="connsiteY225" fmla="*/ 2669 h 10000"/>
              <a:gd name="connsiteX226" fmla="*/ 8606 w 10000"/>
              <a:gd name="connsiteY226" fmla="*/ 2630 h 10000"/>
              <a:gd name="connsiteX227" fmla="*/ 8567 w 10000"/>
              <a:gd name="connsiteY227" fmla="*/ 2605 h 10000"/>
              <a:gd name="connsiteX228" fmla="*/ 8685 w 10000"/>
              <a:gd name="connsiteY228" fmla="*/ 2597 h 10000"/>
              <a:gd name="connsiteX229" fmla="*/ 8698 w 10000"/>
              <a:gd name="connsiteY229" fmla="*/ 2565 h 10000"/>
              <a:gd name="connsiteX230" fmla="*/ 8558 w 10000"/>
              <a:gd name="connsiteY230" fmla="*/ 2481 h 10000"/>
              <a:gd name="connsiteX231" fmla="*/ 8558 w 10000"/>
              <a:gd name="connsiteY231" fmla="*/ 2459 h 10000"/>
              <a:gd name="connsiteX232" fmla="*/ 8698 w 10000"/>
              <a:gd name="connsiteY232" fmla="*/ 2504 h 10000"/>
              <a:gd name="connsiteX233" fmla="*/ 8763 w 10000"/>
              <a:gd name="connsiteY233" fmla="*/ 2548 h 10000"/>
              <a:gd name="connsiteX234" fmla="*/ 8815 w 10000"/>
              <a:gd name="connsiteY234" fmla="*/ 2548 h 10000"/>
              <a:gd name="connsiteX235" fmla="*/ 8789 w 10000"/>
              <a:gd name="connsiteY235" fmla="*/ 2457 h 10000"/>
              <a:gd name="connsiteX236" fmla="*/ 8798 w 10000"/>
              <a:gd name="connsiteY236" fmla="*/ 2467 h 10000"/>
              <a:gd name="connsiteX237" fmla="*/ 8841 w 10000"/>
              <a:gd name="connsiteY237" fmla="*/ 2457 h 10000"/>
              <a:gd name="connsiteX238" fmla="*/ 8855 w 10000"/>
              <a:gd name="connsiteY238" fmla="*/ 2341 h 10000"/>
              <a:gd name="connsiteX239" fmla="*/ 8898 w 10000"/>
              <a:gd name="connsiteY239" fmla="*/ 2332 h 10000"/>
              <a:gd name="connsiteX240" fmla="*/ 8946 w 10000"/>
              <a:gd name="connsiteY240" fmla="*/ 2330 h 10000"/>
              <a:gd name="connsiteX241" fmla="*/ 8946 w 10000"/>
              <a:gd name="connsiteY241" fmla="*/ 2361 h 10000"/>
              <a:gd name="connsiteX242" fmla="*/ 8994 w 10000"/>
              <a:gd name="connsiteY242" fmla="*/ 2389 h 10000"/>
              <a:gd name="connsiteX243" fmla="*/ 9051 w 10000"/>
              <a:gd name="connsiteY243" fmla="*/ 2400 h 10000"/>
              <a:gd name="connsiteX244" fmla="*/ 9094 w 10000"/>
              <a:gd name="connsiteY244" fmla="*/ 2324 h 10000"/>
              <a:gd name="connsiteX245" fmla="*/ 9164 w 10000"/>
              <a:gd name="connsiteY245" fmla="*/ 2347 h 10000"/>
              <a:gd name="connsiteX246" fmla="*/ 9247 w 10000"/>
              <a:gd name="connsiteY246" fmla="*/ 2402 h 10000"/>
              <a:gd name="connsiteX247" fmla="*/ 9286 w 10000"/>
              <a:gd name="connsiteY247" fmla="*/ 2400 h 10000"/>
              <a:gd name="connsiteX248" fmla="*/ 9355 w 10000"/>
              <a:gd name="connsiteY248" fmla="*/ 2428 h 10000"/>
              <a:gd name="connsiteX249" fmla="*/ 9408 w 10000"/>
              <a:gd name="connsiteY249" fmla="*/ 2359 h 10000"/>
              <a:gd name="connsiteX250" fmla="*/ 9717 w 10000"/>
              <a:gd name="connsiteY250" fmla="*/ 2343 h 10000"/>
              <a:gd name="connsiteX251" fmla="*/ 9830 w 10000"/>
              <a:gd name="connsiteY251" fmla="*/ 2369 h 10000"/>
              <a:gd name="connsiteX252" fmla="*/ 9909 w 10000"/>
              <a:gd name="connsiteY252" fmla="*/ 2410 h 10000"/>
              <a:gd name="connsiteX253" fmla="*/ 9948 w 10000"/>
              <a:gd name="connsiteY253" fmla="*/ 2365 h 10000"/>
              <a:gd name="connsiteX254" fmla="*/ 10000 w 10000"/>
              <a:gd name="connsiteY254" fmla="*/ 2349 h 10000"/>
              <a:gd name="connsiteX255" fmla="*/ 9704 w 10000"/>
              <a:gd name="connsiteY255" fmla="*/ 1992 h 10000"/>
              <a:gd name="connsiteX256" fmla="*/ 9743 w 10000"/>
              <a:gd name="connsiteY256" fmla="*/ 1897 h 10000"/>
              <a:gd name="connsiteX257" fmla="*/ 9830 w 10000"/>
              <a:gd name="connsiteY257" fmla="*/ 1819 h 10000"/>
              <a:gd name="connsiteX258" fmla="*/ 9830 w 10000"/>
              <a:gd name="connsiteY258" fmla="*/ 1699 h 10000"/>
              <a:gd name="connsiteX259" fmla="*/ 9556 w 10000"/>
              <a:gd name="connsiteY259" fmla="*/ 1465 h 10000"/>
              <a:gd name="connsiteX260" fmla="*/ 9512 w 10000"/>
              <a:gd name="connsiteY260" fmla="*/ 1379 h 10000"/>
              <a:gd name="connsiteX261" fmla="*/ 9573 w 10000"/>
              <a:gd name="connsiteY261" fmla="*/ 1271 h 10000"/>
              <a:gd name="connsiteX262" fmla="*/ 9543 w 10000"/>
              <a:gd name="connsiteY262" fmla="*/ 1194 h 10000"/>
              <a:gd name="connsiteX263" fmla="*/ 9486 w 10000"/>
              <a:gd name="connsiteY263" fmla="*/ 1159 h 10000"/>
              <a:gd name="connsiteX264" fmla="*/ 9438 w 10000"/>
              <a:gd name="connsiteY264" fmla="*/ 978 h 10000"/>
              <a:gd name="connsiteX265" fmla="*/ 9495 w 10000"/>
              <a:gd name="connsiteY265" fmla="*/ 831 h 10000"/>
              <a:gd name="connsiteX266" fmla="*/ 9077 w 10000"/>
              <a:gd name="connsiteY266" fmla="*/ 517 h 10000"/>
              <a:gd name="connsiteX267" fmla="*/ 8872 w 10000"/>
              <a:gd name="connsiteY267" fmla="*/ 440 h 10000"/>
              <a:gd name="connsiteX268" fmla="*/ 8493 w 10000"/>
              <a:gd name="connsiteY268" fmla="*/ 389 h 10000"/>
              <a:gd name="connsiteX269" fmla="*/ 7709 w 10000"/>
              <a:gd name="connsiteY269" fmla="*/ 26 h 10000"/>
              <a:gd name="connsiteX270" fmla="*/ 7683 w 10000"/>
              <a:gd name="connsiteY270" fmla="*/ 2 h 10000"/>
              <a:gd name="connsiteX271" fmla="*/ 7417 w 10000"/>
              <a:gd name="connsiteY271" fmla="*/ 0 h 10000"/>
              <a:gd name="connsiteX272" fmla="*/ 7356 w 10000"/>
              <a:gd name="connsiteY272" fmla="*/ 14 h 10000"/>
              <a:gd name="connsiteX273" fmla="*/ 7369 w 10000"/>
              <a:gd name="connsiteY273" fmla="*/ 61 h 10000"/>
              <a:gd name="connsiteX274" fmla="*/ 7422 w 10000"/>
              <a:gd name="connsiteY274" fmla="*/ 86 h 10000"/>
              <a:gd name="connsiteX275" fmla="*/ 7435 w 10000"/>
              <a:gd name="connsiteY275" fmla="*/ 139 h 10000"/>
              <a:gd name="connsiteX276" fmla="*/ 7417 w 10000"/>
              <a:gd name="connsiteY276" fmla="*/ 181 h 10000"/>
              <a:gd name="connsiteX277" fmla="*/ 7369 w 10000"/>
              <a:gd name="connsiteY277" fmla="*/ 208 h 10000"/>
              <a:gd name="connsiteX278" fmla="*/ 7334 w 10000"/>
              <a:gd name="connsiteY278" fmla="*/ 283 h 10000"/>
              <a:gd name="connsiteX279" fmla="*/ 7269 w 10000"/>
              <a:gd name="connsiteY279" fmla="*/ 336 h 10000"/>
              <a:gd name="connsiteX280" fmla="*/ 7282 w 10000"/>
              <a:gd name="connsiteY280" fmla="*/ 387 h 10000"/>
              <a:gd name="connsiteX281" fmla="*/ 7382 w 10000"/>
              <a:gd name="connsiteY281" fmla="*/ 434 h 10000"/>
              <a:gd name="connsiteX282" fmla="*/ 7317 w 10000"/>
              <a:gd name="connsiteY282" fmla="*/ 475 h 10000"/>
              <a:gd name="connsiteX283" fmla="*/ 7221 w 10000"/>
              <a:gd name="connsiteY283" fmla="*/ 485 h 10000"/>
              <a:gd name="connsiteX284" fmla="*/ 6420 w 10000"/>
              <a:gd name="connsiteY284" fmla="*/ 387 h 10000"/>
              <a:gd name="connsiteX285" fmla="*/ 6324 w 10000"/>
              <a:gd name="connsiteY285" fmla="*/ 395 h 10000"/>
              <a:gd name="connsiteX286" fmla="*/ 6267 w 10000"/>
              <a:gd name="connsiteY286" fmla="*/ 414 h 10000"/>
              <a:gd name="connsiteX287" fmla="*/ 6211 w 10000"/>
              <a:gd name="connsiteY287" fmla="*/ 462 h 10000"/>
              <a:gd name="connsiteX288" fmla="*/ 6220 w 10000"/>
              <a:gd name="connsiteY288" fmla="*/ 581 h 10000"/>
              <a:gd name="connsiteX289" fmla="*/ 6132 w 10000"/>
              <a:gd name="connsiteY289" fmla="*/ 735 h 10000"/>
              <a:gd name="connsiteX290" fmla="*/ 6024 w 10000"/>
              <a:gd name="connsiteY290" fmla="*/ 815 h 10000"/>
              <a:gd name="connsiteX291" fmla="*/ 5980 w 10000"/>
              <a:gd name="connsiteY291" fmla="*/ 805 h 10000"/>
              <a:gd name="connsiteX292" fmla="*/ 5880 w 10000"/>
              <a:gd name="connsiteY292" fmla="*/ 739 h 10000"/>
              <a:gd name="connsiteX293" fmla="*/ 5753 w 10000"/>
              <a:gd name="connsiteY293" fmla="*/ 705 h 10000"/>
              <a:gd name="connsiteX294" fmla="*/ 5618 w 10000"/>
              <a:gd name="connsiteY294" fmla="*/ 715 h 10000"/>
              <a:gd name="connsiteX295" fmla="*/ 5301 w 10000"/>
              <a:gd name="connsiteY295" fmla="*/ 866 h 10000"/>
              <a:gd name="connsiteX296" fmla="*/ 5218 w 10000"/>
              <a:gd name="connsiteY296" fmla="*/ 1017 h 10000"/>
              <a:gd name="connsiteX297" fmla="*/ 4978 w 10000"/>
              <a:gd name="connsiteY297" fmla="*/ 1153 h 10000"/>
              <a:gd name="connsiteX298" fmla="*/ 4935 w 10000"/>
              <a:gd name="connsiteY298" fmla="*/ 1222 h 10000"/>
              <a:gd name="connsiteX299" fmla="*/ 5061 w 10000"/>
              <a:gd name="connsiteY299" fmla="*/ 1344 h 10000"/>
              <a:gd name="connsiteX300" fmla="*/ 5074 w 10000"/>
              <a:gd name="connsiteY300" fmla="*/ 1412 h 10000"/>
              <a:gd name="connsiteX301" fmla="*/ 4421 w 10000"/>
              <a:gd name="connsiteY301" fmla="*/ 1813 h 10000"/>
              <a:gd name="connsiteX302" fmla="*/ 4220 w 10000"/>
              <a:gd name="connsiteY302" fmla="*/ 2070 h 10000"/>
              <a:gd name="connsiteX303" fmla="*/ 4003 w 10000"/>
              <a:gd name="connsiteY303" fmla="*/ 2135 h 10000"/>
              <a:gd name="connsiteX304" fmla="*/ 3868 w 10000"/>
              <a:gd name="connsiteY304" fmla="*/ 2131 h 10000"/>
              <a:gd name="connsiteX305" fmla="*/ 3785 w 10000"/>
              <a:gd name="connsiteY305" fmla="*/ 2153 h 10000"/>
              <a:gd name="connsiteX306" fmla="*/ 3558 w 10000"/>
              <a:gd name="connsiteY306" fmla="*/ 2793 h 10000"/>
              <a:gd name="connsiteX307" fmla="*/ 3036 w 10000"/>
              <a:gd name="connsiteY307" fmla="*/ 3166 h 10000"/>
              <a:gd name="connsiteX308" fmla="*/ 3040 w 10000"/>
              <a:gd name="connsiteY308" fmla="*/ 3225 h 10000"/>
              <a:gd name="connsiteX309" fmla="*/ 3271 w 10000"/>
              <a:gd name="connsiteY309" fmla="*/ 3392 h 10000"/>
              <a:gd name="connsiteX310" fmla="*/ 3197 w 10000"/>
              <a:gd name="connsiteY310" fmla="*/ 3573 h 10000"/>
              <a:gd name="connsiteX311" fmla="*/ 3062 w 10000"/>
              <a:gd name="connsiteY311" fmla="*/ 3640 h 10000"/>
              <a:gd name="connsiteX312" fmla="*/ 2657 w 10000"/>
              <a:gd name="connsiteY312" fmla="*/ 3595 h 10000"/>
              <a:gd name="connsiteX313" fmla="*/ 2378 w 10000"/>
              <a:gd name="connsiteY313" fmla="*/ 3620 h 10000"/>
              <a:gd name="connsiteX314" fmla="*/ 2152 w 10000"/>
              <a:gd name="connsiteY314" fmla="*/ 3673 h 10000"/>
              <a:gd name="connsiteX315" fmla="*/ 1790 w 10000"/>
              <a:gd name="connsiteY315" fmla="*/ 3840 h 10000"/>
              <a:gd name="connsiteX316" fmla="*/ 1598 w 10000"/>
              <a:gd name="connsiteY316" fmla="*/ 4042 h 10000"/>
              <a:gd name="connsiteX317" fmla="*/ 1616 w 10000"/>
              <a:gd name="connsiteY317" fmla="*/ 4154 h 10000"/>
              <a:gd name="connsiteX318" fmla="*/ 1681 w 10000"/>
              <a:gd name="connsiteY318" fmla="*/ 4241 h 10000"/>
              <a:gd name="connsiteX319" fmla="*/ 1733 w 10000"/>
              <a:gd name="connsiteY319" fmla="*/ 4276 h 10000"/>
              <a:gd name="connsiteX320" fmla="*/ 1638 w 10000"/>
              <a:gd name="connsiteY320" fmla="*/ 4331 h 10000"/>
              <a:gd name="connsiteX321" fmla="*/ 1433 w 10000"/>
              <a:gd name="connsiteY321" fmla="*/ 4710 h 10000"/>
              <a:gd name="connsiteX322" fmla="*/ 1472 w 10000"/>
              <a:gd name="connsiteY322" fmla="*/ 4732 h 10000"/>
              <a:gd name="connsiteX323" fmla="*/ 1503 w 10000"/>
              <a:gd name="connsiteY323" fmla="*/ 4828 h 10000"/>
              <a:gd name="connsiteX324" fmla="*/ 1407 w 10000"/>
              <a:gd name="connsiteY324" fmla="*/ 5227 h 10000"/>
              <a:gd name="connsiteX325" fmla="*/ 1503 w 10000"/>
              <a:gd name="connsiteY325" fmla="*/ 5329 h 10000"/>
              <a:gd name="connsiteX326" fmla="*/ 1764 w 10000"/>
              <a:gd name="connsiteY326" fmla="*/ 5441 h 10000"/>
              <a:gd name="connsiteX327" fmla="*/ 1777 w 10000"/>
              <a:gd name="connsiteY327" fmla="*/ 5578 h 10000"/>
              <a:gd name="connsiteX328" fmla="*/ 1664 w 10000"/>
              <a:gd name="connsiteY328" fmla="*/ 5690 h 10000"/>
              <a:gd name="connsiteX329" fmla="*/ 1503 w 10000"/>
              <a:gd name="connsiteY329" fmla="*/ 5759 h 10000"/>
              <a:gd name="connsiteX330" fmla="*/ 1289 w 10000"/>
              <a:gd name="connsiteY330" fmla="*/ 5787 h 10000"/>
              <a:gd name="connsiteX331" fmla="*/ 1233 w 10000"/>
              <a:gd name="connsiteY331" fmla="*/ 5826 h 10000"/>
              <a:gd name="connsiteX332" fmla="*/ 1359 w 10000"/>
              <a:gd name="connsiteY332" fmla="*/ 5920 h 10000"/>
              <a:gd name="connsiteX333" fmla="*/ 1429 w 10000"/>
              <a:gd name="connsiteY333" fmla="*/ 6142 h 10000"/>
              <a:gd name="connsiteX334" fmla="*/ 1267 w 10000"/>
              <a:gd name="connsiteY334" fmla="*/ 6333 h 10000"/>
              <a:gd name="connsiteX335" fmla="*/ 1324 w 10000"/>
              <a:gd name="connsiteY335" fmla="*/ 6392 h 10000"/>
              <a:gd name="connsiteX336" fmla="*/ 1272 w 10000"/>
              <a:gd name="connsiteY336" fmla="*/ 6492 h 10000"/>
              <a:gd name="connsiteX337" fmla="*/ 1167 w 10000"/>
              <a:gd name="connsiteY337" fmla="*/ 6561 h 10000"/>
              <a:gd name="connsiteX338" fmla="*/ 758 w 10000"/>
              <a:gd name="connsiteY338" fmla="*/ 6614 h 10000"/>
              <a:gd name="connsiteX339" fmla="*/ 732 w 10000"/>
              <a:gd name="connsiteY339" fmla="*/ 6706 h 10000"/>
              <a:gd name="connsiteX340" fmla="*/ 510 w 10000"/>
              <a:gd name="connsiteY340" fmla="*/ 6843 h 10000"/>
              <a:gd name="connsiteX341" fmla="*/ 540 w 10000"/>
              <a:gd name="connsiteY341" fmla="*/ 7040 h 10000"/>
              <a:gd name="connsiteX342" fmla="*/ 353 w 10000"/>
              <a:gd name="connsiteY342" fmla="*/ 7293 h 10000"/>
              <a:gd name="connsiteX343" fmla="*/ 226 w 10000"/>
              <a:gd name="connsiteY343" fmla="*/ 7323 h 10000"/>
              <a:gd name="connsiteX344" fmla="*/ 174 w 10000"/>
              <a:gd name="connsiteY344" fmla="*/ 7262 h 10000"/>
              <a:gd name="connsiteX345" fmla="*/ 109 w 10000"/>
              <a:gd name="connsiteY345" fmla="*/ 7354 h 10000"/>
              <a:gd name="connsiteX346" fmla="*/ 152 w 10000"/>
              <a:gd name="connsiteY346" fmla="*/ 7197 h 10000"/>
              <a:gd name="connsiteX347" fmla="*/ 126 w 10000"/>
              <a:gd name="connsiteY34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145 w 10000"/>
              <a:gd name="connsiteY209" fmla="*/ 3267 h 10000"/>
              <a:gd name="connsiteX210" fmla="*/ 8123 w 10000"/>
              <a:gd name="connsiteY210" fmla="*/ 3229 h 10000"/>
              <a:gd name="connsiteX211" fmla="*/ 8153 w 10000"/>
              <a:gd name="connsiteY211" fmla="*/ 3219 h 10000"/>
              <a:gd name="connsiteX212" fmla="*/ 8075 w 10000"/>
              <a:gd name="connsiteY212" fmla="*/ 3147 h 10000"/>
              <a:gd name="connsiteX213" fmla="*/ 8079 w 10000"/>
              <a:gd name="connsiteY213" fmla="*/ 3127 h 10000"/>
              <a:gd name="connsiteX214" fmla="*/ 8132 w 10000"/>
              <a:gd name="connsiteY214" fmla="*/ 3100 h 10000"/>
              <a:gd name="connsiteX215" fmla="*/ 8145 w 10000"/>
              <a:gd name="connsiteY215" fmla="*/ 3064 h 10000"/>
              <a:gd name="connsiteX216" fmla="*/ 8258 w 10000"/>
              <a:gd name="connsiteY216" fmla="*/ 3037 h 10000"/>
              <a:gd name="connsiteX217" fmla="*/ 8380 w 10000"/>
              <a:gd name="connsiteY217" fmla="*/ 2860 h 10000"/>
              <a:gd name="connsiteX218" fmla="*/ 8253 w 10000"/>
              <a:gd name="connsiteY218" fmla="*/ 2762 h 10000"/>
              <a:gd name="connsiteX219" fmla="*/ 8267 w 10000"/>
              <a:gd name="connsiteY219" fmla="*/ 2748 h 10000"/>
              <a:gd name="connsiteX220" fmla="*/ 8397 w 10000"/>
              <a:gd name="connsiteY220" fmla="*/ 2705 h 10000"/>
              <a:gd name="connsiteX221" fmla="*/ 8402 w 10000"/>
              <a:gd name="connsiteY221" fmla="*/ 2662 h 10000"/>
              <a:gd name="connsiteX222" fmla="*/ 8449 w 10000"/>
              <a:gd name="connsiteY222" fmla="*/ 2656 h 10000"/>
              <a:gd name="connsiteX223" fmla="*/ 8558 w 10000"/>
              <a:gd name="connsiteY223" fmla="*/ 2677 h 10000"/>
              <a:gd name="connsiteX224" fmla="*/ 8593 w 10000"/>
              <a:gd name="connsiteY224" fmla="*/ 2669 h 10000"/>
              <a:gd name="connsiteX225" fmla="*/ 8606 w 10000"/>
              <a:gd name="connsiteY225" fmla="*/ 2630 h 10000"/>
              <a:gd name="connsiteX226" fmla="*/ 8567 w 10000"/>
              <a:gd name="connsiteY226" fmla="*/ 2605 h 10000"/>
              <a:gd name="connsiteX227" fmla="*/ 8685 w 10000"/>
              <a:gd name="connsiteY227" fmla="*/ 2597 h 10000"/>
              <a:gd name="connsiteX228" fmla="*/ 8698 w 10000"/>
              <a:gd name="connsiteY228" fmla="*/ 2565 h 10000"/>
              <a:gd name="connsiteX229" fmla="*/ 8558 w 10000"/>
              <a:gd name="connsiteY229" fmla="*/ 2481 h 10000"/>
              <a:gd name="connsiteX230" fmla="*/ 8558 w 10000"/>
              <a:gd name="connsiteY230" fmla="*/ 2459 h 10000"/>
              <a:gd name="connsiteX231" fmla="*/ 8698 w 10000"/>
              <a:gd name="connsiteY231" fmla="*/ 2504 h 10000"/>
              <a:gd name="connsiteX232" fmla="*/ 8763 w 10000"/>
              <a:gd name="connsiteY232" fmla="*/ 2548 h 10000"/>
              <a:gd name="connsiteX233" fmla="*/ 8815 w 10000"/>
              <a:gd name="connsiteY233" fmla="*/ 2548 h 10000"/>
              <a:gd name="connsiteX234" fmla="*/ 8789 w 10000"/>
              <a:gd name="connsiteY234" fmla="*/ 2457 h 10000"/>
              <a:gd name="connsiteX235" fmla="*/ 8798 w 10000"/>
              <a:gd name="connsiteY235" fmla="*/ 2467 h 10000"/>
              <a:gd name="connsiteX236" fmla="*/ 8841 w 10000"/>
              <a:gd name="connsiteY236" fmla="*/ 2457 h 10000"/>
              <a:gd name="connsiteX237" fmla="*/ 8855 w 10000"/>
              <a:gd name="connsiteY237" fmla="*/ 2341 h 10000"/>
              <a:gd name="connsiteX238" fmla="*/ 8898 w 10000"/>
              <a:gd name="connsiteY238" fmla="*/ 2332 h 10000"/>
              <a:gd name="connsiteX239" fmla="*/ 8946 w 10000"/>
              <a:gd name="connsiteY239" fmla="*/ 2330 h 10000"/>
              <a:gd name="connsiteX240" fmla="*/ 8946 w 10000"/>
              <a:gd name="connsiteY240" fmla="*/ 2361 h 10000"/>
              <a:gd name="connsiteX241" fmla="*/ 8994 w 10000"/>
              <a:gd name="connsiteY241" fmla="*/ 2389 h 10000"/>
              <a:gd name="connsiteX242" fmla="*/ 9051 w 10000"/>
              <a:gd name="connsiteY242" fmla="*/ 2400 h 10000"/>
              <a:gd name="connsiteX243" fmla="*/ 9094 w 10000"/>
              <a:gd name="connsiteY243" fmla="*/ 2324 h 10000"/>
              <a:gd name="connsiteX244" fmla="*/ 9164 w 10000"/>
              <a:gd name="connsiteY244" fmla="*/ 2347 h 10000"/>
              <a:gd name="connsiteX245" fmla="*/ 9247 w 10000"/>
              <a:gd name="connsiteY245" fmla="*/ 2402 h 10000"/>
              <a:gd name="connsiteX246" fmla="*/ 9286 w 10000"/>
              <a:gd name="connsiteY246" fmla="*/ 2400 h 10000"/>
              <a:gd name="connsiteX247" fmla="*/ 9355 w 10000"/>
              <a:gd name="connsiteY247" fmla="*/ 2428 h 10000"/>
              <a:gd name="connsiteX248" fmla="*/ 9408 w 10000"/>
              <a:gd name="connsiteY248" fmla="*/ 2359 h 10000"/>
              <a:gd name="connsiteX249" fmla="*/ 9717 w 10000"/>
              <a:gd name="connsiteY249" fmla="*/ 2343 h 10000"/>
              <a:gd name="connsiteX250" fmla="*/ 9830 w 10000"/>
              <a:gd name="connsiteY250" fmla="*/ 2369 h 10000"/>
              <a:gd name="connsiteX251" fmla="*/ 9909 w 10000"/>
              <a:gd name="connsiteY251" fmla="*/ 2410 h 10000"/>
              <a:gd name="connsiteX252" fmla="*/ 9948 w 10000"/>
              <a:gd name="connsiteY252" fmla="*/ 2365 h 10000"/>
              <a:gd name="connsiteX253" fmla="*/ 10000 w 10000"/>
              <a:gd name="connsiteY253" fmla="*/ 2349 h 10000"/>
              <a:gd name="connsiteX254" fmla="*/ 9704 w 10000"/>
              <a:gd name="connsiteY254" fmla="*/ 1992 h 10000"/>
              <a:gd name="connsiteX255" fmla="*/ 9743 w 10000"/>
              <a:gd name="connsiteY255" fmla="*/ 1897 h 10000"/>
              <a:gd name="connsiteX256" fmla="*/ 9830 w 10000"/>
              <a:gd name="connsiteY256" fmla="*/ 1819 h 10000"/>
              <a:gd name="connsiteX257" fmla="*/ 9830 w 10000"/>
              <a:gd name="connsiteY257" fmla="*/ 1699 h 10000"/>
              <a:gd name="connsiteX258" fmla="*/ 9556 w 10000"/>
              <a:gd name="connsiteY258" fmla="*/ 1465 h 10000"/>
              <a:gd name="connsiteX259" fmla="*/ 9512 w 10000"/>
              <a:gd name="connsiteY259" fmla="*/ 1379 h 10000"/>
              <a:gd name="connsiteX260" fmla="*/ 9573 w 10000"/>
              <a:gd name="connsiteY260" fmla="*/ 1271 h 10000"/>
              <a:gd name="connsiteX261" fmla="*/ 9543 w 10000"/>
              <a:gd name="connsiteY261" fmla="*/ 1194 h 10000"/>
              <a:gd name="connsiteX262" fmla="*/ 9486 w 10000"/>
              <a:gd name="connsiteY262" fmla="*/ 1159 h 10000"/>
              <a:gd name="connsiteX263" fmla="*/ 9438 w 10000"/>
              <a:gd name="connsiteY263" fmla="*/ 978 h 10000"/>
              <a:gd name="connsiteX264" fmla="*/ 9495 w 10000"/>
              <a:gd name="connsiteY264" fmla="*/ 831 h 10000"/>
              <a:gd name="connsiteX265" fmla="*/ 9077 w 10000"/>
              <a:gd name="connsiteY265" fmla="*/ 517 h 10000"/>
              <a:gd name="connsiteX266" fmla="*/ 8872 w 10000"/>
              <a:gd name="connsiteY266" fmla="*/ 440 h 10000"/>
              <a:gd name="connsiteX267" fmla="*/ 8493 w 10000"/>
              <a:gd name="connsiteY267" fmla="*/ 389 h 10000"/>
              <a:gd name="connsiteX268" fmla="*/ 7709 w 10000"/>
              <a:gd name="connsiteY268" fmla="*/ 26 h 10000"/>
              <a:gd name="connsiteX269" fmla="*/ 7683 w 10000"/>
              <a:gd name="connsiteY269" fmla="*/ 2 h 10000"/>
              <a:gd name="connsiteX270" fmla="*/ 7417 w 10000"/>
              <a:gd name="connsiteY270" fmla="*/ 0 h 10000"/>
              <a:gd name="connsiteX271" fmla="*/ 7356 w 10000"/>
              <a:gd name="connsiteY271" fmla="*/ 14 h 10000"/>
              <a:gd name="connsiteX272" fmla="*/ 7369 w 10000"/>
              <a:gd name="connsiteY272" fmla="*/ 61 h 10000"/>
              <a:gd name="connsiteX273" fmla="*/ 7422 w 10000"/>
              <a:gd name="connsiteY273" fmla="*/ 86 h 10000"/>
              <a:gd name="connsiteX274" fmla="*/ 7435 w 10000"/>
              <a:gd name="connsiteY274" fmla="*/ 139 h 10000"/>
              <a:gd name="connsiteX275" fmla="*/ 7417 w 10000"/>
              <a:gd name="connsiteY275" fmla="*/ 181 h 10000"/>
              <a:gd name="connsiteX276" fmla="*/ 7369 w 10000"/>
              <a:gd name="connsiteY276" fmla="*/ 208 h 10000"/>
              <a:gd name="connsiteX277" fmla="*/ 7334 w 10000"/>
              <a:gd name="connsiteY277" fmla="*/ 283 h 10000"/>
              <a:gd name="connsiteX278" fmla="*/ 7269 w 10000"/>
              <a:gd name="connsiteY278" fmla="*/ 336 h 10000"/>
              <a:gd name="connsiteX279" fmla="*/ 7282 w 10000"/>
              <a:gd name="connsiteY279" fmla="*/ 387 h 10000"/>
              <a:gd name="connsiteX280" fmla="*/ 7382 w 10000"/>
              <a:gd name="connsiteY280" fmla="*/ 434 h 10000"/>
              <a:gd name="connsiteX281" fmla="*/ 7317 w 10000"/>
              <a:gd name="connsiteY281" fmla="*/ 475 h 10000"/>
              <a:gd name="connsiteX282" fmla="*/ 7221 w 10000"/>
              <a:gd name="connsiteY282" fmla="*/ 485 h 10000"/>
              <a:gd name="connsiteX283" fmla="*/ 6420 w 10000"/>
              <a:gd name="connsiteY283" fmla="*/ 387 h 10000"/>
              <a:gd name="connsiteX284" fmla="*/ 6324 w 10000"/>
              <a:gd name="connsiteY284" fmla="*/ 395 h 10000"/>
              <a:gd name="connsiteX285" fmla="*/ 6267 w 10000"/>
              <a:gd name="connsiteY285" fmla="*/ 414 h 10000"/>
              <a:gd name="connsiteX286" fmla="*/ 6211 w 10000"/>
              <a:gd name="connsiteY286" fmla="*/ 462 h 10000"/>
              <a:gd name="connsiteX287" fmla="*/ 6220 w 10000"/>
              <a:gd name="connsiteY287" fmla="*/ 581 h 10000"/>
              <a:gd name="connsiteX288" fmla="*/ 6132 w 10000"/>
              <a:gd name="connsiteY288" fmla="*/ 735 h 10000"/>
              <a:gd name="connsiteX289" fmla="*/ 6024 w 10000"/>
              <a:gd name="connsiteY289" fmla="*/ 815 h 10000"/>
              <a:gd name="connsiteX290" fmla="*/ 5980 w 10000"/>
              <a:gd name="connsiteY290" fmla="*/ 805 h 10000"/>
              <a:gd name="connsiteX291" fmla="*/ 5880 w 10000"/>
              <a:gd name="connsiteY291" fmla="*/ 739 h 10000"/>
              <a:gd name="connsiteX292" fmla="*/ 5753 w 10000"/>
              <a:gd name="connsiteY292" fmla="*/ 705 h 10000"/>
              <a:gd name="connsiteX293" fmla="*/ 5618 w 10000"/>
              <a:gd name="connsiteY293" fmla="*/ 715 h 10000"/>
              <a:gd name="connsiteX294" fmla="*/ 5301 w 10000"/>
              <a:gd name="connsiteY294" fmla="*/ 866 h 10000"/>
              <a:gd name="connsiteX295" fmla="*/ 5218 w 10000"/>
              <a:gd name="connsiteY295" fmla="*/ 1017 h 10000"/>
              <a:gd name="connsiteX296" fmla="*/ 4978 w 10000"/>
              <a:gd name="connsiteY296" fmla="*/ 1153 h 10000"/>
              <a:gd name="connsiteX297" fmla="*/ 4935 w 10000"/>
              <a:gd name="connsiteY297" fmla="*/ 1222 h 10000"/>
              <a:gd name="connsiteX298" fmla="*/ 5061 w 10000"/>
              <a:gd name="connsiteY298" fmla="*/ 1344 h 10000"/>
              <a:gd name="connsiteX299" fmla="*/ 5074 w 10000"/>
              <a:gd name="connsiteY299" fmla="*/ 1412 h 10000"/>
              <a:gd name="connsiteX300" fmla="*/ 4421 w 10000"/>
              <a:gd name="connsiteY300" fmla="*/ 1813 h 10000"/>
              <a:gd name="connsiteX301" fmla="*/ 4220 w 10000"/>
              <a:gd name="connsiteY301" fmla="*/ 2070 h 10000"/>
              <a:gd name="connsiteX302" fmla="*/ 4003 w 10000"/>
              <a:gd name="connsiteY302" fmla="*/ 2135 h 10000"/>
              <a:gd name="connsiteX303" fmla="*/ 3868 w 10000"/>
              <a:gd name="connsiteY303" fmla="*/ 2131 h 10000"/>
              <a:gd name="connsiteX304" fmla="*/ 3785 w 10000"/>
              <a:gd name="connsiteY304" fmla="*/ 2153 h 10000"/>
              <a:gd name="connsiteX305" fmla="*/ 3558 w 10000"/>
              <a:gd name="connsiteY305" fmla="*/ 2793 h 10000"/>
              <a:gd name="connsiteX306" fmla="*/ 3036 w 10000"/>
              <a:gd name="connsiteY306" fmla="*/ 3166 h 10000"/>
              <a:gd name="connsiteX307" fmla="*/ 3040 w 10000"/>
              <a:gd name="connsiteY307" fmla="*/ 3225 h 10000"/>
              <a:gd name="connsiteX308" fmla="*/ 3271 w 10000"/>
              <a:gd name="connsiteY308" fmla="*/ 3392 h 10000"/>
              <a:gd name="connsiteX309" fmla="*/ 3197 w 10000"/>
              <a:gd name="connsiteY309" fmla="*/ 3573 h 10000"/>
              <a:gd name="connsiteX310" fmla="*/ 3062 w 10000"/>
              <a:gd name="connsiteY310" fmla="*/ 3640 h 10000"/>
              <a:gd name="connsiteX311" fmla="*/ 2657 w 10000"/>
              <a:gd name="connsiteY311" fmla="*/ 3595 h 10000"/>
              <a:gd name="connsiteX312" fmla="*/ 2378 w 10000"/>
              <a:gd name="connsiteY312" fmla="*/ 3620 h 10000"/>
              <a:gd name="connsiteX313" fmla="*/ 2152 w 10000"/>
              <a:gd name="connsiteY313" fmla="*/ 3673 h 10000"/>
              <a:gd name="connsiteX314" fmla="*/ 1790 w 10000"/>
              <a:gd name="connsiteY314" fmla="*/ 3840 h 10000"/>
              <a:gd name="connsiteX315" fmla="*/ 1598 w 10000"/>
              <a:gd name="connsiteY315" fmla="*/ 4042 h 10000"/>
              <a:gd name="connsiteX316" fmla="*/ 1616 w 10000"/>
              <a:gd name="connsiteY316" fmla="*/ 4154 h 10000"/>
              <a:gd name="connsiteX317" fmla="*/ 1681 w 10000"/>
              <a:gd name="connsiteY317" fmla="*/ 4241 h 10000"/>
              <a:gd name="connsiteX318" fmla="*/ 1733 w 10000"/>
              <a:gd name="connsiteY318" fmla="*/ 4276 h 10000"/>
              <a:gd name="connsiteX319" fmla="*/ 1638 w 10000"/>
              <a:gd name="connsiteY319" fmla="*/ 4331 h 10000"/>
              <a:gd name="connsiteX320" fmla="*/ 1433 w 10000"/>
              <a:gd name="connsiteY320" fmla="*/ 4710 h 10000"/>
              <a:gd name="connsiteX321" fmla="*/ 1472 w 10000"/>
              <a:gd name="connsiteY321" fmla="*/ 4732 h 10000"/>
              <a:gd name="connsiteX322" fmla="*/ 1503 w 10000"/>
              <a:gd name="connsiteY322" fmla="*/ 4828 h 10000"/>
              <a:gd name="connsiteX323" fmla="*/ 1407 w 10000"/>
              <a:gd name="connsiteY323" fmla="*/ 5227 h 10000"/>
              <a:gd name="connsiteX324" fmla="*/ 1503 w 10000"/>
              <a:gd name="connsiteY324" fmla="*/ 5329 h 10000"/>
              <a:gd name="connsiteX325" fmla="*/ 1764 w 10000"/>
              <a:gd name="connsiteY325" fmla="*/ 5441 h 10000"/>
              <a:gd name="connsiteX326" fmla="*/ 1777 w 10000"/>
              <a:gd name="connsiteY326" fmla="*/ 5578 h 10000"/>
              <a:gd name="connsiteX327" fmla="*/ 1664 w 10000"/>
              <a:gd name="connsiteY327" fmla="*/ 5690 h 10000"/>
              <a:gd name="connsiteX328" fmla="*/ 1503 w 10000"/>
              <a:gd name="connsiteY328" fmla="*/ 5759 h 10000"/>
              <a:gd name="connsiteX329" fmla="*/ 1289 w 10000"/>
              <a:gd name="connsiteY329" fmla="*/ 5787 h 10000"/>
              <a:gd name="connsiteX330" fmla="*/ 1233 w 10000"/>
              <a:gd name="connsiteY330" fmla="*/ 5826 h 10000"/>
              <a:gd name="connsiteX331" fmla="*/ 1359 w 10000"/>
              <a:gd name="connsiteY331" fmla="*/ 5920 h 10000"/>
              <a:gd name="connsiteX332" fmla="*/ 1429 w 10000"/>
              <a:gd name="connsiteY332" fmla="*/ 6142 h 10000"/>
              <a:gd name="connsiteX333" fmla="*/ 1267 w 10000"/>
              <a:gd name="connsiteY333" fmla="*/ 6333 h 10000"/>
              <a:gd name="connsiteX334" fmla="*/ 1324 w 10000"/>
              <a:gd name="connsiteY334" fmla="*/ 6392 h 10000"/>
              <a:gd name="connsiteX335" fmla="*/ 1272 w 10000"/>
              <a:gd name="connsiteY335" fmla="*/ 6492 h 10000"/>
              <a:gd name="connsiteX336" fmla="*/ 1167 w 10000"/>
              <a:gd name="connsiteY336" fmla="*/ 6561 h 10000"/>
              <a:gd name="connsiteX337" fmla="*/ 758 w 10000"/>
              <a:gd name="connsiteY337" fmla="*/ 6614 h 10000"/>
              <a:gd name="connsiteX338" fmla="*/ 732 w 10000"/>
              <a:gd name="connsiteY338" fmla="*/ 6706 h 10000"/>
              <a:gd name="connsiteX339" fmla="*/ 510 w 10000"/>
              <a:gd name="connsiteY339" fmla="*/ 6843 h 10000"/>
              <a:gd name="connsiteX340" fmla="*/ 540 w 10000"/>
              <a:gd name="connsiteY340" fmla="*/ 7040 h 10000"/>
              <a:gd name="connsiteX341" fmla="*/ 353 w 10000"/>
              <a:gd name="connsiteY341" fmla="*/ 7293 h 10000"/>
              <a:gd name="connsiteX342" fmla="*/ 226 w 10000"/>
              <a:gd name="connsiteY342" fmla="*/ 7323 h 10000"/>
              <a:gd name="connsiteX343" fmla="*/ 174 w 10000"/>
              <a:gd name="connsiteY343" fmla="*/ 7262 h 10000"/>
              <a:gd name="connsiteX344" fmla="*/ 109 w 10000"/>
              <a:gd name="connsiteY344" fmla="*/ 7354 h 10000"/>
              <a:gd name="connsiteX345" fmla="*/ 152 w 10000"/>
              <a:gd name="connsiteY345" fmla="*/ 7197 h 10000"/>
              <a:gd name="connsiteX346" fmla="*/ 126 w 10000"/>
              <a:gd name="connsiteY34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80 w 10000"/>
              <a:gd name="connsiteY207" fmla="*/ 3522 h 10000"/>
              <a:gd name="connsiteX208" fmla="*/ 8145 w 10000"/>
              <a:gd name="connsiteY208" fmla="*/ 3267 h 10000"/>
              <a:gd name="connsiteX209" fmla="*/ 8123 w 10000"/>
              <a:gd name="connsiteY209" fmla="*/ 3229 h 10000"/>
              <a:gd name="connsiteX210" fmla="*/ 8153 w 10000"/>
              <a:gd name="connsiteY210" fmla="*/ 3219 h 10000"/>
              <a:gd name="connsiteX211" fmla="*/ 8075 w 10000"/>
              <a:gd name="connsiteY211" fmla="*/ 3147 h 10000"/>
              <a:gd name="connsiteX212" fmla="*/ 8079 w 10000"/>
              <a:gd name="connsiteY212" fmla="*/ 3127 h 10000"/>
              <a:gd name="connsiteX213" fmla="*/ 8132 w 10000"/>
              <a:gd name="connsiteY213" fmla="*/ 3100 h 10000"/>
              <a:gd name="connsiteX214" fmla="*/ 8145 w 10000"/>
              <a:gd name="connsiteY214" fmla="*/ 3064 h 10000"/>
              <a:gd name="connsiteX215" fmla="*/ 8258 w 10000"/>
              <a:gd name="connsiteY215" fmla="*/ 3037 h 10000"/>
              <a:gd name="connsiteX216" fmla="*/ 8380 w 10000"/>
              <a:gd name="connsiteY216" fmla="*/ 2860 h 10000"/>
              <a:gd name="connsiteX217" fmla="*/ 8253 w 10000"/>
              <a:gd name="connsiteY217" fmla="*/ 2762 h 10000"/>
              <a:gd name="connsiteX218" fmla="*/ 8267 w 10000"/>
              <a:gd name="connsiteY218" fmla="*/ 2748 h 10000"/>
              <a:gd name="connsiteX219" fmla="*/ 8397 w 10000"/>
              <a:gd name="connsiteY219" fmla="*/ 2705 h 10000"/>
              <a:gd name="connsiteX220" fmla="*/ 8402 w 10000"/>
              <a:gd name="connsiteY220" fmla="*/ 2662 h 10000"/>
              <a:gd name="connsiteX221" fmla="*/ 8449 w 10000"/>
              <a:gd name="connsiteY221" fmla="*/ 2656 h 10000"/>
              <a:gd name="connsiteX222" fmla="*/ 8558 w 10000"/>
              <a:gd name="connsiteY222" fmla="*/ 2677 h 10000"/>
              <a:gd name="connsiteX223" fmla="*/ 8593 w 10000"/>
              <a:gd name="connsiteY223" fmla="*/ 2669 h 10000"/>
              <a:gd name="connsiteX224" fmla="*/ 8606 w 10000"/>
              <a:gd name="connsiteY224" fmla="*/ 2630 h 10000"/>
              <a:gd name="connsiteX225" fmla="*/ 8567 w 10000"/>
              <a:gd name="connsiteY225" fmla="*/ 2605 h 10000"/>
              <a:gd name="connsiteX226" fmla="*/ 8685 w 10000"/>
              <a:gd name="connsiteY226" fmla="*/ 2597 h 10000"/>
              <a:gd name="connsiteX227" fmla="*/ 8698 w 10000"/>
              <a:gd name="connsiteY227" fmla="*/ 2565 h 10000"/>
              <a:gd name="connsiteX228" fmla="*/ 8558 w 10000"/>
              <a:gd name="connsiteY228" fmla="*/ 2481 h 10000"/>
              <a:gd name="connsiteX229" fmla="*/ 8558 w 10000"/>
              <a:gd name="connsiteY229" fmla="*/ 2459 h 10000"/>
              <a:gd name="connsiteX230" fmla="*/ 8698 w 10000"/>
              <a:gd name="connsiteY230" fmla="*/ 2504 h 10000"/>
              <a:gd name="connsiteX231" fmla="*/ 8763 w 10000"/>
              <a:gd name="connsiteY231" fmla="*/ 2548 h 10000"/>
              <a:gd name="connsiteX232" fmla="*/ 8815 w 10000"/>
              <a:gd name="connsiteY232" fmla="*/ 2548 h 10000"/>
              <a:gd name="connsiteX233" fmla="*/ 8789 w 10000"/>
              <a:gd name="connsiteY233" fmla="*/ 2457 h 10000"/>
              <a:gd name="connsiteX234" fmla="*/ 8798 w 10000"/>
              <a:gd name="connsiteY234" fmla="*/ 2467 h 10000"/>
              <a:gd name="connsiteX235" fmla="*/ 8841 w 10000"/>
              <a:gd name="connsiteY235" fmla="*/ 2457 h 10000"/>
              <a:gd name="connsiteX236" fmla="*/ 8855 w 10000"/>
              <a:gd name="connsiteY236" fmla="*/ 2341 h 10000"/>
              <a:gd name="connsiteX237" fmla="*/ 8898 w 10000"/>
              <a:gd name="connsiteY237" fmla="*/ 2332 h 10000"/>
              <a:gd name="connsiteX238" fmla="*/ 8946 w 10000"/>
              <a:gd name="connsiteY238" fmla="*/ 2330 h 10000"/>
              <a:gd name="connsiteX239" fmla="*/ 8946 w 10000"/>
              <a:gd name="connsiteY239" fmla="*/ 2361 h 10000"/>
              <a:gd name="connsiteX240" fmla="*/ 8994 w 10000"/>
              <a:gd name="connsiteY240" fmla="*/ 2389 h 10000"/>
              <a:gd name="connsiteX241" fmla="*/ 9051 w 10000"/>
              <a:gd name="connsiteY241" fmla="*/ 2400 h 10000"/>
              <a:gd name="connsiteX242" fmla="*/ 9094 w 10000"/>
              <a:gd name="connsiteY242" fmla="*/ 2324 h 10000"/>
              <a:gd name="connsiteX243" fmla="*/ 9164 w 10000"/>
              <a:gd name="connsiteY243" fmla="*/ 2347 h 10000"/>
              <a:gd name="connsiteX244" fmla="*/ 9247 w 10000"/>
              <a:gd name="connsiteY244" fmla="*/ 2402 h 10000"/>
              <a:gd name="connsiteX245" fmla="*/ 9286 w 10000"/>
              <a:gd name="connsiteY245" fmla="*/ 2400 h 10000"/>
              <a:gd name="connsiteX246" fmla="*/ 9355 w 10000"/>
              <a:gd name="connsiteY246" fmla="*/ 2428 h 10000"/>
              <a:gd name="connsiteX247" fmla="*/ 9408 w 10000"/>
              <a:gd name="connsiteY247" fmla="*/ 2359 h 10000"/>
              <a:gd name="connsiteX248" fmla="*/ 9717 w 10000"/>
              <a:gd name="connsiteY248" fmla="*/ 2343 h 10000"/>
              <a:gd name="connsiteX249" fmla="*/ 9830 w 10000"/>
              <a:gd name="connsiteY249" fmla="*/ 2369 h 10000"/>
              <a:gd name="connsiteX250" fmla="*/ 9909 w 10000"/>
              <a:gd name="connsiteY250" fmla="*/ 2410 h 10000"/>
              <a:gd name="connsiteX251" fmla="*/ 9948 w 10000"/>
              <a:gd name="connsiteY251" fmla="*/ 2365 h 10000"/>
              <a:gd name="connsiteX252" fmla="*/ 10000 w 10000"/>
              <a:gd name="connsiteY252" fmla="*/ 2349 h 10000"/>
              <a:gd name="connsiteX253" fmla="*/ 9704 w 10000"/>
              <a:gd name="connsiteY253" fmla="*/ 1992 h 10000"/>
              <a:gd name="connsiteX254" fmla="*/ 9743 w 10000"/>
              <a:gd name="connsiteY254" fmla="*/ 1897 h 10000"/>
              <a:gd name="connsiteX255" fmla="*/ 9830 w 10000"/>
              <a:gd name="connsiteY255" fmla="*/ 1819 h 10000"/>
              <a:gd name="connsiteX256" fmla="*/ 9830 w 10000"/>
              <a:gd name="connsiteY256" fmla="*/ 1699 h 10000"/>
              <a:gd name="connsiteX257" fmla="*/ 9556 w 10000"/>
              <a:gd name="connsiteY257" fmla="*/ 1465 h 10000"/>
              <a:gd name="connsiteX258" fmla="*/ 9512 w 10000"/>
              <a:gd name="connsiteY258" fmla="*/ 1379 h 10000"/>
              <a:gd name="connsiteX259" fmla="*/ 9573 w 10000"/>
              <a:gd name="connsiteY259" fmla="*/ 1271 h 10000"/>
              <a:gd name="connsiteX260" fmla="*/ 9543 w 10000"/>
              <a:gd name="connsiteY260" fmla="*/ 1194 h 10000"/>
              <a:gd name="connsiteX261" fmla="*/ 9486 w 10000"/>
              <a:gd name="connsiteY261" fmla="*/ 1159 h 10000"/>
              <a:gd name="connsiteX262" fmla="*/ 9438 w 10000"/>
              <a:gd name="connsiteY262" fmla="*/ 978 h 10000"/>
              <a:gd name="connsiteX263" fmla="*/ 9495 w 10000"/>
              <a:gd name="connsiteY263" fmla="*/ 831 h 10000"/>
              <a:gd name="connsiteX264" fmla="*/ 9077 w 10000"/>
              <a:gd name="connsiteY264" fmla="*/ 517 h 10000"/>
              <a:gd name="connsiteX265" fmla="*/ 8872 w 10000"/>
              <a:gd name="connsiteY265" fmla="*/ 440 h 10000"/>
              <a:gd name="connsiteX266" fmla="*/ 8493 w 10000"/>
              <a:gd name="connsiteY266" fmla="*/ 389 h 10000"/>
              <a:gd name="connsiteX267" fmla="*/ 7709 w 10000"/>
              <a:gd name="connsiteY267" fmla="*/ 26 h 10000"/>
              <a:gd name="connsiteX268" fmla="*/ 7683 w 10000"/>
              <a:gd name="connsiteY268" fmla="*/ 2 h 10000"/>
              <a:gd name="connsiteX269" fmla="*/ 7417 w 10000"/>
              <a:gd name="connsiteY269" fmla="*/ 0 h 10000"/>
              <a:gd name="connsiteX270" fmla="*/ 7356 w 10000"/>
              <a:gd name="connsiteY270" fmla="*/ 14 h 10000"/>
              <a:gd name="connsiteX271" fmla="*/ 7369 w 10000"/>
              <a:gd name="connsiteY271" fmla="*/ 61 h 10000"/>
              <a:gd name="connsiteX272" fmla="*/ 7422 w 10000"/>
              <a:gd name="connsiteY272" fmla="*/ 86 h 10000"/>
              <a:gd name="connsiteX273" fmla="*/ 7435 w 10000"/>
              <a:gd name="connsiteY273" fmla="*/ 139 h 10000"/>
              <a:gd name="connsiteX274" fmla="*/ 7417 w 10000"/>
              <a:gd name="connsiteY274" fmla="*/ 181 h 10000"/>
              <a:gd name="connsiteX275" fmla="*/ 7369 w 10000"/>
              <a:gd name="connsiteY275" fmla="*/ 208 h 10000"/>
              <a:gd name="connsiteX276" fmla="*/ 7334 w 10000"/>
              <a:gd name="connsiteY276" fmla="*/ 283 h 10000"/>
              <a:gd name="connsiteX277" fmla="*/ 7269 w 10000"/>
              <a:gd name="connsiteY277" fmla="*/ 336 h 10000"/>
              <a:gd name="connsiteX278" fmla="*/ 7282 w 10000"/>
              <a:gd name="connsiteY278" fmla="*/ 387 h 10000"/>
              <a:gd name="connsiteX279" fmla="*/ 7382 w 10000"/>
              <a:gd name="connsiteY279" fmla="*/ 434 h 10000"/>
              <a:gd name="connsiteX280" fmla="*/ 7317 w 10000"/>
              <a:gd name="connsiteY280" fmla="*/ 475 h 10000"/>
              <a:gd name="connsiteX281" fmla="*/ 7221 w 10000"/>
              <a:gd name="connsiteY281" fmla="*/ 485 h 10000"/>
              <a:gd name="connsiteX282" fmla="*/ 6420 w 10000"/>
              <a:gd name="connsiteY282" fmla="*/ 387 h 10000"/>
              <a:gd name="connsiteX283" fmla="*/ 6324 w 10000"/>
              <a:gd name="connsiteY283" fmla="*/ 395 h 10000"/>
              <a:gd name="connsiteX284" fmla="*/ 6267 w 10000"/>
              <a:gd name="connsiteY284" fmla="*/ 414 h 10000"/>
              <a:gd name="connsiteX285" fmla="*/ 6211 w 10000"/>
              <a:gd name="connsiteY285" fmla="*/ 462 h 10000"/>
              <a:gd name="connsiteX286" fmla="*/ 6220 w 10000"/>
              <a:gd name="connsiteY286" fmla="*/ 581 h 10000"/>
              <a:gd name="connsiteX287" fmla="*/ 6132 w 10000"/>
              <a:gd name="connsiteY287" fmla="*/ 735 h 10000"/>
              <a:gd name="connsiteX288" fmla="*/ 6024 w 10000"/>
              <a:gd name="connsiteY288" fmla="*/ 815 h 10000"/>
              <a:gd name="connsiteX289" fmla="*/ 5980 w 10000"/>
              <a:gd name="connsiteY289" fmla="*/ 805 h 10000"/>
              <a:gd name="connsiteX290" fmla="*/ 5880 w 10000"/>
              <a:gd name="connsiteY290" fmla="*/ 739 h 10000"/>
              <a:gd name="connsiteX291" fmla="*/ 5753 w 10000"/>
              <a:gd name="connsiteY291" fmla="*/ 705 h 10000"/>
              <a:gd name="connsiteX292" fmla="*/ 5618 w 10000"/>
              <a:gd name="connsiteY292" fmla="*/ 715 h 10000"/>
              <a:gd name="connsiteX293" fmla="*/ 5301 w 10000"/>
              <a:gd name="connsiteY293" fmla="*/ 866 h 10000"/>
              <a:gd name="connsiteX294" fmla="*/ 5218 w 10000"/>
              <a:gd name="connsiteY294" fmla="*/ 1017 h 10000"/>
              <a:gd name="connsiteX295" fmla="*/ 4978 w 10000"/>
              <a:gd name="connsiteY295" fmla="*/ 1153 h 10000"/>
              <a:gd name="connsiteX296" fmla="*/ 4935 w 10000"/>
              <a:gd name="connsiteY296" fmla="*/ 1222 h 10000"/>
              <a:gd name="connsiteX297" fmla="*/ 5061 w 10000"/>
              <a:gd name="connsiteY297" fmla="*/ 1344 h 10000"/>
              <a:gd name="connsiteX298" fmla="*/ 5074 w 10000"/>
              <a:gd name="connsiteY298" fmla="*/ 1412 h 10000"/>
              <a:gd name="connsiteX299" fmla="*/ 4421 w 10000"/>
              <a:gd name="connsiteY299" fmla="*/ 1813 h 10000"/>
              <a:gd name="connsiteX300" fmla="*/ 4220 w 10000"/>
              <a:gd name="connsiteY300" fmla="*/ 2070 h 10000"/>
              <a:gd name="connsiteX301" fmla="*/ 4003 w 10000"/>
              <a:gd name="connsiteY301" fmla="*/ 2135 h 10000"/>
              <a:gd name="connsiteX302" fmla="*/ 3868 w 10000"/>
              <a:gd name="connsiteY302" fmla="*/ 2131 h 10000"/>
              <a:gd name="connsiteX303" fmla="*/ 3785 w 10000"/>
              <a:gd name="connsiteY303" fmla="*/ 2153 h 10000"/>
              <a:gd name="connsiteX304" fmla="*/ 3558 w 10000"/>
              <a:gd name="connsiteY304" fmla="*/ 2793 h 10000"/>
              <a:gd name="connsiteX305" fmla="*/ 3036 w 10000"/>
              <a:gd name="connsiteY305" fmla="*/ 3166 h 10000"/>
              <a:gd name="connsiteX306" fmla="*/ 3040 w 10000"/>
              <a:gd name="connsiteY306" fmla="*/ 3225 h 10000"/>
              <a:gd name="connsiteX307" fmla="*/ 3271 w 10000"/>
              <a:gd name="connsiteY307" fmla="*/ 3392 h 10000"/>
              <a:gd name="connsiteX308" fmla="*/ 3197 w 10000"/>
              <a:gd name="connsiteY308" fmla="*/ 3573 h 10000"/>
              <a:gd name="connsiteX309" fmla="*/ 3062 w 10000"/>
              <a:gd name="connsiteY309" fmla="*/ 3640 h 10000"/>
              <a:gd name="connsiteX310" fmla="*/ 2657 w 10000"/>
              <a:gd name="connsiteY310" fmla="*/ 3595 h 10000"/>
              <a:gd name="connsiteX311" fmla="*/ 2378 w 10000"/>
              <a:gd name="connsiteY311" fmla="*/ 3620 h 10000"/>
              <a:gd name="connsiteX312" fmla="*/ 2152 w 10000"/>
              <a:gd name="connsiteY312" fmla="*/ 3673 h 10000"/>
              <a:gd name="connsiteX313" fmla="*/ 1790 w 10000"/>
              <a:gd name="connsiteY313" fmla="*/ 3840 h 10000"/>
              <a:gd name="connsiteX314" fmla="*/ 1598 w 10000"/>
              <a:gd name="connsiteY314" fmla="*/ 4042 h 10000"/>
              <a:gd name="connsiteX315" fmla="*/ 1616 w 10000"/>
              <a:gd name="connsiteY315" fmla="*/ 4154 h 10000"/>
              <a:gd name="connsiteX316" fmla="*/ 1681 w 10000"/>
              <a:gd name="connsiteY316" fmla="*/ 4241 h 10000"/>
              <a:gd name="connsiteX317" fmla="*/ 1733 w 10000"/>
              <a:gd name="connsiteY317" fmla="*/ 4276 h 10000"/>
              <a:gd name="connsiteX318" fmla="*/ 1638 w 10000"/>
              <a:gd name="connsiteY318" fmla="*/ 4331 h 10000"/>
              <a:gd name="connsiteX319" fmla="*/ 1433 w 10000"/>
              <a:gd name="connsiteY319" fmla="*/ 4710 h 10000"/>
              <a:gd name="connsiteX320" fmla="*/ 1472 w 10000"/>
              <a:gd name="connsiteY320" fmla="*/ 4732 h 10000"/>
              <a:gd name="connsiteX321" fmla="*/ 1503 w 10000"/>
              <a:gd name="connsiteY321" fmla="*/ 4828 h 10000"/>
              <a:gd name="connsiteX322" fmla="*/ 1407 w 10000"/>
              <a:gd name="connsiteY322" fmla="*/ 5227 h 10000"/>
              <a:gd name="connsiteX323" fmla="*/ 1503 w 10000"/>
              <a:gd name="connsiteY323" fmla="*/ 5329 h 10000"/>
              <a:gd name="connsiteX324" fmla="*/ 1764 w 10000"/>
              <a:gd name="connsiteY324" fmla="*/ 5441 h 10000"/>
              <a:gd name="connsiteX325" fmla="*/ 1777 w 10000"/>
              <a:gd name="connsiteY325" fmla="*/ 5578 h 10000"/>
              <a:gd name="connsiteX326" fmla="*/ 1664 w 10000"/>
              <a:gd name="connsiteY326" fmla="*/ 5690 h 10000"/>
              <a:gd name="connsiteX327" fmla="*/ 1503 w 10000"/>
              <a:gd name="connsiteY327" fmla="*/ 5759 h 10000"/>
              <a:gd name="connsiteX328" fmla="*/ 1289 w 10000"/>
              <a:gd name="connsiteY328" fmla="*/ 5787 h 10000"/>
              <a:gd name="connsiteX329" fmla="*/ 1233 w 10000"/>
              <a:gd name="connsiteY329" fmla="*/ 5826 h 10000"/>
              <a:gd name="connsiteX330" fmla="*/ 1359 w 10000"/>
              <a:gd name="connsiteY330" fmla="*/ 5920 h 10000"/>
              <a:gd name="connsiteX331" fmla="*/ 1429 w 10000"/>
              <a:gd name="connsiteY331" fmla="*/ 6142 h 10000"/>
              <a:gd name="connsiteX332" fmla="*/ 1267 w 10000"/>
              <a:gd name="connsiteY332" fmla="*/ 6333 h 10000"/>
              <a:gd name="connsiteX333" fmla="*/ 1324 w 10000"/>
              <a:gd name="connsiteY333" fmla="*/ 6392 h 10000"/>
              <a:gd name="connsiteX334" fmla="*/ 1272 w 10000"/>
              <a:gd name="connsiteY334" fmla="*/ 6492 h 10000"/>
              <a:gd name="connsiteX335" fmla="*/ 1167 w 10000"/>
              <a:gd name="connsiteY335" fmla="*/ 6561 h 10000"/>
              <a:gd name="connsiteX336" fmla="*/ 758 w 10000"/>
              <a:gd name="connsiteY336" fmla="*/ 6614 h 10000"/>
              <a:gd name="connsiteX337" fmla="*/ 732 w 10000"/>
              <a:gd name="connsiteY337" fmla="*/ 6706 h 10000"/>
              <a:gd name="connsiteX338" fmla="*/ 510 w 10000"/>
              <a:gd name="connsiteY338" fmla="*/ 6843 h 10000"/>
              <a:gd name="connsiteX339" fmla="*/ 540 w 10000"/>
              <a:gd name="connsiteY339" fmla="*/ 7040 h 10000"/>
              <a:gd name="connsiteX340" fmla="*/ 353 w 10000"/>
              <a:gd name="connsiteY340" fmla="*/ 7293 h 10000"/>
              <a:gd name="connsiteX341" fmla="*/ 226 w 10000"/>
              <a:gd name="connsiteY341" fmla="*/ 7323 h 10000"/>
              <a:gd name="connsiteX342" fmla="*/ 174 w 10000"/>
              <a:gd name="connsiteY342" fmla="*/ 7262 h 10000"/>
              <a:gd name="connsiteX343" fmla="*/ 109 w 10000"/>
              <a:gd name="connsiteY343" fmla="*/ 7354 h 10000"/>
              <a:gd name="connsiteX344" fmla="*/ 152 w 10000"/>
              <a:gd name="connsiteY344" fmla="*/ 7197 h 10000"/>
              <a:gd name="connsiteX345" fmla="*/ 126 w 10000"/>
              <a:gd name="connsiteY34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123 w 10000"/>
              <a:gd name="connsiteY208" fmla="*/ 3229 h 10000"/>
              <a:gd name="connsiteX209" fmla="*/ 8153 w 10000"/>
              <a:gd name="connsiteY209" fmla="*/ 3219 h 10000"/>
              <a:gd name="connsiteX210" fmla="*/ 8075 w 10000"/>
              <a:gd name="connsiteY210" fmla="*/ 3147 h 10000"/>
              <a:gd name="connsiteX211" fmla="*/ 8079 w 10000"/>
              <a:gd name="connsiteY211" fmla="*/ 3127 h 10000"/>
              <a:gd name="connsiteX212" fmla="*/ 8132 w 10000"/>
              <a:gd name="connsiteY212" fmla="*/ 3100 h 10000"/>
              <a:gd name="connsiteX213" fmla="*/ 8145 w 10000"/>
              <a:gd name="connsiteY213" fmla="*/ 3064 h 10000"/>
              <a:gd name="connsiteX214" fmla="*/ 8258 w 10000"/>
              <a:gd name="connsiteY214" fmla="*/ 3037 h 10000"/>
              <a:gd name="connsiteX215" fmla="*/ 8380 w 10000"/>
              <a:gd name="connsiteY215" fmla="*/ 2860 h 10000"/>
              <a:gd name="connsiteX216" fmla="*/ 8253 w 10000"/>
              <a:gd name="connsiteY216" fmla="*/ 2762 h 10000"/>
              <a:gd name="connsiteX217" fmla="*/ 8267 w 10000"/>
              <a:gd name="connsiteY217" fmla="*/ 2748 h 10000"/>
              <a:gd name="connsiteX218" fmla="*/ 8397 w 10000"/>
              <a:gd name="connsiteY218" fmla="*/ 2705 h 10000"/>
              <a:gd name="connsiteX219" fmla="*/ 8402 w 10000"/>
              <a:gd name="connsiteY219" fmla="*/ 2662 h 10000"/>
              <a:gd name="connsiteX220" fmla="*/ 8449 w 10000"/>
              <a:gd name="connsiteY220" fmla="*/ 2656 h 10000"/>
              <a:gd name="connsiteX221" fmla="*/ 8558 w 10000"/>
              <a:gd name="connsiteY221" fmla="*/ 2677 h 10000"/>
              <a:gd name="connsiteX222" fmla="*/ 8593 w 10000"/>
              <a:gd name="connsiteY222" fmla="*/ 2669 h 10000"/>
              <a:gd name="connsiteX223" fmla="*/ 8606 w 10000"/>
              <a:gd name="connsiteY223" fmla="*/ 2630 h 10000"/>
              <a:gd name="connsiteX224" fmla="*/ 8567 w 10000"/>
              <a:gd name="connsiteY224" fmla="*/ 2605 h 10000"/>
              <a:gd name="connsiteX225" fmla="*/ 8685 w 10000"/>
              <a:gd name="connsiteY225" fmla="*/ 2597 h 10000"/>
              <a:gd name="connsiteX226" fmla="*/ 8698 w 10000"/>
              <a:gd name="connsiteY226" fmla="*/ 2565 h 10000"/>
              <a:gd name="connsiteX227" fmla="*/ 8558 w 10000"/>
              <a:gd name="connsiteY227" fmla="*/ 2481 h 10000"/>
              <a:gd name="connsiteX228" fmla="*/ 8558 w 10000"/>
              <a:gd name="connsiteY228" fmla="*/ 2459 h 10000"/>
              <a:gd name="connsiteX229" fmla="*/ 8698 w 10000"/>
              <a:gd name="connsiteY229" fmla="*/ 2504 h 10000"/>
              <a:gd name="connsiteX230" fmla="*/ 8763 w 10000"/>
              <a:gd name="connsiteY230" fmla="*/ 2548 h 10000"/>
              <a:gd name="connsiteX231" fmla="*/ 8815 w 10000"/>
              <a:gd name="connsiteY231" fmla="*/ 2548 h 10000"/>
              <a:gd name="connsiteX232" fmla="*/ 8789 w 10000"/>
              <a:gd name="connsiteY232" fmla="*/ 2457 h 10000"/>
              <a:gd name="connsiteX233" fmla="*/ 8798 w 10000"/>
              <a:gd name="connsiteY233" fmla="*/ 2467 h 10000"/>
              <a:gd name="connsiteX234" fmla="*/ 8841 w 10000"/>
              <a:gd name="connsiteY234" fmla="*/ 2457 h 10000"/>
              <a:gd name="connsiteX235" fmla="*/ 8855 w 10000"/>
              <a:gd name="connsiteY235" fmla="*/ 2341 h 10000"/>
              <a:gd name="connsiteX236" fmla="*/ 8898 w 10000"/>
              <a:gd name="connsiteY236" fmla="*/ 2332 h 10000"/>
              <a:gd name="connsiteX237" fmla="*/ 8946 w 10000"/>
              <a:gd name="connsiteY237" fmla="*/ 2330 h 10000"/>
              <a:gd name="connsiteX238" fmla="*/ 8946 w 10000"/>
              <a:gd name="connsiteY238" fmla="*/ 2361 h 10000"/>
              <a:gd name="connsiteX239" fmla="*/ 8994 w 10000"/>
              <a:gd name="connsiteY239" fmla="*/ 2389 h 10000"/>
              <a:gd name="connsiteX240" fmla="*/ 9051 w 10000"/>
              <a:gd name="connsiteY240" fmla="*/ 2400 h 10000"/>
              <a:gd name="connsiteX241" fmla="*/ 9094 w 10000"/>
              <a:gd name="connsiteY241" fmla="*/ 2324 h 10000"/>
              <a:gd name="connsiteX242" fmla="*/ 9164 w 10000"/>
              <a:gd name="connsiteY242" fmla="*/ 2347 h 10000"/>
              <a:gd name="connsiteX243" fmla="*/ 9247 w 10000"/>
              <a:gd name="connsiteY243" fmla="*/ 2402 h 10000"/>
              <a:gd name="connsiteX244" fmla="*/ 9286 w 10000"/>
              <a:gd name="connsiteY244" fmla="*/ 2400 h 10000"/>
              <a:gd name="connsiteX245" fmla="*/ 9355 w 10000"/>
              <a:gd name="connsiteY245" fmla="*/ 2428 h 10000"/>
              <a:gd name="connsiteX246" fmla="*/ 9408 w 10000"/>
              <a:gd name="connsiteY246" fmla="*/ 2359 h 10000"/>
              <a:gd name="connsiteX247" fmla="*/ 9717 w 10000"/>
              <a:gd name="connsiteY247" fmla="*/ 2343 h 10000"/>
              <a:gd name="connsiteX248" fmla="*/ 9830 w 10000"/>
              <a:gd name="connsiteY248" fmla="*/ 2369 h 10000"/>
              <a:gd name="connsiteX249" fmla="*/ 9909 w 10000"/>
              <a:gd name="connsiteY249" fmla="*/ 2410 h 10000"/>
              <a:gd name="connsiteX250" fmla="*/ 9948 w 10000"/>
              <a:gd name="connsiteY250" fmla="*/ 2365 h 10000"/>
              <a:gd name="connsiteX251" fmla="*/ 10000 w 10000"/>
              <a:gd name="connsiteY251" fmla="*/ 2349 h 10000"/>
              <a:gd name="connsiteX252" fmla="*/ 9704 w 10000"/>
              <a:gd name="connsiteY252" fmla="*/ 1992 h 10000"/>
              <a:gd name="connsiteX253" fmla="*/ 9743 w 10000"/>
              <a:gd name="connsiteY253" fmla="*/ 1897 h 10000"/>
              <a:gd name="connsiteX254" fmla="*/ 9830 w 10000"/>
              <a:gd name="connsiteY254" fmla="*/ 1819 h 10000"/>
              <a:gd name="connsiteX255" fmla="*/ 9830 w 10000"/>
              <a:gd name="connsiteY255" fmla="*/ 1699 h 10000"/>
              <a:gd name="connsiteX256" fmla="*/ 9556 w 10000"/>
              <a:gd name="connsiteY256" fmla="*/ 1465 h 10000"/>
              <a:gd name="connsiteX257" fmla="*/ 9512 w 10000"/>
              <a:gd name="connsiteY257" fmla="*/ 1379 h 10000"/>
              <a:gd name="connsiteX258" fmla="*/ 9573 w 10000"/>
              <a:gd name="connsiteY258" fmla="*/ 1271 h 10000"/>
              <a:gd name="connsiteX259" fmla="*/ 9543 w 10000"/>
              <a:gd name="connsiteY259" fmla="*/ 1194 h 10000"/>
              <a:gd name="connsiteX260" fmla="*/ 9486 w 10000"/>
              <a:gd name="connsiteY260" fmla="*/ 1159 h 10000"/>
              <a:gd name="connsiteX261" fmla="*/ 9438 w 10000"/>
              <a:gd name="connsiteY261" fmla="*/ 978 h 10000"/>
              <a:gd name="connsiteX262" fmla="*/ 9495 w 10000"/>
              <a:gd name="connsiteY262" fmla="*/ 831 h 10000"/>
              <a:gd name="connsiteX263" fmla="*/ 9077 w 10000"/>
              <a:gd name="connsiteY263" fmla="*/ 517 h 10000"/>
              <a:gd name="connsiteX264" fmla="*/ 8872 w 10000"/>
              <a:gd name="connsiteY264" fmla="*/ 440 h 10000"/>
              <a:gd name="connsiteX265" fmla="*/ 8493 w 10000"/>
              <a:gd name="connsiteY265" fmla="*/ 389 h 10000"/>
              <a:gd name="connsiteX266" fmla="*/ 7709 w 10000"/>
              <a:gd name="connsiteY266" fmla="*/ 26 h 10000"/>
              <a:gd name="connsiteX267" fmla="*/ 7683 w 10000"/>
              <a:gd name="connsiteY267" fmla="*/ 2 h 10000"/>
              <a:gd name="connsiteX268" fmla="*/ 7417 w 10000"/>
              <a:gd name="connsiteY268" fmla="*/ 0 h 10000"/>
              <a:gd name="connsiteX269" fmla="*/ 7356 w 10000"/>
              <a:gd name="connsiteY269" fmla="*/ 14 h 10000"/>
              <a:gd name="connsiteX270" fmla="*/ 7369 w 10000"/>
              <a:gd name="connsiteY270" fmla="*/ 61 h 10000"/>
              <a:gd name="connsiteX271" fmla="*/ 7422 w 10000"/>
              <a:gd name="connsiteY271" fmla="*/ 86 h 10000"/>
              <a:gd name="connsiteX272" fmla="*/ 7435 w 10000"/>
              <a:gd name="connsiteY272" fmla="*/ 139 h 10000"/>
              <a:gd name="connsiteX273" fmla="*/ 7417 w 10000"/>
              <a:gd name="connsiteY273" fmla="*/ 181 h 10000"/>
              <a:gd name="connsiteX274" fmla="*/ 7369 w 10000"/>
              <a:gd name="connsiteY274" fmla="*/ 208 h 10000"/>
              <a:gd name="connsiteX275" fmla="*/ 7334 w 10000"/>
              <a:gd name="connsiteY275" fmla="*/ 283 h 10000"/>
              <a:gd name="connsiteX276" fmla="*/ 7269 w 10000"/>
              <a:gd name="connsiteY276" fmla="*/ 336 h 10000"/>
              <a:gd name="connsiteX277" fmla="*/ 7282 w 10000"/>
              <a:gd name="connsiteY277" fmla="*/ 387 h 10000"/>
              <a:gd name="connsiteX278" fmla="*/ 7382 w 10000"/>
              <a:gd name="connsiteY278" fmla="*/ 434 h 10000"/>
              <a:gd name="connsiteX279" fmla="*/ 7317 w 10000"/>
              <a:gd name="connsiteY279" fmla="*/ 475 h 10000"/>
              <a:gd name="connsiteX280" fmla="*/ 7221 w 10000"/>
              <a:gd name="connsiteY280" fmla="*/ 485 h 10000"/>
              <a:gd name="connsiteX281" fmla="*/ 6420 w 10000"/>
              <a:gd name="connsiteY281" fmla="*/ 387 h 10000"/>
              <a:gd name="connsiteX282" fmla="*/ 6324 w 10000"/>
              <a:gd name="connsiteY282" fmla="*/ 395 h 10000"/>
              <a:gd name="connsiteX283" fmla="*/ 6267 w 10000"/>
              <a:gd name="connsiteY283" fmla="*/ 414 h 10000"/>
              <a:gd name="connsiteX284" fmla="*/ 6211 w 10000"/>
              <a:gd name="connsiteY284" fmla="*/ 462 h 10000"/>
              <a:gd name="connsiteX285" fmla="*/ 6220 w 10000"/>
              <a:gd name="connsiteY285" fmla="*/ 581 h 10000"/>
              <a:gd name="connsiteX286" fmla="*/ 6132 w 10000"/>
              <a:gd name="connsiteY286" fmla="*/ 735 h 10000"/>
              <a:gd name="connsiteX287" fmla="*/ 6024 w 10000"/>
              <a:gd name="connsiteY287" fmla="*/ 815 h 10000"/>
              <a:gd name="connsiteX288" fmla="*/ 5980 w 10000"/>
              <a:gd name="connsiteY288" fmla="*/ 805 h 10000"/>
              <a:gd name="connsiteX289" fmla="*/ 5880 w 10000"/>
              <a:gd name="connsiteY289" fmla="*/ 739 h 10000"/>
              <a:gd name="connsiteX290" fmla="*/ 5753 w 10000"/>
              <a:gd name="connsiteY290" fmla="*/ 705 h 10000"/>
              <a:gd name="connsiteX291" fmla="*/ 5618 w 10000"/>
              <a:gd name="connsiteY291" fmla="*/ 715 h 10000"/>
              <a:gd name="connsiteX292" fmla="*/ 5301 w 10000"/>
              <a:gd name="connsiteY292" fmla="*/ 866 h 10000"/>
              <a:gd name="connsiteX293" fmla="*/ 5218 w 10000"/>
              <a:gd name="connsiteY293" fmla="*/ 1017 h 10000"/>
              <a:gd name="connsiteX294" fmla="*/ 4978 w 10000"/>
              <a:gd name="connsiteY294" fmla="*/ 1153 h 10000"/>
              <a:gd name="connsiteX295" fmla="*/ 4935 w 10000"/>
              <a:gd name="connsiteY295" fmla="*/ 1222 h 10000"/>
              <a:gd name="connsiteX296" fmla="*/ 5061 w 10000"/>
              <a:gd name="connsiteY296" fmla="*/ 1344 h 10000"/>
              <a:gd name="connsiteX297" fmla="*/ 5074 w 10000"/>
              <a:gd name="connsiteY297" fmla="*/ 1412 h 10000"/>
              <a:gd name="connsiteX298" fmla="*/ 4421 w 10000"/>
              <a:gd name="connsiteY298" fmla="*/ 1813 h 10000"/>
              <a:gd name="connsiteX299" fmla="*/ 4220 w 10000"/>
              <a:gd name="connsiteY299" fmla="*/ 2070 h 10000"/>
              <a:gd name="connsiteX300" fmla="*/ 4003 w 10000"/>
              <a:gd name="connsiteY300" fmla="*/ 2135 h 10000"/>
              <a:gd name="connsiteX301" fmla="*/ 3868 w 10000"/>
              <a:gd name="connsiteY301" fmla="*/ 2131 h 10000"/>
              <a:gd name="connsiteX302" fmla="*/ 3785 w 10000"/>
              <a:gd name="connsiteY302" fmla="*/ 2153 h 10000"/>
              <a:gd name="connsiteX303" fmla="*/ 3558 w 10000"/>
              <a:gd name="connsiteY303" fmla="*/ 2793 h 10000"/>
              <a:gd name="connsiteX304" fmla="*/ 3036 w 10000"/>
              <a:gd name="connsiteY304" fmla="*/ 3166 h 10000"/>
              <a:gd name="connsiteX305" fmla="*/ 3040 w 10000"/>
              <a:gd name="connsiteY305" fmla="*/ 3225 h 10000"/>
              <a:gd name="connsiteX306" fmla="*/ 3271 w 10000"/>
              <a:gd name="connsiteY306" fmla="*/ 3392 h 10000"/>
              <a:gd name="connsiteX307" fmla="*/ 3197 w 10000"/>
              <a:gd name="connsiteY307" fmla="*/ 3573 h 10000"/>
              <a:gd name="connsiteX308" fmla="*/ 3062 w 10000"/>
              <a:gd name="connsiteY308" fmla="*/ 3640 h 10000"/>
              <a:gd name="connsiteX309" fmla="*/ 2657 w 10000"/>
              <a:gd name="connsiteY309" fmla="*/ 3595 h 10000"/>
              <a:gd name="connsiteX310" fmla="*/ 2378 w 10000"/>
              <a:gd name="connsiteY310" fmla="*/ 3620 h 10000"/>
              <a:gd name="connsiteX311" fmla="*/ 2152 w 10000"/>
              <a:gd name="connsiteY311" fmla="*/ 3673 h 10000"/>
              <a:gd name="connsiteX312" fmla="*/ 1790 w 10000"/>
              <a:gd name="connsiteY312" fmla="*/ 3840 h 10000"/>
              <a:gd name="connsiteX313" fmla="*/ 1598 w 10000"/>
              <a:gd name="connsiteY313" fmla="*/ 4042 h 10000"/>
              <a:gd name="connsiteX314" fmla="*/ 1616 w 10000"/>
              <a:gd name="connsiteY314" fmla="*/ 4154 h 10000"/>
              <a:gd name="connsiteX315" fmla="*/ 1681 w 10000"/>
              <a:gd name="connsiteY315" fmla="*/ 4241 h 10000"/>
              <a:gd name="connsiteX316" fmla="*/ 1733 w 10000"/>
              <a:gd name="connsiteY316" fmla="*/ 4276 h 10000"/>
              <a:gd name="connsiteX317" fmla="*/ 1638 w 10000"/>
              <a:gd name="connsiteY317" fmla="*/ 4331 h 10000"/>
              <a:gd name="connsiteX318" fmla="*/ 1433 w 10000"/>
              <a:gd name="connsiteY318" fmla="*/ 4710 h 10000"/>
              <a:gd name="connsiteX319" fmla="*/ 1472 w 10000"/>
              <a:gd name="connsiteY319" fmla="*/ 4732 h 10000"/>
              <a:gd name="connsiteX320" fmla="*/ 1503 w 10000"/>
              <a:gd name="connsiteY320" fmla="*/ 4828 h 10000"/>
              <a:gd name="connsiteX321" fmla="*/ 1407 w 10000"/>
              <a:gd name="connsiteY321" fmla="*/ 5227 h 10000"/>
              <a:gd name="connsiteX322" fmla="*/ 1503 w 10000"/>
              <a:gd name="connsiteY322" fmla="*/ 5329 h 10000"/>
              <a:gd name="connsiteX323" fmla="*/ 1764 w 10000"/>
              <a:gd name="connsiteY323" fmla="*/ 5441 h 10000"/>
              <a:gd name="connsiteX324" fmla="*/ 1777 w 10000"/>
              <a:gd name="connsiteY324" fmla="*/ 5578 h 10000"/>
              <a:gd name="connsiteX325" fmla="*/ 1664 w 10000"/>
              <a:gd name="connsiteY325" fmla="*/ 5690 h 10000"/>
              <a:gd name="connsiteX326" fmla="*/ 1503 w 10000"/>
              <a:gd name="connsiteY326" fmla="*/ 5759 h 10000"/>
              <a:gd name="connsiteX327" fmla="*/ 1289 w 10000"/>
              <a:gd name="connsiteY327" fmla="*/ 5787 h 10000"/>
              <a:gd name="connsiteX328" fmla="*/ 1233 w 10000"/>
              <a:gd name="connsiteY328" fmla="*/ 5826 h 10000"/>
              <a:gd name="connsiteX329" fmla="*/ 1359 w 10000"/>
              <a:gd name="connsiteY329" fmla="*/ 5920 h 10000"/>
              <a:gd name="connsiteX330" fmla="*/ 1429 w 10000"/>
              <a:gd name="connsiteY330" fmla="*/ 6142 h 10000"/>
              <a:gd name="connsiteX331" fmla="*/ 1267 w 10000"/>
              <a:gd name="connsiteY331" fmla="*/ 6333 h 10000"/>
              <a:gd name="connsiteX332" fmla="*/ 1324 w 10000"/>
              <a:gd name="connsiteY332" fmla="*/ 6392 h 10000"/>
              <a:gd name="connsiteX333" fmla="*/ 1272 w 10000"/>
              <a:gd name="connsiteY333" fmla="*/ 6492 h 10000"/>
              <a:gd name="connsiteX334" fmla="*/ 1167 w 10000"/>
              <a:gd name="connsiteY334" fmla="*/ 6561 h 10000"/>
              <a:gd name="connsiteX335" fmla="*/ 758 w 10000"/>
              <a:gd name="connsiteY335" fmla="*/ 6614 h 10000"/>
              <a:gd name="connsiteX336" fmla="*/ 732 w 10000"/>
              <a:gd name="connsiteY336" fmla="*/ 6706 h 10000"/>
              <a:gd name="connsiteX337" fmla="*/ 510 w 10000"/>
              <a:gd name="connsiteY337" fmla="*/ 6843 h 10000"/>
              <a:gd name="connsiteX338" fmla="*/ 540 w 10000"/>
              <a:gd name="connsiteY338" fmla="*/ 7040 h 10000"/>
              <a:gd name="connsiteX339" fmla="*/ 353 w 10000"/>
              <a:gd name="connsiteY339" fmla="*/ 7293 h 10000"/>
              <a:gd name="connsiteX340" fmla="*/ 226 w 10000"/>
              <a:gd name="connsiteY340" fmla="*/ 7323 h 10000"/>
              <a:gd name="connsiteX341" fmla="*/ 174 w 10000"/>
              <a:gd name="connsiteY341" fmla="*/ 7262 h 10000"/>
              <a:gd name="connsiteX342" fmla="*/ 109 w 10000"/>
              <a:gd name="connsiteY342" fmla="*/ 7354 h 10000"/>
              <a:gd name="connsiteX343" fmla="*/ 152 w 10000"/>
              <a:gd name="connsiteY343" fmla="*/ 7197 h 10000"/>
              <a:gd name="connsiteX344" fmla="*/ 126 w 10000"/>
              <a:gd name="connsiteY34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123 w 10000"/>
              <a:gd name="connsiteY208" fmla="*/ 3229 h 10000"/>
              <a:gd name="connsiteX209" fmla="*/ 8075 w 10000"/>
              <a:gd name="connsiteY209" fmla="*/ 3147 h 10000"/>
              <a:gd name="connsiteX210" fmla="*/ 8079 w 10000"/>
              <a:gd name="connsiteY210" fmla="*/ 3127 h 10000"/>
              <a:gd name="connsiteX211" fmla="*/ 8132 w 10000"/>
              <a:gd name="connsiteY211" fmla="*/ 3100 h 10000"/>
              <a:gd name="connsiteX212" fmla="*/ 8145 w 10000"/>
              <a:gd name="connsiteY212" fmla="*/ 3064 h 10000"/>
              <a:gd name="connsiteX213" fmla="*/ 8258 w 10000"/>
              <a:gd name="connsiteY213" fmla="*/ 3037 h 10000"/>
              <a:gd name="connsiteX214" fmla="*/ 8380 w 10000"/>
              <a:gd name="connsiteY214" fmla="*/ 2860 h 10000"/>
              <a:gd name="connsiteX215" fmla="*/ 8253 w 10000"/>
              <a:gd name="connsiteY215" fmla="*/ 2762 h 10000"/>
              <a:gd name="connsiteX216" fmla="*/ 8267 w 10000"/>
              <a:gd name="connsiteY216" fmla="*/ 2748 h 10000"/>
              <a:gd name="connsiteX217" fmla="*/ 8397 w 10000"/>
              <a:gd name="connsiteY217" fmla="*/ 2705 h 10000"/>
              <a:gd name="connsiteX218" fmla="*/ 8402 w 10000"/>
              <a:gd name="connsiteY218" fmla="*/ 2662 h 10000"/>
              <a:gd name="connsiteX219" fmla="*/ 8449 w 10000"/>
              <a:gd name="connsiteY219" fmla="*/ 2656 h 10000"/>
              <a:gd name="connsiteX220" fmla="*/ 8558 w 10000"/>
              <a:gd name="connsiteY220" fmla="*/ 2677 h 10000"/>
              <a:gd name="connsiteX221" fmla="*/ 8593 w 10000"/>
              <a:gd name="connsiteY221" fmla="*/ 2669 h 10000"/>
              <a:gd name="connsiteX222" fmla="*/ 8606 w 10000"/>
              <a:gd name="connsiteY222" fmla="*/ 2630 h 10000"/>
              <a:gd name="connsiteX223" fmla="*/ 8567 w 10000"/>
              <a:gd name="connsiteY223" fmla="*/ 2605 h 10000"/>
              <a:gd name="connsiteX224" fmla="*/ 8685 w 10000"/>
              <a:gd name="connsiteY224" fmla="*/ 2597 h 10000"/>
              <a:gd name="connsiteX225" fmla="*/ 8698 w 10000"/>
              <a:gd name="connsiteY225" fmla="*/ 2565 h 10000"/>
              <a:gd name="connsiteX226" fmla="*/ 8558 w 10000"/>
              <a:gd name="connsiteY226" fmla="*/ 2481 h 10000"/>
              <a:gd name="connsiteX227" fmla="*/ 8558 w 10000"/>
              <a:gd name="connsiteY227" fmla="*/ 2459 h 10000"/>
              <a:gd name="connsiteX228" fmla="*/ 8698 w 10000"/>
              <a:gd name="connsiteY228" fmla="*/ 2504 h 10000"/>
              <a:gd name="connsiteX229" fmla="*/ 8763 w 10000"/>
              <a:gd name="connsiteY229" fmla="*/ 2548 h 10000"/>
              <a:gd name="connsiteX230" fmla="*/ 8815 w 10000"/>
              <a:gd name="connsiteY230" fmla="*/ 2548 h 10000"/>
              <a:gd name="connsiteX231" fmla="*/ 8789 w 10000"/>
              <a:gd name="connsiteY231" fmla="*/ 2457 h 10000"/>
              <a:gd name="connsiteX232" fmla="*/ 8798 w 10000"/>
              <a:gd name="connsiteY232" fmla="*/ 2467 h 10000"/>
              <a:gd name="connsiteX233" fmla="*/ 8841 w 10000"/>
              <a:gd name="connsiteY233" fmla="*/ 2457 h 10000"/>
              <a:gd name="connsiteX234" fmla="*/ 8855 w 10000"/>
              <a:gd name="connsiteY234" fmla="*/ 2341 h 10000"/>
              <a:gd name="connsiteX235" fmla="*/ 8898 w 10000"/>
              <a:gd name="connsiteY235" fmla="*/ 2332 h 10000"/>
              <a:gd name="connsiteX236" fmla="*/ 8946 w 10000"/>
              <a:gd name="connsiteY236" fmla="*/ 2330 h 10000"/>
              <a:gd name="connsiteX237" fmla="*/ 8946 w 10000"/>
              <a:gd name="connsiteY237" fmla="*/ 2361 h 10000"/>
              <a:gd name="connsiteX238" fmla="*/ 8994 w 10000"/>
              <a:gd name="connsiteY238" fmla="*/ 2389 h 10000"/>
              <a:gd name="connsiteX239" fmla="*/ 9051 w 10000"/>
              <a:gd name="connsiteY239" fmla="*/ 2400 h 10000"/>
              <a:gd name="connsiteX240" fmla="*/ 9094 w 10000"/>
              <a:gd name="connsiteY240" fmla="*/ 2324 h 10000"/>
              <a:gd name="connsiteX241" fmla="*/ 9164 w 10000"/>
              <a:gd name="connsiteY241" fmla="*/ 2347 h 10000"/>
              <a:gd name="connsiteX242" fmla="*/ 9247 w 10000"/>
              <a:gd name="connsiteY242" fmla="*/ 2402 h 10000"/>
              <a:gd name="connsiteX243" fmla="*/ 9286 w 10000"/>
              <a:gd name="connsiteY243" fmla="*/ 2400 h 10000"/>
              <a:gd name="connsiteX244" fmla="*/ 9355 w 10000"/>
              <a:gd name="connsiteY244" fmla="*/ 2428 h 10000"/>
              <a:gd name="connsiteX245" fmla="*/ 9408 w 10000"/>
              <a:gd name="connsiteY245" fmla="*/ 2359 h 10000"/>
              <a:gd name="connsiteX246" fmla="*/ 9717 w 10000"/>
              <a:gd name="connsiteY246" fmla="*/ 2343 h 10000"/>
              <a:gd name="connsiteX247" fmla="*/ 9830 w 10000"/>
              <a:gd name="connsiteY247" fmla="*/ 2369 h 10000"/>
              <a:gd name="connsiteX248" fmla="*/ 9909 w 10000"/>
              <a:gd name="connsiteY248" fmla="*/ 2410 h 10000"/>
              <a:gd name="connsiteX249" fmla="*/ 9948 w 10000"/>
              <a:gd name="connsiteY249" fmla="*/ 2365 h 10000"/>
              <a:gd name="connsiteX250" fmla="*/ 10000 w 10000"/>
              <a:gd name="connsiteY250" fmla="*/ 2349 h 10000"/>
              <a:gd name="connsiteX251" fmla="*/ 9704 w 10000"/>
              <a:gd name="connsiteY251" fmla="*/ 1992 h 10000"/>
              <a:gd name="connsiteX252" fmla="*/ 9743 w 10000"/>
              <a:gd name="connsiteY252" fmla="*/ 1897 h 10000"/>
              <a:gd name="connsiteX253" fmla="*/ 9830 w 10000"/>
              <a:gd name="connsiteY253" fmla="*/ 1819 h 10000"/>
              <a:gd name="connsiteX254" fmla="*/ 9830 w 10000"/>
              <a:gd name="connsiteY254" fmla="*/ 1699 h 10000"/>
              <a:gd name="connsiteX255" fmla="*/ 9556 w 10000"/>
              <a:gd name="connsiteY255" fmla="*/ 1465 h 10000"/>
              <a:gd name="connsiteX256" fmla="*/ 9512 w 10000"/>
              <a:gd name="connsiteY256" fmla="*/ 1379 h 10000"/>
              <a:gd name="connsiteX257" fmla="*/ 9573 w 10000"/>
              <a:gd name="connsiteY257" fmla="*/ 1271 h 10000"/>
              <a:gd name="connsiteX258" fmla="*/ 9543 w 10000"/>
              <a:gd name="connsiteY258" fmla="*/ 1194 h 10000"/>
              <a:gd name="connsiteX259" fmla="*/ 9486 w 10000"/>
              <a:gd name="connsiteY259" fmla="*/ 1159 h 10000"/>
              <a:gd name="connsiteX260" fmla="*/ 9438 w 10000"/>
              <a:gd name="connsiteY260" fmla="*/ 978 h 10000"/>
              <a:gd name="connsiteX261" fmla="*/ 9495 w 10000"/>
              <a:gd name="connsiteY261" fmla="*/ 831 h 10000"/>
              <a:gd name="connsiteX262" fmla="*/ 9077 w 10000"/>
              <a:gd name="connsiteY262" fmla="*/ 517 h 10000"/>
              <a:gd name="connsiteX263" fmla="*/ 8872 w 10000"/>
              <a:gd name="connsiteY263" fmla="*/ 440 h 10000"/>
              <a:gd name="connsiteX264" fmla="*/ 8493 w 10000"/>
              <a:gd name="connsiteY264" fmla="*/ 389 h 10000"/>
              <a:gd name="connsiteX265" fmla="*/ 7709 w 10000"/>
              <a:gd name="connsiteY265" fmla="*/ 26 h 10000"/>
              <a:gd name="connsiteX266" fmla="*/ 7683 w 10000"/>
              <a:gd name="connsiteY266" fmla="*/ 2 h 10000"/>
              <a:gd name="connsiteX267" fmla="*/ 7417 w 10000"/>
              <a:gd name="connsiteY267" fmla="*/ 0 h 10000"/>
              <a:gd name="connsiteX268" fmla="*/ 7356 w 10000"/>
              <a:gd name="connsiteY268" fmla="*/ 14 h 10000"/>
              <a:gd name="connsiteX269" fmla="*/ 7369 w 10000"/>
              <a:gd name="connsiteY269" fmla="*/ 61 h 10000"/>
              <a:gd name="connsiteX270" fmla="*/ 7422 w 10000"/>
              <a:gd name="connsiteY270" fmla="*/ 86 h 10000"/>
              <a:gd name="connsiteX271" fmla="*/ 7435 w 10000"/>
              <a:gd name="connsiteY271" fmla="*/ 139 h 10000"/>
              <a:gd name="connsiteX272" fmla="*/ 7417 w 10000"/>
              <a:gd name="connsiteY272" fmla="*/ 181 h 10000"/>
              <a:gd name="connsiteX273" fmla="*/ 7369 w 10000"/>
              <a:gd name="connsiteY273" fmla="*/ 208 h 10000"/>
              <a:gd name="connsiteX274" fmla="*/ 7334 w 10000"/>
              <a:gd name="connsiteY274" fmla="*/ 283 h 10000"/>
              <a:gd name="connsiteX275" fmla="*/ 7269 w 10000"/>
              <a:gd name="connsiteY275" fmla="*/ 336 h 10000"/>
              <a:gd name="connsiteX276" fmla="*/ 7282 w 10000"/>
              <a:gd name="connsiteY276" fmla="*/ 387 h 10000"/>
              <a:gd name="connsiteX277" fmla="*/ 7382 w 10000"/>
              <a:gd name="connsiteY277" fmla="*/ 434 h 10000"/>
              <a:gd name="connsiteX278" fmla="*/ 7317 w 10000"/>
              <a:gd name="connsiteY278" fmla="*/ 475 h 10000"/>
              <a:gd name="connsiteX279" fmla="*/ 7221 w 10000"/>
              <a:gd name="connsiteY279" fmla="*/ 485 h 10000"/>
              <a:gd name="connsiteX280" fmla="*/ 6420 w 10000"/>
              <a:gd name="connsiteY280" fmla="*/ 387 h 10000"/>
              <a:gd name="connsiteX281" fmla="*/ 6324 w 10000"/>
              <a:gd name="connsiteY281" fmla="*/ 395 h 10000"/>
              <a:gd name="connsiteX282" fmla="*/ 6267 w 10000"/>
              <a:gd name="connsiteY282" fmla="*/ 414 h 10000"/>
              <a:gd name="connsiteX283" fmla="*/ 6211 w 10000"/>
              <a:gd name="connsiteY283" fmla="*/ 462 h 10000"/>
              <a:gd name="connsiteX284" fmla="*/ 6220 w 10000"/>
              <a:gd name="connsiteY284" fmla="*/ 581 h 10000"/>
              <a:gd name="connsiteX285" fmla="*/ 6132 w 10000"/>
              <a:gd name="connsiteY285" fmla="*/ 735 h 10000"/>
              <a:gd name="connsiteX286" fmla="*/ 6024 w 10000"/>
              <a:gd name="connsiteY286" fmla="*/ 815 h 10000"/>
              <a:gd name="connsiteX287" fmla="*/ 5980 w 10000"/>
              <a:gd name="connsiteY287" fmla="*/ 805 h 10000"/>
              <a:gd name="connsiteX288" fmla="*/ 5880 w 10000"/>
              <a:gd name="connsiteY288" fmla="*/ 739 h 10000"/>
              <a:gd name="connsiteX289" fmla="*/ 5753 w 10000"/>
              <a:gd name="connsiteY289" fmla="*/ 705 h 10000"/>
              <a:gd name="connsiteX290" fmla="*/ 5618 w 10000"/>
              <a:gd name="connsiteY290" fmla="*/ 715 h 10000"/>
              <a:gd name="connsiteX291" fmla="*/ 5301 w 10000"/>
              <a:gd name="connsiteY291" fmla="*/ 866 h 10000"/>
              <a:gd name="connsiteX292" fmla="*/ 5218 w 10000"/>
              <a:gd name="connsiteY292" fmla="*/ 1017 h 10000"/>
              <a:gd name="connsiteX293" fmla="*/ 4978 w 10000"/>
              <a:gd name="connsiteY293" fmla="*/ 1153 h 10000"/>
              <a:gd name="connsiteX294" fmla="*/ 4935 w 10000"/>
              <a:gd name="connsiteY294" fmla="*/ 1222 h 10000"/>
              <a:gd name="connsiteX295" fmla="*/ 5061 w 10000"/>
              <a:gd name="connsiteY295" fmla="*/ 1344 h 10000"/>
              <a:gd name="connsiteX296" fmla="*/ 5074 w 10000"/>
              <a:gd name="connsiteY296" fmla="*/ 1412 h 10000"/>
              <a:gd name="connsiteX297" fmla="*/ 4421 w 10000"/>
              <a:gd name="connsiteY297" fmla="*/ 1813 h 10000"/>
              <a:gd name="connsiteX298" fmla="*/ 4220 w 10000"/>
              <a:gd name="connsiteY298" fmla="*/ 2070 h 10000"/>
              <a:gd name="connsiteX299" fmla="*/ 4003 w 10000"/>
              <a:gd name="connsiteY299" fmla="*/ 2135 h 10000"/>
              <a:gd name="connsiteX300" fmla="*/ 3868 w 10000"/>
              <a:gd name="connsiteY300" fmla="*/ 2131 h 10000"/>
              <a:gd name="connsiteX301" fmla="*/ 3785 w 10000"/>
              <a:gd name="connsiteY301" fmla="*/ 2153 h 10000"/>
              <a:gd name="connsiteX302" fmla="*/ 3558 w 10000"/>
              <a:gd name="connsiteY302" fmla="*/ 2793 h 10000"/>
              <a:gd name="connsiteX303" fmla="*/ 3036 w 10000"/>
              <a:gd name="connsiteY303" fmla="*/ 3166 h 10000"/>
              <a:gd name="connsiteX304" fmla="*/ 3040 w 10000"/>
              <a:gd name="connsiteY304" fmla="*/ 3225 h 10000"/>
              <a:gd name="connsiteX305" fmla="*/ 3271 w 10000"/>
              <a:gd name="connsiteY305" fmla="*/ 3392 h 10000"/>
              <a:gd name="connsiteX306" fmla="*/ 3197 w 10000"/>
              <a:gd name="connsiteY306" fmla="*/ 3573 h 10000"/>
              <a:gd name="connsiteX307" fmla="*/ 3062 w 10000"/>
              <a:gd name="connsiteY307" fmla="*/ 3640 h 10000"/>
              <a:gd name="connsiteX308" fmla="*/ 2657 w 10000"/>
              <a:gd name="connsiteY308" fmla="*/ 3595 h 10000"/>
              <a:gd name="connsiteX309" fmla="*/ 2378 w 10000"/>
              <a:gd name="connsiteY309" fmla="*/ 3620 h 10000"/>
              <a:gd name="connsiteX310" fmla="*/ 2152 w 10000"/>
              <a:gd name="connsiteY310" fmla="*/ 3673 h 10000"/>
              <a:gd name="connsiteX311" fmla="*/ 1790 w 10000"/>
              <a:gd name="connsiteY311" fmla="*/ 3840 h 10000"/>
              <a:gd name="connsiteX312" fmla="*/ 1598 w 10000"/>
              <a:gd name="connsiteY312" fmla="*/ 4042 h 10000"/>
              <a:gd name="connsiteX313" fmla="*/ 1616 w 10000"/>
              <a:gd name="connsiteY313" fmla="*/ 4154 h 10000"/>
              <a:gd name="connsiteX314" fmla="*/ 1681 w 10000"/>
              <a:gd name="connsiteY314" fmla="*/ 4241 h 10000"/>
              <a:gd name="connsiteX315" fmla="*/ 1733 w 10000"/>
              <a:gd name="connsiteY315" fmla="*/ 4276 h 10000"/>
              <a:gd name="connsiteX316" fmla="*/ 1638 w 10000"/>
              <a:gd name="connsiteY316" fmla="*/ 4331 h 10000"/>
              <a:gd name="connsiteX317" fmla="*/ 1433 w 10000"/>
              <a:gd name="connsiteY317" fmla="*/ 4710 h 10000"/>
              <a:gd name="connsiteX318" fmla="*/ 1472 w 10000"/>
              <a:gd name="connsiteY318" fmla="*/ 4732 h 10000"/>
              <a:gd name="connsiteX319" fmla="*/ 1503 w 10000"/>
              <a:gd name="connsiteY319" fmla="*/ 4828 h 10000"/>
              <a:gd name="connsiteX320" fmla="*/ 1407 w 10000"/>
              <a:gd name="connsiteY320" fmla="*/ 5227 h 10000"/>
              <a:gd name="connsiteX321" fmla="*/ 1503 w 10000"/>
              <a:gd name="connsiteY321" fmla="*/ 5329 h 10000"/>
              <a:gd name="connsiteX322" fmla="*/ 1764 w 10000"/>
              <a:gd name="connsiteY322" fmla="*/ 5441 h 10000"/>
              <a:gd name="connsiteX323" fmla="*/ 1777 w 10000"/>
              <a:gd name="connsiteY323" fmla="*/ 5578 h 10000"/>
              <a:gd name="connsiteX324" fmla="*/ 1664 w 10000"/>
              <a:gd name="connsiteY324" fmla="*/ 5690 h 10000"/>
              <a:gd name="connsiteX325" fmla="*/ 1503 w 10000"/>
              <a:gd name="connsiteY325" fmla="*/ 5759 h 10000"/>
              <a:gd name="connsiteX326" fmla="*/ 1289 w 10000"/>
              <a:gd name="connsiteY326" fmla="*/ 5787 h 10000"/>
              <a:gd name="connsiteX327" fmla="*/ 1233 w 10000"/>
              <a:gd name="connsiteY327" fmla="*/ 5826 h 10000"/>
              <a:gd name="connsiteX328" fmla="*/ 1359 w 10000"/>
              <a:gd name="connsiteY328" fmla="*/ 5920 h 10000"/>
              <a:gd name="connsiteX329" fmla="*/ 1429 w 10000"/>
              <a:gd name="connsiteY329" fmla="*/ 6142 h 10000"/>
              <a:gd name="connsiteX330" fmla="*/ 1267 w 10000"/>
              <a:gd name="connsiteY330" fmla="*/ 6333 h 10000"/>
              <a:gd name="connsiteX331" fmla="*/ 1324 w 10000"/>
              <a:gd name="connsiteY331" fmla="*/ 6392 h 10000"/>
              <a:gd name="connsiteX332" fmla="*/ 1272 w 10000"/>
              <a:gd name="connsiteY332" fmla="*/ 6492 h 10000"/>
              <a:gd name="connsiteX333" fmla="*/ 1167 w 10000"/>
              <a:gd name="connsiteY333" fmla="*/ 6561 h 10000"/>
              <a:gd name="connsiteX334" fmla="*/ 758 w 10000"/>
              <a:gd name="connsiteY334" fmla="*/ 6614 h 10000"/>
              <a:gd name="connsiteX335" fmla="*/ 732 w 10000"/>
              <a:gd name="connsiteY335" fmla="*/ 6706 h 10000"/>
              <a:gd name="connsiteX336" fmla="*/ 510 w 10000"/>
              <a:gd name="connsiteY336" fmla="*/ 6843 h 10000"/>
              <a:gd name="connsiteX337" fmla="*/ 540 w 10000"/>
              <a:gd name="connsiteY337" fmla="*/ 7040 h 10000"/>
              <a:gd name="connsiteX338" fmla="*/ 353 w 10000"/>
              <a:gd name="connsiteY338" fmla="*/ 7293 h 10000"/>
              <a:gd name="connsiteX339" fmla="*/ 226 w 10000"/>
              <a:gd name="connsiteY339" fmla="*/ 7323 h 10000"/>
              <a:gd name="connsiteX340" fmla="*/ 174 w 10000"/>
              <a:gd name="connsiteY340" fmla="*/ 7262 h 10000"/>
              <a:gd name="connsiteX341" fmla="*/ 109 w 10000"/>
              <a:gd name="connsiteY341" fmla="*/ 7354 h 10000"/>
              <a:gd name="connsiteX342" fmla="*/ 152 w 10000"/>
              <a:gd name="connsiteY342" fmla="*/ 7197 h 10000"/>
              <a:gd name="connsiteX343" fmla="*/ 126 w 10000"/>
              <a:gd name="connsiteY34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32 w 10000"/>
              <a:gd name="connsiteY210" fmla="*/ 3100 h 10000"/>
              <a:gd name="connsiteX211" fmla="*/ 8145 w 10000"/>
              <a:gd name="connsiteY211" fmla="*/ 3064 h 10000"/>
              <a:gd name="connsiteX212" fmla="*/ 8258 w 10000"/>
              <a:gd name="connsiteY212" fmla="*/ 3037 h 10000"/>
              <a:gd name="connsiteX213" fmla="*/ 8380 w 10000"/>
              <a:gd name="connsiteY213" fmla="*/ 2860 h 10000"/>
              <a:gd name="connsiteX214" fmla="*/ 8253 w 10000"/>
              <a:gd name="connsiteY214" fmla="*/ 2762 h 10000"/>
              <a:gd name="connsiteX215" fmla="*/ 8267 w 10000"/>
              <a:gd name="connsiteY215" fmla="*/ 2748 h 10000"/>
              <a:gd name="connsiteX216" fmla="*/ 8397 w 10000"/>
              <a:gd name="connsiteY216" fmla="*/ 2705 h 10000"/>
              <a:gd name="connsiteX217" fmla="*/ 8402 w 10000"/>
              <a:gd name="connsiteY217" fmla="*/ 2662 h 10000"/>
              <a:gd name="connsiteX218" fmla="*/ 8449 w 10000"/>
              <a:gd name="connsiteY218" fmla="*/ 2656 h 10000"/>
              <a:gd name="connsiteX219" fmla="*/ 8558 w 10000"/>
              <a:gd name="connsiteY219" fmla="*/ 2677 h 10000"/>
              <a:gd name="connsiteX220" fmla="*/ 8593 w 10000"/>
              <a:gd name="connsiteY220" fmla="*/ 2669 h 10000"/>
              <a:gd name="connsiteX221" fmla="*/ 8606 w 10000"/>
              <a:gd name="connsiteY221" fmla="*/ 2630 h 10000"/>
              <a:gd name="connsiteX222" fmla="*/ 8567 w 10000"/>
              <a:gd name="connsiteY222" fmla="*/ 2605 h 10000"/>
              <a:gd name="connsiteX223" fmla="*/ 8685 w 10000"/>
              <a:gd name="connsiteY223" fmla="*/ 2597 h 10000"/>
              <a:gd name="connsiteX224" fmla="*/ 8698 w 10000"/>
              <a:gd name="connsiteY224" fmla="*/ 2565 h 10000"/>
              <a:gd name="connsiteX225" fmla="*/ 8558 w 10000"/>
              <a:gd name="connsiteY225" fmla="*/ 2481 h 10000"/>
              <a:gd name="connsiteX226" fmla="*/ 8558 w 10000"/>
              <a:gd name="connsiteY226" fmla="*/ 2459 h 10000"/>
              <a:gd name="connsiteX227" fmla="*/ 8698 w 10000"/>
              <a:gd name="connsiteY227" fmla="*/ 2504 h 10000"/>
              <a:gd name="connsiteX228" fmla="*/ 8763 w 10000"/>
              <a:gd name="connsiteY228" fmla="*/ 2548 h 10000"/>
              <a:gd name="connsiteX229" fmla="*/ 8815 w 10000"/>
              <a:gd name="connsiteY229" fmla="*/ 2548 h 10000"/>
              <a:gd name="connsiteX230" fmla="*/ 8789 w 10000"/>
              <a:gd name="connsiteY230" fmla="*/ 2457 h 10000"/>
              <a:gd name="connsiteX231" fmla="*/ 8798 w 10000"/>
              <a:gd name="connsiteY231" fmla="*/ 2467 h 10000"/>
              <a:gd name="connsiteX232" fmla="*/ 8841 w 10000"/>
              <a:gd name="connsiteY232" fmla="*/ 2457 h 10000"/>
              <a:gd name="connsiteX233" fmla="*/ 8855 w 10000"/>
              <a:gd name="connsiteY233" fmla="*/ 2341 h 10000"/>
              <a:gd name="connsiteX234" fmla="*/ 8898 w 10000"/>
              <a:gd name="connsiteY234" fmla="*/ 2332 h 10000"/>
              <a:gd name="connsiteX235" fmla="*/ 8946 w 10000"/>
              <a:gd name="connsiteY235" fmla="*/ 2330 h 10000"/>
              <a:gd name="connsiteX236" fmla="*/ 8946 w 10000"/>
              <a:gd name="connsiteY236" fmla="*/ 2361 h 10000"/>
              <a:gd name="connsiteX237" fmla="*/ 8994 w 10000"/>
              <a:gd name="connsiteY237" fmla="*/ 2389 h 10000"/>
              <a:gd name="connsiteX238" fmla="*/ 9051 w 10000"/>
              <a:gd name="connsiteY238" fmla="*/ 2400 h 10000"/>
              <a:gd name="connsiteX239" fmla="*/ 9094 w 10000"/>
              <a:gd name="connsiteY239" fmla="*/ 2324 h 10000"/>
              <a:gd name="connsiteX240" fmla="*/ 9164 w 10000"/>
              <a:gd name="connsiteY240" fmla="*/ 2347 h 10000"/>
              <a:gd name="connsiteX241" fmla="*/ 9247 w 10000"/>
              <a:gd name="connsiteY241" fmla="*/ 2402 h 10000"/>
              <a:gd name="connsiteX242" fmla="*/ 9286 w 10000"/>
              <a:gd name="connsiteY242" fmla="*/ 2400 h 10000"/>
              <a:gd name="connsiteX243" fmla="*/ 9355 w 10000"/>
              <a:gd name="connsiteY243" fmla="*/ 2428 h 10000"/>
              <a:gd name="connsiteX244" fmla="*/ 9408 w 10000"/>
              <a:gd name="connsiteY244" fmla="*/ 2359 h 10000"/>
              <a:gd name="connsiteX245" fmla="*/ 9717 w 10000"/>
              <a:gd name="connsiteY245" fmla="*/ 2343 h 10000"/>
              <a:gd name="connsiteX246" fmla="*/ 9830 w 10000"/>
              <a:gd name="connsiteY246" fmla="*/ 2369 h 10000"/>
              <a:gd name="connsiteX247" fmla="*/ 9909 w 10000"/>
              <a:gd name="connsiteY247" fmla="*/ 2410 h 10000"/>
              <a:gd name="connsiteX248" fmla="*/ 9948 w 10000"/>
              <a:gd name="connsiteY248" fmla="*/ 2365 h 10000"/>
              <a:gd name="connsiteX249" fmla="*/ 10000 w 10000"/>
              <a:gd name="connsiteY249" fmla="*/ 2349 h 10000"/>
              <a:gd name="connsiteX250" fmla="*/ 9704 w 10000"/>
              <a:gd name="connsiteY250" fmla="*/ 1992 h 10000"/>
              <a:gd name="connsiteX251" fmla="*/ 9743 w 10000"/>
              <a:gd name="connsiteY251" fmla="*/ 1897 h 10000"/>
              <a:gd name="connsiteX252" fmla="*/ 9830 w 10000"/>
              <a:gd name="connsiteY252" fmla="*/ 1819 h 10000"/>
              <a:gd name="connsiteX253" fmla="*/ 9830 w 10000"/>
              <a:gd name="connsiteY253" fmla="*/ 1699 h 10000"/>
              <a:gd name="connsiteX254" fmla="*/ 9556 w 10000"/>
              <a:gd name="connsiteY254" fmla="*/ 1465 h 10000"/>
              <a:gd name="connsiteX255" fmla="*/ 9512 w 10000"/>
              <a:gd name="connsiteY255" fmla="*/ 1379 h 10000"/>
              <a:gd name="connsiteX256" fmla="*/ 9573 w 10000"/>
              <a:gd name="connsiteY256" fmla="*/ 1271 h 10000"/>
              <a:gd name="connsiteX257" fmla="*/ 9543 w 10000"/>
              <a:gd name="connsiteY257" fmla="*/ 1194 h 10000"/>
              <a:gd name="connsiteX258" fmla="*/ 9486 w 10000"/>
              <a:gd name="connsiteY258" fmla="*/ 1159 h 10000"/>
              <a:gd name="connsiteX259" fmla="*/ 9438 w 10000"/>
              <a:gd name="connsiteY259" fmla="*/ 978 h 10000"/>
              <a:gd name="connsiteX260" fmla="*/ 9495 w 10000"/>
              <a:gd name="connsiteY260" fmla="*/ 831 h 10000"/>
              <a:gd name="connsiteX261" fmla="*/ 9077 w 10000"/>
              <a:gd name="connsiteY261" fmla="*/ 517 h 10000"/>
              <a:gd name="connsiteX262" fmla="*/ 8872 w 10000"/>
              <a:gd name="connsiteY262" fmla="*/ 440 h 10000"/>
              <a:gd name="connsiteX263" fmla="*/ 8493 w 10000"/>
              <a:gd name="connsiteY263" fmla="*/ 389 h 10000"/>
              <a:gd name="connsiteX264" fmla="*/ 7709 w 10000"/>
              <a:gd name="connsiteY264" fmla="*/ 26 h 10000"/>
              <a:gd name="connsiteX265" fmla="*/ 7683 w 10000"/>
              <a:gd name="connsiteY265" fmla="*/ 2 h 10000"/>
              <a:gd name="connsiteX266" fmla="*/ 7417 w 10000"/>
              <a:gd name="connsiteY266" fmla="*/ 0 h 10000"/>
              <a:gd name="connsiteX267" fmla="*/ 7356 w 10000"/>
              <a:gd name="connsiteY267" fmla="*/ 14 h 10000"/>
              <a:gd name="connsiteX268" fmla="*/ 7369 w 10000"/>
              <a:gd name="connsiteY268" fmla="*/ 61 h 10000"/>
              <a:gd name="connsiteX269" fmla="*/ 7422 w 10000"/>
              <a:gd name="connsiteY269" fmla="*/ 86 h 10000"/>
              <a:gd name="connsiteX270" fmla="*/ 7435 w 10000"/>
              <a:gd name="connsiteY270" fmla="*/ 139 h 10000"/>
              <a:gd name="connsiteX271" fmla="*/ 7417 w 10000"/>
              <a:gd name="connsiteY271" fmla="*/ 181 h 10000"/>
              <a:gd name="connsiteX272" fmla="*/ 7369 w 10000"/>
              <a:gd name="connsiteY272" fmla="*/ 208 h 10000"/>
              <a:gd name="connsiteX273" fmla="*/ 7334 w 10000"/>
              <a:gd name="connsiteY273" fmla="*/ 283 h 10000"/>
              <a:gd name="connsiteX274" fmla="*/ 7269 w 10000"/>
              <a:gd name="connsiteY274" fmla="*/ 336 h 10000"/>
              <a:gd name="connsiteX275" fmla="*/ 7282 w 10000"/>
              <a:gd name="connsiteY275" fmla="*/ 387 h 10000"/>
              <a:gd name="connsiteX276" fmla="*/ 7382 w 10000"/>
              <a:gd name="connsiteY276" fmla="*/ 434 h 10000"/>
              <a:gd name="connsiteX277" fmla="*/ 7317 w 10000"/>
              <a:gd name="connsiteY277" fmla="*/ 475 h 10000"/>
              <a:gd name="connsiteX278" fmla="*/ 7221 w 10000"/>
              <a:gd name="connsiteY278" fmla="*/ 485 h 10000"/>
              <a:gd name="connsiteX279" fmla="*/ 6420 w 10000"/>
              <a:gd name="connsiteY279" fmla="*/ 387 h 10000"/>
              <a:gd name="connsiteX280" fmla="*/ 6324 w 10000"/>
              <a:gd name="connsiteY280" fmla="*/ 395 h 10000"/>
              <a:gd name="connsiteX281" fmla="*/ 6267 w 10000"/>
              <a:gd name="connsiteY281" fmla="*/ 414 h 10000"/>
              <a:gd name="connsiteX282" fmla="*/ 6211 w 10000"/>
              <a:gd name="connsiteY282" fmla="*/ 462 h 10000"/>
              <a:gd name="connsiteX283" fmla="*/ 6220 w 10000"/>
              <a:gd name="connsiteY283" fmla="*/ 581 h 10000"/>
              <a:gd name="connsiteX284" fmla="*/ 6132 w 10000"/>
              <a:gd name="connsiteY284" fmla="*/ 735 h 10000"/>
              <a:gd name="connsiteX285" fmla="*/ 6024 w 10000"/>
              <a:gd name="connsiteY285" fmla="*/ 815 h 10000"/>
              <a:gd name="connsiteX286" fmla="*/ 5980 w 10000"/>
              <a:gd name="connsiteY286" fmla="*/ 805 h 10000"/>
              <a:gd name="connsiteX287" fmla="*/ 5880 w 10000"/>
              <a:gd name="connsiteY287" fmla="*/ 739 h 10000"/>
              <a:gd name="connsiteX288" fmla="*/ 5753 w 10000"/>
              <a:gd name="connsiteY288" fmla="*/ 705 h 10000"/>
              <a:gd name="connsiteX289" fmla="*/ 5618 w 10000"/>
              <a:gd name="connsiteY289" fmla="*/ 715 h 10000"/>
              <a:gd name="connsiteX290" fmla="*/ 5301 w 10000"/>
              <a:gd name="connsiteY290" fmla="*/ 866 h 10000"/>
              <a:gd name="connsiteX291" fmla="*/ 5218 w 10000"/>
              <a:gd name="connsiteY291" fmla="*/ 1017 h 10000"/>
              <a:gd name="connsiteX292" fmla="*/ 4978 w 10000"/>
              <a:gd name="connsiteY292" fmla="*/ 1153 h 10000"/>
              <a:gd name="connsiteX293" fmla="*/ 4935 w 10000"/>
              <a:gd name="connsiteY293" fmla="*/ 1222 h 10000"/>
              <a:gd name="connsiteX294" fmla="*/ 5061 w 10000"/>
              <a:gd name="connsiteY294" fmla="*/ 1344 h 10000"/>
              <a:gd name="connsiteX295" fmla="*/ 5074 w 10000"/>
              <a:gd name="connsiteY295" fmla="*/ 1412 h 10000"/>
              <a:gd name="connsiteX296" fmla="*/ 4421 w 10000"/>
              <a:gd name="connsiteY296" fmla="*/ 1813 h 10000"/>
              <a:gd name="connsiteX297" fmla="*/ 4220 w 10000"/>
              <a:gd name="connsiteY297" fmla="*/ 2070 h 10000"/>
              <a:gd name="connsiteX298" fmla="*/ 4003 w 10000"/>
              <a:gd name="connsiteY298" fmla="*/ 2135 h 10000"/>
              <a:gd name="connsiteX299" fmla="*/ 3868 w 10000"/>
              <a:gd name="connsiteY299" fmla="*/ 2131 h 10000"/>
              <a:gd name="connsiteX300" fmla="*/ 3785 w 10000"/>
              <a:gd name="connsiteY300" fmla="*/ 2153 h 10000"/>
              <a:gd name="connsiteX301" fmla="*/ 3558 w 10000"/>
              <a:gd name="connsiteY301" fmla="*/ 2793 h 10000"/>
              <a:gd name="connsiteX302" fmla="*/ 3036 w 10000"/>
              <a:gd name="connsiteY302" fmla="*/ 3166 h 10000"/>
              <a:gd name="connsiteX303" fmla="*/ 3040 w 10000"/>
              <a:gd name="connsiteY303" fmla="*/ 3225 h 10000"/>
              <a:gd name="connsiteX304" fmla="*/ 3271 w 10000"/>
              <a:gd name="connsiteY304" fmla="*/ 3392 h 10000"/>
              <a:gd name="connsiteX305" fmla="*/ 3197 w 10000"/>
              <a:gd name="connsiteY305" fmla="*/ 3573 h 10000"/>
              <a:gd name="connsiteX306" fmla="*/ 3062 w 10000"/>
              <a:gd name="connsiteY306" fmla="*/ 3640 h 10000"/>
              <a:gd name="connsiteX307" fmla="*/ 2657 w 10000"/>
              <a:gd name="connsiteY307" fmla="*/ 3595 h 10000"/>
              <a:gd name="connsiteX308" fmla="*/ 2378 w 10000"/>
              <a:gd name="connsiteY308" fmla="*/ 3620 h 10000"/>
              <a:gd name="connsiteX309" fmla="*/ 2152 w 10000"/>
              <a:gd name="connsiteY309" fmla="*/ 3673 h 10000"/>
              <a:gd name="connsiteX310" fmla="*/ 1790 w 10000"/>
              <a:gd name="connsiteY310" fmla="*/ 3840 h 10000"/>
              <a:gd name="connsiteX311" fmla="*/ 1598 w 10000"/>
              <a:gd name="connsiteY311" fmla="*/ 4042 h 10000"/>
              <a:gd name="connsiteX312" fmla="*/ 1616 w 10000"/>
              <a:gd name="connsiteY312" fmla="*/ 4154 h 10000"/>
              <a:gd name="connsiteX313" fmla="*/ 1681 w 10000"/>
              <a:gd name="connsiteY313" fmla="*/ 4241 h 10000"/>
              <a:gd name="connsiteX314" fmla="*/ 1733 w 10000"/>
              <a:gd name="connsiteY314" fmla="*/ 4276 h 10000"/>
              <a:gd name="connsiteX315" fmla="*/ 1638 w 10000"/>
              <a:gd name="connsiteY315" fmla="*/ 4331 h 10000"/>
              <a:gd name="connsiteX316" fmla="*/ 1433 w 10000"/>
              <a:gd name="connsiteY316" fmla="*/ 4710 h 10000"/>
              <a:gd name="connsiteX317" fmla="*/ 1472 w 10000"/>
              <a:gd name="connsiteY317" fmla="*/ 4732 h 10000"/>
              <a:gd name="connsiteX318" fmla="*/ 1503 w 10000"/>
              <a:gd name="connsiteY318" fmla="*/ 4828 h 10000"/>
              <a:gd name="connsiteX319" fmla="*/ 1407 w 10000"/>
              <a:gd name="connsiteY319" fmla="*/ 5227 h 10000"/>
              <a:gd name="connsiteX320" fmla="*/ 1503 w 10000"/>
              <a:gd name="connsiteY320" fmla="*/ 5329 h 10000"/>
              <a:gd name="connsiteX321" fmla="*/ 1764 w 10000"/>
              <a:gd name="connsiteY321" fmla="*/ 5441 h 10000"/>
              <a:gd name="connsiteX322" fmla="*/ 1777 w 10000"/>
              <a:gd name="connsiteY322" fmla="*/ 5578 h 10000"/>
              <a:gd name="connsiteX323" fmla="*/ 1664 w 10000"/>
              <a:gd name="connsiteY323" fmla="*/ 5690 h 10000"/>
              <a:gd name="connsiteX324" fmla="*/ 1503 w 10000"/>
              <a:gd name="connsiteY324" fmla="*/ 5759 h 10000"/>
              <a:gd name="connsiteX325" fmla="*/ 1289 w 10000"/>
              <a:gd name="connsiteY325" fmla="*/ 5787 h 10000"/>
              <a:gd name="connsiteX326" fmla="*/ 1233 w 10000"/>
              <a:gd name="connsiteY326" fmla="*/ 5826 h 10000"/>
              <a:gd name="connsiteX327" fmla="*/ 1359 w 10000"/>
              <a:gd name="connsiteY327" fmla="*/ 5920 h 10000"/>
              <a:gd name="connsiteX328" fmla="*/ 1429 w 10000"/>
              <a:gd name="connsiteY328" fmla="*/ 6142 h 10000"/>
              <a:gd name="connsiteX329" fmla="*/ 1267 w 10000"/>
              <a:gd name="connsiteY329" fmla="*/ 6333 h 10000"/>
              <a:gd name="connsiteX330" fmla="*/ 1324 w 10000"/>
              <a:gd name="connsiteY330" fmla="*/ 6392 h 10000"/>
              <a:gd name="connsiteX331" fmla="*/ 1272 w 10000"/>
              <a:gd name="connsiteY331" fmla="*/ 6492 h 10000"/>
              <a:gd name="connsiteX332" fmla="*/ 1167 w 10000"/>
              <a:gd name="connsiteY332" fmla="*/ 6561 h 10000"/>
              <a:gd name="connsiteX333" fmla="*/ 758 w 10000"/>
              <a:gd name="connsiteY333" fmla="*/ 6614 h 10000"/>
              <a:gd name="connsiteX334" fmla="*/ 732 w 10000"/>
              <a:gd name="connsiteY334" fmla="*/ 6706 h 10000"/>
              <a:gd name="connsiteX335" fmla="*/ 510 w 10000"/>
              <a:gd name="connsiteY335" fmla="*/ 6843 h 10000"/>
              <a:gd name="connsiteX336" fmla="*/ 540 w 10000"/>
              <a:gd name="connsiteY336" fmla="*/ 7040 h 10000"/>
              <a:gd name="connsiteX337" fmla="*/ 353 w 10000"/>
              <a:gd name="connsiteY337" fmla="*/ 7293 h 10000"/>
              <a:gd name="connsiteX338" fmla="*/ 226 w 10000"/>
              <a:gd name="connsiteY338" fmla="*/ 7323 h 10000"/>
              <a:gd name="connsiteX339" fmla="*/ 174 w 10000"/>
              <a:gd name="connsiteY339" fmla="*/ 7262 h 10000"/>
              <a:gd name="connsiteX340" fmla="*/ 109 w 10000"/>
              <a:gd name="connsiteY340" fmla="*/ 7354 h 10000"/>
              <a:gd name="connsiteX341" fmla="*/ 152 w 10000"/>
              <a:gd name="connsiteY341" fmla="*/ 7197 h 10000"/>
              <a:gd name="connsiteX342" fmla="*/ 126 w 10000"/>
              <a:gd name="connsiteY34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45 w 10000"/>
              <a:gd name="connsiteY210" fmla="*/ 3064 h 10000"/>
              <a:gd name="connsiteX211" fmla="*/ 8258 w 10000"/>
              <a:gd name="connsiteY211" fmla="*/ 3037 h 10000"/>
              <a:gd name="connsiteX212" fmla="*/ 8380 w 10000"/>
              <a:gd name="connsiteY212" fmla="*/ 2860 h 10000"/>
              <a:gd name="connsiteX213" fmla="*/ 8253 w 10000"/>
              <a:gd name="connsiteY213" fmla="*/ 2762 h 10000"/>
              <a:gd name="connsiteX214" fmla="*/ 8267 w 10000"/>
              <a:gd name="connsiteY214" fmla="*/ 2748 h 10000"/>
              <a:gd name="connsiteX215" fmla="*/ 8397 w 10000"/>
              <a:gd name="connsiteY215" fmla="*/ 2705 h 10000"/>
              <a:gd name="connsiteX216" fmla="*/ 8402 w 10000"/>
              <a:gd name="connsiteY216" fmla="*/ 2662 h 10000"/>
              <a:gd name="connsiteX217" fmla="*/ 8449 w 10000"/>
              <a:gd name="connsiteY217" fmla="*/ 2656 h 10000"/>
              <a:gd name="connsiteX218" fmla="*/ 8558 w 10000"/>
              <a:gd name="connsiteY218" fmla="*/ 2677 h 10000"/>
              <a:gd name="connsiteX219" fmla="*/ 8593 w 10000"/>
              <a:gd name="connsiteY219" fmla="*/ 2669 h 10000"/>
              <a:gd name="connsiteX220" fmla="*/ 8606 w 10000"/>
              <a:gd name="connsiteY220" fmla="*/ 2630 h 10000"/>
              <a:gd name="connsiteX221" fmla="*/ 8567 w 10000"/>
              <a:gd name="connsiteY221" fmla="*/ 2605 h 10000"/>
              <a:gd name="connsiteX222" fmla="*/ 8685 w 10000"/>
              <a:gd name="connsiteY222" fmla="*/ 2597 h 10000"/>
              <a:gd name="connsiteX223" fmla="*/ 8698 w 10000"/>
              <a:gd name="connsiteY223" fmla="*/ 2565 h 10000"/>
              <a:gd name="connsiteX224" fmla="*/ 8558 w 10000"/>
              <a:gd name="connsiteY224" fmla="*/ 2481 h 10000"/>
              <a:gd name="connsiteX225" fmla="*/ 8558 w 10000"/>
              <a:gd name="connsiteY225" fmla="*/ 2459 h 10000"/>
              <a:gd name="connsiteX226" fmla="*/ 8698 w 10000"/>
              <a:gd name="connsiteY226" fmla="*/ 2504 h 10000"/>
              <a:gd name="connsiteX227" fmla="*/ 8763 w 10000"/>
              <a:gd name="connsiteY227" fmla="*/ 2548 h 10000"/>
              <a:gd name="connsiteX228" fmla="*/ 8815 w 10000"/>
              <a:gd name="connsiteY228" fmla="*/ 2548 h 10000"/>
              <a:gd name="connsiteX229" fmla="*/ 8789 w 10000"/>
              <a:gd name="connsiteY229" fmla="*/ 2457 h 10000"/>
              <a:gd name="connsiteX230" fmla="*/ 8798 w 10000"/>
              <a:gd name="connsiteY230" fmla="*/ 2467 h 10000"/>
              <a:gd name="connsiteX231" fmla="*/ 8841 w 10000"/>
              <a:gd name="connsiteY231" fmla="*/ 2457 h 10000"/>
              <a:gd name="connsiteX232" fmla="*/ 8855 w 10000"/>
              <a:gd name="connsiteY232" fmla="*/ 2341 h 10000"/>
              <a:gd name="connsiteX233" fmla="*/ 8898 w 10000"/>
              <a:gd name="connsiteY233" fmla="*/ 2332 h 10000"/>
              <a:gd name="connsiteX234" fmla="*/ 8946 w 10000"/>
              <a:gd name="connsiteY234" fmla="*/ 2330 h 10000"/>
              <a:gd name="connsiteX235" fmla="*/ 8946 w 10000"/>
              <a:gd name="connsiteY235" fmla="*/ 2361 h 10000"/>
              <a:gd name="connsiteX236" fmla="*/ 8994 w 10000"/>
              <a:gd name="connsiteY236" fmla="*/ 2389 h 10000"/>
              <a:gd name="connsiteX237" fmla="*/ 9051 w 10000"/>
              <a:gd name="connsiteY237" fmla="*/ 2400 h 10000"/>
              <a:gd name="connsiteX238" fmla="*/ 9094 w 10000"/>
              <a:gd name="connsiteY238" fmla="*/ 2324 h 10000"/>
              <a:gd name="connsiteX239" fmla="*/ 9164 w 10000"/>
              <a:gd name="connsiteY239" fmla="*/ 2347 h 10000"/>
              <a:gd name="connsiteX240" fmla="*/ 9247 w 10000"/>
              <a:gd name="connsiteY240" fmla="*/ 2402 h 10000"/>
              <a:gd name="connsiteX241" fmla="*/ 9286 w 10000"/>
              <a:gd name="connsiteY241" fmla="*/ 2400 h 10000"/>
              <a:gd name="connsiteX242" fmla="*/ 9355 w 10000"/>
              <a:gd name="connsiteY242" fmla="*/ 2428 h 10000"/>
              <a:gd name="connsiteX243" fmla="*/ 9408 w 10000"/>
              <a:gd name="connsiteY243" fmla="*/ 2359 h 10000"/>
              <a:gd name="connsiteX244" fmla="*/ 9717 w 10000"/>
              <a:gd name="connsiteY244" fmla="*/ 2343 h 10000"/>
              <a:gd name="connsiteX245" fmla="*/ 9830 w 10000"/>
              <a:gd name="connsiteY245" fmla="*/ 2369 h 10000"/>
              <a:gd name="connsiteX246" fmla="*/ 9909 w 10000"/>
              <a:gd name="connsiteY246" fmla="*/ 2410 h 10000"/>
              <a:gd name="connsiteX247" fmla="*/ 9948 w 10000"/>
              <a:gd name="connsiteY247" fmla="*/ 2365 h 10000"/>
              <a:gd name="connsiteX248" fmla="*/ 10000 w 10000"/>
              <a:gd name="connsiteY248" fmla="*/ 2349 h 10000"/>
              <a:gd name="connsiteX249" fmla="*/ 9704 w 10000"/>
              <a:gd name="connsiteY249" fmla="*/ 1992 h 10000"/>
              <a:gd name="connsiteX250" fmla="*/ 9743 w 10000"/>
              <a:gd name="connsiteY250" fmla="*/ 1897 h 10000"/>
              <a:gd name="connsiteX251" fmla="*/ 9830 w 10000"/>
              <a:gd name="connsiteY251" fmla="*/ 1819 h 10000"/>
              <a:gd name="connsiteX252" fmla="*/ 9830 w 10000"/>
              <a:gd name="connsiteY252" fmla="*/ 1699 h 10000"/>
              <a:gd name="connsiteX253" fmla="*/ 9556 w 10000"/>
              <a:gd name="connsiteY253" fmla="*/ 1465 h 10000"/>
              <a:gd name="connsiteX254" fmla="*/ 9512 w 10000"/>
              <a:gd name="connsiteY254" fmla="*/ 1379 h 10000"/>
              <a:gd name="connsiteX255" fmla="*/ 9573 w 10000"/>
              <a:gd name="connsiteY255" fmla="*/ 1271 h 10000"/>
              <a:gd name="connsiteX256" fmla="*/ 9543 w 10000"/>
              <a:gd name="connsiteY256" fmla="*/ 1194 h 10000"/>
              <a:gd name="connsiteX257" fmla="*/ 9486 w 10000"/>
              <a:gd name="connsiteY257" fmla="*/ 1159 h 10000"/>
              <a:gd name="connsiteX258" fmla="*/ 9438 w 10000"/>
              <a:gd name="connsiteY258" fmla="*/ 978 h 10000"/>
              <a:gd name="connsiteX259" fmla="*/ 9495 w 10000"/>
              <a:gd name="connsiteY259" fmla="*/ 831 h 10000"/>
              <a:gd name="connsiteX260" fmla="*/ 9077 w 10000"/>
              <a:gd name="connsiteY260" fmla="*/ 517 h 10000"/>
              <a:gd name="connsiteX261" fmla="*/ 8872 w 10000"/>
              <a:gd name="connsiteY261" fmla="*/ 440 h 10000"/>
              <a:gd name="connsiteX262" fmla="*/ 8493 w 10000"/>
              <a:gd name="connsiteY262" fmla="*/ 389 h 10000"/>
              <a:gd name="connsiteX263" fmla="*/ 7709 w 10000"/>
              <a:gd name="connsiteY263" fmla="*/ 26 h 10000"/>
              <a:gd name="connsiteX264" fmla="*/ 7683 w 10000"/>
              <a:gd name="connsiteY264" fmla="*/ 2 h 10000"/>
              <a:gd name="connsiteX265" fmla="*/ 7417 w 10000"/>
              <a:gd name="connsiteY265" fmla="*/ 0 h 10000"/>
              <a:gd name="connsiteX266" fmla="*/ 7356 w 10000"/>
              <a:gd name="connsiteY266" fmla="*/ 14 h 10000"/>
              <a:gd name="connsiteX267" fmla="*/ 7369 w 10000"/>
              <a:gd name="connsiteY267" fmla="*/ 61 h 10000"/>
              <a:gd name="connsiteX268" fmla="*/ 7422 w 10000"/>
              <a:gd name="connsiteY268" fmla="*/ 86 h 10000"/>
              <a:gd name="connsiteX269" fmla="*/ 7435 w 10000"/>
              <a:gd name="connsiteY269" fmla="*/ 139 h 10000"/>
              <a:gd name="connsiteX270" fmla="*/ 7417 w 10000"/>
              <a:gd name="connsiteY270" fmla="*/ 181 h 10000"/>
              <a:gd name="connsiteX271" fmla="*/ 7369 w 10000"/>
              <a:gd name="connsiteY271" fmla="*/ 208 h 10000"/>
              <a:gd name="connsiteX272" fmla="*/ 7334 w 10000"/>
              <a:gd name="connsiteY272" fmla="*/ 283 h 10000"/>
              <a:gd name="connsiteX273" fmla="*/ 7269 w 10000"/>
              <a:gd name="connsiteY273" fmla="*/ 336 h 10000"/>
              <a:gd name="connsiteX274" fmla="*/ 7282 w 10000"/>
              <a:gd name="connsiteY274" fmla="*/ 387 h 10000"/>
              <a:gd name="connsiteX275" fmla="*/ 7382 w 10000"/>
              <a:gd name="connsiteY275" fmla="*/ 434 h 10000"/>
              <a:gd name="connsiteX276" fmla="*/ 7317 w 10000"/>
              <a:gd name="connsiteY276" fmla="*/ 475 h 10000"/>
              <a:gd name="connsiteX277" fmla="*/ 7221 w 10000"/>
              <a:gd name="connsiteY277" fmla="*/ 485 h 10000"/>
              <a:gd name="connsiteX278" fmla="*/ 6420 w 10000"/>
              <a:gd name="connsiteY278" fmla="*/ 387 h 10000"/>
              <a:gd name="connsiteX279" fmla="*/ 6324 w 10000"/>
              <a:gd name="connsiteY279" fmla="*/ 395 h 10000"/>
              <a:gd name="connsiteX280" fmla="*/ 6267 w 10000"/>
              <a:gd name="connsiteY280" fmla="*/ 414 h 10000"/>
              <a:gd name="connsiteX281" fmla="*/ 6211 w 10000"/>
              <a:gd name="connsiteY281" fmla="*/ 462 h 10000"/>
              <a:gd name="connsiteX282" fmla="*/ 6220 w 10000"/>
              <a:gd name="connsiteY282" fmla="*/ 581 h 10000"/>
              <a:gd name="connsiteX283" fmla="*/ 6132 w 10000"/>
              <a:gd name="connsiteY283" fmla="*/ 735 h 10000"/>
              <a:gd name="connsiteX284" fmla="*/ 6024 w 10000"/>
              <a:gd name="connsiteY284" fmla="*/ 815 h 10000"/>
              <a:gd name="connsiteX285" fmla="*/ 5980 w 10000"/>
              <a:gd name="connsiteY285" fmla="*/ 805 h 10000"/>
              <a:gd name="connsiteX286" fmla="*/ 5880 w 10000"/>
              <a:gd name="connsiteY286" fmla="*/ 739 h 10000"/>
              <a:gd name="connsiteX287" fmla="*/ 5753 w 10000"/>
              <a:gd name="connsiteY287" fmla="*/ 705 h 10000"/>
              <a:gd name="connsiteX288" fmla="*/ 5618 w 10000"/>
              <a:gd name="connsiteY288" fmla="*/ 715 h 10000"/>
              <a:gd name="connsiteX289" fmla="*/ 5301 w 10000"/>
              <a:gd name="connsiteY289" fmla="*/ 866 h 10000"/>
              <a:gd name="connsiteX290" fmla="*/ 5218 w 10000"/>
              <a:gd name="connsiteY290" fmla="*/ 1017 h 10000"/>
              <a:gd name="connsiteX291" fmla="*/ 4978 w 10000"/>
              <a:gd name="connsiteY291" fmla="*/ 1153 h 10000"/>
              <a:gd name="connsiteX292" fmla="*/ 4935 w 10000"/>
              <a:gd name="connsiteY292" fmla="*/ 1222 h 10000"/>
              <a:gd name="connsiteX293" fmla="*/ 5061 w 10000"/>
              <a:gd name="connsiteY293" fmla="*/ 1344 h 10000"/>
              <a:gd name="connsiteX294" fmla="*/ 5074 w 10000"/>
              <a:gd name="connsiteY294" fmla="*/ 1412 h 10000"/>
              <a:gd name="connsiteX295" fmla="*/ 4421 w 10000"/>
              <a:gd name="connsiteY295" fmla="*/ 1813 h 10000"/>
              <a:gd name="connsiteX296" fmla="*/ 4220 w 10000"/>
              <a:gd name="connsiteY296" fmla="*/ 2070 h 10000"/>
              <a:gd name="connsiteX297" fmla="*/ 4003 w 10000"/>
              <a:gd name="connsiteY297" fmla="*/ 2135 h 10000"/>
              <a:gd name="connsiteX298" fmla="*/ 3868 w 10000"/>
              <a:gd name="connsiteY298" fmla="*/ 2131 h 10000"/>
              <a:gd name="connsiteX299" fmla="*/ 3785 w 10000"/>
              <a:gd name="connsiteY299" fmla="*/ 2153 h 10000"/>
              <a:gd name="connsiteX300" fmla="*/ 3558 w 10000"/>
              <a:gd name="connsiteY300" fmla="*/ 2793 h 10000"/>
              <a:gd name="connsiteX301" fmla="*/ 3036 w 10000"/>
              <a:gd name="connsiteY301" fmla="*/ 3166 h 10000"/>
              <a:gd name="connsiteX302" fmla="*/ 3040 w 10000"/>
              <a:gd name="connsiteY302" fmla="*/ 3225 h 10000"/>
              <a:gd name="connsiteX303" fmla="*/ 3271 w 10000"/>
              <a:gd name="connsiteY303" fmla="*/ 3392 h 10000"/>
              <a:gd name="connsiteX304" fmla="*/ 3197 w 10000"/>
              <a:gd name="connsiteY304" fmla="*/ 3573 h 10000"/>
              <a:gd name="connsiteX305" fmla="*/ 3062 w 10000"/>
              <a:gd name="connsiteY305" fmla="*/ 3640 h 10000"/>
              <a:gd name="connsiteX306" fmla="*/ 2657 w 10000"/>
              <a:gd name="connsiteY306" fmla="*/ 3595 h 10000"/>
              <a:gd name="connsiteX307" fmla="*/ 2378 w 10000"/>
              <a:gd name="connsiteY307" fmla="*/ 3620 h 10000"/>
              <a:gd name="connsiteX308" fmla="*/ 2152 w 10000"/>
              <a:gd name="connsiteY308" fmla="*/ 3673 h 10000"/>
              <a:gd name="connsiteX309" fmla="*/ 1790 w 10000"/>
              <a:gd name="connsiteY309" fmla="*/ 3840 h 10000"/>
              <a:gd name="connsiteX310" fmla="*/ 1598 w 10000"/>
              <a:gd name="connsiteY310" fmla="*/ 4042 h 10000"/>
              <a:gd name="connsiteX311" fmla="*/ 1616 w 10000"/>
              <a:gd name="connsiteY311" fmla="*/ 4154 h 10000"/>
              <a:gd name="connsiteX312" fmla="*/ 1681 w 10000"/>
              <a:gd name="connsiteY312" fmla="*/ 4241 h 10000"/>
              <a:gd name="connsiteX313" fmla="*/ 1733 w 10000"/>
              <a:gd name="connsiteY313" fmla="*/ 4276 h 10000"/>
              <a:gd name="connsiteX314" fmla="*/ 1638 w 10000"/>
              <a:gd name="connsiteY314" fmla="*/ 4331 h 10000"/>
              <a:gd name="connsiteX315" fmla="*/ 1433 w 10000"/>
              <a:gd name="connsiteY315" fmla="*/ 4710 h 10000"/>
              <a:gd name="connsiteX316" fmla="*/ 1472 w 10000"/>
              <a:gd name="connsiteY316" fmla="*/ 4732 h 10000"/>
              <a:gd name="connsiteX317" fmla="*/ 1503 w 10000"/>
              <a:gd name="connsiteY317" fmla="*/ 4828 h 10000"/>
              <a:gd name="connsiteX318" fmla="*/ 1407 w 10000"/>
              <a:gd name="connsiteY318" fmla="*/ 5227 h 10000"/>
              <a:gd name="connsiteX319" fmla="*/ 1503 w 10000"/>
              <a:gd name="connsiteY319" fmla="*/ 5329 h 10000"/>
              <a:gd name="connsiteX320" fmla="*/ 1764 w 10000"/>
              <a:gd name="connsiteY320" fmla="*/ 5441 h 10000"/>
              <a:gd name="connsiteX321" fmla="*/ 1777 w 10000"/>
              <a:gd name="connsiteY321" fmla="*/ 5578 h 10000"/>
              <a:gd name="connsiteX322" fmla="*/ 1664 w 10000"/>
              <a:gd name="connsiteY322" fmla="*/ 5690 h 10000"/>
              <a:gd name="connsiteX323" fmla="*/ 1503 w 10000"/>
              <a:gd name="connsiteY323" fmla="*/ 5759 h 10000"/>
              <a:gd name="connsiteX324" fmla="*/ 1289 w 10000"/>
              <a:gd name="connsiteY324" fmla="*/ 5787 h 10000"/>
              <a:gd name="connsiteX325" fmla="*/ 1233 w 10000"/>
              <a:gd name="connsiteY325" fmla="*/ 5826 h 10000"/>
              <a:gd name="connsiteX326" fmla="*/ 1359 w 10000"/>
              <a:gd name="connsiteY326" fmla="*/ 5920 h 10000"/>
              <a:gd name="connsiteX327" fmla="*/ 1429 w 10000"/>
              <a:gd name="connsiteY327" fmla="*/ 6142 h 10000"/>
              <a:gd name="connsiteX328" fmla="*/ 1267 w 10000"/>
              <a:gd name="connsiteY328" fmla="*/ 6333 h 10000"/>
              <a:gd name="connsiteX329" fmla="*/ 1324 w 10000"/>
              <a:gd name="connsiteY329" fmla="*/ 6392 h 10000"/>
              <a:gd name="connsiteX330" fmla="*/ 1272 w 10000"/>
              <a:gd name="connsiteY330" fmla="*/ 6492 h 10000"/>
              <a:gd name="connsiteX331" fmla="*/ 1167 w 10000"/>
              <a:gd name="connsiteY331" fmla="*/ 6561 h 10000"/>
              <a:gd name="connsiteX332" fmla="*/ 758 w 10000"/>
              <a:gd name="connsiteY332" fmla="*/ 6614 h 10000"/>
              <a:gd name="connsiteX333" fmla="*/ 732 w 10000"/>
              <a:gd name="connsiteY333" fmla="*/ 6706 h 10000"/>
              <a:gd name="connsiteX334" fmla="*/ 510 w 10000"/>
              <a:gd name="connsiteY334" fmla="*/ 6843 h 10000"/>
              <a:gd name="connsiteX335" fmla="*/ 540 w 10000"/>
              <a:gd name="connsiteY335" fmla="*/ 7040 h 10000"/>
              <a:gd name="connsiteX336" fmla="*/ 353 w 10000"/>
              <a:gd name="connsiteY336" fmla="*/ 7293 h 10000"/>
              <a:gd name="connsiteX337" fmla="*/ 226 w 10000"/>
              <a:gd name="connsiteY337" fmla="*/ 7323 h 10000"/>
              <a:gd name="connsiteX338" fmla="*/ 174 w 10000"/>
              <a:gd name="connsiteY338" fmla="*/ 7262 h 10000"/>
              <a:gd name="connsiteX339" fmla="*/ 109 w 10000"/>
              <a:gd name="connsiteY339" fmla="*/ 7354 h 10000"/>
              <a:gd name="connsiteX340" fmla="*/ 152 w 10000"/>
              <a:gd name="connsiteY340" fmla="*/ 7197 h 10000"/>
              <a:gd name="connsiteX341" fmla="*/ 126 w 10000"/>
              <a:gd name="connsiteY34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45 w 10000"/>
              <a:gd name="connsiteY210" fmla="*/ 3064 h 10000"/>
              <a:gd name="connsiteX211" fmla="*/ 8380 w 10000"/>
              <a:gd name="connsiteY211" fmla="*/ 2860 h 10000"/>
              <a:gd name="connsiteX212" fmla="*/ 8253 w 10000"/>
              <a:gd name="connsiteY212" fmla="*/ 2762 h 10000"/>
              <a:gd name="connsiteX213" fmla="*/ 8267 w 10000"/>
              <a:gd name="connsiteY213" fmla="*/ 2748 h 10000"/>
              <a:gd name="connsiteX214" fmla="*/ 8397 w 10000"/>
              <a:gd name="connsiteY214" fmla="*/ 2705 h 10000"/>
              <a:gd name="connsiteX215" fmla="*/ 8402 w 10000"/>
              <a:gd name="connsiteY215" fmla="*/ 2662 h 10000"/>
              <a:gd name="connsiteX216" fmla="*/ 8449 w 10000"/>
              <a:gd name="connsiteY216" fmla="*/ 2656 h 10000"/>
              <a:gd name="connsiteX217" fmla="*/ 8558 w 10000"/>
              <a:gd name="connsiteY217" fmla="*/ 2677 h 10000"/>
              <a:gd name="connsiteX218" fmla="*/ 8593 w 10000"/>
              <a:gd name="connsiteY218" fmla="*/ 2669 h 10000"/>
              <a:gd name="connsiteX219" fmla="*/ 8606 w 10000"/>
              <a:gd name="connsiteY219" fmla="*/ 2630 h 10000"/>
              <a:gd name="connsiteX220" fmla="*/ 8567 w 10000"/>
              <a:gd name="connsiteY220" fmla="*/ 2605 h 10000"/>
              <a:gd name="connsiteX221" fmla="*/ 8685 w 10000"/>
              <a:gd name="connsiteY221" fmla="*/ 2597 h 10000"/>
              <a:gd name="connsiteX222" fmla="*/ 8698 w 10000"/>
              <a:gd name="connsiteY222" fmla="*/ 2565 h 10000"/>
              <a:gd name="connsiteX223" fmla="*/ 8558 w 10000"/>
              <a:gd name="connsiteY223" fmla="*/ 2481 h 10000"/>
              <a:gd name="connsiteX224" fmla="*/ 8558 w 10000"/>
              <a:gd name="connsiteY224" fmla="*/ 2459 h 10000"/>
              <a:gd name="connsiteX225" fmla="*/ 8698 w 10000"/>
              <a:gd name="connsiteY225" fmla="*/ 2504 h 10000"/>
              <a:gd name="connsiteX226" fmla="*/ 8763 w 10000"/>
              <a:gd name="connsiteY226" fmla="*/ 2548 h 10000"/>
              <a:gd name="connsiteX227" fmla="*/ 8815 w 10000"/>
              <a:gd name="connsiteY227" fmla="*/ 2548 h 10000"/>
              <a:gd name="connsiteX228" fmla="*/ 8789 w 10000"/>
              <a:gd name="connsiteY228" fmla="*/ 2457 h 10000"/>
              <a:gd name="connsiteX229" fmla="*/ 8798 w 10000"/>
              <a:gd name="connsiteY229" fmla="*/ 2467 h 10000"/>
              <a:gd name="connsiteX230" fmla="*/ 8841 w 10000"/>
              <a:gd name="connsiteY230" fmla="*/ 2457 h 10000"/>
              <a:gd name="connsiteX231" fmla="*/ 8855 w 10000"/>
              <a:gd name="connsiteY231" fmla="*/ 2341 h 10000"/>
              <a:gd name="connsiteX232" fmla="*/ 8898 w 10000"/>
              <a:gd name="connsiteY232" fmla="*/ 2332 h 10000"/>
              <a:gd name="connsiteX233" fmla="*/ 8946 w 10000"/>
              <a:gd name="connsiteY233" fmla="*/ 2330 h 10000"/>
              <a:gd name="connsiteX234" fmla="*/ 8946 w 10000"/>
              <a:gd name="connsiteY234" fmla="*/ 2361 h 10000"/>
              <a:gd name="connsiteX235" fmla="*/ 8994 w 10000"/>
              <a:gd name="connsiteY235" fmla="*/ 2389 h 10000"/>
              <a:gd name="connsiteX236" fmla="*/ 9051 w 10000"/>
              <a:gd name="connsiteY236" fmla="*/ 2400 h 10000"/>
              <a:gd name="connsiteX237" fmla="*/ 9094 w 10000"/>
              <a:gd name="connsiteY237" fmla="*/ 2324 h 10000"/>
              <a:gd name="connsiteX238" fmla="*/ 9164 w 10000"/>
              <a:gd name="connsiteY238" fmla="*/ 2347 h 10000"/>
              <a:gd name="connsiteX239" fmla="*/ 9247 w 10000"/>
              <a:gd name="connsiteY239" fmla="*/ 2402 h 10000"/>
              <a:gd name="connsiteX240" fmla="*/ 9286 w 10000"/>
              <a:gd name="connsiteY240" fmla="*/ 2400 h 10000"/>
              <a:gd name="connsiteX241" fmla="*/ 9355 w 10000"/>
              <a:gd name="connsiteY241" fmla="*/ 2428 h 10000"/>
              <a:gd name="connsiteX242" fmla="*/ 9408 w 10000"/>
              <a:gd name="connsiteY242" fmla="*/ 2359 h 10000"/>
              <a:gd name="connsiteX243" fmla="*/ 9717 w 10000"/>
              <a:gd name="connsiteY243" fmla="*/ 2343 h 10000"/>
              <a:gd name="connsiteX244" fmla="*/ 9830 w 10000"/>
              <a:gd name="connsiteY244" fmla="*/ 2369 h 10000"/>
              <a:gd name="connsiteX245" fmla="*/ 9909 w 10000"/>
              <a:gd name="connsiteY245" fmla="*/ 2410 h 10000"/>
              <a:gd name="connsiteX246" fmla="*/ 9948 w 10000"/>
              <a:gd name="connsiteY246" fmla="*/ 2365 h 10000"/>
              <a:gd name="connsiteX247" fmla="*/ 10000 w 10000"/>
              <a:gd name="connsiteY247" fmla="*/ 2349 h 10000"/>
              <a:gd name="connsiteX248" fmla="*/ 9704 w 10000"/>
              <a:gd name="connsiteY248" fmla="*/ 1992 h 10000"/>
              <a:gd name="connsiteX249" fmla="*/ 9743 w 10000"/>
              <a:gd name="connsiteY249" fmla="*/ 1897 h 10000"/>
              <a:gd name="connsiteX250" fmla="*/ 9830 w 10000"/>
              <a:gd name="connsiteY250" fmla="*/ 1819 h 10000"/>
              <a:gd name="connsiteX251" fmla="*/ 9830 w 10000"/>
              <a:gd name="connsiteY251" fmla="*/ 1699 h 10000"/>
              <a:gd name="connsiteX252" fmla="*/ 9556 w 10000"/>
              <a:gd name="connsiteY252" fmla="*/ 1465 h 10000"/>
              <a:gd name="connsiteX253" fmla="*/ 9512 w 10000"/>
              <a:gd name="connsiteY253" fmla="*/ 1379 h 10000"/>
              <a:gd name="connsiteX254" fmla="*/ 9573 w 10000"/>
              <a:gd name="connsiteY254" fmla="*/ 1271 h 10000"/>
              <a:gd name="connsiteX255" fmla="*/ 9543 w 10000"/>
              <a:gd name="connsiteY255" fmla="*/ 1194 h 10000"/>
              <a:gd name="connsiteX256" fmla="*/ 9486 w 10000"/>
              <a:gd name="connsiteY256" fmla="*/ 1159 h 10000"/>
              <a:gd name="connsiteX257" fmla="*/ 9438 w 10000"/>
              <a:gd name="connsiteY257" fmla="*/ 978 h 10000"/>
              <a:gd name="connsiteX258" fmla="*/ 9495 w 10000"/>
              <a:gd name="connsiteY258" fmla="*/ 831 h 10000"/>
              <a:gd name="connsiteX259" fmla="*/ 9077 w 10000"/>
              <a:gd name="connsiteY259" fmla="*/ 517 h 10000"/>
              <a:gd name="connsiteX260" fmla="*/ 8872 w 10000"/>
              <a:gd name="connsiteY260" fmla="*/ 440 h 10000"/>
              <a:gd name="connsiteX261" fmla="*/ 8493 w 10000"/>
              <a:gd name="connsiteY261" fmla="*/ 389 h 10000"/>
              <a:gd name="connsiteX262" fmla="*/ 7709 w 10000"/>
              <a:gd name="connsiteY262" fmla="*/ 26 h 10000"/>
              <a:gd name="connsiteX263" fmla="*/ 7683 w 10000"/>
              <a:gd name="connsiteY263" fmla="*/ 2 h 10000"/>
              <a:gd name="connsiteX264" fmla="*/ 7417 w 10000"/>
              <a:gd name="connsiteY264" fmla="*/ 0 h 10000"/>
              <a:gd name="connsiteX265" fmla="*/ 7356 w 10000"/>
              <a:gd name="connsiteY265" fmla="*/ 14 h 10000"/>
              <a:gd name="connsiteX266" fmla="*/ 7369 w 10000"/>
              <a:gd name="connsiteY266" fmla="*/ 61 h 10000"/>
              <a:gd name="connsiteX267" fmla="*/ 7422 w 10000"/>
              <a:gd name="connsiteY267" fmla="*/ 86 h 10000"/>
              <a:gd name="connsiteX268" fmla="*/ 7435 w 10000"/>
              <a:gd name="connsiteY268" fmla="*/ 139 h 10000"/>
              <a:gd name="connsiteX269" fmla="*/ 7417 w 10000"/>
              <a:gd name="connsiteY269" fmla="*/ 181 h 10000"/>
              <a:gd name="connsiteX270" fmla="*/ 7369 w 10000"/>
              <a:gd name="connsiteY270" fmla="*/ 208 h 10000"/>
              <a:gd name="connsiteX271" fmla="*/ 7334 w 10000"/>
              <a:gd name="connsiteY271" fmla="*/ 283 h 10000"/>
              <a:gd name="connsiteX272" fmla="*/ 7269 w 10000"/>
              <a:gd name="connsiteY272" fmla="*/ 336 h 10000"/>
              <a:gd name="connsiteX273" fmla="*/ 7282 w 10000"/>
              <a:gd name="connsiteY273" fmla="*/ 387 h 10000"/>
              <a:gd name="connsiteX274" fmla="*/ 7382 w 10000"/>
              <a:gd name="connsiteY274" fmla="*/ 434 h 10000"/>
              <a:gd name="connsiteX275" fmla="*/ 7317 w 10000"/>
              <a:gd name="connsiteY275" fmla="*/ 475 h 10000"/>
              <a:gd name="connsiteX276" fmla="*/ 7221 w 10000"/>
              <a:gd name="connsiteY276" fmla="*/ 485 h 10000"/>
              <a:gd name="connsiteX277" fmla="*/ 6420 w 10000"/>
              <a:gd name="connsiteY277" fmla="*/ 387 h 10000"/>
              <a:gd name="connsiteX278" fmla="*/ 6324 w 10000"/>
              <a:gd name="connsiteY278" fmla="*/ 395 h 10000"/>
              <a:gd name="connsiteX279" fmla="*/ 6267 w 10000"/>
              <a:gd name="connsiteY279" fmla="*/ 414 h 10000"/>
              <a:gd name="connsiteX280" fmla="*/ 6211 w 10000"/>
              <a:gd name="connsiteY280" fmla="*/ 462 h 10000"/>
              <a:gd name="connsiteX281" fmla="*/ 6220 w 10000"/>
              <a:gd name="connsiteY281" fmla="*/ 581 h 10000"/>
              <a:gd name="connsiteX282" fmla="*/ 6132 w 10000"/>
              <a:gd name="connsiteY282" fmla="*/ 735 h 10000"/>
              <a:gd name="connsiteX283" fmla="*/ 6024 w 10000"/>
              <a:gd name="connsiteY283" fmla="*/ 815 h 10000"/>
              <a:gd name="connsiteX284" fmla="*/ 5980 w 10000"/>
              <a:gd name="connsiteY284" fmla="*/ 805 h 10000"/>
              <a:gd name="connsiteX285" fmla="*/ 5880 w 10000"/>
              <a:gd name="connsiteY285" fmla="*/ 739 h 10000"/>
              <a:gd name="connsiteX286" fmla="*/ 5753 w 10000"/>
              <a:gd name="connsiteY286" fmla="*/ 705 h 10000"/>
              <a:gd name="connsiteX287" fmla="*/ 5618 w 10000"/>
              <a:gd name="connsiteY287" fmla="*/ 715 h 10000"/>
              <a:gd name="connsiteX288" fmla="*/ 5301 w 10000"/>
              <a:gd name="connsiteY288" fmla="*/ 866 h 10000"/>
              <a:gd name="connsiteX289" fmla="*/ 5218 w 10000"/>
              <a:gd name="connsiteY289" fmla="*/ 1017 h 10000"/>
              <a:gd name="connsiteX290" fmla="*/ 4978 w 10000"/>
              <a:gd name="connsiteY290" fmla="*/ 1153 h 10000"/>
              <a:gd name="connsiteX291" fmla="*/ 4935 w 10000"/>
              <a:gd name="connsiteY291" fmla="*/ 1222 h 10000"/>
              <a:gd name="connsiteX292" fmla="*/ 5061 w 10000"/>
              <a:gd name="connsiteY292" fmla="*/ 1344 h 10000"/>
              <a:gd name="connsiteX293" fmla="*/ 5074 w 10000"/>
              <a:gd name="connsiteY293" fmla="*/ 1412 h 10000"/>
              <a:gd name="connsiteX294" fmla="*/ 4421 w 10000"/>
              <a:gd name="connsiteY294" fmla="*/ 1813 h 10000"/>
              <a:gd name="connsiteX295" fmla="*/ 4220 w 10000"/>
              <a:gd name="connsiteY295" fmla="*/ 2070 h 10000"/>
              <a:gd name="connsiteX296" fmla="*/ 4003 w 10000"/>
              <a:gd name="connsiteY296" fmla="*/ 2135 h 10000"/>
              <a:gd name="connsiteX297" fmla="*/ 3868 w 10000"/>
              <a:gd name="connsiteY297" fmla="*/ 2131 h 10000"/>
              <a:gd name="connsiteX298" fmla="*/ 3785 w 10000"/>
              <a:gd name="connsiteY298" fmla="*/ 2153 h 10000"/>
              <a:gd name="connsiteX299" fmla="*/ 3558 w 10000"/>
              <a:gd name="connsiteY299" fmla="*/ 2793 h 10000"/>
              <a:gd name="connsiteX300" fmla="*/ 3036 w 10000"/>
              <a:gd name="connsiteY300" fmla="*/ 3166 h 10000"/>
              <a:gd name="connsiteX301" fmla="*/ 3040 w 10000"/>
              <a:gd name="connsiteY301" fmla="*/ 3225 h 10000"/>
              <a:gd name="connsiteX302" fmla="*/ 3271 w 10000"/>
              <a:gd name="connsiteY302" fmla="*/ 3392 h 10000"/>
              <a:gd name="connsiteX303" fmla="*/ 3197 w 10000"/>
              <a:gd name="connsiteY303" fmla="*/ 3573 h 10000"/>
              <a:gd name="connsiteX304" fmla="*/ 3062 w 10000"/>
              <a:gd name="connsiteY304" fmla="*/ 3640 h 10000"/>
              <a:gd name="connsiteX305" fmla="*/ 2657 w 10000"/>
              <a:gd name="connsiteY305" fmla="*/ 3595 h 10000"/>
              <a:gd name="connsiteX306" fmla="*/ 2378 w 10000"/>
              <a:gd name="connsiteY306" fmla="*/ 3620 h 10000"/>
              <a:gd name="connsiteX307" fmla="*/ 2152 w 10000"/>
              <a:gd name="connsiteY307" fmla="*/ 3673 h 10000"/>
              <a:gd name="connsiteX308" fmla="*/ 1790 w 10000"/>
              <a:gd name="connsiteY308" fmla="*/ 3840 h 10000"/>
              <a:gd name="connsiteX309" fmla="*/ 1598 w 10000"/>
              <a:gd name="connsiteY309" fmla="*/ 4042 h 10000"/>
              <a:gd name="connsiteX310" fmla="*/ 1616 w 10000"/>
              <a:gd name="connsiteY310" fmla="*/ 4154 h 10000"/>
              <a:gd name="connsiteX311" fmla="*/ 1681 w 10000"/>
              <a:gd name="connsiteY311" fmla="*/ 4241 h 10000"/>
              <a:gd name="connsiteX312" fmla="*/ 1733 w 10000"/>
              <a:gd name="connsiteY312" fmla="*/ 4276 h 10000"/>
              <a:gd name="connsiteX313" fmla="*/ 1638 w 10000"/>
              <a:gd name="connsiteY313" fmla="*/ 4331 h 10000"/>
              <a:gd name="connsiteX314" fmla="*/ 1433 w 10000"/>
              <a:gd name="connsiteY314" fmla="*/ 4710 h 10000"/>
              <a:gd name="connsiteX315" fmla="*/ 1472 w 10000"/>
              <a:gd name="connsiteY315" fmla="*/ 4732 h 10000"/>
              <a:gd name="connsiteX316" fmla="*/ 1503 w 10000"/>
              <a:gd name="connsiteY316" fmla="*/ 4828 h 10000"/>
              <a:gd name="connsiteX317" fmla="*/ 1407 w 10000"/>
              <a:gd name="connsiteY317" fmla="*/ 5227 h 10000"/>
              <a:gd name="connsiteX318" fmla="*/ 1503 w 10000"/>
              <a:gd name="connsiteY318" fmla="*/ 5329 h 10000"/>
              <a:gd name="connsiteX319" fmla="*/ 1764 w 10000"/>
              <a:gd name="connsiteY319" fmla="*/ 5441 h 10000"/>
              <a:gd name="connsiteX320" fmla="*/ 1777 w 10000"/>
              <a:gd name="connsiteY320" fmla="*/ 5578 h 10000"/>
              <a:gd name="connsiteX321" fmla="*/ 1664 w 10000"/>
              <a:gd name="connsiteY321" fmla="*/ 5690 h 10000"/>
              <a:gd name="connsiteX322" fmla="*/ 1503 w 10000"/>
              <a:gd name="connsiteY322" fmla="*/ 5759 h 10000"/>
              <a:gd name="connsiteX323" fmla="*/ 1289 w 10000"/>
              <a:gd name="connsiteY323" fmla="*/ 5787 h 10000"/>
              <a:gd name="connsiteX324" fmla="*/ 1233 w 10000"/>
              <a:gd name="connsiteY324" fmla="*/ 5826 h 10000"/>
              <a:gd name="connsiteX325" fmla="*/ 1359 w 10000"/>
              <a:gd name="connsiteY325" fmla="*/ 5920 h 10000"/>
              <a:gd name="connsiteX326" fmla="*/ 1429 w 10000"/>
              <a:gd name="connsiteY326" fmla="*/ 6142 h 10000"/>
              <a:gd name="connsiteX327" fmla="*/ 1267 w 10000"/>
              <a:gd name="connsiteY327" fmla="*/ 6333 h 10000"/>
              <a:gd name="connsiteX328" fmla="*/ 1324 w 10000"/>
              <a:gd name="connsiteY328" fmla="*/ 6392 h 10000"/>
              <a:gd name="connsiteX329" fmla="*/ 1272 w 10000"/>
              <a:gd name="connsiteY329" fmla="*/ 6492 h 10000"/>
              <a:gd name="connsiteX330" fmla="*/ 1167 w 10000"/>
              <a:gd name="connsiteY330" fmla="*/ 6561 h 10000"/>
              <a:gd name="connsiteX331" fmla="*/ 758 w 10000"/>
              <a:gd name="connsiteY331" fmla="*/ 6614 h 10000"/>
              <a:gd name="connsiteX332" fmla="*/ 732 w 10000"/>
              <a:gd name="connsiteY332" fmla="*/ 6706 h 10000"/>
              <a:gd name="connsiteX333" fmla="*/ 510 w 10000"/>
              <a:gd name="connsiteY333" fmla="*/ 6843 h 10000"/>
              <a:gd name="connsiteX334" fmla="*/ 540 w 10000"/>
              <a:gd name="connsiteY334" fmla="*/ 7040 h 10000"/>
              <a:gd name="connsiteX335" fmla="*/ 353 w 10000"/>
              <a:gd name="connsiteY335" fmla="*/ 7293 h 10000"/>
              <a:gd name="connsiteX336" fmla="*/ 226 w 10000"/>
              <a:gd name="connsiteY336" fmla="*/ 7323 h 10000"/>
              <a:gd name="connsiteX337" fmla="*/ 174 w 10000"/>
              <a:gd name="connsiteY337" fmla="*/ 7262 h 10000"/>
              <a:gd name="connsiteX338" fmla="*/ 109 w 10000"/>
              <a:gd name="connsiteY338" fmla="*/ 7354 h 10000"/>
              <a:gd name="connsiteX339" fmla="*/ 152 w 10000"/>
              <a:gd name="connsiteY339" fmla="*/ 7197 h 10000"/>
              <a:gd name="connsiteX340" fmla="*/ 126 w 10000"/>
              <a:gd name="connsiteY34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380 w 10000"/>
              <a:gd name="connsiteY210" fmla="*/ 2860 h 10000"/>
              <a:gd name="connsiteX211" fmla="*/ 8253 w 10000"/>
              <a:gd name="connsiteY211" fmla="*/ 2762 h 10000"/>
              <a:gd name="connsiteX212" fmla="*/ 8267 w 10000"/>
              <a:gd name="connsiteY212" fmla="*/ 2748 h 10000"/>
              <a:gd name="connsiteX213" fmla="*/ 8397 w 10000"/>
              <a:gd name="connsiteY213" fmla="*/ 2705 h 10000"/>
              <a:gd name="connsiteX214" fmla="*/ 8402 w 10000"/>
              <a:gd name="connsiteY214" fmla="*/ 2662 h 10000"/>
              <a:gd name="connsiteX215" fmla="*/ 8449 w 10000"/>
              <a:gd name="connsiteY215" fmla="*/ 2656 h 10000"/>
              <a:gd name="connsiteX216" fmla="*/ 8558 w 10000"/>
              <a:gd name="connsiteY216" fmla="*/ 2677 h 10000"/>
              <a:gd name="connsiteX217" fmla="*/ 8593 w 10000"/>
              <a:gd name="connsiteY217" fmla="*/ 2669 h 10000"/>
              <a:gd name="connsiteX218" fmla="*/ 8606 w 10000"/>
              <a:gd name="connsiteY218" fmla="*/ 2630 h 10000"/>
              <a:gd name="connsiteX219" fmla="*/ 8567 w 10000"/>
              <a:gd name="connsiteY219" fmla="*/ 2605 h 10000"/>
              <a:gd name="connsiteX220" fmla="*/ 8685 w 10000"/>
              <a:gd name="connsiteY220" fmla="*/ 2597 h 10000"/>
              <a:gd name="connsiteX221" fmla="*/ 8698 w 10000"/>
              <a:gd name="connsiteY221" fmla="*/ 2565 h 10000"/>
              <a:gd name="connsiteX222" fmla="*/ 8558 w 10000"/>
              <a:gd name="connsiteY222" fmla="*/ 2481 h 10000"/>
              <a:gd name="connsiteX223" fmla="*/ 8558 w 10000"/>
              <a:gd name="connsiteY223" fmla="*/ 2459 h 10000"/>
              <a:gd name="connsiteX224" fmla="*/ 8698 w 10000"/>
              <a:gd name="connsiteY224" fmla="*/ 2504 h 10000"/>
              <a:gd name="connsiteX225" fmla="*/ 8763 w 10000"/>
              <a:gd name="connsiteY225" fmla="*/ 2548 h 10000"/>
              <a:gd name="connsiteX226" fmla="*/ 8815 w 10000"/>
              <a:gd name="connsiteY226" fmla="*/ 2548 h 10000"/>
              <a:gd name="connsiteX227" fmla="*/ 8789 w 10000"/>
              <a:gd name="connsiteY227" fmla="*/ 2457 h 10000"/>
              <a:gd name="connsiteX228" fmla="*/ 8798 w 10000"/>
              <a:gd name="connsiteY228" fmla="*/ 2467 h 10000"/>
              <a:gd name="connsiteX229" fmla="*/ 8841 w 10000"/>
              <a:gd name="connsiteY229" fmla="*/ 2457 h 10000"/>
              <a:gd name="connsiteX230" fmla="*/ 8855 w 10000"/>
              <a:gd name="connsiteY230" fmla="*/ 2341 h 10000"/>
              <a:gd name="connsiteX231" fmla="*/ 8898 w 10000"/>
              <a:gd name="connsiteY231" fmla="*/ 2332 h 10000"/>
              <a:gd name="connsiteX232" fmla="*/ 8946 w 10000"/>
              <a:gd name="connsiteY232" fmla="*/ 2330 h 10000"/>
              <a:gd name="connsiteX233" fmla="*/ 8946 w 10000"/>
              <a:gd name="connsiteY233" fmla="*/ 2361 h 10000"/>
              <a:gd name="connsiteX234" fmla="*/ 8994 w 10000"/>
              <a:gd name="connsiteY234" fmla="*/ 2389 h 10000"/>
              <a:gd name="connsiteX235" fmla="*/ 9051 w 10000"/>
              <a:gd name="connsiteY235" fmla="*/ 2400 h 10000"/>
              <a:gd name="connsiteX236" fmla="*/ 9094 w 10000"/>
              <a:gd name="connsiteY236" fmla="*/ 2324 h 10000"/>
              <a:gd name="connsiteX237" fmla="*/ 9164 w 10000"/>
              <a:gd name="connsiteY237" fmla="*/ 2347 h 10000"/>
              <a:gd name="connsiteX238" fmla="*/ 9247 w 10000"/>
              <a:gd name="connsiteY238" fmla="*/ 2402 h 10000"/>
              <a:gd name="connsiteX239" fmla="*/ 9286 w 10000"/>
              <a:gd name="connsiteY239" fmla="*/ 2400 h 10000"/>
              <a:gd name="connsiteX240" fmla="*/ 9355 w 10000"/>
              <a:gd name="connsiteY240" fmla="*/ 2428 h 10000"/>
              <a:gd name="connsiteX241" fmla="*/ 9408 w 10000"/>
              <a:gd name="connsiteY241" fmla="*/ 2359 h 10000"/>
              <a:gd name="connsiteX242" fmla="*/ 9717 w 10000"/>
              <a:gd name="connsiteY242" fmla="*/ 2343 h 10000"/>
              <a:gd name="connsiteX243" fmla="*/ 9830 w 10000"/>
              <a:gd name="connsiteY243" fmla="*/ 2369 h 10000"/>
              <a:gd name="connsiteX244" fmla="*/ 9909 w 10000"/>
              <a:gd name="connsiteY244" fmla="*/ 2410 h 10000"/>
              <a:gd name="connsiteX245" fmla="*/ 9948 w 10000"/>
              <a:gd name="connsiteY245" fmla="*/ 2365 h 10000"/>
              <a:gd name="connsiteX246" fmla="*/ 10000 w 10000"/>
              <a:gd name="connsiteY246" fmla="*/ 2349 h 10000"/>
              <a:gd name="connsiteX247" fmla="*/ 9704 w 10000"/>
              <a:gd name="connsiteY247" fmla="*/ 1992 h 10000"/>
              <a:gd name="connsiteX248" fmla="*/ 9743 w 10000"/>
              <a:gd name="connsiteY248" fmla="*/ 1897 h 10000"/>
              <a:gd name="connsiteX249" fmla="*/ 9830 w 10000"/>
              <a:gd name="connsiteY249" fmla="*/ 1819 h 10000"/>
              <a:gd name="connsiteX250" fmla="*/ 9830 w 10000"/>
              <a:gd name="connsiteY250" fmla="*/ 1699 h 10000"/>
              <a:gd name="connsiteX251" fmla="*/ 9556 w 10000"/>
              <a:gd name="connsiteY251" fmla="*/ 1465 h 10000"/>
              <a:gd name="connsiteX252" fmla="*/ 9512 w 10000"/>
              <a:gd name="connsiteY252" fmla="*/ 1379 h 10000"/>
              <a:gd name="connsiteX253" fmla="*/ 9573 w 10000"/>
              <a:gd name="connsiteY253" fmla="*/ 1271 h 10000"/>
              <a:gd name="connsiteX254" fmla="*/ 9543 w 10000"/>
              <a:gd name="connsiteY254" fmla="*/ 1194 h 10000"/>
              <a:gd name="connsiteX255" fmla="*/ 9486 w 10000"/>
              <a:gd name="connsiteY255" fmla="*/ 1159 h 10000"/>
              <a:gd name="connsiteX256" fmla="*/ 9438 w 10000"/>
              <a:gd name="connsiteY256" fmla="*/ 978 h 10000"/>
              <a:gd name="connsiteX257" fmla="*/ 9495 w 10000"/>
              <a:gd name="connsiteY257" fmla="*/ 831 h 10000"/>
              <a:gd name="connsiteX258" fmla="*/ 9077 w 10000"/>
              <a:gd name="connsiteY258" fmla="*/ 517 h 10000"/>
              <a:gd name="connsiteX259" fmla="*/ 8872 w 10000"/>
              <a:gd name="connsiteY259" fmla="*/ 440 h 10000"/>
              <a:gd name="connsiteX260" fmla="*/ 8493 w 10000"/>
              <a:gd name="connsiteY260" fmla="*/ 389 h 10000"/>
              <a:gd name="connsiteX261" fmla="*/ 7709 w 10000"/>
              <a:gd name="connsiteY261" fmla="*/ 26 h 10000"/>
              <a:gd name="connsiteX262" fmla="*/ 7683 w 10000"/>
              <a:gd name="connsiteY262" fmla="*/ 2 h 10000"/>
              <a:gd name="connsiteX263" fmla="*/ 7417 w 10000"/>
              <a:gd name="connsiteY263" fmla="*/ 0 h 10000"/>
              <a:gd name="connsiteX264" fmla="*/ 7356 w 10000"/>
              <a:gd name="connsiteY264" fmla="*/ 14 h 10000"/>
              <a:gd name="connsiteX265" fmla="*/ 7369 w 10000"/>
              <a:gd name="connsiteY265" fmla="*/ 61 h 10000"/>
              <a:gd name="connsiteX266" fmla="*/ 7422 w 10000"/>
              <a:gd name="connsiteY266" fmla="*/ 86 h 10000"/>
              <a:gd name="connsiteX267" fmla="*/ 7435 w 10000"/>
              <a:gd name="connsiteY267" fmla="*/ 139 h 10000"/>
              <a:gd name="connsiteX268" fmla="*/ 7417 w 10000"/>
              <a:gd name="connsiteY268" fmla="*/ 181 h 10000"/>
              <a:gd name="connsiteX269" fmla="*/ 7369 w 10000"/>
              <a:gd name="connsiteY269" fmla="*/ 208 h 10000"/>
              <a:gd name="connsiteX270" fmla="*/ 7334 w 10000"/>
              <a:gd name="connsiteY270" fmla="*/ 283 h 10000"/>
              <a:gd name="connsiteX271" fmla="*/ 7269 w 10000"/>
              <a:gd name="connsiteY271" fmla="*/ 336 h 10000"/>
              <a:gd name="connsiteX272" fmla="*/ 7282 w 10000"/>
              <a:gd name="connsiteY272" fmla="*/ 387 h 10000"/>
              <a:gd name="connsiteX273" fmla="*/ 7382 w 10000"/>
              <a:gd name="connsiteY273" fmla="*/ 434 h 10000"/>
              <a:gd name="connsiteX274" fmla="*/ 7317 w 10000"/>
              <a:gd name="connsiteY274" fmla="*/ 475 h 10000"/>
              <a:gd name="connsiteX275" fmla="*/ 7221 w 10000"/>
              <a:gd name="connsiteY275" fmla="*/ 485 h 10000"/>
              <a:gd name="connsiteX276" fmla="*/ 6420 w 10000"/>
              <a:gd name="connsiteY276" fmla="*/ 387 h 10000"/>
              <a:gd name="connsiteX277" fmla="*/ 6324 w 10000"/>
              <a:gd name="connsiteY277" fmla="*/ 395 h 10000"/>
              <a:gd name="connsiteX278" fmla="*/ 6267 w 10000"/>
              <a:gd name="connsiteY278" fmla="*/ 414 h 10000"/>
              <a:gd name="connsiteX279" fmla="*/ 6211 w 10000"/>
              <a:gd name="connsiteY279" fmla="*/ 462 h 10000"/>
              <a:gd name="connsiteX280" fmla="*/ 6220 w 10000"/>
              <a:gd name="connsiteY280" fmla="*/ 581 h 10000"/>
              <a:gd name="connsiteX281" fmla="*/ 6132 w 10000"/>
              <a:gd name="connsiteY281" fmla="*/ 735 h 10000"/>
              <a:gd name="connsiteX282" fmla="*/ 6024 w 10000"/>
              <a:gd name="connsiteY282" fmla="*/ 815 h 10000"/>
              <a:gd name="connsiteX283" fmla="*/ 5980 w 10000"/>
              <a:gd name="connsiteY283" fmla="*/ 805 h 10000"/>
              <a:gd name="connsiteX284" fmla="*/ 5880 w 10000"/>
              <a:gd name="connsiteY284" fmla="*/ 739 h 10000"/>
              <a:gd name="connsiteX285" fmla="*/ 5753 w 10000"/>
              <a:gd name="connsiteY285" fmla="*/ 705 h 10000"/>
              <a:gd name="connsiteX286" fmla="*/ 5618 w 10000"/>
              <a:gd name="connsiteY286" fmla="*/ 715 h 10000"/>
              <a:gd name="connsiteX287" fmla="*/ 5301 w 10000"/>
              <a:gd name="connsiteY287" fmla="*/ 866 h 10000"/>
              <a:gd name="connsiteX288" fmla="*/ 5218 w 10000"/>
              <a:gd name="connsiteY288" fmla="*/ 1017 h 10000"/>
              <a:gd name="connsiteX289" fmla="*/ 4978 w 10000"/>
              <a:gd name="connsiteY289" fmla="*/ 1153 h 10000"/>
              <a:gd name="connsiteX290" fmla="*/ 4935 w 10000"/>
              <a:gd name="connsiteY290" fmla="*/ 1222 h 10000"/>
              <a:gd name="connsiteX291" fmla="*/ 5061 w 10000"/>
              <a:gd name="connsiteY291" fmla="*/ 1344 h 10000"/>
              <a:gd name="connsiteX292" fmla="*/ 5074 w 10000"/>
              <a:gd name="connsiteY292" fmla="*/ 1412 h 10000"/>
              <a:gd name="connsiteX293" fmla="*/ 4421 w 10000"/>
              <a:gd name="connsiteY293" fmla="*/ 1813 h 10000"/>
              <a:gd name="connsiteX294" fmla="*/ 4220 w 10000"/>
              <a:gd name="connsiteY294" fmla="*/ 2070 h 10000"/>
              <a:gd name="connsiteX295" fmla="*/ 4003 w 10000"/>
              <a:gd name="connsiteY295" fmla="*/ 2135 h 10000"/>
              <a:gd name="connsiteX296" fmla="*/ 3868 w 10000"/>
              <a:gd name="connsiteY296" fmla="*/ 2131 h 10000"/>
              <a:gd name="connsiteX297" fmla="*/ 3785 w 10000"/>
              <a:gd name="connsiteY297" fmla="*/ 2153 h 10000"/>
              <a:gd name="connsiteX298" fmla="*/ 3558 w 10000"/>
              <a:gd name="connsiteY298" fmla="*/ 2793 h 10000"/>
              <a:gd name="connsiteX299" fmla="*/ 3036 w 10000"/>
              <a:gd name="connsiteY299" fmla="*/ 3166 h 10000"/>
              <a:gd name="connsiteX300" fmla="*/ 3040 w 10000"/>
              <a:gd name="connsiteY300" fmla="*/ 3225 h 10000"/>
              <a:gd name="connsiteX301" fmla="*/ 3271 w 10000"/>
              <a:gd name="connsiteY301" fmla="*/ 3392 h 10000"/>
              <a:gd name="connsiteX302" fmla="*/ 3197 w 10000"/>
              <a:gd name="connsiteY302" fmla="*/ 3573 h 10000"/>
              <a:gd name="connsiteX303" fmla="*/ 3062 w 10000"/>
              <a:gd name="connsiteY303" fmla="*/ 3640 h 10000"/>
              <a:gd name="connsiteX304" fmla="*/ 2657 w 10000"/>
              <a:gd name="connsiteY304" fmla="*/ 3595 h 10000"/>
              <a:gd name="connsiteX305" fmla="*/ 2378 w 10000"/>
              <a:gd name="connsiteY305" fmla="*/ 3620 h 10000"/>
              <a:gd name="connsiteX306" fmla="*/ 2152 w 10000"/>
              <a:gd name="connsiteY306" fmla="*/ 3673 h 10000"/>
              <a:gd name="connsiteX307" fmla="*/ 1790 w 10000"/>
              <a:gd name="connsiteY307" fmla="*/ 3840 h 10000"/>
              <a:gd name="connsiteX308" fmla="*/ 1598 w 10000"/>
              <a:gd name="connsiteY308" fmla="*/ 4042 h 10000"/>
              <a:gd name="connsiteX309" fmla="*/ 1616 w 10000"/>
              <a:gd name="connsiteY309" fmla="*/ 4154 h 10000"/>
              <a:gd name="connsiteX310" fmla="*/ 1681 w 10000"/>
              <a:gd name="connsiteY310" fmla="*/ 4241 h 10000"/>
              <a:gd name="connsiteX311" fmla="*/ 1733 w 10000"/>
              <a:gd name="connsiteY311" fmla="*/ 4276 h 10000"/>
              <a:gd name="connsiteX312" fmla="*/ 1638 w 10000"/>
              <a:gd name="connsiteY312" fmla="*/ 4331 h 10000"/>
              <a:gd name="connsiteX313" fmla="*/ 1433 w 10000"/>
              <a:gd name="connsiteY313" fmla="*/ 4710 h 10000"/>
              <a:gd name="connsiteX314" fmla="*/ 1472 w 10000"/>
              <a:gd name="connsiteY314" fmla="*/ 4732 h 10000"/>
              <a:gd name="connsiteX315" fmla="*/ 1503 w 10000"/>
              <a:gd name="connsiteY315" fmla="*/ 4828 h 10000"/>
              <a:gd name="connsiteX316" fmla="*/ 1407 w 10000"/>
              <a:gd name="connsiteY316" fmla="*/ 5227 h 10000"/>
              <a:gd name="connsiteX317" fmla="*/ 1503 w 10000"/>
              <a:gd name="connsiteY317" fmla="*/ 5329 h 10000"/>
              <a:gd name="connsiteX318" fmla="*/ 1764 w 10000"/>
              <a:gd name="connsiteY318" fmla="*/ 5441 h 10000"/>
              <a:gd name="connsiteX319" fmla="*/ 1777 w 10000"/>
              <a:gd name="connsiteY319" fmla="*/ 5578 h 10000"/>
              <a:gd name="connsiteX320" fmla="*/ 1664 w 10000"/>
              <a:gd name="connsiteY320" fmla="*/ 5690 h 10000"/>
              <a:gd name="connsiteX321" fmla="*/ 1503 w 10000"/>
              <a:gd name="connsiteY321" fmla="*/ 5759 h 10000"/>
              <a:gd name="connsiteX322" fmla="*/ 1289 w 10000"/>
              <a:gd name="connsiteY322" fmla="*/ 5787 h 10000"/>
              <a:gd name="connsiteX323" fmla="*/ 1233 w 10000"/>
              <a:gd name="connsiteY323" fmla="*/ 5826 h 10000"/>
              <a:gd name="connsiteX324" fmla="*/ 1359 w 10000"/>
              <a:gd name="connsiteY324" fmla="*/ 5920 h 10000"/>
              <a:gd name="connsiteX325" fmla="*/ 1429 w 10000"/>
              <a:gd name="connsiteY325" fmla="*/ 6142 h 10000"/>
              <a:gd name="connsiteX326" fmla="*/ 1267 w 10000"/>
              <a:gd name="connsiteY326" fmla="*/ 6333 h 10000"/>
              <a:gd name="connsiteX327" fmla="*/ 1324 w 10000"/>
              <a:gd name="connsiteY327" fmla="*/ 6392 h 10000"/>
              <a:gd name="connsiteX328" fmla="*/ 1272 w 10000"/>
              <a:gd name="connsiteY328" fmla="*/ 6492 h 10000"/>
              <a:gd name="connsiteX329" fmla="*/ 1167 w 10000"/>
              <a:gd name="connsiteY329" fmla="*/ 6561 h 10000"/>
              <a:gd name="connsiteX330" fmla="*/ 758 w 10000"/>
              <a:gd name="connsiteY330" fmla="*/ 6614 h 10000"/>
              <a:gd name="connsiteX331" fmla="*/ 732 w 10000"/>
              <a:gd name="connsiteY331" fmla="*/ 6706 h 10000"/>
              <a:gd name="connsiteX332" fmla="*/ 510 w 10000"/>
              <a:gd name="connsiteY332" fmla="*/ 6843 h 10000"/>
              <a:gd name="connsiteX333" fmla="*/ 540 w 10000"/>
              <a:gd name="connsiteY333" fmla="*/ 7040 h 10000"/>
              <a:gd name="connsiteX334" fmla="*/ 353 w 10000"/>
              <a:gd name="connsiteY334" fmla="*/ 7293 h 10000"/>
              <a:gd name="connsiteX335" fmla="*/ 226 w 10000"/>
              <a:gd name="connsiteY335" fmla="*/ 7323 h 10000"/>
              <a:gd name="connsiteX336" fmla="*/ 174 w 10000"/>
              <a:gd name="connsiteY336" fmla="*/ 7262 h 10000"/>
              <a:gd name="connsiteX337" fmla="*/ 109 w 10000"/>
              <a:gd name="connsiteY337" fmla="*/ 7354 h 10000"/>
              <a:gd name="connsiteX338" fmla="*/ 152 w 10000"/>
              <a:gd name="connsiteY338" fmla="*/ 7197 h 10000"/>
              <a:gd name="connsiteX339" fmla="*/ 126 w 10000"/>
              <a:gd name="connsiteY33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380 w 10000"/>
              <a:gd name="connsiteY209" fmla="*/ 2860 h 10000"/>
              <a:gd name="connsiteX210" fmla="*/ 8253 w 10000"/>
              <a:gd name="connsiteY210" fmla="*/ 2762 h 10000"/>
              <a:gd name="connsiteX211" fmla="*/ 8267 w 10000"/>
              <a:gd name="connsiteY211" fmla="*/ 2748 h 10000"/>
              <a:gd name="connsiteX212" fmla="*/ 8397 w 10000"/>
              <a:gd name="connsiteY212" fmla="*/ 2705 h 10000"/>
              <a:gd name="connsiteX213" fmla="*/ 8402 w 10000"/>
              <a:gd name="connsiteY213" fmla="*/ 2662 h 10000"/>
              <a:gd name="connsiteX214" fmla="*/ 8449 w 10000"/>
              <a:gd name="connsiteY214" fmla="*/ 2656 h 10000"/>
              <a:gd name="connsiteX215" fmla="*/ 8558 w 10000"/>
              <a:gd name="connsiteY215" fmla="*/ 2677 h 10000"/>
              <a:gd name="connsiteX216" fmla="*/ 8593 w 10000"/>
              <a:gd name="connsiteY216" fmla="*/ 2669 h 10000"/>
              <a:gd name="connsiteX217" fmla="*/ 8606 w 10000"/>
              <a:gd name="connsiteY217" fmla="*/ 2630 h 10000"/>
              <a:gd name="connsiteX218" fmla="*/ 8567 w 10000"/>
              <a:gd name="connsiteY218" fmla="*/ 2605 h 10000"/>
              <a:gd name="connsiteX219" fmla="*/ 8685 w 10000"/>
              <a:gd name="connsiteY219" fmla="*/ 2597 h 10000"/>
              <a:gd name="connsiteX220" fmla="*/ 8698 w 10000"/>
              <a:gd name="connsiteY220" fmla="*/ 2565 h 10000"/>
              <a:gd name="connsiteX221" fmla="*/ 8558 w 10000"/>
              <a:gd name="connsiteY221" fmla="*/ 2481 h 10000"/>
              <a:gd name="connsiteX222" fmla="*/ 8558 w 10000"/>
              <a:gd name="connsiteY222" fmla="*/ 2459 h 10000"/>
              <a:gd name="connsiteX223" fmla="*/ 8698 w 10000"/>
              <a:gd name="connsiteY223" fmla="*/ 2504 h 10000"/>
              <a:gd name="connsiteX224" fmla="*/ 8763 w 10000"/>
              <a:gd name="connsiteY224" fmla="*/ 2548 h 10000"/>
              <a:gd name="connsiteX225" fmla="*/ 8815 w 10000"/>
              <a:gd name="connsiteY225" fmla="*/ 2548 h 10000"/>
              <a:gd name="connsiteX226" fmla="*/ 8789 w 10000"/>
              <a:gd name="connsiteY226" fmla="*/ 2457 h 10000"/>
              <a:gd name="connsiteX227" fmla="*/ 8798 w 10000"/>
              <a:gd name="connsiteY227" fmla="*/ 2467 h 10000"/>
              <a:gd name="connsiteX228" fmla="*/ 8841 w 10000"/>
              <a:gd name="connsiteY228" fmla="*/ 2457 h 10000"/>
              <a:gd name="connsiteX229" fmla="*/ 8855 w 10000"/>
              <a:gd name="connsiteY229" fmla="*/ 2341 h 10000"/>
              <a:gd name="connsiteX230" fmla="*/ 8898 w 10000"/>
              <a:gd name="connsiteY230" fmla="*/ 2332 h 10000"/>
              <a:gd name="connsiteX231" fmla="*/ 8946 w 10000"/>
              <a:gd name="connsiteY231" fmla="*/ 2330 h 10000"/>
              <a:gd name="connsiteX232" fmla="*/ 8946 w 10000"/>
              <a:gd name="connsiteY232" fmla="*/ 2361 h 10000"/>
              <a:gd name="connsiteX233" fmla="*/ 8994 w 10000"/>
              <a:gd name="connsiteY233" fmla="*/ 2389 h 10000"/>
              <a:gd name="connsiteX234" fmla="*/ 9051 w 10000"/>
              <a:gd name="connsiteY234" fmla="*/ 2400 h 10000"/>
              <a:gd name="connsiteX235" fmla="*/ 9094 w 10000"/>
              <a:gd name="connsiteY235" fmla="*/ 2324 h 10000"/>
              <a:gd name="connsiteX236" fmla="*/ 9164 w 10000"/>
              <a:gd name="connsiteY236" fmla="*/ 2347 h 10000"/>
              <a:gd name="connsiteX237" fmla="*/ 9247 w 10000"/>
              <a:gd name="connsiteY237" fmla="*/ 2402 h 10000"/>
              <a:gd name="connsiteX238" fmla="*/ 9286 w 10000"/>
              <a:gd name="connsiteY238" fmla="*/ 2400 h 10000"/>
              <a:gd name="connsiteX239" fmla="*/ 9355 w 10000"/>
              <a:gd name="connsiteY239" fmla="*/ 2428 h 10000"/>
              <a:gd name="connsiteX240" fmla="*/ 9408 w 10000"/>
              <a:gd name="connsiteY240" fmla="*/ 2359 h 10000"/>
              <a:gd name="connsiteX241" fmla="*/ 9717 w 10000"/>
              <a:gd name="connsiteY241" fmla="*/ 2343 h 10000"/>
              <a:gd name="connsiteX242" fmla="*/ 9830 w 10000"/>
              <a:gd name="connsiteY242" fmla="*/ 2369 h 10000"/>
              <a:gd name="connsiteX243" fmla="*/ 9909 w 10000"/>
              <a:gd name="connsiteY243" fmla="*/ 2410 h 10000"/>
              <a:gd name="connsiteX244" fmla="*/ 9948 w 10000"/>
              <a:gd name="connsiteY244" fmla="*/ 2365 h 10000"/>
              <a:gd name="connsiteX245" fmla="*/ 10000 w 10000"/>
              <a:gd name="connsiteY245" fmla="*/ 2349 h 10000"/>
              <a:gd name="connsiteX246" fmla="*/ 9704 w 10000"/>
              <a:gd name="connsiteY246" fmla="*/ 1992 h 10000"/>
              <a:gd name="connsiteX247" fmla="*/ 9743 w 10000"/>
              <a:gd name="connsiteY247" fmla="*/ 1897 h 10000"/>
              <a:gd name="connsiteX248" fmla="*/ 9830 w 10000"/>
              <a:gd name="connsiteY248" fmla="*/ 1819 h 10000"/>
              <a:gd name="connsiteX249" fmla="*/ 9830 w 10000"/>
              <a:gd name="connsiteY249" fmla="*/ 1699 h 10000"/>
              <a:gd name="connsiteX250" fmla="*/ 9556 w 10000"/>
              <a:gd name="connsiteY250" fmla="*/ 1465 h 10000"/>
              <a:gd name="connsiteX251" fmla="*/ 9512 w 10000"/>
              <a:gd name="connsiteY251" fmla="*/ 1379 h 10000"/>
              <a:gd name="connsiteX252" fmla="*/ 9573 w 10000"/>
              <a:gd name="connsiteY252" fmla="*/ 1271 h 10000"/>
              <a:gd name="connsiteX253" fmla="*/ 9543 w 10000"/>
              <a:gd name="connsiteY253" fmla="*/ 1194 h 10000"/>
              <a:gd name="connsiteX254" fmla="*/ 9486 w 10000"/>
              <a:gd name="connsiteY254" fmla="*/ 1159 h 10000"/>
              <a:gd name="connsiteX255" fmla="*/ 9438 w 10000"/>
              <a:gd name="connsiteY255" fmla="*/ 978 h 10000"/>
              <a:gd name="connsiteX256" fmla="*/ 9495 w 10000"/>
              <a:gd name="connsiteY256" fmla="*/ 831 h 10000"/>
              <a:gd name="connsiteX257" fmla="*/ 9077 w 10000"/>
              <a:gd name="connsiteY257" fmla="*/ 517 h 10000"/>
              <a:gd name="connsiteX258" fmla="*/ 8872 w 10000"/>
              <a:gd name="connsiteY258" fmla="*/ 440 h 10000"/>
              <a:gd name="connsiteX259" fmla="*/ 8493 w 10000"/>
              <a:gd name="connsiteY259" fmla="*/ 389 h 10000"/>
              <a:gd name="connsiteX260" fmla="*/ 7709 w 10000"/>
              <a:gd name="connsiteY260" fmla="*/ 26 h 10000"/>
              <a:gd name="connsiteX261" fmla="*/ 7683 w 10000"/>
              <a:gd name="connsiteY261" fmla="*/ 2 h 10000"/>
              <a:gd name="connsiteX262" fmla="*/ 7417 w 10000"/>
              <a:gd name="connsiteY262" fmla="*/ 0 h 10000"/>
              <a:gd name="connsiteX263" fmla="*/ 7356 w 10000"/>
              <a:gd name="connsiteY263" fmla="*/ 14 h 10000"/>
              <a:gd name="connsiteX264" fmla="*/ 7369 w 10000"/>
              <a:gd name="connsiteY264" fmla="*/ 61 h 10000"/>
              <a:gd name="connsiteX265" fmla="*/ 7422 w 10000"/>
              <a:gd name="connsiteY265" fmla="*/ 86 h 10000"/>
              <a:gd name="connsiteX266" fmla="*/ 7435 w 10000"/>
              <a:gd name="connsiteY266" fmla="*/ 139 h 10000"/>
              <a:gd name="connsiteX267" fmla="*/ 7417 w 10000"/>
              <a:gd name="connsiteY267" fmla="*/ 181 h 10000"/>
              <a:gd name="connsiteX268" fmla="*/ 7369 w 10000"/>
              <a:gd name="connsiteY268" fmla="*/ 208 h 10000"/>
              <a:gd name="connsiteX269" fmla="*/ 7334 w 10000"/>
              <a:gd name="connsiteY269" fmla="*/ 283 h 10000"/>
              <a:gd name="connsiteX270" fmla="*/ 7269 w 10000"/>
              <a:gd name="connsiteY270" fmla="*/ 336 h 10000"/>
              <a:gd name="connsiteX271" fmla="*/ 7282 w 10000"/>
              <a:gd name="connsiteY271" fmla="*/ 387 h 10000"/>
              <a:gd name="connsiteX272" fmla="*/ 7382 w 10000"/>
              <a:gd name="connsiteY272" fmla="*/ 434 h 10000"/>
              <a:gd name="connsiteX273" fmla="*/ 7317 w 10000"/>
              <a:gd name="connsiteY273" fmla="*/ 475 h 10000"/>
              <a:gd name="connsiteX274" fmla="*/ 7221 w 10000"/>
              <a:gd name="connsiteY274" fmla="*/ 485 h 10000"/>
              <a:gd name="connsiteX275" fmla="*/ 6420 w 10000"/>
              <a:gd name="connsiteY275" fmla="*/ 387 h 10000"/>
              <a:gd name="connsiteX276" fmla="*/ 6324 w 10000"/>
              <a:gd name="connsiteY276" fmla="*/ 395 h 10000"/>
              <a:gd name="connsiteX277" fmla="*/ 6267 w 10000"/>
              <a:gd name="connsiteY277" fmla="*/ 414 h 10000"/>
              <a:gd name="connsiteX278" fmla="*/ 6211 w 10000"/>
              <a:gd name="connsiteY278" fmla="*/ 462 h 10000"/>
              <a:gd name="connsiteX279" fmla="*/ 6220 w 10000"/>
              <a:gd name="connsiteY279" fmla="*/ 581 h 10000"/>
              <a:gd name="connsiteX280" fmla="*/ 6132 w 10000"/>
              <a:gd name="connsiteY280" fmla="*/ 735 h 10000"/>
              <a:gd name="connsiteX281" fmla="*/ 6024 w 10000"/>
              <a:gd name="connsiteY281" fmla="*/ 815 h 10000"/>
              <a:gd name="connsiteX282" fmla="*/ 5980 w 10000"/>
              <a:gd name="connsiteY282" fmla="*/ 805 h 10000"/>
              <a:gd name="connsiteX283" fmla="*/ 5880 w 10000"/>
              <a:gd name="connsiteY283" fmla="*/ 739 h 10000"/>
              <a:gd name="connsiteX284" fmla="*/ 5753 w 10000"/>
              <a:gd name="connsiteY284" fmla="*/ 705 h 10000"/>
              <a:gd name="connsiteX285" fmla="*/ 5618 w 10000"/>
              <a:gd name="connsiteY285" fmla="*/ 715 h 10000"/>
              <a:gd name="connsiteX286" fmla="*/ 5301 w 10000"/>
              <a:gd name="connsiteY286" fmla="*/ 866 h 10000"/>
              <a:gd name="connsiteX287" fmla="*/ 5218 w 10000"/>
              <a:gd name="connsiteY287" fmla="*/ 1017 h 10000"/>
              <a:gd name="connsiteX288" fmla="*/ 4978 w 10000"/>
              <a:gd name="connsiteY288" fmla="*/ 1153 h 10000"/>
              <a:gd name="connsiteX289" fmla="*/ 4935 w 10000"/>
              <a:gd name="connsiteY289" fmla="*/ 1222 h 10000"/>
              <a:gd name="connsiteX290" fmla="*/ 5061 w 10000"/>
              <a:gd name="connsiteY290" fmla="*/ 1344 h 10000"/>
              <a:gd name="connsiteX291" fmla="*/ 5074 w 10000"/>
              <a:gd name="connsiteY291" fmla="*/ 1412 h 10000"/>
              <a:gd name="connsiteX292" fmla="*/ 4421 w 10000"/>
              <a:gd name="connsiteY292" fmla="*/ 1813 h 10000"/>
              <a:gd name="connsiteX293" fmla="*/ 4220 w 10000"/>
              <a:gd name="connsiteY293" fmla="*/ 2070 h 10000"/>
              <a:gd name="connsiteX294" fmla="*/ 4003 w 10000"/>
              <a:gd name="connsiteY294" fmla="*/ 2135 h 10000"/>
              <a:gd name="connsiteX295" fmla="*/ 3868 w 10000"/>
              <a:gd name="connsiteY295" fmla="*/ 2131 h 10000"/>
              <a:gd name="connsiteX296" fmla="*/ 3785 w 10000"/>
              <a:gd name="connsiteY296" fmla="*/ 2153 h 10000"/>
              <a:gd name="connsiteX297" fmla="*/ 3558 w 10000"/>
              <a:gd name="connsiteY297" fmla="*/ 2793 h 10000"/>
              <a:gd name="connsiteX298" fmla="*/ 3036 w 10000"/>
              <a:gd name="connsiteY298" fmla="*/ 3166 h 10000"/>
              <a:gd name="connsiteX299" fmla="*/ 3040 w 10000"/>
              <a:gd name="connsiteY299" fmla="*/ 3225 h 10000"/>
              <a:gd name="connsiteX300" fmla="*/ 3271 w 10000"/>
              <a:gd name="connsiteY300" fmla="*/ 3392 h 10000"/>
              <a:gd name="connsiteX301" fmla="*/ 3197 w 10000"/>
              <a:gd name="connsiteY301" fmla="*/ 3573 h 10000"/>
              <a:gd name="connsiteX302" fmla="*/ 3062 w 10000"/>
              <a:gd name="connsiteY302" fmla="*/ 3640 h 10000"/>
              <a:gd name="connsiteX303" fmla="*/ 2657 w 10000"/>
              <a:gd name="connsiteY303" fmla="*/ 3595 h 10000"/>
              <a:gd name="connsiteX304" fmla="*/ 2378 w 10000"/>
              <a:gd name="connsiteY304" fmla="*/ 3620 h 10000"/>
              <a:gd name="connsiteX305" fmla="*/ 2152 w 10000"/>
              <a:gd name="connsiteY305" fmla="*/ 3673 h 10000"/>
              <a:gd name="connsiteX306" fmla="*/ 1790 w 10000"/>
              <a:gd name="connsiteY306" fmla="*/ 3840 h 10000"/>
              <a:gd name="connsiteX307" fmla="*/ 1598 w 10000"/>
              <a:gd name="connsiteY307" fmla="*/ 4042 h 10000"/>
              <a:gd name="connsiteX308" fmla="*/ 1616 w 10000"/>
              <a:gd name="connsiteY308" fmla="*/ 4154 h 10000"/>
              <a:gd name="connsiteX309" fmla="*/ 1681 w 10000"/>
              <a:gd name="connsiteY309" fmla="*/ 4241 h 10000"/>
              <a:gd name="connsiteX310" fmla="*/ 1733 w 10000"/>
              <a:gd name="connsiteY310" fmla="*/ 4276 h 10000"/>
              <a:gd name="connsiteX311" fmla="*/ 1638 w 10000"/>
              <a:gd name="connsiteY311" fmla="*/ 4331 h 10000"/>
              <a:gd name="connsiteX312" fmla="*/ 1433 w 10000"/>
              <a:gd name="connsiteY312" fmla="*/ 4710 h 10000"/>
              <a:gd name="connsiteX313" fmla="*/ 1472 w 10000"/>
              <a:gd name="connsiteY313" fmla="*/ 4732 h 10000"/>
              <a:gd name="connsiteX314" fmla="*/ 1503 w 10000"/>
              <a:gd name="connsiteY314" fmla="*/ 4828 h 10000"/>
              <a:gd name="connsiteX315" fmla="*/ 1407 w 10000"/>
              <a:gd name="connsiteY315" fmla="*/ 5227 h 10000"/>
              <a:gd name="connsiteX316" fmla="*/ 1503 w 10000"/>
              <a:gd name="connsiteY316" fmla="*/ 5329 h 10000"/>
              <a:gd name="connsiteX317" fmla="*/ 1764 w 10000"/>
              <a:gd name="connsiteY317" fmla="*/ 5441 h 10000"/>
              <a:gd name="connsiteX318" fmla="*/ 1777 w 10000"/>
              <a:gd name="connsiteY318" fmla="*/ 5578 h 10000"/>
              <a:gd name="connsiteX319" fmla="*/ 1664 w 10000"/>
              <a:gd name="connsiteY319" fmla="*/ 5690 h 10000"/>
              <a:gd name="connsiteX320" fmla="*/ 1503 w 10000"/>
              <a:gd name="connsiteY320" fmla="*/ 5759 h 10000"/>
              <a:gd name="connsiteX321" fmla="*/ 1289 w 10000"/>
              <a:gd name="connsiteY321" fmla="*/ 5787 h 10000"/>
              <a:gd name="connsiteX322" fmla="*/ 1233 w 10000"/>
              <a:gd name="connsiteY322" fmla="*/ 5826 h 10000"/>
              <a:gd name="connsiteX323" fmla="*/ 1359 w 10000"/>
              <a:gd name="connsiteY323" fmla="*/ 5920 h 10000"/>
              <a:gd name="connsiteX324" fmla="*/ 1429 w 10000"/>
              <a:gd name="connsiteY324" fmla="*/ 6142 h 10000"/>
              <a:gd name="connsiteX325" fmla="*/ 1267 w 10000"/>
              <a:gd name="connsiteY325" fmla="*/ 6333 h 10000"/>
              <a:gd name="connsiteX326" fmla="*/ 1324 w 10000"/>
              <a:gd name="connsiteY326" fmla="*/ 6392 h 10000"/>
              <a:gd name="connsiteX327" fmla="*/ 1272 w 10000"/>
              <a:gd name="connsiteY327" fmla="*/ 6492 h 10000"/>
              <a:gd name="connsiteX328" fmla="*/ 1167 w 10000"/>
              <a:gd name="connsiteY328" fmla="*/ 6561 h 10000"/>
              <a:gd name="connsiteX329" fmla="*/ 758 w 10000"/>
              <a:gd name="connsiteY329" fmla="*/ 6614 h 10000"/>
              <a:gd name="connsiteX330" fmla="*/ 732 w 10000"/>
              <a:gd name="connsiteY330" fmla="*/ 6706 h 10000"/>
              <a:gd name="connsiteX331" fmla="*/ 510 w 10000"/>
              <a:gd name="connsiteY331" fmla="*/ 6843 h 10000"/>
              <a:gd name="connsiteX332" fmla="*/ 540 w 10000"/>
              <a:gd name="connsiteY332" fmla="*/ 7040 h 10000"/>
              <a:gd name="connsiteX333" fmla="*/ 353 w 10000"/>
              <a:gd name="connsiteY333" fmla="*/ 7293 h 10000"/>
              <a:gd name="connsiteX334" fmla="*/ 226 w 10000"/>
              <a:gd name="connsiteY334" fmla="*/ 7323 h 10000"/>
              <a:gd name="connsiteX335" fmla="*/ 174 w 10000"/>
              <a:gd name="connsiteY335" fmla="*/ 7262 h 10000"/>
              <a:gd name="connsiteX336" fmla="*/ 109 w 10000"/>
              <a:gd name="connsiteY336" fmla="*/ 7354 h 10000"/>
              <a:gd name="connsiteX337" fmla="*/ 152 w 10000"/>
              <a:gd name="connsiteY337" fmla="*/ 7197 h 10000"/>
              <a:gd name="connsiteX338" fmla="*/ 126 w 10000"/>
              <a:gd name="connsiteY33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380 w 10000"/>
              <a:gd name="connsiteY208" fmla="*/ 2860 h 10000"/>
              <a:gd name="connsiteX209" fmla="*/ 8253 w 10000"/>
              <a:gd name="connsiteY209" fmla="*/ 2762 h 10000"/>
              <a:gd name="connsiteX210" fmla="*/ 8267 w 10000"/>
              <a:gd name="connsiteY210" fmla="*/ 2748 h 10000"/>
              <a:gd name="connsiteX211" fmla="*/ 8397 w 10000"/>
              <a:gd name="connsiteY211" fmla="*/ 2705 h 10000"/>
              <a:gd name="connsiteX212" fmla="*/ 8402 w 10000"/>
              <a:gd name="connsiteY212" fmla="*/ 2662 h 10000"/>
              <a:gd name="connsiteX213" fmla="*/ 8449 w 10000"/>
              <a:gd name="connsiteY213" fmla="*/ 2656 h 10000"/>
              <a:gd name="connsiteX214" fmla="*/ 8558 w 10000"/>
              <a:gd name="connsiteY214" fmla="*/ 2677 h 10000"/>
              <a:gd name="connsiteX215" fmla="*/ 8593 w 10000"/>
              <a:gd name="connsiteY215" fmla="*/ 2669 h 10000"/>
              <a:gd name="connsiteX216" fmla="*/ 8606 w 10000"/>
              <a:gd name="connsiteY216" fmla="*/ 2630 h 10000"/>
              <a:gd name="connsiteX217" fmla="*/ 8567 w 10000"/>
              <a:gd name="connsiteY217" fmla="*/ 2605 h 10000"/>
              <a:gd name="connsiteX218" fmla="*/ 8685 w 10000"/>
              <a:gd name="connsiteY218" fmla="*/ 2597 h 10000"/>
              <a:gd name="connsiteX219" fmla="*/ 8698 w 10000"/>
              <a:gd name="connsiteY219" fmla="*/ 2565 h 10000"/>
              <a:gd name="connsiteX220" fmla="*/ 8558 w 10000"/>
              <a:gd name="connsiteY220" fmla="*/ 2481 h 10000"/>
              <a:gd name="connsiteX221" fmla="*/ 8558 w 10000"/>
              <a:gd name="connsiteY221" fmla="*/ 2459 h 10000"/>
              <a:gd name="connsiteX222" fmla="*/ 8698 w 10000"/>
              <a:gd name="connsiteY222" fmla="*/ 2504 h 10000"/>
              <a:gd name="connsiteX223" fmla="*/ 8763 w 10000"/>
              <a:gd name="connsiteY223" fmla="*/ 2548 h 10000"/>
              <a:gd name="connsiteX224" fmla="*/ 8815 w 10000"/>
              <a:gd name="connsiteY224" fmla="*/ 2548 h 10000"/>
              <a:gd name="connsiteX225" fmla="*/ 8789 w 10000"/>
              <a:gd name="connsiteY225" fmla="*/ 2457 h 10000"/>
              <a:gd name="connsiteX226" fmla="*/ 8798 w 10000"/>
              <a:gd name="connsiteY226" fmla="*/ 2467 h 10000"/>
              <a:gd name="connsiteX227" fmla="*/ 8841 w 10000"/>
              <a:gd name="connsiteY227" fmla="*/ 2457 h 10000"/>
              <a:gd name="connsiteX228" fmla="*/ 8855 w 10000"/>
              <a:gd name="connsiteY228" fmla="*/ 2341 h 10000"/>
              <a:gd name="connsiteX229" fmla="*/ 8898 w 10000"/>
              <a:gd name="connsiteY229" fmla="*/ 2332 h 10000"/>
              <a:gd name="connsiteX230" fmla="*/ 8946 w 10000"/>
              <a:gd name="connsiteY230" fmla="*/ 2330 h 10000"/>
              <a:gd name="connsiteX231" fmla="*/ 8946 w 10000"/>
              <a:gd name="connsiteY231" fmla="*/ 2361 h 10000"/>
              <a:gd name="connsiteX232" fmla="*/ 8994 w 10000"/>
              <a:gd name="connsiteY232" fmla="*/ 2389 h 10000"/>
              <a:gd name="connsiteX233" fmla="*/ 9051 w 10000"/>
              <a:gd name="connsiteY233" fmla="*/ 2400 h 10000"/>
              <a:gd name="connsiteX234" fmla="*/ 9094 w 10000"/>
              <a:gd name="connsiteY234" fmla="*/ 2324 h 10000"/>
              <a:gd name="connsiteX235" fmla="*/ 9164 w 10000"/>
              <a:gd name="connsiteY235" fmla="*/ 2347 h 10000"/>
              <a:gd name="connsiteX236" fmla="*/ 9247 w 10000"/>
              <a:gd name="connsiteY236" fmla="*/ 2402 h 10000"/>
              <a:gd name="connsiteX237" fmla="*/ 9286 w 10000"/>
              <a:gd name="connsiteY237" fmla="*/ 2400 h 10000"/>
              <a:gd name="connsiteX238" fmla="*/ 9355 w 10000"/>
              <a:gd name="connsiteY238" fmla="*/ 2428 h 10000"/>
              <a:gd name="connsiteX239" fmla="*/ 9408 w 10000"/>
              <a:gd name="connsiteY239" fmla="*/ 2359 h 10000"/>
              <a:gd name="connsiteX240" fmla="*/ 9717 w 10000"/>
              <a:gd name="connsiteY240" fmla="*/ 2343 h 10000"/>
              <a:gd name="connsiteX241" fmla="*/ 9830 w 10000"/>
              <a:gd name="connsiteY241" fmla="*/ 2369 h 10000"/>
              <a:gd name="connsiteX242" fmla="*/ 9909 w 10000"/>
              <a:gd name="connsiteY242" fmla="*/ 2410 h 10000"/>
              <a:gd name="connsiteX243" fmla="*/ 9948 w 10000"/>
              <a:gd name="connsiteY243" fmla="*/ 2365 h 10000"/>
              <a:gd name="connsiteX244" fmla="*/ 10000 w 10000"/>
              <a:gd name="connsiteY244" fmla="*/ 2349 h 10000"/>
              <a:gd name="connsiteX245" fmla="*/ 9704 w 10000"/>
              <a:gd name="connsiteY245" fmla="*/ 1992 h 10000"/>
              <a:gd name="connsiteX246" fmla="*/ 9743 w 10000"/>
              <a:gd name="connsiteY246" fmla="*/ 1897 h 10000"/>
              <a:gd name="connsiteX247" fmla="*/ 9830 w 10000"/>
              <a:gd name="connsiteY247" fmla="*/ 1819 h 10000"/>
              <a:gd name="connsiteX248" fmla="*/ 9830 w 10000"/>
              <a:gd name="connsiteY248" fmla="*/ 1699 h 10000"/>
              <a:gd name="connsiteX249" fmla="*/ 9556 w 10000"/>
              <a:gd name="connsiteY249" fmla="*/ 1465 h 10000"/>
              <a:gd name="connsiteX250" fmla="*/ 9512 w 10000"/>
              <a:gd name="connsiteY250" fmla="*/ 1379 h 10000"/>
              <a:gd name="connsiteX251" fmla="*/ 9573 w 10000"/>
              <a:gd name="connsiteY251" fmla="*/ 1271 h 10000"/>
              <a:gd name="connsiteX252" fmla="*/ 9543 w 10000"/>
              <a:gd name="connsiteY252" fmla="*/ 1194 h 10000"/>
              <a:gd name="connsiteX253" fmla="*/ 9486 w 10000"/>
              <a:gd name="connsiteY253" fmla="*/ 1159 h 10000"/>
              <a:gd name="connsiteX254" fmla="*/ 9438 w 10000"/>
              <a:gd name="connsiteY254" fmla="*/ 978 h 10000"/>
              <a:gd name="connsiteX255" fmla="*/ 9495 w 10000"/>
              <a:gd name="connsiteY255" fmla="*/ 831 h 10000"/>
              <a:gd name="connsiteX256" fmla="*/ 9077 w 10000"/>
              <a:gd name="connsiteY256" fmla="*/ 517 h 10000"/>
              <a:gd name="connsiteX257" fmla="*/ 8872 w 10000"/>
              <a:gd name="connsiteY257" fmla="*/ 440 h 10000"/>
              <a:gd name="connsiteX258" fmla="*/ 8493 w 10000"/>
              <a:gd name="connsiteY258" fmla="*/ 389 h 10000"/>
              <a:gd name="connsiteX259" fmla="*/ 7709 w 10000"/>
              <a:gd name="connsiteY259" fmla="*/ 26 h 10000"/>
              <a:gd name="connsiteX260" fmla="*/ 7683 w 10000"/>
              <a:gd name="connsiteY260" fmla="*/ 2 h 10000"/>
              <a:gd name="connsiteX261" fmla="*/ 7417 w 10000"/>
              <a:gd name="connsiteY261" fmla="*/ 0 h 10000"/>
              <a:gd name="connsiteX262" fmla="*/ 7356 w 10000"/>
              <a:gd name="connsiteY262" fmla="*/ 14 h 10000"/>
              <a:gd name="connsiteX263" fmla="*/ 7369 w 10000"/>
              <a:gd name="connsiteY263" fmla="*/ 61 h 10000"/>
              <a:gd name="connsiteX264" fmla="*/ 7422 w 10000"/>
              <a:gd name="connsiteY264" fmla="*/ 86 h 10000"/>
              <a:gd name="connsiteX265" fmla="*/ 7435 w 10000"/>
              <a:gd name="connsiteY265" fmla="*/ 139 h 10000"/>
              <a:gd name="connsiteX266" fmla="*/ 7417 w 10000"/>
              <a:gd name="connsiteY266" fmla="*/ 181 h 10000"/>
              <a:gd name="connsiteX267" fmla="*/ 7369 w 10000"/>
              <a:gd name="connsiteY267" fmla="*/ 208 h 10000"/>
              <a:gd name="connsiteX268" fmla="*/ 7334 w 10000"/>
              <a:gd name="connsiteY268" fmla="*/ 283 h 10000"/>
              <a:gd name="connsiteX269" fmla="*/ 7269 w 10000"/>
              <a:gd name="connsiteY269" fmla="*/ 336 h 10000"/>
              <a:gd name="connsiteX270" fmla="*/ 7282 w 10000"/>
              <a:gd name="connsiteY270" fmla="*/ 387 h 10000"/>
              <a:gd name="connsiteX271" fmla="*/ 7382 w 10000"/>
              <a:gd name="connsiteY271" fmla="*/ 434 h 10000"/>
              <a:gd name="connsiteX272" fmla="*/ 7317 w 10000"/>
              <a:gd name="connsiteY272" fmla="*/ 475 h 10000"/>
              <a:gd name="connsiteX273" fmla="*/ 7221 w 10000"/>
              <a:gd name="connsiteY273" fmla="*/ 485 h 10000"/>
              <a:gd name="connsiteX274" fmla="*/ 6420 w 10000"/>
              <a:gd name="connsiteY274" fmla="*/ 387 h 10000"/>
              <a:gd name="connsiteX275" fmla="*/ 6324 w 10000"/>
              <a:gd name="connsiteY275" fmla="*/ 395 h 10000"/>
              <a:gd name="connsiteX276" fmla="*/ 6267 w 10000"/>
              <a:gd name="connsiteY276" fmla="*/ 414 h 10000"/>
              <a:gd name="connsiteX277" fmla="*/ 6211 w 10000"/>
              <a:gd name="connsiteY277" fmla="*/ 462 h 10000"/>
              <a:gd name="connsiteX278" fmla="*/ 6220 w 10000"/>
              <a:gd name="connsiteY278" fmla="*/ 581 h 10000"/>
              <a:gd name="connsiteX279" fmla="*/ 6132 w 10000"/>
              <a:gd name="connsiteY279" fmla="*/ 735 h 10000"/>
              <a:gd name="connsiteX280" fmla="*/ 6024 w 10000"/>
              <a:gd name="connsiteY280" fmla="*/ 815 h 10000"/>
              <a:gd name="connsiteX281" fmla="*/ 5980 w 10000"/>
              <a:gd name="connsiteY281" fmla="*/ 805 h 10000"/>
              <a:gd name="connsiteX282" fmla="*/ 5880 w 10000"/>
              <a:gd name="connsiteY282" fmla="*/ 739 h 10000"/>
              <a:gd name="connsiteX283" fmla="*/ 5753 w 10000"/>
              <a:gd name="connsiteY283" fmla="*/ 705 h 10000"/>
              <a:gd name="connsiteX284" fmla="*/ 5618 w 10000"/>
              <a:gd name="connsiteY284" fmla="*/ 715 h 10000"/>
              <a:gd name="connsiteX285" fmla="*/ 5301 w 10000"/>
              <a:gd name="connsiteY285" fmla="*/ 866 h 10000"/>
              <a:gd name="connsiteX286" fmla="*/ 5218 w 10000"/>
              <a:gd name="connsiteY286" fmla="*/ 1017 h 10000"/>
              <a:gd name="connsiteX287" fmla="*/ 4978 w 10000"/>
              <a:gd name="connsiteY287" fmla="*/ 1153 h 10000"/>
              <a:gd name="connsiteX288" fmla="*/ 4935 w 10000"/>
              <a:gd name="connsiteY288" fmla="*/ 1222 h 10000"/>
              <a:gd name="connsiteX289" fmla="*/ 5061 w 10000"/>
              <a:gd name="connsiteY289" fmla="*/ 1344 h 10000"/>
              <a:gd name="connsiteX290" fmla="*/ 5074 w 10000"/>
              <a:gd name="connsiteY290" fmla="*/ 1412 h 10000"/>
              <a:gd name="connsiteX291" fmla="*/ 4421 w 10000"/>
              <a:gd name="connsiteY291" fmla="*/ 1813 h 10000"/>
              <a:gd name="connsiteX292" fmla="*/ 4220 w 10000"/>
              <a:gd name="connsiteY292" fmla="*/ 2070 h 10000"/>
              <a:gd name="connsiteX293" fmla="*/ 4003 w 10000"/>
              <a:gd name="connsiteY293" fmla="*/ 2135 h 10000"/>
              <a:gd name="connsiteX294" fmla="*/ 3868 w 10000"/>
              <a:gd name="connsiteY294" fmla="*/ 2131 h 10000"/>
              <a:gd name="connsiteX295" fmla="*/ 3785 w 10000"/>
              <a:gd name="connsiteY295" fmla="*/ 2153 h 10000"/>
              <a:gd name="connsiteX296" fmla="*/ 3558 w 10000"/>
              <a:gd name="connsiteY296" fmla="*/ 2793 h 10000"/>
              <a:gd name="connsiteX297" fmla="*/ 3036 w 10000"/>
              <a:gd name="connsiteY297" fmla="*/ 3166 h 10000"/>
              <a:gd name="connsiteX298" fmla="*/ 3040 w 10000"/>
              <a:gd name="connsiteY298" fmla="*/ 3225 h 10000"/>
              <a:gd name="connsiteX299" fmla="*/ 3271 w 10000"/>
              <a:gd name="connsiteY299" fmla="*/ 3392 h 10000"/>
              <a:gd name="connsiteX300" fmla="*/ 3197 w 10000"/>
              <a:gd name="connsiteY300" fmla="*/ 3573 h 10000"/>
              <a:gd name="connsiteX301" fmla="*/ 3062 w 10000"/>
              <a:gd name="connsiteY301" fmla="*/ 3640 h 10000"/>
              <a:gd name="connsiteX302" fmla="*/ 2657 w 10000"/>
              <a:gd name="connsiteY302" fmla="*/ 3595 h 10000"/>
              <a:gd name="connsiteX303" fmla="*/ 2378 w 10000"/>
              <a:gd name="connsiteY303" fmla="*/ 3620 h 10000"/>
              <a:gd name="connsiteX304" fmla="*/ 2152 w 10000"/>
              <a:gd name="connsiteY304" fmla="*/ 3673 h 10000"/>
              <a:gd name="connsiteX305" fmla="*/ 1790 w 10000"/>
              <a:gd name="connsiteY305" fmla="*/ 3840 h 10000"/>
              <a:gd name="connsiteX306" fmla="*/ 1598 w 10000"/>
              <a:gd name="connsiteY306" fmla="*/ 4042 h 10000"/>
              <a:gd name="connsiteX307" fmla="*/ 1616 w 10000"/>
              <a:gd name="connsiteY307" fmla="*/ 4154 h 10000"/>
              <a:gd name="connsiteX308" fmla="*/ 1681 w 10000"/>
              <a:gd name="connsiteY308" fmla="*/ 4241 h 10000"/>
              <a:gd name="connsiteX309" fmla="*/ 1733 w 10000"/>
              <a:gd name="connsiteY309" fmla="*/ 4276 h 10000"/>
              <a:gd name="connsiteX310" fmla="*/ 1638 w 10000"/>
              <a:gd name="connsiteY310" fmla="*/ 4331 h 10000"/>
              <a:gd name="connsiteX311" fmla="*/ 1433 w 10000"/>
              <a:gd name="connsiteY311" fmla="*/ 4710 h 10000"/>
              <a:gd name="connsiteX312" fmla="*/ 1472 w 10000"/>
              <a:gd name="connsiteY312" fmla="*/ 4732 h 10000"/>
              <a:gd name="connsiteX313" fmla="*/ 1503 w 10000"/>
              <a:gd name="connsiteY313" fmla="*/ 4828 h 10000"/>
              <a:gd name="connsiteX314" fmla="*/ 1407 w 10000"/>
              <a:gd name="connsiteY314" fmla="*/ 5227 h 10000"/>
              <a:gd name="connsiteX315" fmla="*/ 1503 w 10000"/>
              <a:gd name="connsiteY315" fmla="*/ 5329 h 10000"/>
              <a:gd name="connsiteX316" fmla="*/ 1764 w 10000"/>
              <a:gd name="connsiteY316" fmla="*/ 5441 h 10000"/>
              <a:gd name="connsiteX317" fmla="*/ 1777 w 10000"/>
              <a:gd name="connsiteY317" fmla="*/ 5578 h 10000"/>
              <a:gd name="connsiteX318" fmla="*/ 1664 w 10000"/>
              <a:gd name="connsiteY318" fmla="*/ 5690 h 10000"/>
              <a:gd name="connsiteX319" fmla="*/ 1503 w 10000"/>
              <a:gd name="connsiteY319" fmla="*/ 5759 h 10000"/>
              <a:gd name="connsiteX320" fmla="*/ 1289 w 10000"/>
              <a:gd name="connsiteY320" fmla="*/ 5787 h 10000"/>
              <a:gd name="connsiteX321" fmla="*/ 1233 w 10000"/>
              <a:gd name="connsiteY321" fmla="*/ 5826 h 10000"/>
              <a:gd name="connsiteX322" fmla="*/ 1359 w 10000"/>
              <a:gd name="connsiteY322" fmla="*/ 5920 h 10000"/>
              <a:gd name="connsiteX323" fmla="*/ 1429 w 10000"/>
              <a:gd name="connsiteY323" fmla="*/ 6142 h 10000"/>
              <a:gd name="connsiteX324" fmla="*/ 1267 w 10000"/>
              <a:gd name="connsiteY324" fmla="*/ 6333 h 10000"/>
              <a:gd name="connsiteX325" fmla="*/ 1324 w 10000"/>
              <a:gd name="connsiteY325" fmla="*/ 6392 h 10000"/>
              <a:gd name="connsiteX326" fmla="*/ 1272 w 10000"/>
              <a:gd name="connsiteY326" fmla="*/ 6492 h 10000"/>
              <a:gd name="connsiteX327" fmla="*/ 1167 w 10000"/>
              <a:gd name="connsiteY327" fmla="*/ 6561 h 10000"/>
              <a:gd name="connsiteX328" fmla="*/ 758 w 10000"/>
              <a:gd name="connsiteY328" fmla="*/ 6614 h 10000"/>
              <a:gd name="connsiteX329" fmla="*/ 732 w 10000"/>
              <a:gd name="connsiteY329" fmla="*/ 6706 h 10000"/>
              <a:gd name="connsiteX330" fmla="*/ 510 w 10000"/>
              <a:gd name="connsiteY330" fmla="*/ 6843 h 10000"/>
              <a:gd name="connsiteX331" fmla="*/ 540 w 10000"/>
              <a:gd name="connsiteY331" fmla="*/ 7040 h 10000"/>
              <a:gd name="connsiteX332" fmla="*/ 353 w 10000"/>
              <a:gd name="connsiteY332" fmla="*/ 7293 h 10000"/>
              <a:gd name="connsiteX333" fmla="*/ 226 w 10000"/>
              <a:gd name="connsiteY333" fmla="*/ 7323 h 10000"/>
              <a:gd name="connsiteX334" fmla="*/ 174 w 10000"/>
              <a:gd name="connsiteY334" fmla="*/ 7262 h 10000"/>
              <a:gd name="connsiteX335" fmla="*/ 109 w 10000"/>
              <a:gd name="connsiteY335" fmla="*/ 7354 h 10000"/>
              <a:gd name="connsiteX336" fmla="*/ 152 w 10000"/>
              <a:gd name="connsiteY336" fmla="*/ 7197 h 10000"/>
              <a:gd name="connsiteX337" fmla="*/ 126 w 10000"/>
              <a:gd name="connsiteY33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380 w 10000"/>
              <a:gd name="connsiteY207" fmla="*/ 2860 h 10000"/>
              <a:gd name="connsiteX208" fmla="*/ 8253 w 10000"/>
              <a:gd name="connsiteY208" fmla="*/ 2762 h 10000"/>
              <a:gd name="connsiteX209" fmla="*/ 8267 w 10000"/>
              <a:gd name="connsiteY209" fmla="*/ 2748 h 10000"/>
              <a:gd name="connsiteX210" fmla="*/ 8397 w 10000"/>
              <a:gd name="connsiteY210" fmla="*/ 2705 h 10000"/>
              <a:gd name="connsiteX211" fmla="*/ 8402 w 10000"/>
              <a:gd name="connsiteY211" fmla="*/ 2662 h 10000"/>
              <a:gd name="connsiteX212" fmla="*/ 8449 w 10000"/>
              <a:gd name="connsiteY212" fmla="*/ 2656 h 10000"/>
              <a:gd name="connsiteX213" fmla="*/ 8558 w 10000"/>
              <a:gd name="connsiteY213" fmla="*/ 2677 h 10000"/>
              <a:gd name="connsiteX214" fmla="*/ 8593 w 10000"/>
              <a:gd name="connsiteY214" fmla="*/ 2669 h 10000"/>
              <a:gd name="connsiteX215" fmla="*/ 8606 w 10000"/>
              <a:gd name="connsiteY215" fmla="*/ 2630 h 10000"/>
              <a:gd name="connsiteX216" fmla="*/ 8567 w 10000"/>
              <a:gd name="connsiteY216" fmla="*/ 2605 h 10000"/>
              <a:gd name="connsiteX217" fmla="*/ 8685 w 10000"/>
              <a:gd name="connsiteY217" fmla="*/ 2597 h 10000"/>
              <a:gd name="connsiteX218" fmla="*/ 8698 w 10000"/>
              <a:gd name="connsiteY218" fmla="*/ 2565 h 10000"/>
              <a:gd name="connsiteX219" fmla="*/ 8558 w 10000"/>
              <a:gd name="connsiteY219" fmla="*/ 2481 h 10000"/>
              <a:gd name="connsiteX220" fmla="*/ 8558 w 10000"/>
              <a:gd name="connsiteY220" fmla="*/ 2459 h 10000"/>
              <a:gd name="connsiteX221" fmla="*/ 8698 w 10000"/>
              <a:gd name="connsiteY221" fmla="*/ 2504 h 10000"/>
              <a:gd name="connsiteX222" fmla="*/ 8763 w 10000"/>
              <a:gd name="connsiteY222" fmla="*/ 2548 h 10000"/>
              <a:gd name="connsiteX223" fmla="*/ 8815 w 10000"/>
              <a:gd name="connsiteY223" fmla="*/ 2548 h 10000"/>
              <a:gd name="connsiteX224" fmla="*/ 8789 w 10000"/>
              <a:gd name="connsiteY224" fmla="*/ 2457 h 10000"/>
              <a:gd name="connsiteX225" fmla="*/ 8798 w 10000"/>
              <a:gd name="connsiteY225" fmla="*/ 2467 h 10000"/>
              <a:gd name="connsiteX226" fmla="*/ 8841 w 10000"/>
              <a:gd name="connsiteY226" fmla="*/ 2457 h 10000"/>
              <a:gd name="connsiteX227" fmla="*/ 8855 w 10000"/>
              <a:gd name="connsiteY227" fmla="*/ 2341 h 10000"/>
              <a:gd name="connsiteX228" fmla="*/ 8898 w 10000"/>
              <a:gd name="connsiteY228" fmla="*/ 2332 h 10000"/>
              <a:gd name="connsiteX229" fmla="*/ 8946 w 10000"/>
              <a:gd name="connsiteY229" fmla="*/ 2330 h 10000"/>
              <a:gd name="connsiteX230" fmla="*/ 8946 w 10000"/>
              <a:gd name="connsiteY230" fmla="*/ 2361 h 10000"/>
              <a:gd name="connsiteX231" fmla="*/ 8994 w 10000"/>
              <a:gd name="connsiteY231" fmla="*/ 2389 h 10000"/>
              <a:gd name="connsiteX232" fmla="*/ 9051 w 10000"/>
              <a:gd name="connsiteY232" fmla="*/ 2400 h 10000"/>
              <a:gd name="connsiteX233" fmla="*/ 9094 w 10000"/>
              <a:gd name="connsiteY233" fmla="*/ 2324 h 10000"/>
              <a:gd name="connsiteX234" fmla="*/ 9164 w 10000"/>
              <a:gd name="connsiteY234" fmla="*/ 2347 h 10000"/>
              <a:gd name="connsiteX235" fmla="*/ 9247 w 10000"/>
              <a:gd name="connsiteY235" fmla="*/ 2402 h 10000"/>
              <a:gd name="connsiteX236" fmla="*/ 9286 w 10000"/>
              <a:gd name="connsiteY236" fmla="*/ 2400 h 10000"/>
              <a:gd name="connsiteX237" fmla="*/ 9355 w 10000"/>
              <a:gd name="connsiteY237" fmla="*/ 2428 h 10000"/>
              <a:gd name="connsiteX238" fmla="*/ 9408 w 10000"/>
              <a:gd name="connsiteY238" fmla="*/ 2359 h 10000"/>
              <a:gd name="connsiteX239" fmla="*/ 9717 w 10000"/>
              <a:gd name="connsiteY239" fmla="*/ 2343 h 10000"/>
              <a:gd name="connsiteX240" fmla="*/ 9830 w 10000"/>
              <a:gd name="connsiteY240" fmla="*/ 2369 h 10000"/>
              <a:gd name="connsiteX241" fmla="*/ 9909 w 10000"/>
              <a:gd name="connsiteY241" fmla="*/ 2410 h 10000"/>
              <a:gd name="connsiteX242" fmla="*/ 9948 w 10000"/>
              <a:gd name="connsiteY242" fmla="*/ 2365 h 10000"/>
              <a:gd name="connsiteX243" fmla="*/ 10000 w 10000"/>
              <a:gd name="connsiteY243" fmla="*/ 2349 h 10000"/>
              <a:gd name="connsiteX244" fmla="*/ 9704 w 10000"/>
              <a:gd name="connsiteY244" fmla="*/ 1992 h 10000"/>
              <a:gd name="connsiteX245" fmla="*/ 9743 w 10000"/>
              <a:gd name="connsiteY245" fmla="*/ 1897 h 10000"/>
              <a:gd name="connsiteX246" fmla="*/ 9830 w 10000"/>
              <a:gd name="connsiteY246" fmla="*/ 1819 h 10000"/>
              <a:gd name="connsiteX247" fmla="*/ 9830 w 10000"/>
              <a:gd name="connsiteY247" fmla="*/ 1699 h 10000"/>
              <a:gd name="connsiteX248" fmla="*/ 9556 w 10000"/>
              <a:gd name="connsiteY248" fmla="*/ 1465 h 10000"/>
              <a:gd name="connsiteX249" fmla="*/ 9512 w 10000"/>
              <a:gd name="connsiteY249" fmla="*/ 1379 h 10000"/>
              <a:gd name="connsiteX250" fmla="*/ 9573 w 10000"/>
              <a:gd name="connsiteY250" fmla="*/ 1271 h 10000"/>
              <a:gd name="connsiteX251" fmla="*/ 9543 w 10000"/>
              <a:gd name="connsiteY251" fmla="*/ 1194 h 10000"/>
              <a:gd name="connsiteX252" fmla="*/ 9486 w 10000"/>
              <a:gd name="connsiteY252" fmla="*/ 1159 h 10000"/>
              <a:gd name="connsiteX253" fmla="*/ 9438 w 10000"/>
              <a:gd name="connsiteY253" fmla="*/ 978 h 10000"/>
              <a:gd name="connsiteX254" fmla="*/ 9495 w 10000"/>
              <a:gd name="connsiteY254" fmla="*/ 831 h 10000"/>
              <a:gd name="connsiteX255" fmla="*/ 9077 w 10000"/>
              <a:gd name="connsiteY255" fmla="*/ 517 h 10000"/>
              <a:gd name="connsiteX256" fmla="*/ 8872 w 10000"/>
              <a:gd name="connsiteY256" fmla="*/ 440 h 10000"/>
              <a:gd name="connsiteX257" fmla="*/ 8493 w 10000"/>
              <a:gd name="connsiteY257" fmla="*/ 389 h 10000"/>
              <a:gd name="connsiteX258" fmla="*/ 7709 w 10000"/>
              <a:gd name="connsiteY258" fmla="*/ 26 h 10000"/>
              <a:gd name="connsiteX259" fmla="*/ 7683 w 10000"/>
              <a:gd name="connsiteY259" fmla="*/ 2 h 10000"/>
              <a:gd name="connsiteX260" fmla="*/ 7417 w 10000"/>
              <a:gd name="connsiteY260" fmla="*/ 0 h 10000"/>
              <a:gd name="connsiteX261" fmla="*/ 7356 w 10000"/>
              <a:gd name="connsiteY261" fmla="*/ 14 h 10000"/>
              <a:gd name="connsiteX262" fmla="*/ 7369 w 10000"/>
              <a:gd name="connsiteY262" fmla="*/ 61 h 10000"/>
              <a:gd name="connsiteX263" fmla="*/ 7422 w 10000"/>
              <a:gd name="connsiteY263" fmla="*/ 86 h 10000"/>
              <a:gd name="connsiteX264" fmla="*/ 7435 w 10000"/>
              <a:gd name="connsiteY264" fmla="*/ 139 h 10000"/>
              <a:gd name="connsiteX265" fmla="*/ 7417 w 10000"/>
              <a:gd name="connsiteY265" fmla="*/ 181 h 10000"/>
              <a:gd name="connsiteX266" fmla="*/ 7369 w 10000"/>
              <a:gd name="connsiteY266" fmla="*/ 208 h 10000"/>
              <a:gd name="connsiteX267" fmla="*/ 7334 w 10000"/>
              <a:gd name="connsiteY267" fmla="*/ 283 h 10000"/>
              <a:gd name="connsiteX268" fmla="*/ 7269 w 10000"/>
              <a:gd name="connsiteY268" fmla="*/ 336 h 10000"/>
              <a:gd name="connsiteX269" fmla="*/ 7282 w 10000"/>
              <a:gd name="connsiteY269" fmla="*/ 387 h 10000"/>
              <a:gd name="connsiteX270" fmla="*/ 7382 w 10000"/>
              <a:gd name="connsiteY270" fmla="*/ 434 h 10000"/>
              <a:gd name="connsiteX271" fmla="*/ 7317 w 10000"/>
              <a:gd name="connsiteY271" fmla="*/ 475 h 10000"/>
              <a:gd name="connsiteX272" fmla="*/ 7221 w 10000"/>
              <a:gd name="connsiteY272" fmla="*/ 485 h 10000"/>
              <a:gd name="connsiteX273" fmla="*/ 6420 w 10000"/>
              <a:gd name="connsiteY273" fmla="*/ 387 h 10000"/>
              <a:gd name="connsiteX274" fmla="*/ 6324 w 10000"/>
              <a:gd name="connsiteY274" fmla="*/ 395 h 10000"/>
              <a:gd name="connsiteX275" fmla="*/ 6267 w 10000"/>
              <a:gd name="connsiteY275" fmla="*/ 414 h 10000"/>
              <a:gd name="connsiteX276" fmla="*/ 6211 w 10000"/>
              <a:gd name="connsiteY276" fmla="*/ 462 h 10000"/>
              <a:gd name="connsiteX277" fmla="*/ 6220 w 10000"/>
              <a:gd name="connsiteY277" fmla="*/ 581 h 10000"/>
              <a:gd name="connsiteX278" fmla="*/ 6132 w 10000"/>
              <a:gd name="connsiteY278" fmla="*/ 735 h 10000"/>
              <a:gd name="connsiteX279" fmla="*/ 6024 w 10000"/>
              <a:gd name="connsiteY279" fmla="*/ 815 h 10000"/>
              <a:gd name="connsiteX280" fmla="*/ 5980 w 10000"/>
              <a:gd name="connsiteY280" fmla="*/ 805 h 10000"/>
              <a:gd name="connsiteX281" fmla="*/ 5880 w 10000"/>
              <a:gd name="connsiteY281" fmla="*/ 739 h 10000"/>
              <a:gd name="connsiteX282" fmla="*/ 5753 w 10000"/>
              <a:gd name="connsiteY282" fmla="*/ 705 h 10000"/>
              <a:gd name="connsiteX283" fmla="*/ 5618 w 10000"/>
              <a:gd name="connsiteY283" fmla="*/ 715 h 10000"/>
              <a:gd name="connsiteX284" fmla="*/ 5301 w 10000"/>
              <a:gd name="connsiteY284" fmla="*/ 866 h 10000"/>
              <a:gd name="connsiteX285" fmla="*/ 5218 w 10000"/>
              <a:gd name="connsiteY285" fmla="*/ 1017 h 10000"/>
              <a:gd name="connsiteX286" fmla="*/ 4978 w 10000"/>
              <a:gd name="connsiteY286" fmla="*/ 1153 h 10000"/>
              <a:gd name="connsiteX287" fmla="*/ 4935 w 10000"/>
              <a:gd name="connsiteY287" fmla="*/ 1222 h 10000"/>
              <a:gd name="connsiteX288" fmla="*/ 5061 w 10000"/>
              <a:gd name="connsiteY288" fmla="*/ 1344 h 10000"/>
              <a:gd name="connsiteX289" fmla="*/ 5074 w 10000"/>
              <a:gd name="connsiteY289" fmla="*/ 1412 h 10000"/>
              <a:gd name="connsiteX290" fmla="*/ 4421 w 10000"/>
              <a:gd name="connsiteY290" fmla="*/ 1813 h 10000"/>
              <a:gd name="connsiteX291" fmla="*/ 4220 w 10000"/>
              <a:gd name="connsiteY291" fmla="*/ 2070 h 10000"/>
              <a:gd name="connsiteX292" fmla="*/ 4003 w 10000"/>
              <a:gd name="connsiteY292" fmla="*/ 2135 h 10000"/>
              <a:gd name="connsiteX293" fmla="*/ 3868 w 10000"/>
              <a:gd name="connsiteY293" fmla="*/ 2131 h 10000"/>
              <a:gd name="connsiteX294" fmla="*/ 3785 w 10000"/>
              <a:gd name="connsiteY294" fmla="*/ 2153 h 10000"/>
              <a:gd name="connsiteX295" fmla="*/ 3558 w 10000"/>
              <a:gd name="connsiteY295" fmla="*/ 2793 h 10000"/>
              <a:gd name="connsiteX296" fmla="*/ 3036 w 10000"/>
              <a:gd name="connsiteY296" fmla="*/ 3166 h 10000"/>
              <a:gd name="connsiteX297" fmla="*/ 3040 w 10000"/>
              <a:gd name="connsiteY297" fmla="*/ 3225 h 10000"/>
              <a:gd name="connsiteX298" fmla="*/ 3271 w 10000"/>
              <a:gd name="connsiteY298" fmla="*/ 3392 h 10000"/>
              <a:gd name="connsiteX299" fmla="*/ 3197 w 10000"/>
              <a:gd name="connsiteY299" fmla="*/ 3573 h 10000"/>
              <a:gd name="connsiteX300" fmla="*/ 3062 w 10000"/>
              <a:gd name="connsiteY300" fmla="*/ 3640 h 10000"/>
              <a:gd name="connsiteX301" fmla="*/ 2657 w 10000"/>
              <a:gd name="connsiteY301" fmla="*/ 3595 h 10000"/>
              <a:gd name="connsiteX302" fmla="*/ 2378 w 10000"/>
              <a:gd name="connsiteY302" fmla="*/ 3620 h 10000"/>
              <a:gd name="connsiteX303" fmla="*/ 2152 w 10000"/>
              <a:gd name="connsiteY303" fmla="*/ 3673 h 10000"/>
              <a:gd name="connsiteX304" fmla="*/ 1790 w 10000"/>
              <a:gd name="connsiteY304" fmla="*/ 3840 h 10000"/>
              <a:gd name="connsiteX305" fmla="*/ 1598 w 10000"/>
              <a:gd name="connsiteY305" fmla="*/ 4042 h 10000"/>
              <a:gd name="connsiteX306" fmla="*/ 1616 w 10000"/>
              <a:gd name="connsiteY306" fmla="*/ 4154 h 10000"/>
              <a:gd name="connsiteX307" fmla="*/ 1681 w 10000"/>
              <a:gd name="connsiteY307" fmla="*/ 4241 h 10000"/>
              <a:gd name="connsiteX308" fmla="*/ 1733 w 10000"/>
              <a:gd name="connsiteY308" fmla="*/ 4276 h 10000"/>
              <a:gd name="connsiteX309" fmla="*/ 1638 w 10000"/>
              <a:gd name="connsiteY309" fmla="*/ 4331 h 10000"/>
              <a:gd name="connsiteX310" fmla="*/ 1433 w 10000"/>
              <a:gd name="connsiteY310" fmla="*/ 4710 h 10000"/>
              <a:gd name="connsiteX311" fmla="*/ 1472 w 10000"/>
              <a:gd name="connsiteY311" fmla="*/ 4732 h 10000"/>
              <a:gd name="connsiteX312" fmla="*/ 1503 w 10000"/>
              <a:gd name="connsiteY312" fmla="*/ 4828 h 10000"/>
              <a:gd name="connsiteX313" fmla="*/ 1407 w 10000"/>
              <a:gd name="connsiteY313" fmla="*/ 5227 h 10000"/>
              <a:gd name="connsiteX314" fmla="*/ 1503 w 10000"/>
              <a:gd name="connsiteY314" fmla="*/ 5329 h 10000"/>
              <a:gd name="connsiteX315" fmla="*/ 1764 w 10000"/>
              <a:gd name="connsiteY315" fmla="*/ 5441 h 10000"/>
              <a:gd name="connsiteX316" fmla="*/ 1777 w 10000"/>
              <a:gd name="connsiteY316" fmla="*/ 5578 h 10000"/>
              <a:gd name="connsiteX317" fmla="*/ 1664 w 10000"/>
              <a:gd name="connsiteY317" fmla="*/ 5690 h 10000"/>
              <a:gd name="connsiteX318" fmla="*/ 1503 w 10000"/>
              <a:gd name="connsiteY318" fmla="*/ 5759 h 10000"/>
              <a:gd name="connsiteX319" fmla="*/ 1289 w 10000"/>
              <a:gd name="connsiteY319" fmla="*/ 5787 h 10000"/>
              <a:gd name="connsiteX320" fmla="*/ 1233 w 10000"/>
              <a:gd name="connsiteY320" fmla="*/ 5826 h 10000"/>
              <a:gd name="connsiteX321" fmla="*/ 1359 w 10000"/>
              <a:gd name="connsiteY321" fmla="*/ 5920 h 10000"/>
              <a:gd name="connsiteX322" fmla="*/ 1429 w 10000"/>
              <a:gd name="connsiteY322" fmla="*/ 6142 h 10000"/>
              <a:gd name="connsiteX323" fmla="*/ 1267 w 10000"/>
              <a:gd name="connsiteY323" fmla="*/ 6333 h 10000"/>
              <a:gd name="connsiteX324" fmla="*/ 1324 w 10000"/>
              <a:gd name="connsiteY324" fmla="*/ 6392 h 10000"/>
              <a:gd name="connsiteX325" fmla="*/ 1272 w 10000"/>
              <a:gd name="connsiteY325" fmla="*/ 6492 h 10000"/>
              <a:gd name="connsiteX326" fmla="*/ 1167 w 10000"/>
              <a:gd name="connsiteY326" fmla="*/ 6561 h 10000"/>
              <a:gd name="connsiteX327" fmla="*/ 758 w 10000"/>
              <a:gd name="connsiteY327" fmla="*/ 6614 h 10000"/>
              <a:gd name="connsiteX328" fmla="*/ 732 w 10000"/>
              <a:gd name="connsiteY328" fmla="*/ 6706 h 10000"/>
              <a:gd name="connsiteX329" fmla="*/ 510 w 10000"/>
              <a:gd name="connsiteY329" fmla="*/ 6843 h 10000"/>
              <a:gd name="connsiteX330" fmla="*/ 540 w 10000"/>
              <a:gd name="connsiteY330" fmla="*/ 7040 h 10000"/>
              <a:gd name="connsiteX331" fmla="*/ 353 w 10000"/>
              <a:gd name="connsiteY331" fmla="*/ 7293 h 10000"/>
              <a:gd name="connsiteX332" fmla="*/ 226 w 10000"/>
              <a:gd name="connsiteY332" fmla="*/ 7323 h 10000"/>
              <a:gd name="connsiteX333" fmla="*/ 174 w 10000"/>
              <a:gd name="connsiteY333" fmla="*/ 7262 h 10000"/>
              <a:gd name="connsiteX334" fmla="*/ 109 w 10000"/>
              <a:gd name="connsiteY334" fmla="*/ 7354 h 10000"/>
              <a:gd name="connsiteX335" fmla="*/ 152 w 10000"/>
              <a:gd name="connsiteY335" fmla="*/ 7197 h 10000"/>
              <a:gd name="connsiteX336" fmla="*/ 126 w 10000"/>
              <a:gd name="connsiteY33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267 w 10000"/>
              <a:gd name="connsiteY208" fmla="*/ 2748 h 10000"/>
              <a:gd name="connsiteX209" fmla="*/ 8397 w 10000"/>
              <a:gd name="connsiteY209" fmla="*/ 2705 h 10000"/>
              <a:gd name="connsiteX210" fmla="*/ 8402 w 10000"/>
              <a:gd name="connsiteY210" fmla="*/ 2662 h 10000"/>
              <a:gd name="connsiteX211" fmla="*/ 8449 w 10000"/>
              <a:gd name="connsiteY211" fmla="*/ 2656 h 10000"/>
              <a:gd name="connsiteX212" fmla="*/ 8558 w 10000"/>
              <a:gd name="connsiteY212" fmla="*/ 2677 h 10000"/>
              <a:gd name="connsiteX213" fmla="*/ 8593 w 10000"/>
              <a:gd name="connsiteY213" fmla="*/ 2669 h 10000"/>
              <a:gd name="connsiteX214" fmla="*/ 8606 w 10000"/>
              <a:gd name="connsiteY214" fmla="*/ 2630 h 10000"/>
              <a:gd name="connsiteX215" fmla="*/ 8567 w 10000"/>
              <a:gd name="connsiteY215" fmla="*/ 2605 h 10000"/>
              <a:gd name="connsiteX216" fmla="*/ 8685 w 10000"/>
              <a:gd name="connsiteY216" fmla="*/ 2597 h 10000"/>
              <a:gd name="connsiteX217" fmla="*/ 8698 w 10000"/>
              <a:gd name="connsiteY217" fmla="*/ 2565 h 10000"/>
              <a:gd name="connsiteX218" fmla="*/ 8558 w 10000"/>
              <a:gd name="connsiteY218" fmla="*/ 2481 h 10000"/>
              <a:gd name="connsiteX219" fmla="*/ 8558 w 10000"/>
              <a:gd name="connsiteY219" fmla="*/ 2459 h 10000"/>
              <a:gd name="connsiteX220" fmla="*/ 8698 w 10000"/>
              <a:gd name="connsiteY220" fmla="*/ 2504 h 10000"/>
              <a:gd name="connsiteX221" fmla="*/ 8763 w 10000"/>
              <a:gd name="connsiteY221" fmla="*/ 2548 h 10000"/>
              <a:gd name="connsiteX222" fmla="*/ 8815 w 10000"/>
              <a:gd name="connsiteY222" fmla="*/ 2548 h 10000"/>
              <a:gd name="connsiteX223" fmla="*/ 8789 w 10000"/>
              <a:gd name="connsiteY223" fmla="*/ 2457 h 10000"/>
              <a:gd name="connsiteX224" fmla="*/ 8798 w 10000"/>
              <a:gd name="connsiteY224" fmla="*/ 2467 h 10000"/>
              <a:gd name="connsiteX225" fmla="*/ 8841 w 10000"/>
              <a:gd name="connsiteY225" fmla="*/ 2457 h 10000"/>
              <a:gd name="connsiteX226" fmla="*/ 8855 w 10000"/>
              <a:gd name="connsiteY226" fmla="*/ 2341 h 10000"/>
              <a:gd name="connsiteX227" fmla="*/ 8898 w 10000"/>
              <a:gd name="connsiteY227" fmla="*/ 2332 h 10000"/>
              <a:gd name="connsiteX228" fmla="*/ 8946 w 10000"/>
              <a:gd name="connsiteY228" fmla="*/ 2330 h 10000"/>
              <a:gd name="connsiteX229" fmla="*/ 8946 w 10000"/>
              <a:gd name="connsiteY229" fmla="*/ 2361 h 10000"/>
              <a:gd name="connsiteX230" fmla="*/ 8994 w 10000"/>
              <a:gd name="connsiteY230" fmla="*/ 2389 h 10000"/>
              <a:gd name="connsiteX231" fmla="*/ 9051 w 10000"/>
              <a:gd name="connsiteY231" fmla="*/ 2400 h 10000"/>
              <a:gd name="connsiteX232" fmla="*/ 9094 w 10000"/>
              <a:gd name="connsiteY232" fmla="*/ 2324 h 10000"/>
              <a:gd name="connsiteX233" fmla="*/ 9164 w 10000"/>
              <a:gd name="connsiteY233" fmla="*/ 2347 h 10000"/>
              <a:gd name="connsiteX234" fmla="*/ 9247 w 10000"/>
              <a:gd name="connsiteY234" fmla="*/ 2402 h 10000"/>
              <a:gd name="connsiteX235" fmla="*/ 9286 w 10000"/>
              <a:gd name="connsiteY235" fmla="*/ 2400 h 10000"/>
              <a:gd name="connsiteX236" fmla="*/ 9355 w 10000"/>
              <a:gd name="connsiteY236" fmla="*/ 2428 h 10000"/>
              <a:gd name="connsiteX237" fmla="*/ 9408 w 10000"/>
              <a:gd name="connsiteY237" fmla="*/ 2359 h 10000"/>
              <a:gd name="connsiteX238" fmla="*/ 9717 w 10000"/>
              <a:gd name="connsiteY238" fmla="*/ 2343 h 10000"/>
              <a:gd name="connsiteX239" fmla="*/ 9830 w 10000"/>
              <a:gd name="connsiteY239" fmla="*/ 2369 h 10000"/>
              <a:gd name="connsiteX240" fmla="*/ 9909 w 10000"/>
              <a:gd name="connsiteY240" fmla="*/ 2410 h 10000"/>
              <a:gd name="connsiteX241" fmla="*/ 9948 w 10000"/>
              <a:gd name="connsiteY241" fmla="*/ 2365 h 10000"/>
              <a:gd name="connsiteX242" fmla="*/ 10000 w 10000"/>
              <a:gd name="connsiteY242" fmla="*/ 2349 h 10000"/>
              <a:gd name="connsiteX243" fmla="*/ 9704 w 10000"/>
              <a:gd name="connsiteY243" fmla="*/ 1992 h 10000"/>
              <a:gd name="connsiteX244" fmla="*/ 9743 w 10000"/>
              <a:gd name="connsiteY244" fmla="*/ 1897 h 10000"/>
              <a:gd name="connsiteX245" fmla="*/ 9830 w 10000"/>
              <a:gd name="connsiteY245" fmla="*/ 1819 h 10000"/>
              <a:gd name="connsiteX246" fmla="*/ 9830 w 10000"/>
              <a:gd name="connsiteY246" fmla="*/ 1699 h 10000"/>
              <a:gd name="connsiteX247" fmla="*/ 9556 w 10000"/>
              <a:gd name="connsiteY247" fmla="*/ 1465 h 10000"/>
              <a:gd name="connsiteX248" fmla="*/ 9512 w 10000"/>
              <a:gd name="connsiteY248" fmla="*/ 1379 h 10000"/>
              <a:gd name="connsiteX249" fmla="*/ 9573 w 10000"/>
              <a:gd name="connsiteY249" fmla="*/ 1271 h 10000"/>
              <a:gd name="connsiteX250" fmla="*/ 9543 w 10000"/>
              <a:gd name="connsiteY250" fmla="*/ 1194 h 10000"/>
              <a:gd name="connsiteX251" fmla="*/ 9486 w 10000"/>
              <a:gd name="connsiteY251" fmla="*/ 1159 h 10000"/>
              <a:gd name="connsiteX252" fmla="*/ 9438 w 10000"/>
              <a:gd name="connsiteY252" fmla="*/ 978 h 10000"/>
              <a:gd name="connsiteX253" fmla="*/ 9495 w 10000"/>
              <a:gd name="connsiteY253" fmla="*/ 831 h 10000"/>
              <a:gd name="connsiteX254" fmla="*/ 9077 w 10000"/>
              <a:gd name="connsiteY254" fmla="*/ 517 h 10000"/>
              <a:gd name="connsiteX255" fmla="*/ 8872 w 10000"/>
              <a:gd name="connsiteY255" fmla="*/ 440 h 10000"/>
              <a:gd name="connsiteX256" fmla="*/ 8493 w 10000"/>
              <a:gd name="connsiteY256" fmla="*/ 389 h 10000"/>
              <a:gd name="connsiteX257" fmla="*/ 7709 w 10000"/>
              <a:gd name="connsiteY257" fmla="*/ 26 h 10000"/>
              <a:gd name="connsiteX258" fmla="*/ 7683 w 10000"/>
              <a:gd name="connsiteY258" fmla="*/ 2 h 10000"/>
              <a:gd name="connsiteX259" fmla="*/ 7417 w 10000"/>
              <a:gd name="connsiteY259" fmla="*/ 0 h 10000"/>
              <a:gd name="connsiteX260" fmla="*/ 7356 w 10000"/>
              <a:gd name="connsiteY260" fmla="*/ 14 h 10000"/>
              <a:gd name="connsiteX261" fmla="*/ 7369 w 10000"/>
              <a:gd name="connsiteY261" fmla="*/ 61 h 10000"/>
              <a:gd name="connsiteX262" fmla="*/ 7422 w 10000"/>
              <a:gd name="connsiteY262" fmla="*/ 86 h 10000"/>
              <a:gd name="connsiteX263" fmla="*/ 7435 w 10000"/>
              <a:gd name="connsiteY263" fmla="*/ 139 h 10000"/>
              <a:gd name="connsiteX264" fmla="*/ 7417 w 10000"/>
              <a:gd name="connsiteY264" fmla="*/ 181 h 10000"/>
              <a:gd name="connsiteX265" fmla="*/ 7369 w 10000"/>
              <a:gd name="connsiteY265" fmla="*/ 208 h 10000"/>
              <a:gd name="connsiteX266" fmla="*/ 7334 w 10000"/>
              <a:gd name="connsiteY266" fmla="*/ 283 h 10000"/>
              <a:gd name="connsiteX267" fmla="*/ 7269 w 10000"/>
              <a:gd name="connsiteY267" fmla="*/ 336 h 10000"/>
              <a:gd name="connsiteX268" fmla="*/ 7282 w 10000"/>
              <a:gd name="connsiteY268" fmla="*/ 387 h 10000"/>
              <a:gd name="connsiteX269" fmla="*/ 7382 w 10000"/>
              <a:gd name="connsiteY269" fmla="*/ 434 h 10000"/>
              <a:gd name="connsiteX270" fmla="*/ 7317 w 10000"/>
              <a:gd name="connsiteY270" fmla="*/ 475 h 10000"/>
              <a:gd name="connsiteX271" fmla="*/ 7221 w 10000"/>
              <a:gd name="connsiteY271" fmla="*/ 485 h 10000"/>
              <a:gd name="connsiteX272" fmla="*/ 6420 w 10000"/>
              <a:gd name="connsiteY272" fmla="*/ 387 h 10000"/>
              <a:gd name="connsiteX273" fmla="*/ 6324 w 10000"/>
              <a:gd name="connsiteY273" fmla="*/ 395 h 10000"/>
              <a:gd name="connsiteX274" fmla="*/ 6267 w 10000"/>
              <a:gd name="connsiteY274" fmla="*/ 414 h 10000"/>
              <a:gd name="connsiteX275" fmla="*/ 6211 w 10000"/>
              <a:gd name="connsiteY275" fmla="*/ 462 h 10000"/>
              <a:gd name="connsiteX276" fmla="*/ 6220 w 10000"/>
              <a:gd name="connsiteY276" fmla="*/ 581 h 10000"/>
              <a:gd name="connsiteX277" fmla="*/ 6132 w 10000"/>
              <a:gd name="connsiteY277" fmla="*/ 735 h 10000"/>
              <a:gd name="connsiteX278" fmla="*/ 6024 w 10000"/>
              <a:gd name="connsiteY278" fmla="*/ 815 h 10000"/>
              <a:gd name="connsiteX279" fmla="*/ 5980 w 10000"/>
              <a:gd name="connsiteY279" fmla="*/ 805 h 10000"/>
              <a:gd name="connsiteX280" fmla="*/ 5880 w 10000"/>
              <a:gd name="connsiteY280" fmla="*/ 739 h 10000"/>
              <a:gd name="connsiteX281" fmla="*/ 5753 w 10000"/>
              <a:gd name="connsiteY281" fmla="*/ 705 h 10000"/>
              <a:gd name="connsiteX282" fmla="*/ 5618 w 10000"/>
              <a:gd name="connsiteY282" fmla="*/ 715 h 10000"/>
              <a:gd name="connsiteX283" fmla="*/ 5301 w 10000"/>
              <a:gd name="connsiteY283" fmla="*/ 866 h 10000"/>
              <a:gd name="connsiteX284" fmla="*/ 5218 w 10000"/>
              <a:gd name="connsiteY284" fmla="*/ 1017 h 10000"/>
              <a:gd name="connsiteX285" fmla="*/ 4978 w 10000"/>
              <a:gd name="connsiteY285" fmla="*/ 1153 h 10000"/>
              <a:gd name="connsiteX286" fmla="*/ 4935 w 10000"/>
              <a:gd name="connsiteY286" fmla="*/ 1222 h 10000"/>
              <a:gd name="connsiteX287" fmla="*/ 5061 w 10000"/>
              <a:gd name="connsiteY287" fmla="*/ 1344 h 10000"/>
              <a:gd name="connsiteX288" fmla="*/ 5074 w 10000"/>
              <a:gd name="connsiteY288" fmla="*/ 1412 h 10000"/>
              <a:gd name="connsiteX289" fmla="*/ 4421 w 10000"/>
              <a:gd name="connsiteY289" fmla="*/ 1813 h 10000"/>
              <a:gd name="connsiteX290" fmla="*/ 4220 w 10000"/>
              <a:gd name="connsiteY290" fmla="*/ 2070 h 10000"/>
              <a:gd name="connsiteX291" fmla="*/ 4003 w 10000"/>
              <a:gd name="connsiteY291" fmla="*/ 2135 h 10000"/>
              <a:gd name="connsiteX292" fmla="*/ 3868 w 10000"/>
              <a:gd name="connsiteY292" fmla="*/ 2131 h 10000"/>
              <a:gd name="connsiteX293" fmla="*/ 3785 w 10000"/>
              <a:gd name="connsiteY293" fmla="*/ 2153 h 10000"/>
              <a:gd name="connsiteX294" fmla="*/ 3558 w 10000"/>
              <a:gd name="connsiteY294" fmla="*/ 2793 h 10000"/>
              <a:gd name="connsiteX295" fmla="*/ 3036 w 10000"/>
              <a:gd name="connsiteY295" fmla="*/ 3166 h 10000"/>
              <a:gd name="connsiteX296" fmla="*/ 3040 w 10000"/>
              <a:gd name="connsiteY296" fmla="*/ 3225 h 10000"/>
              <a:gd name="connsiteX297" fmla="*/ 3271 w 10000"/>
              <a:gd name="connsiteY297" fmla="*/ 3392 h 10000"/>
              <a:gd name="connsiteX298" fmla="*/ 3197 w 10000"/>
              <a:gd name="connsiteY298" fmla="*/ 3573 h 10000"/>
              <a:gd name="connsiteX299" fmla="*/ 3062 w 10000"/>
              <a:gd name="connsiteY299" fmla="*/ 3640 h 10000"/>
              <a:gd name="connsiteX300" fmla="*/ 2657 w 10000"/>
              <a:gd name="connsiteY300" fmla="*/ 3595 h 10000"/>
              <a:gd name="connsiteX301" fmla="*/ 2378 w 10000"/>
              <a:gd name="connsiteY301" fmla="*/ 3620 h 10000"/>
              <a:gd name="connsiteX302" fmla="*/ 2152 w 10000"/>
              <a:gd name="connsiteY302" fmla="*/ 3673 h 10000"/>
              <a:gd name="connsiteX303" fmla="*/ 1790 w 10000"/>
              <a:gd name="connsiteY303" fmla="*/ 3840 h 10000"/>
              <a:gd name="connsiteX304" fmla="*/ 1598 w 10000"/>
              <a:gd name="connsiteY304" fmla="*/ 4042 h 10000"/>
              <a:gd name="connsiteX305" fmla="*/ 1616 w 10000"/>
              <a:gd name="connsiteY305" fmla="*/ 4154 h 10000"/>
              <a:gd name="connsiteX306" fmla="*/ 1681 w 10000"/>
              <a:gd name="connsiteY306" fmla="*/ 4241 h 10000"/>
              <a:gd name="connsiteX307" fmla="*/ 1733 w 10000"/>
              <a:gd name="connsiteY307" fmla="*/ 4276 h 10000"/>
              <a:gd name="connsiteX308" fmla="*/ 1638 w 10000"/>
              <a:gd name="connsiteY308" fmla="*/ 4331 h 10000"/>
              <a:gd name="connsiteX309" fmla="*/ 1433 w 10000"/>
              <a:gd name="connsiteY309" fmla="*/ 4710 h 10000"/>
              <a:gd name="connsiteX310" fmla="*/ 1472 w 10000"/>
              <a:gd name="connsiteY310" fmla="*/ 4732 h 10000"/>
              <a:gd name="connsiteX311" fmla="*/ 1503 w 10000"/>
              <a:gd name="connsiteY311" fmla="*/ 4828 h 10000"/>
              <a:gd name="connsiteX312" fmla="*/ 1407 w 10000"/>
              <a:gd name="connsiteY312" fmla="*/ 5227 h 10000"/>
              <a:gd name="connsiteX313" fmla="*/ 1503 w 10000"/>
              <a:gd name="connsiteY313" fmla="*/ 5329 h 10000"/>
              <a:gd name="connsiteX314" fmla="*/ 1764 w 10000"/>
              <a:gd name="connsiteY314" fmla="*/ 5441 h 10000"/>
              <a:gd name="connsiteX315" fmla="*/ 1777 w 10000"/>
              <a:gd name="connsiteY315" fmla="*/ 5578 h 10000"/>
              <a:gd name="connsiteX316" fmla="*/ 1664 w 10000"/>
              <a:gd name="connsiteY316" fmla="*/ 5690 h 10000"/>
              <a:gd name="connsiteX317" fmla="*/ 1503 w 10000"/>
              <a:gd name="connsiteY317" fmla="*/ 5759 h 10000"/>
              <a:gd name="connsiteX318" fmla="*/ 1289 w 10000"/>
              <a:gd name="connsiteY318" fmla="*/ 5787 h 10000"/>
              <a:gd name="connsiteX319" fmla="*/ 1233 w 10000"/>
              <a:gd name="connsiteY319" fmla="*/ 5826 h 10000"/>
              <a:gd name="connsiteX320" fmla="*/ 1359 w 10000"/>
              <a:gd name="connsiteY320" fmla="*/ 5920 h 10000"/>
              <a:gd name="connsiteX321" fmla="*/ 1429 w 10000"/>
              <a:gd name="connsiteY321" fmla="*/ 6142 h 10000"/>
              <a:gd name="connsiteX322" fmla="*/ 1267 w 10000"/>
              <a:gd name="connsiteY322" fmla="*/ 6333 h 10000"/>
              <a:gd name="connsiteX323" fmla="*/ 1324 w 10000"/>
              <a:gd name="connsiteY323" fmla="*/ 6392 h 10000"/>
              <a:gd name="connsiteX324" fmla="*/ 1272 w 10000"/>
              <a:gd name="connsiteY324" fmla="*/ 6492 h 10000"/>
              <a:gd name="connsiteX325" fmla="*/ 1167 w 10000"/>
              <a:gd name="connsiteY325" fmla="*/ 6561 h 10000"/>
              <a:gd name="connsiteX326" fmla="*/ 758 w 10000"/>
              <a:gd name="connsiteY326" fmla="*/ 6614 h 10000"/>
              <a:gd name="connsiteX327" fmla="*/ 732 w 10000"/>
              <a:gd name="connsiteY327" fmla="*/ 6706 h 10000"/>
              <a:gd name="connsiteX328" fmla="*/ 510 w 10000"/>
              <a:gd name="connsiteY328" fmla="*/ 6843 h 10000"/>
              <a:gd name="connsiteX329" fmla="*/ 540 w 10000"/>
              <a:gd name="connsiteY329" fmla="*/ 7040 h 10000"/>
              <a:gd name="connsiteX330" fmla="*/ 353 w 10000"/>
              <a:gd name="connsiteY330" fmla="*/ 7293 h 10000"/>
              <a:gd name="connsiteX331" fmla="*/ 226 w 10000"/>
              <a:gd name="connsiteY331" fmla="*/ 7323 h 10000"/>
              <a:gd name="connsiteX332" fmla="*/ 174 w 10000"/>
              <a:gd name="connsiteY332" fmla="*/ 7262 h 10000"/>
              <a:gd name="connsiteX333" fmla="*/ 109 w 10000"/>
              <a:gd name="connsiteY333" fmla="*/ 7354 h 10000"/>
              <a:gd name="connsiteX334" fmla="*/ 152 w 10000"/>
              <a:gd name="connsiteY334" fmla="*/ 7197 h 10000"/>
              <a:gd name="connsiteX335" fmla="*/ 126 w 10000"/>
              <a:gd name="connsiteY33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58 w 10000"/>
              <a:gd name="connsiteY211" fmla="*/ 2677 h 10000"/>
              <a:gd name="connsiteX212" fmla="*/ 8593 w 10000"/>
              <a:gd name="connsiteY212" fmla="*/ 2669 h 10000"/>
              <a:gd name="connsiteX213" fmla="*/ 8606 w 10000"/>
              <a:gd name="connsiteY213" fmla="*/ 2630 h 10000"/>
              <a:gd name="connsiteX214" fmla="*/ 8567 w 10000"/>
              <a:gd name="connsiteY214" fmla="*/ 2605 h 10000"/>
              <a:gd name="connsiteX215" fmla="*/ 8685 w 10000"/>
              <a:gd name="connsiteY215" fmla="*/ 2597 h 10000"/>
              <a:gd name="connsiteX216" fmla="*/ 8698 w 10000"/>
              <a:gd name="connsiteY216" fmla="*/ 2565 h 10000"/>
              <a:gd name="connsiteX217" fmla="*/ 8558 w 10000"/>
              <a:gd name="connsiteY217" fmla="*/ 2481 h 10000"/>
              <a:gd name="connsiteX218" fmla="*/ 8558 w 10000"/>
              <a:gd name="connsiteY218" fmla="*/ 2459 h 10000"/>
              <a:gd name="connsiteX219" fmla="*/ 8698 w 10000"/>
              <a:gd name="connsiteY219" fmla="*/ 2504 h 10000"/>
              <a:gd name="connsiteX220" fmla="*/ 8763 w 10000"/>
              <a:gd name="connsiteY220" fmla="*/ 2548 h 10000"/>
              <a:gd name="connsiteX221" fmla="*/ 8815 w 10000"/>
              <a:gd name="connsiteY221" fmla="*/ 2548 h 10000"/>
              <a:gd name="connsiteX222" fmla="*/ 8789 w 10000"/>
              <a:gd name="connsiteY222" fmla="*/ 2457 h 10000"/>
              <a:gd name="connsiteX223" fmla="*/ 8798 w 10000"/>
              <a:gd name="connsiteY223" fmla="*/ 2467 h 10000"/>
              <a:gd name="connsiteX224" fmla="*/ 8841 w 10000"/>
              <a:gd name="connsiteY224" fmla="*/ 2457 h 10000"/>
              <a:gd name="connsiteX225" fmla="*/ 8855 w 10000"/>
              <a:gd name="connsiteY225" fmla="*/ 2341 h 10000"/>
              <a:gd name="connsiteX226" fmla="*/ 8898 w 10000"/>
              <a:gd name="connsiteY226" fmla="*/ 2332 h 10000"/>
              <a:gd name="connsiteX227" fmla="*/ 8946 w 10000"/>
              <a:gd name="connsiteY227" fmla="*/ 2330 h 10000"/>
              <a:gd name="connsiteX228" fmla="*/ 8946 w 10000"/>
              <a:gd name="connsiteY228" fmla="*/ 2361 h 10000"/>
              <a:gd name="connsiteX229" fmla="*/ 8994 w 10000"/>
              <a:gd name="connsiteY229" fmla="*/ 2389 h 10000"/>
              <a:gd name="connsiteX230" fmla="*/ 9051 w 10000"/>
              <a:gd name="connsiteY230" fmla="*/ 2400 h 10000"/>
              <a:gd name="connsiteX231" fmla="*/ 9094 w 10000"/>
              <a:gd name="connsiteY231" fmla="*/ 2324 h 10000"/>
              <a:gd name="connsiteX232" fmla="*/ 9164 w 10000"/>
              <a:gd name="connsiteY232" fmla="*/ 2347 h 10000"/>
              <a:gd name="connsiteX233" fmla="*/ 9247 w 10000"/>
              <a:gd name="connsiteY233" fmla="*/ 2402 h 10000"/>
              <a:gd name="connsiteX234" fmla="*/ 9286 w 10000"/>
              <a:gd name="connsiteY234" fmla="*/ 2400 h 10000"/>
              <a:gd name="connsiteX235" fmla="*/ 9355 w 10000"/>
              <a:gd name="connsiteY235" fmla="*/ 2428 h 10000"/>
              <a:gd name="connsiteX236" fmla="*/ 9408 w 10000"/>
              <a:gd name="connsiteY236" fmla="*/ 2359 h 10000"/>
              <a:gd name="connsiteX237" fmla="*/ 9717 w 10000"/>
              <a:gd name="connsiteY237" fmla="*/ 2343 h 10000"/>
              <a:gd name="connsiteX238" fmla="*/ 9830 w 10000"/>
              <a:gd name="connsiteY238" fmla="*/ 2369 h 10000"/>
              <a:gd name="connsiteX239" fmla="*/ 9909 w 10000"/>
              <a:gd name="connsiteY239" fmla="*/ 2410 h 10000"/>
              <a:gd name="connsiteX240" fmla="*/ 9948 w 10000"/>
              <a:gd name="connsiteY240" fmla="*/ 2365 h 10000"/>
              <a:gd name="connsiteX241" fmla="*/ 10000 w 10000"/>
              <a:gd name="connsiteY241" fmla="*/ 2349 h 10000"/>
              <a:gd name="connsiteX242" fmla="*/ 9704 w 10000"/>
              <a:gd name="connsiteY242" fmla="*/ 1992 h 10000"/>
              <a:gd name="connsiteX243" fmla="*/ 9743 w 10000"/>
              <a:gd name="connsiteY243" fmla="*/ 1897 h 10000"/>
              <a:gd name="connsiteX244" fmla="*/ 9830 w 10000"/>
              <a:gd name="connsiteY244" fmla="*/ 1819 h 10000"/>
              <a:gd name="connsiteX245" fmla="*/ 9830 w 10000"/>
              <a:gd name="connsiteY245" fmla="*/ 1699 h 10000"/>
              <a:gd name="connsiteX246" fmla="*/ 9556 w 10000"/>
              <a:gd name="connsiteY246" fmla="*/ 1465 h 10000"/>
              <a:gd name="connsiteX247" fmla="*/ 9512 w 10000"/>
              <a:gd name="connsiteY247" fmla="*/ 1379 h 10000"/>
              <a:gd name="connsiteX248" fmla="*/ 9573 w 10000"/>
              <a:gd name="connsiteY248" fmla="*/ 1271 h 10000"/>
              <a:gd name="connsiteX249" fmla="*/ 9543 w 10000"/>
              <a:gd name="connsiteY249" fmla="*/ 1194 h 10000"/>
              <a:gd name="connsiteX250" fmla="*/ 9486 w 10000"/>
              <a:gd name="connsiteY250" fmla="*/ 1159 h 10000"/>
              <a:gd name="connsiteX251" fmla="*/ 9438 w 10000"/>
              <a:gd name="connsiteY251" fmla="*/ 978 h 10000"/>
              <a:gd name="connsiteX252" fmla="*/ 9495 w 10000"/>
              <a:gd name="connsiteY252" fmla="*/ 831 h 10000"/>
              <a:gd name="connsiteX253" fmla="*/ 9077 w 10000"/>
              <a:gd name="connsiteY253" fmla="*/ 517 h 10000"/>
              <a:gd name="connsiteX254" fmla="*/ 8872 w 10000"/>
              <a:gd name="connsiteY254" fmla="*/ 440 h 10000"/>
              <a:gd name="connsiteX255" fmla="*/ 8493 w 10000"/>
              <a:gd name="connsiteY255" fmla="*/ 389 h 10000"/>
              <a:gd name="connsiteX256" fmla="*/ 7709 w 10000"/>
              <a:gd name="connsiteY256" fmla="*/ 26 h 10000"/>
              <a:gd name="connsiteX257" fmla="*/ 7683 w 10000"/>
              <a:gd name="connsiteY257" fmla="*/ 2 h 10000"/>
              <a:gd name="connsiteX258" fmla="*/ 7417 w 10000"/>
              <a:gd name="connsiteY258" fmla="*/ 0 h 10000"/>
              <a:gd name="connsiteX259" fmla="*/ 7356 w 10000"/>
              <a:gd name="connsiteY259" fmla="*/ 14 h 10000"/>
              <a:gd name="connsiteX260" fmla="*/ 7369 w 10000"/>
              <a:gd name="connsiteY260" fmla="*/ 61 h 10000"/>
              <a:gd name="connsiteX261" fmla="*/ 7422 w 10000"/>
              <a:gd name="connsiteY261" fmla="*/ 86 h 10000"/>
              <a:gd name="connsiteX262" fmla="*/ 7435 w 10000"/>
              <a:gd name="connsiteY262" fmla="*/ 139 h 10000"/>
              <a:gd name="connsiteX263" fmla="*/ 7417 w 10000"/>
              <a:gd name="connsiteY263" fmla="*/ 181 h 10000"/>
              <a:gd name="connsiteX264" fmla="*/ 7369 w 10000"/>
              <a:gd name="connsiteY264" fmla="*/ 208 h 10000"/>
              <a:gd name="connsiteX265" fmla="*/ 7334 w 10000"/>
              <a:gd name="connsiteY265" fmla="*/ 283 h 10000"/>
              <a:gd name="connsiteX266" fmla="*/ 7269 w 10000"/>
              <a:gd name="connsiteY266" fmla="*/ 336 h 10000"/>
              <a:gd name="connsiteX267" fmla="*/ 7282 w 10000"/>
              <a:gd name="connsiteY267" fmla="*/ 387 h 10000"/>
              <a:gd name="connsiteX268" fmla="*/ 7382 w 10000"/>
              <a:gd name="connsiteY268" fmla="*/ 434 h 10000"/>
              <a:gd name="connsiteX269" fmla="*/ 7317 w 10000"/>
              <a:gd name="connsiteY269" fmla="*/ 475 h 10000"/>
              <a:gd name="connsiteX270" fmla="*/ 7221 w 10000"/>
              <a:gd name="connsiteY270" fmla="*/ 485 h 10000"/>
              <a:gd name="connsiteX271" fmla="*/ 6420 w 10000"/>
              <a:gd name="connsiteY271" fmla="*/ 387 h 10000"/>
              <a:gd name="connsiteX272" fmla="*/ 6324 w 10000"/>
              <a:gd name="connsiteY272" fmla="*/ 395 h 10000"/>
              <a:gd name="connsiteX273" fmla="*/ 6267 w 10000"/>
              <a:gd name="connsiteY273" fmla="*/ 414 h 10000"/>
              <a:gd name="connsiteX274" fmla="*/ 6211 w 10000"/>
              <a:gd name="connsiteY274" fmla="*/ 462 h 10000"/>
              <a:gd name="connsiteX275" fmla="*/ 6220 w 10000"/>
              <a:gd name="connsiteY275" fmla="*/ 581 h 10000"/>
              <a:gd name="connsiteX276" fmla="*/ 6132 w 10000"/>
              <a:gd name="connsiteY276" fmla="*/ 735 h 10000"/>
              <a:gd name="connsiteX277" fmla="*/ 6024 w 10000"/>
              <a:gd name="connsiteY277" fmla="*/ 815 h 10000"/>
              <a:gd name="connsiteX278" fmla="*/ 5980 w 10000"/>
              <a:gd name="connsiteY278" fmla="*/ 805 h 10000"/>
              <a:gd name="connsiteX279" fmla="*/ 5880 w 10000"/>
              <a:gd name="connsiteY279" fmla="*/ 739 h 10000"/>
              <a:gd name="connsiteX280" fmla="*/ 5753 w 10000"/>
              <a:gd name="connsiteY280" fmla="*/ 705 h 10000"/>
              <a:gd name="connsiteX281" fmla="*/ 5618 w 10000"/>
              <a:gd name="connsiteY281" fmla="*/ 715 h 10000"/>
              <a:gd name="connsiteX282" fmla="*/ 5301 w 10000"/>
              <a:gd name="connsiteY282" fmla="*/ 866 h 10000"/>
              <a:gd name="connsiteX283" fmla="*/ 5218 w 10000"/>
              <a:gd name="connsiteY283" fmla="*/ 1017 h 10000"/>
              <a:gd name="connsiteX284" fmla="*/ 4978 w 10000"/>
              <a:gd name="connsiteY284" fmla="*/ 1153 h 10000"/>
              <a:gd name="connsiteX285" fmla="*/ 4935 w 10000"/>
              <a:gd name="connsiteY285" fmla="*/ 1222 h 10000"/>
              <a:gd name="connsiteX286" fmla="*/ 5061 w 10000"/>
              <a:gd name="connsiteY286" fmla="*/ 1344 h 10000"/>
              <a:gd name="connsiteX287" fmla="*/ 5074 w 10000"/>
              <a:gd name="connsiteY287" fmla="*/ 1412 h 10000"/>
              <a:gd name="connsiteX288" fmla="*/ 4421 w 10000"/>
              <a:gd name="connsiteY288" fmla="*/ 1813 h 10000"/>
              <a:gd name="connsiteX289" fmla="*/ 4220 w 10000"/>
              <a:gd name="connsiteY289" fmla="*/ 2070 h 10000"/>
              <a:gd name="connsiteX290" fmla="*/ 4003 w 10000"/>
              <a:gd name="connsiteY290" fmla="*/ 2135 h 10000"/>
              <a:gd name="connsiteX291" fmla="*/ 3868 w 10000"/>
              <a:gd name="connsiteY291" fmla="*/ 2131 h 10000"/>
              <a:gd name="connsiteX292" fmla="*/ 3785 w 10000"/>
              <a:gd name="connsiteY292" fmla="*/ 2153 h 10000"/>
              <a:gd name="connsiteX293" fmla="*/ 3558 w 10000"/>
              <a:gd name="connsiteY293" fmla="*/ 2793 h 10000"/>
              <a:gd name="connsiteX294" fmla="*/ 3036 w 10000"/>
              <a:gd name="connsiteY294" fmla="*/ 3166 h 10000"/>
              <a:gd name="connsiteX295" fmla="*/ 3040 w 10000"/>
              <a:gd name="connsiteY295" fmla="*/ 3225 h 10000"/>
              <a:gd name="connsiteX296" fmla="*/ 3271 w 10000"/>
              <a:gd name="connsiteY296" fmla="*/ 3392 h 10000"/>
              <a:gd name="connsiteX297" fmla="*/ 3197 w 10000"/>
              <a:gd name="connsiteY297" fmla="*/ 3573 h 10000"/>
              <a:gd name="connsiteX298" fmla="*/ 3062 w 10000"/>
              <a:gd name="connsiteY298" fmla="*/ 3640 h 10000"/>
              <a:gd name="connsiteX299" fmla="*/ 2657 w 10000"/>
              <a:gd name="connsiteY299" fmla="*/ 3595 h 10000"/>
              <a:gd name="connsiteX300" fmla="*/ 2378 w 10000"/>
              <a:gd name="connsiteY300" fmla="*/ 3620 h 10000"/>
              <a:gd name="connsiteX301" fmla="*/ 2152 w 10000"/>
              <a:gd name="connsiteY301" fmla="*/ 3673 h 10000"/>
              <a:gd name="connsiteX302" fmla="*/ 1790 w 10000"/>
              <a:gd name="connsiteY302" fmla="*/ 3840 h 10000"/>
              <a:gd name="connsiteX303" fmla="*/ 1598 w 10000"/>
              <a:gd name="connsiteY303" fmla="*/ 4042 h 10000"/>
              <a:gd name="connsiteX304" fmla="*/ 1616 w 10000"/>
              <a:gd name="connsiteY304" fmla="*/ 4154 h 10000"/>
              <a:gd name="connsiteX305" fmla="*/ 1681 w 10000"/>
              <a:gd name="connsiteY305" fmla="*/ 4241 h 10000"/>
              <a:gd name="connsiteX306" fmla="*/ 1733 w 10000"/>
              <a:gd name="connsiteY306" fmla="*/ 4276 h 10000"/>
              <a:gd name="connsiteX307" fmla="*/ 1638 w 10000"/>
              <a:gd name="connsiteY307" fmla="*/ 4331 h 10000"/>
              <a:gd name="connsiteX308" fmla="*/ 1433 w 10000"/>
              <a:gd name="connsiteY308" fmla="*/ 4710 h 10000"/>
              <a:gd name="connsiteX309" fmla="*/ 1472 w 10000"/>
              <a:gd name="connsiteY309" fmla="*/ 4732 h 10000"/>
              <a:gd name="connsiteX310" fmla="*/ 1503 w 10000"/>
              <a:gd name="connsiteY310" fmla="*/ 4828 h 10000"/>
              <a:gd name="connsiteX311" fmla="*/ 1407 w 10000"/>
              <a:gd name="connsiteY311" fmla="*/ 5227 h 10000"/>
              <a:gd name="connsiteX312" fmla="*/ 1503 w 10000"/>
              <a:gd name="connsiteY312" fmla="*/ 5329 h 10000"/>
              <a:gd name="connsiteX313" fmla="*/ 1764 w 10000"/>
              <a:gd name="connsiteY313" fmla="*/ 5441 h 10000"/>
              <a:gd name="connsiteX314" fmla="*/ 1777 w 10000"/>
              <a:gd name="connsiteY314" fmla="*/ 5578 h 10000"/>
              <a:gd name="connsiteX315" fmla="*/ 1664 w 10000"/>
              <a:gd name="connsiteY315" fmla="*/ 5690 h 10000"/>
              <a:gd name="connsiteX316" fmla="*/ 1503 w 10000"/>
              <a:gd name="connsiteY316" fmla="*/ 5759 h 10000"/>
              <a:gd name="connsiteX317" fmla="*/ 1289 w 10000"/>
              <a:gd name="connsiteY317" fmla="*/ 5787 h 10000"/>
              <a:gd name="connsiteX318" fmla="*/ 1233 w 10000"/>
              <a:gd name="connsiteY318" fmla="*/ 5826 h 10000"/>
              <a:gd name="connsiteX319" fmla="*/ 1359 w 10000"/>
              <a:gd name="connsiteY319" fmla="*/ 5920 h 10000"/>
              <a:gd name="connsiteX320" fmla="*/ 1429 w 10000"/>
              <a:gd name="connsiteY320" fmla="*/ 6142 h 10000"/>
              <a:gd name="connsiteX321" fmla="*/ 1267 w 10000"/>
              <a:gd name="connsiteY321" fmla="*/ 6333 h 10000"/>
              <a:gd name="connsiteX322" fmla="*/ 1324 w 10000"/>
              <a:gd name="connsiteY322" fmla="*/ 6392 h 10000"/>
              <a:gd name="connsiteX323" fmla="*/ 1272 w 10000"/>
              <a:gd name="connsiteY323" fmla="*/ 6492 h 10000"/>
              <a:gd name="connsiteX324" fmla="*/ 1167 w 10000"/>
              <a:gd name="connsiteY324" fmla="*/ 6561 h 10000"/>
              <a:gd name="connsiteX325" fmla="*/ 758 w 10000"/>
              <a:gd name="connsiteY325" fmla="*/ 6614 h 10000"/>
              <a:gd name="connsiteX326" fmla="*/ 732 w 10000"/>
              <a:gd name="connsiteY326" fmla="*/ 6706 h 10000"/>
              <a:gd name="connsiteX327" fmla="*/ 510 w 10000"/>
              <a:gd name="connsiteY327" fmla="*/ 6843 h 10000"/>
              <a:gd name="connsiteX328" fmla="*/ 540 w 10000"/>
              <a:gd name="connsiteY328" fmla="*/ 7040 h 10000"/>
              <a:gd name="connsiteX329" fmla="*/ 353 w 10000"/>
              <a:gd name="connsiteY329" fmla="*/ 7293 h 10000"/>
              <a:gd name="connsiteX330" fmla="*/ 226 w 10000"/>
              <a:gd name="connsiteY330" fmla="*/ 7323 h 10000"/>
              <a:gd name="connsiteX331" fmla="*/ 174 w 10000"/>
              <a:gd name="connsiteY331" fmla="*/ 7262 h 10000"/>
              <a:gd name="connsiteX332" fmla="*/ 109 w 10000"/>
              <a:gd name="connsiteY332" fmla="*/ 7354 h 10000"/>
              <a:gd name="connsiteX333" fmla="*/ 152 w 10000"/>
              <a:gd name="connsiteY333" fmla="*/ 7197 h 10000"/>
              <a:gd name="connsiteX334" fmla="*/ 126 w 10000"/>
              <a:gd name="connsiteY33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567 w 10000"/>
              <a:gd name="connsiteY213" fmla="*/ 2605 h 10000"/>
              <a:gd name="connsiteX214" fmla="*/ 8685 w 10000"/>
              <a:gd name="connsiteY214" fmla="*/ 2597 h 10000"/>
              <a:gd name="connsiteX215" fmla="*/ 8698 w 10000"/>
              <a:gd name="connsiteY215" fmla="*/ 2565 h 10000"/>
              <a:gd name="connsiteX216" fmla="*/ 8558 w 10000"/>
              <a:gd name="connsiteY216" fmla="*/ 2481 h 10000"/>
              <a:gd name="connsiteX217" fmla="*/ 8558 w 10000"/>
              <a:gd name="connsiteY217" fmla="*/ 2459 h 10000"/>
              <a:gd name="connsiteX218" fmla="*/ 8698 w 10000"/>
              <a:gd name="connsiteY218" fmla="*/ 2504 h 10000"/>
              <a:gd name="connsiteX219" fmla="*/ 8763 w 10000"/>
              <a:gd name="connsiteY219" fmla="*/ 2548 h 10000"/>
              <a:gd name="connsiteX220" fmla="*/ 8815 w 10000"/>
              <a:gd name="connsiteY220" fmla="*/ 2548 h 10000"/>
              <a:gd name="connsiteX221" fmla="*/ 8789 w 10000"/>
              <a:gd name="connsiteY221" fmla="*/ 2457 h 10000"/>
              <a:gd name="connsiteX222" fmla="*/ 8798 w 10000"/>
              <a:gd name="connsiteY222" fmla="*/ 2467 h 10000"/>
              <a:gd name="connsiteX223" fmla="*/ 8841 w 10000"/>
              <a:gd name="connsiteY223" fmla="*/ 2457 h 10000"/>
              <a:gd name="connsiteX224" fmla="*/ 8855 w 10000"/>
              <a:gd name="connsiteY224" fmla="*/ 2341 h 10000"/>
              <a:gd name="connsiteX225" fmla="*/ 8898 w 10000"/>
              <a:gd name="connsiteY225" fmla="*/ 2332 h 10000"/>
              <a:gd name="connsiteX226" fmla="*/ 8946 w 10000"/>
              <a:gd name="connsiteY226" fmla="*/ 2330 h 10000"/>
              <a:gd name="connsiteX227" fmla="*/ 8946 w 10000"/>
              <a:gd name="connsiteY227" fmla="*/ 2361 h 10000"/>
              <a:gd name="connsiteX228" fmla="*/ 8994 w 10000"/>
              <a:gd name="connsiteY228" fmla="*/ 2389 h 10000"/>
              <a:gd name="connsiteX229" fmla="*/ 9051 w 10000"/>
              <a:gd name="connsiteY229" fmla="*/ 2400 h 10000"/>
              <a:gd name="connsiteX230" fmla="*/ 9094 w 10000"/>
              <a:gd name="connsiteY230" fmla="*/ 2324 h 10000"/>
              <a:gd name="connsiteX231" fmla="*/ 9164 w 10000"/>
              <a:gd name="connsiteY231" fmla="*/ 2347 h 10000"/>
              <a:gd name="connsiteX232" fmla="*/ 9247 w 10000"/>
              <a:gd name="connsiteY232" fmla="*/ 2402 h 10000"/>
              <a:gd name="connsiteX233" fmla="*/ 9286 w 10000"/>
              <a:gd name="connsiteY233" fmla="*/ 2400 h 10000"/>
              <a:gd name="connsiteX234" fmla="*/ 9355 w 10000"/>
              <a:gd name="connsiteY234" fmla="*/ 2428 h 10000"/>
              <a:gd name="connsiteX235" fmla="*/ 9408 w 10000"/>
              <a:gd name="connsiteY235" fmla="*/ 2359 h 10000"/>
              <a:gd name="connsiteX236" fmla="*/ 9717 w 10000"/>
              <a:gd name="connsiteY236" fmla="*/ 2343 h 10000"/>
              <a:gd name="connsiteX237" fmla="*/ 9830 w 10000"/>
              <a:gd name="connsiteY237" fmla="*/ 2369 h 10000"/>
              <a:gd name="connsiteX238" fmla="*/ 9909 w 10000"/>
              <a:gd name="connsiteY238" fmla="*/ 2410 h 10000"/>
              <a:gd name="connsiteX239" fmla="*/ 9948 w 10000"/>
              <a:gd name="connsiteY239" fmla="*/ 2365 h 10000"/>
              <a:gd name="connsiteX240" fmla="*/ 10000 w 10000"/>
              <a:gd name="connsiteY240" fmla="*/ 2349 h 10000"/>
              <a:gd name="connsiteX241" fmla="*/ 9704 w 10000"/>
              <a:gd name="connsiteY241" fmla="*/ 1992 h 10000"/>
              <a:gd name="connsiteX242" fmla="*/ 9743 w 10000"/>
              <a:gd name="connsiteY242" fmla="*/ 1897 h 10000"/>
              <a:gd name="connsiteX243" fmla="*/ 9830 w 10000"/>
              <a:gd name="connsiteY243" fmla="*/ 1819 h 10000"/>
              <a:gd name="connsiteX244" fmla="*/ 9830 w 10000"/>
              <a:gd name="connsiteY244" fmla="*/ 1699 h 10000"/>
              <a:gd name="connsiteX245" fmla="*/ 9556 w 10000"/>
              <a:gd name="connsiteY245" fmla="*/ 1465 h 10000"/>
              <a:gd name="connsiteX246" fmla="*/ 9512 w 10000"/>
              <a:gd name="connsiteY246" fmla="*/ 1379 h 10000"/>
              <a:gd name="connsiteX247" fmla="*/ 9573 w 10000"/>
              <a:gd name="connsiteY247" fmla="*/ 1271 h 10000"/>
              <a:gd name="connsiteX248" fmla="*/ 9543 w 10000"/>
              <a:gd name="connsiteY248" fmla="*/ 1194 h 10000"/>
              <a:gd name="connsiteX249" fmla="*/ 9486 w 10000"/>
              <a:gd name="connsiteY249" fmla="*/ 1159 h 10000"/>
              <a:gd name="connsiteX250" fmla="*/ 9438 w 10000"/>
              <a:gd name="connsiteY250" fmla="*/ 978 h 10000"/>
              <a:gd name="connsiteX251" fmla="*/ 9495 w 10000"/>
              <a:gd name="connsiteY251" fmla="*/ 831 h 10000"/>
              <a:gd name="connsiteX252" fmla="*/ 9077 w 10000"/>
              <a:gd name="connsiteY252" fmla="*/ 517 h 10000"/>
              <a:gd name="connsiteX253" fmla="*/ 8872 w 10000"/>
              <a:gd name="connsiteY253" fmla="*/ 440 h 10000"/>
              <a:gd name="connsiteX254" fmla="*/ 8493 w 10000"/>
              <a:gd name="connsiteY254" fmla="*/ 389 h 10000"/>
              <a:gd name="connsiteX255" fmla="*/ 7709 w 10000"/>
              <a:gd name="connsiteY255" fmla="*/ 26 h 10000"/>
              <a:gd name="connsiteX256" fmla="*/ 7683 w 10000"/>
              <a:gd name="connsiteY256" fmla="*/ 2 h 10000"/>
              <a:gd name="connsiteX257" fmla="*/ 7417 w 10000"/>
              <a:gd name="connsiteY257" fmla="*/ 0 h 10000"/>
              <a:gd name="connsiteX258" fmla="*/ 7356 w 10000"/>
              <a:gd name="connsiteY258" fmla="*/ 14 h 10000"/>
              <a:gd name="connsiteX259" fmla="*/ 7369 w 10000"/>
              <a:gd name="connsiteY259" fmla="*/ 61 h 10000"/>
              <a:gd name="connsiteX260" fmla="*/ 7422 w 10000"/>
              <a:gd name="connsiteY260" fmla="*/ 86 h 10000"/>
              <a:gd name="connsiteX261" fmla="*/ 7435 w 10000"/>
              <a:gd name="connsiteY261" fmla="*/ 139 h 10000"/>
              <a:gd name="connsiteX262" fmla="*/ 7417 w 10000"/>
              <a:gd name="connsiteY262" fmla="*/ 181 h 10000"/>
              <a:gd name="connsiteX263" fmla="*/ 7369 w 10000"/>
              <a:gd name="connsiteY263" fmla="*/ 208 h 10000"/>
              <a:gd name="connsiteX264" fmla="*/ 7334 w 10000"/>
              <a:gd name="connsiteY264" fmla="*/ 283 h 10000"/>
              <a:gd name="connsiteX265" fmla="*/ 7269 w 10000"/>
              <a:gd name="connsiteY265" fmla="*/ 336 h 10000"/>
              <a:gd name="connsiteX266" fmla="*/ 7282 w 10000"/>
              <a:gd name="connsiteY266" fmla="*/ 387 h 10000"/>
              <a:gd name="connsiteX267" fmla="*/ 7382 w 10000"/>
              <a:gd name="connsiteY267" fmla="*/ 434 h 10000"/>
              <a:gd name="connsiteX268" fmla="*/ 7317 w 10000"/>
              <a:gd name="connsiteY268" fmla="*/ 475 h 10000"/>
              <a:gd name="connsiteX269" fmla="*/ 7221 w 10000"/>
              <a:gd name="connsiteY269" fmla="*/ 485 h 10000"/>
              <a:gd name="connsiteX270" fmla="*/ 6420 w 10000"/>
              <a:gd name="connsiteY270" fmla="*/ 387 h 10000"/>
              <a:gd name="connsiteX271" fmla="*/ 6324 w 10000"/>
              <a:gd name="connsiteY271" fmla="*/ 395 h 10000"/>
              <a:gd name="connsiteX272" fmla="*/ 6267 w 10000"/>
              <a:gd name="connsiteY272" fmla="*/ 414 h 10000"/>
              <a:gd name="connsiteX273" fmla="*/ 6211 w 10000"/>
              <a:gd name="connsiteY273" fmla="*/ 462 h 10000"/>
              <a:gd name="connsiteX274" fmla="*/ 6220 w 10000"/>
              <a:gd name="connsiteY274" fmla="*/ 581 h 10000"/>
              <a:gd name="connsiteX275" fmla="*/ 6132 w 10000"/>
              <a:gd name="connsiteY275" fmla="*/ 735 h 10000"/>
              <a:gd name="connsiteX276" fmla="*/ 6024 w 10000"/>
              <a:gd name="connsiteY276" fmla="*/ 815 h 10000"/>
              <a:gd name="connsiteX277" fmla="*/ 5980 w 10000"/>
              <a:gd name="connsiteY277" fmla="*/ 805 h 10000"/>
              <a:gd name="connsiteX278" fmla="*/ 5880 w 10000"/>
              <a:gd name="connsiteY278" fmla="*/ 739 h 10000"/>
              <a:gd name="connsiteX279" fmla="*/ 5753 w 10000"/>
              <a:gd name="connsiteY279" fmla="*/ 705 h 10000"/>
              <a:gd name="connsiteX280" fmla="*/ 5618 w 10000"/>
              <a:gd name="connsiteY280" fmla="*/ 715 h 10000"/>
              <a:gd name="connsiteX281" fmla="*/ 5301 w 10000"/>
              <a:gd name="connsiteY281" fmla="*/ 866 h 10000"/>
              <a:gd name="connsiteX282" fmla="*/ 5218 w 10000"/>
              <a:gd name="connsiteY282" fmla="*/ 1017 h 10000"/>
              <a:gd name="connsiteX283" fmla="*/ 4978 w 10000"/>
              <a:gd name="connsiteY283" fmla="*/ 1153 h 10000"/>
              <a:gd name="connsiteX284" fmla="*/ 4935 w 10000"/>
              <a:gd name="connsiteY284" fmla="*/ 1222 h 10000"/>
              <a:gd name="connsiteX285" fmla="*/ 5061 w 10000"/>
              <a:gd name="connsiteY285" fmla="*/ 1344 h 10000"/>
              <a:gd name="connsiteX286" fmla="*/ 5074 w 10000"/>
              <a:gd name="connsiteY286" fmla="*/ 1412 h 10000"/>
              <a:gd name="connsiteX287" fmla="*/ 4421 w 10000"/>
              <a:gd name="connsiteY287" fmla="*/ 1813 h 10000"/>
              <a:gd name="connsiteX288" fmla="*/ 4220 w 10000"/>
              <a:gd name="connsiteY288" fmla="*/ 2070 h 10000"/>
              <a:gd name="connsiteX289" fmla="*/ 4003 w 10000"/>
              <a:gd name="connsiteY289" fmla="*/ 2135 h 10000"/>
              <a:gd name="connsiteX290" fmla="*/ 3868 w 10000"/>
              <a:gd name="connsiteY290" fmla="*/ 2131 h 10000"/>
              <a:gd name="connsiteX291" fmla="*/ 3785 w 10000"/>
              <a:gd name="connsiteY291" fmla="*/ 2153 h 10000"/>
              <a:gd name="connsiteX292" fmla="*/ 3558 w 10000"/>
              <a:gd name="connsiteY292" fmla="*/ 2793 h 10000"/>
              <a:gd name="connsiteX293" fmla="*/ 3036 w 10000"/>
              <a:gd name="connsiteY293" fmla="*/ 3166 h 10000"/>
              <a:gd name="connsiteX294" fmla="*/ 3040 w 10000"/>
              <a:gd name="connsiteY294" fmla="*/ 3225 h 10000"/>
              <a:gd name="connsiteX295" fmla="*/ 3271 w 10000"/>
              <a:gd name="connsiteY295" fmla="*/ 3392 h 10000"/>
              <a:gd name="connsiteX296" fmla="*/ 3197 w 10000"/>
              <a:gd name="connsiteY296" fmla="*/ 3573 h 10000"/>
              <a:gd name="connsiteX297" fmla="*/ 3062 w 10000"/>
              <a:gd name="connsiteY297" fmla="*/ 3640 h 10000"/>
              <a:gd name="connsiteX298" fmla="*/ 2657 w 10000"/>
              <a:gd name="connsiteY298" fmla="*/ 3595 h 10000"/>
              <a:gd name="connsiteX299" fmla="*/ 2378 w 10000"/>
              <a:gd name="connsiteY299" fmla="*/ 3620 h 10000"/>
              <a:gd name="connsiteX300" fmla="*/ 2152 w 10000"/>
              <a:gd name="connsiteY300" fmla="*/ 3673 h 10000"/>
              <a:gd name="connsiteX301" fmla="*/ 1790 w 10000"/>
              <a:gd name="connsiteY301" fmla="*/ 3840 h 10000"/>
              <a:gd name="connsiteX302" fmla="*/ 1598 w 10000"/>
              <a:gd name="connsiteY302" fmla="*/ 4042 h 10000"/>
              <a:gd name="connsiteX303" fmla="*/ 1616 w 10000"/>
              <a:gd name="connsiteY303" fmla="*/ 4154 h 10000"/>
              <a:gd name="connsiteX304" fmla="*/ 1681 w 10000"/>
              <a:gd name="connsiteY304" fmla="*/ 4241 h 10000"/>
              <a:gd name="connsiteX305" fmla="*/ 1733 w 10000"/>
              <a:gd name="connsiteY305" fmla="*/ 4276 h 10000"/>
              <a:gd name="connsiteX306" fmla="*/ 1638 w 10000"/>
              <a:gd name="connsiteY306" fmla="*/ 4331 h 10000"/>
              <a:gd name="connsiteX307" fmla="*/ 1433 w 10000"/>
              <a:gd name="connsiteY307" fmla="*/ 4710 h 10000"/>
              <a:gd name="connsiteX308" fmla="*/ 1472 w 10000"/>
              <a:gd name="connsiteY308" fmla="*/ 4732 h 10000"/>
              <a:gd name="connsiteX309" fmla="*/ 1503 w 10000"/>
              <a:gd name="connsiteY309" fmla="*/ 4828 h 10000"/>
              <a:gd name="connsiteX310" fmla="*/ 1407 w 10000"/>
              <a:gd name="connsiteY310" fmla="*/ 5227 h 10000"/>
              <a:gd name="connsiteX311" fmla="*/ 1503 w 10000"/>
              <a:gd name="connsiteY311" fmla="*/ 5329 h 10000"/>
              <a:gd name="connsiteX312" fmla="*/ 1764 w 10000"/>
              <a:gd name="connsiteY312" fmla="*/ 5441 h 10000"/>
              <a:gd name="connsiteX313" fmla="*/ 1777 w 10000"/>
              <a:gd name="connsiteY313" fmla="*/ 5578 h 10000"/>
              <a:gd name="connsiteX314" fmla="*/ 1664 w 10000"/>
              <a:gd name="connsiteY314" fmla="*/ 5690 h 10000"/>
              <a:gd name="connsiteX315" fmla="*/ 1503 w 10000"/>
              <a:gd name="connsiteY315" fmla="*/ 5759 h 10000"/>
              <a:gd name="connsiteX316" fmla="*/ 1289 w 10000"/>
              <a:gd name="connsiteY316" fmla="*/ 5787 h 10000"/>
              <a:gd name="connsiteX317" fmla="*/ 1233 w 10000"/>
              <a:gd name="connsiteY317" fmla="*/ 5826 h 10000"/>
              <a:gd name="connsiteX318" fmla="*/ 1359 w 10000"/>
              <a:gd name="connsiteY318" fmla="*/ 5920 h 10000"/>
              <a:gd name="connsiteX319" fmla="*/ 1429 w 10000"/>
              <a:gd name="connsiteY319" fmla="*/ 6142 h 10000"/>
              <a:gd name="connsiteX320" fmla="*/ 1267 w 10000"/>
              <a:gd name="connsiteY320" fmla="*/ 6333 h 10000"/>
              <a:gd name="connsiteX321" fmla="*/ 1324 w 10000"/>
              <a:gd name="connsiteY321" fmla="*/ 6392 h 10000"/>
              <a:gd name="connsiteX322" fmla="*/ 1272 w 10000"/>
              <a:gd name="connsiteY322" fmla="*/ 6492 h 10000"/>
              <a:gd name="connsiteX323" fmla="*/ 1167 w 10000"/>
              <a:gd name="connsiteY323" fmla="*/ 6561 h 10000"/>
              <a:gd name="connsiteX324" fmla="*/ 758 w 10000"/>
              <a:gd name="connsiteY324" fmla="*/ 6614 h 10000"/>
              <a:gd name="connsiteX325" fmla="*/ 732 w 10000"/>
              <a:gd name="connsiteY325" fmla="*/ 6706 h 10000"/>
              <a:gd name="connsiteX326" fmla="*/ 510 w 10000"/>
              <a:gd name="connsiteY326" fmla="*/ 6843 h 10000"/>
              <a:gd name="connsiteX327" fmla="*/ 540 w 10000"/>
              <a:gd name="connsiteY327" fmla="*/ 7040 h 10000"/>
              <a:gd name="connsiteX328" fmla="*/ 353 w 10000"/>
              <a:gd name="connsiteY328" fmla="*/ 7293 h 10000"/>
              <a:gd name="connsiteX329" fmla="*/ 226 w 10000"/>
              <a:gd name="connsiteY329" fmla="*/ 7323 h 10000"/>
              <a:gd name="connsiteX330" fmla="*/ 174 w 10000"/>
              <a:gd name="connsiteY330" fmla="*/ 7262 h 10000"/>
              <a:gd name="connsiteX331" fmla="*/ 109 w 10000"/>
              <a:gd name="connsiteY331" fmla="*/ 7354 h 10000"/>
              <a:gd name="connsiteX332" fmla="*/ 152 w 10000"/>
              <a:gd name="connsiteY332" fmla="*/ 7197 h 10000"/>
              <a:gd name="connsiteX333" fmla="*/ 126 w 10000"/>
              <a:gd name="connsiteY33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567 w 10000"/>
              <a:gd name="connsiteY213" fmla="*/ 2605 h 10000"/>
              <a:gd name="connsiteX214" fmla="*/ 8685 w 10000"/>
              <a:gd name="connsiteY214" fmla="*/ 2597 h 10000"/>
              <a:gd name="connsiteX215" fmla="*/ 8558 w 10000"/>
              <a:gd name="connsiteY215" fmla="*/ 2481 h 10000"/>
              <a:gd name="connsiteX216" fmla="*/ 8558 w 10000"/>
              <a:gd name="connsiteY216" fmla="*/ 2459 h 10000"/>
              <a:gd name="connsiteX217" fmla="*/ 8698 w 10000"/>
              <a:gd name="connsiteY217" fmla="*/ 2504 h 10000"/>
              <a:gd name="connsiteX218" fmla="*/ 8763 w 10000"/>
              <a:gd name="connsiteY218" fmla="*/ 2548 h 10000"/>
              <a:gd name="connsiteX219" fmla="*/ 8815 w 10000"/>
              <a:gd name="connsiteY219" fmla="*/ 2548 h 10000"/>
              <a:gd name="connsiteX220" fmla="*/ 8789 w 10000"/>
              <a:gd name="connsiteY220" fmla="*/ 2457 h 10000"/>
              <a:gd name="connsiteX221" fmla="*/ 8798 w 10000"/>
              <a:gd name="connsiteY221" fmla="*/ 2467 h 10000"/>
              <a:gd name="connsiteX222" fmla="*/ 8841 w 10000"/>
              <a:gd name="connsiteY222" fmla="*/ 2457 h 10000"/>
              <a:gd name="connsiteX223" fmla="*/ 8855 w 10000"/>
              <a:gd name="connsiteY223" fmla="*/ 2341 h 10000"/>
              <a:gd name="connsiteX224" fmla="*/ 8898 w 10000"/>
              <a:gd name="connsiteY224" fmla="*/ 2332 h 10000"/>
              <a:gd name="connsiteX225" fmla="*/ 8946 w 10000"/>
              <a:gd name="connsiteY225" fmla="*/ 2330 h 10000"/>
              <a:gd name="connsiteX226" fmla="*/ 8946 w 10000"/>
              <a:gd name="connsiteY226" fmla="*/ 2361 h 10000"/>
              <a:gd name="connsiteX227" fmla="*/ 8994 w 10000"/>
              <a:gd name="connsiteY227" fmla="*/ 2389 h 10000"/>
              <a:gd name="connsiteX228" fmla="*/ 9051 w 10000"/>
              <a:gd name="connsiteY228" fmla="*/ 2400 h 10000"/>
              <a:gd name="connsiteX229" fmla="*/ 9094 w 10000"/>
              <a:gd name="connsiteY229" fmla="*/ 2324 h 10000"/>
              <a:gd name="connsiteX230" fmla="*/ 9164 w 10000"/>
              <a:gd name="connsiteY230" fmla="*/ 2347 h 10000"/>
              <a:gd name="connsiteX231" fmla="*/ 9247 w 10000"/>
              <a:gd name="connsiteY231" fmla="*/ 2402 h 10000"/>
              <a:gd name="connsiteX232" fmla="*/ 9286 w 10000"/>
              <a:gd name="connsiteY232" fmla="*/ 2400 h 10000"/>
              <a:gd name="connsiteX233" fmla="*/ 9355 w 10000"/>
              <a:gd name="connsiteY233" fmla="*/ 2428 h 10000"/>
              <a:gd name="connsiteX234" fmla="*/ 9408 w 10000"/>
              <a:gd name="connsiteY234" fmla="*/ 2359 h 10000"/>
              <a:gd name="connsiteX235" fmla="*/ 9717 w 10000"/>
              <a:gd name="connsiteY235" fmla="*/ 2343 h 10000"/>
              <a:gd name="connsiteX236" fmla="*/ 9830 w 10000"/>
              <a:gd name="connsiteY236" fmla="*/ 2369 h 10000"/>
              <a:gd name="connsiteX237" fmla="*/ 9909 w 10000"/>
              <a:gd name="connsiteY237" fmla="*/ 2410 h 10000"/>
              <a:gd name="connsiteX238" fmla="*/ 9948 w 10000"/>
              <a:gd name="connsiteY238" fmla="*/ 2365 h 10000"/>
              <a:gd name="connsiteX239" fmla="*/ 10000 w 10000"/>
              <a:gd name="connsiteY239" fmla="*/ 2349 h 10000"/>
              <a:gd name="connsiteX240" fmla="*/ 9704 w 10000"/>
              <a:gd name="connsiteY240" fmla="*/ 1992 h 10000"/>
              <a:gd name="connsiteX241" fmla="*/ 9743 w 10000"/>
              <a:gd name="connsiteY241" fmla="*/ 1897 h 10000"/>
              <a:gd name="connsiteX242" fmla="*/ 9830 w 10000"/>
              <a:gd name="connsiteY242" fmla="*/ 1819 h 10000"/>
              <a:gd name="connsiteX243" fmla="*/ 9830 w 10000"/>
              <a:gd name="connsiteY243" fmla="*/ 1699 h 10000"/>
              <a:gd name="connsiteX244" fmla="*/ 9556 w 10000"/>
              <a:gd name="connsiteY244" fmla="*/ 1465 h 10000"/>
              <a:gd name="connsiteX245" fmla="*/ 9512 w 10000"/>
              <a:gd name="connsiteY245" fmla="*/ 1379 h 10000"/>
              <a:gd name="connsiteX246" fmla="*/ 9573 w 10000"/>
              <a:gd name="connsiteY246" fmla="*/ 1271 h 10000"/>
              <a:gd name="connsiteX247" fmla="*/ 9543 w 10000"/>
              <a:gd name="connsiteY247" fmla="*/ 1194 h 10000"/>
              <a:gd name="connsiteX248" fmla="*/ 9486 w 10000"/>
              <a:gd name="connsiteY248" fmla="*/ 1159 h 10000"/>
              <a:gd name="connsiteX249" fmla="*/ 9438 w 10000"/>
              <a:gd name="connsiteY249" fmla="*/ 978 h 10000"/>
              <a:gd name="connsiteX250" fmla="*/ 9495 w 10000"/>
              <a:gd name="connsiteY250" fmla="*/ 831 h 10000"/>
              <a:gd name="connsiteX251" fmla="*/ 9077 w 10000"/>
              <a:gd name="connsiteY251" fmla="*/ 517 h 10000"/>
              <a:gd name="connsiteX252" fmla="*/ 8872 w 10000"/>
              <a:gd name="connsiteY252" fmla="*/ 440 h 10000"/>
              <a:gd name="connsiteX253" fmla="*/ 8493 w 10000"/>
              <a:gd name="connsiteY253" fmla="*/ 389 h 10000"/>
              <a:gd name="connsiteX254" fmla="*/ 7709 w 10000"/>
              <a:gd name="connsiteY254" fmla="*/ 26 h 10000"/>
              <a:gd name="connsiteX255" fmla="*/ 7683 w 10000"/>
              <a:gd name="connsiteY255" fmla="*/ 2 h 10000"/>
              <a:gd name="connsiteX256" fmla="*/ 7417 w 10000"/>
              <a:gd name="connsiteY256" fmla="*/ 0 h 10000"/>
              <a:gd name="connsiteX257" fmla="*/ 7356 w 10000"/>
              <a:gd name="connsiteY257" fmla="*/ 14 h 10000"/>
              <a:gd name="connsiteX258" fmla="*/ 7369 w 10000"/>
              <a:gd name="connsiteY258" fmla="*/ 61 h 10000"/>
              <a:gd name="connsiteX259" fmla="*/ 7422 w 10000"/>
              <a:gd name="connsiteY259" fmla="*/ 86 h 10000"/>
              <a:gd name="connsiteX260" fmla="*/ 7435 w 10000"/>
              <a:gd name="connsiteY260" fmla="*/ 139 h 10000"/>
              <a:gd name="connsiteX261" fmla="*/ 7417 w 10000"/>
              <a:gd name="connsiteY261" fmla="*/ 181 h 10000"/>
              <a:gd name="connsiteX262" fmla="*/ 7369 w 10000"/>
              <a:gd name="connsiteY262" fmla="*/ 208 h 10000"/>
              <a:gd name="connsiteX263" fmla="*/ 7334 w 10000"/>
              <a:gd name="connsiteY263" fmla="*/ 283 h 10000"/>
              <a:gd name="connsiteX264" fmla="*/ 7269 w 10000"/>
              <a:gd name="connsiteY264" fmla="*/ 336 h 10000"/>
              <a:gd name="connsiteX265" fmla="*/ 7282 w 10000"/>
              <a:gd name="connsiteY265" fmla="*/ 387 h 10000"/>
              <a:gd name="connsiteX266" fmla="*/ 7382 w 10000"/>
              <a:gd name="connsiteY266" fmla="*/ 434 h 10000"/>
              <a:gd name="connsiteX267" fmla="*/ 7317 w 10000"/>
              <a:gd name="connsiteY267" fmla="*/ 475 h 10000"/>
              <a:gd name="connsiteX268" fmla="*/ 7221 w 10000"/>
              <a:gd name="connsiteY268" fmla="*/ 485 h 10000"/>
              <a:gd name="connsiteX269" fmla="*/ 6420 w 10000"/>
              <a:gd name="connsiteY269" fmla="*/ 387 h 10000"/>
              <a:gd name="connsiteX270" fmla="*/ 6324 w 10000"/>
              <a:gd name="connsiteY270" fmla="*/ 395 h 10000"/>
              <a:gd name="connsiteX271" fmla="*/ 6267 w 10000"/>
              <a:gd name="connsiteY271" fmla="*/ 414 h 10000"/>
              <a:gd name="connsiteX272" fmla="*/ 6211 w 10000"/>
              <a:gd name="connsiteY272" fmla="*/ 462 h 10000"/>
              <a:gd name="connsiteX273" fmla="*/ 6220 w 10000"/>
              <a:gd name="connsiteY273" fmla="*/ 581 h 10000"/>
              <a:gd name="connsiteX274" fmla="*/ 6132 w 10000"/>
              <a:gd name="connsiteY274" fmla="*/ 735 h 10000"/>
              <a:gd name="connsiteX275" fmla="*/ 6024 w 10000"/>
              <a:gd name="connsiteY275" fmla="*/ 815 h 10000"/>
              <a:gd name="connsiteX276" fmla="*/ 5980 w 10000"/>
              <a:gd name="connsiteY276" fmla="*/ 805 h 10000"/>
              <a:gd name="connsiteX277" fmla="*/ 5880 w 10000"/>
              <a:gd name="connsiteY277" fmla="*/ 739 h 10000"/>
              <a:gd name="connsiteX278" fmla="*/ 5753 w 10000"/>
              <a:gd name="connsiteY278" fmla="*/ 705 h 10000"/>
              <a:gd name="connsiteX279" fmla="*/ 5618 w 10000"/>
              <a:gd name="connsiteY279" fmla="*/ 715 h 10000"/>
              <a:gd name="connsiteX280" fmla="*/ 5301 w 10000"/>
              <a:gd name="connsiteY280" fmla="*/ 866 h 10000"/>
              <a:gd name="connsiteX281" fmla="*/ 5218 w 10000"/>
              <a:gd name="connsiteY281" fmla="*/ 1017 h 10000"/>
              <a:gd name="connsiteX282" fmla="*/ 4978 w 10000"/>
              <a:gd name="connsiteY282" fmla="*/ 1153 h 10000"/>
              <a:gd name="connsiteX283" fmla="*/ 4935 w 10000"/>
              <a:gd name="connsiteY283" fmla="*/ 1222 h 10000"/>
              <a:gd name="connsiteX284" fmla="*/ 5061 w 10000"/>
              <a:gd name="connsiteY284" fmla="*/ 1344 h 10000"/>
              <a:gd name="connsiteX285" fmla="*/ 5074 w 10000"/>
              <a:gd name="connsiteY285" fmla="*/ 1412 h 10000"/>
              <a:gd name="connsiteX286" fmla="*/ 4421 w 10000"/>
              <a:gd name="connsiteY286" fmla="*/ 1813 h 10000"/>
              <a:gd name="connsiteX287" fmla="*/ 4220 w 10000"/>
              <a:gd name="connsiteY287" fmla="*/ 2070 h 10000"/>
              <a:gd name="connsiteX288" fmla="*/ 4003 w 10000"/>
              <a:gd name="connsiteY288" fmla="*/ 2135 h 10000"/>
              <a:gd name="connsiteX289" fmla="*/ 3868 w 10000"/>
              <a:gd name="connsiteY289" fmla="*/ 2131 h 10000"/>
              <a:gd name="connsiteX290" fmla="*/ 3785 w 10000"/>
              <a:gd name="connsiteY290" fmla="*/ 2153 h 10000"/>
              <a:gd name="connsiteX291" fmla="*/ 3558 w 10000"/>
              <a:gd name="connsiteY291" fmla="*/ 2793 h 10000"/>
              <a:gd name="connsiteX292" fmla="*/ 3036 w 10000"/>
              <a:gd name="connsiteY292" fmla="*/ 3166 h 10000"/>
              <a:gd name="connsiteX293" fmla="*/ 3040 w 10000"/>
              <a:gd name="connsiteY293" fmla="*/ 3225 h 10000"/>
              <a:gd name="connsiteX294" fmla="*/ 3271 w 10000"/>
              <a:gd name="connsiteY294" fmla="*/ 3392 h 10000"/>
              <a:gd name="connsiteX295" fmla="*/ 3197 w 10000"/>
              <a:gd name="connsiteY295" fmla="*/ 3573 h 10000"/>
              <a:gd name="connsiteX296" fmla="*/ 3062 w 10000"/>
              <a:gd name="connsiteY296" fmla="*/ 3640 h 10000"/>
              <a:gd name="connsiteX297" fmla="*/ 2657 w 10000"/>
              <a:gd name="connsiteY297" fmla="*/ 3595 h 10000"/>
              <a:gd name="connsiteX298" fmla="*/ 2378 w 10000"/>
              <a:gd name="connsiteY298" fmla="*/ 3620 h 10000"/>
              <a:gd name="connsiteX299" fmla="*/ 2152 w 10000"/>
              <a:gd name="connsiteY299" fmla="*/ 3673 h 10000"/>
              <a:gd name="connsiteX300" fmla="*/ 1790 w 10000"/>
              <a:gd name="connsiteY300" fmla="*/ 3840 h 10000"/>
              <a:gd name="connsiteX301" fmla="*/ 1598 w 10000"/>
              <a:gd name="connsiteY301" fmla="*/ 4042 h 10000"/>
              <a:gd name="connsiteX302" fmla="*/ 1616 w 10000"/>
              <a:gd name="connsiteY302" fmla="*/ 4154 h 10000"/>
              <a:gd name="connsiteX303" fmla="*/ 1681 w 10000"/>
              <a:gd name="connsiteY303" fmla="*/ 4241 h 10000"/>
              <a:gd name="connsiteX304" fmla="*/ 1733 w 10000"/>
              <a:gd name="connsiteY304" fmla="*/ 4276 h 10000"/>
              <a:gd name="connsiteX305" fmla="*/ 1638 w 10000"/>
              <a:gd name="connsiteY305" fmla="*/ 4331 h 10000"/>
              <a:gd name="connsiteX306" fmla="*/ 1433 w 10000"/>
              <a:gd name="connsiteY306" fmla="*/ 4710 h 10000"/>
              <a:gd name="connsiteX307" fmla="*/ 1472 w 10000"/>
              <a:gd name="connsiteY307" fmla="*/ 4732 h 10000"/>
              <a:gd name="connsiteX308" fmla="*/ 1503 w 10000"/>
              <a:gd name="connsiteY308" fmla="*/ 4828 h 10000"/>
              <a:gd name="connsiteX309" fmla="*/ 1407 w 10000"/>
              <a:gd name="connsiteY309" fmla="*/ 5227 h 10000"/>
              <a:gd name="connsiteX310" fmla="*/ 1503 w 10000"/>
              <a:gd name="connsiteY310" fmla="*/ 5329 h 10000"/>
              <a:gd name="connsiteX311" fmla="*/ 1764 w 10000"/>
              <a:gd name="connsiteY311" fmla="*/ 5441 h 10000"/>
              <a:gd name="connsiteX312" fmla="*/ 1777 w 10000"/>
              <a:gd name="connsiteY312" fmla="*/ 5578 h 10000"/>
              <a:gd name="connsiteX313" fmla="*/ 1664 w 10000"/>
              <a:gd name="connsiteY313" fmla="*/ 5690 h 10000"/>
              <a:gd name="connsiteX314" fmla="*/ 1503 w 10000"/>
              <a:gd name="connsiteY314" fmla="*/ 5759 h 10000"/>
              <a:gd name="connsiteX315" fmla="*/ 1289 w 10000"/>
              <a:gd name="connsiteY315" fmla="*/ 5787 h 10000"/>
              <a:gd name="connsiteX316" fmla="*/ 1233 w 10000"/>
              <a:gd name="connsiteY316" fmla="*/ 5826 h 10000"/>
              <a:gd name="connsiteX317" fmla="*/ 1359 w 10000"/>
              <a:gd name="connsiteY317" fmla="*/ 5920 h 10000"/>
              <a:gd name="connsiteX318" fmla="*/ 1429 w 10000"/>
              <a:gd name="connsiteY318" fmla="*/ 6142 h 10000"/>
              <a:gd name="connsiteX319" fmla="*/ 1267 w 10000"/>
              <a:gd name="connsiteY319" fmla="*/ 6333 h 10000"/>
              <a:gd name="connsiteX320" fmla="*/ 1324 w 10000"/>
              <a:gd name="connsiteY320" fmla="*/ 6392 h 10000"/>
              <a:gd name="connsiteX321" fmla="*/ 1272 w 10000"/>
              <a:gd name="connsiteY321" fmla="*/ 6492 h 10000"/>
              <a:gd name="connsiteX322" fmla="*/ 1167 w 10000"/>
              <a:gd name="connsiteY322" fmla="*/ 6561 h 10000"/>
              <a:gd name="connsiteX323" fmla="*/ 758 w 10000"/>
              <a:gd name="connsiteY323" fmla="*/ 6614 h 10000"/>
              <a:gd name="connsiteX324" fmla="*/ 732 w 10000"/>
              <a:gd name="connsiteY324" fmla="*/ 6706 h 10000"/>
              <a:gd name="connsiteX325" fmla="*/ 510 w 10000"/>
              <a:gd name="connsiteY325" fmla="*/ 6843 h 10000"/>
              <a:gd name="connsiteX326" fmla="*/ 540 w 10000"/>
              <a:gd name="connsiteY326" fmla="*/ 7040 h 10000"/>
              <a:gd name="connsiteX327" fmla="*/ 353 w 10000"/>
              <a:gd name="connsiteY327" fmla="*/ 7293 h 10000"/>
              <a:gd name="connsiteX328" fmla="*/ 226 w 10000"/>
              <a:gd name="connsiteY328" fmla="*/ 7323 h 10000"/>
              <a:gd name="connsiteX329" fmla="*/ 174 w 10000"/>
              <a:gd name="connsiteY329" fmla="*/ 7262 h 10000"/>
              <a:gd name="connsiteX330" fmla="*/ 109 w 10000"/>
              <a:gd name="connsiteY330" fmla="*/ 7354 h 10000"/>
              <a:gd name="connsiteX331" fmla="*/ 152 w 10000"/>
              <a:gd name="connsiteY331" fmla="*/ 7197 h 10000"/>
              <a:gd name="connsiteX332" fmla="*/ 126 w 10000"/>
              <a:gd name="connsiteY33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685 w 10000"/>
              <a:gd name="connsiteY213" fmla="*/ 2597 h 10000"/>
              <a:gd name="connsiteX214" fmla="*/ 8558 w 10000"/>
              <a:gd name="connsiteY214" fmla="*/ 2481 h 10000"/>
              <a:gd name="connsiteX215" fmla="*/ 8558 w 10000"/>
              <a:gd name="connsiteY215" fmla="*/ 2459 h 10000"/>
              <a:gd name="connsiteX216" fmla="*/ 8698 w 10000"/>
              <a:gd name="connsiteY216" fmla="*/ 2504 h 10000"/>
              <a:gd name="connsiteX217" fmla="*/ 8763 w 10000"/>
              <a:gd name="connsiteY217" fmla="*/ 2548 h 10000"/>
              <a:gd name="connsiteX218" fmla="*/ 8815 w 10000"/>
              <a:gd name="connsiteY218" fmla="*/ 2548 h 10000"/>
              <a:gd name="connsiteX219" fmla="*/ 8789 w 10000"/>
              <a:gd name="connsiteY219" fmla="*/ 2457 h 10000"/>
              <a:gd name="connsiteX220" fmla="*/ 8798 w 10000"/>
              <a:gd name="connsiteY220" fmla="*/ 2467 h 10000"/>
              <a:gd name="connsiteX221" fmla="*/ 8841 w 10000"/>
              <a:gd name="connsiteY221" fmla="*/ 2457 h 10000"/>
              <a:gd name="connsiteX222" fmla="*/ 8855 w 10000"/>
              <a:gd name="connsiteY222" fmla="*/ 2341 h 10000"/>
              <a:gd name="connsiteX223" fmla="*/ 8898 w 10000"/>
              <a:gd name="connsiteY223" fmla="*/ 2332 h 10000"/>
              <a:gd name="connsiteX224" fmla="*/ 8946 w 10000"/>
              <a:gd name="connsiteY224" fmla="*/ 2330 h 10000"/>
              <a:gd name="connsiteX225" fmla="*/ 8946 w 10000"/>
              <a:gd name="connsiteY225" fmla="*/ 2361 h 10000"/>
              <a:gd name="connsiteX226" fmla="*/ 8994 w 10000"/>
              <a:gd name="connsiteY226" fmla="*/ 2389 h 10000"/>
              <a:gd name="connsiteX227" fmla="*/ 9051 w 10000"/>
              <a:gd name="connsiteY227" fmla="*/ 2400 h 10000"/>
              <a:gd name="connsiteX228" fmla="*/ 9094 w 10000"/>
              <a:gd name="connsiteY228" fmla="*/ 2324 h 10000"/>
              <a:gd name="connsiteX229" fmla="*/ 9164 w 10000"/>
              <a:gd name="connsiteY229" fmla="*/ 2347 h 10000"/>
              <a:gd name="connsiteX230" fmla="*/ 9247 w 10000"/>
              <a:gd name="connsiteY230" fmla="*/ 2402 h 10000"/>
              <a:gd name="connsiteX231" fmla="*/ 9286 w 10000"/>
              <a:gd name="connsiteY231" fmla="*/ 2400 h 10000"/>
              <a:gd name="connsiteX232" fmla="*/ 9355 w 10000"/>
              <a:gd name="connsiteY232" fmla="*/ 2428 h 10000"/>
              <a:gd name="connsiteX233" fmla="*/ 9408 w 10000"/>
              <a:gd name="connsiteY233" fmla="*/ 2359 h 10000"/>
              <a:gd name="connsiteX234" fmla="*/ 9717 w 10000"/>
              <a:gd name="connsiteY234" fmla="*/ 2343 h 10000"/>
              <a:gd name="connsiteX235" fmla="*/ 9830 w 10000"/>
              <a:gd name="connsiteY235" fmla="*/ 2369 h 10000"/>
              <a:gd name="connsiteX236" fmla="*/ 9909 w 10000"/>
              <a:gd name="connsiteY236" fmla="*/ 2410 h 10000"/>
              <a:gd name="connsiteX237" fmla="*/ 9948 w 10000"/>
              <a:gd name="connsiteY237" fmla="*/ 2365 h 10000"/>
              <a:gd name="connsiteX238" fmla="*/ 10000 w 10000"/>
              <a:gd name="connsiteY238" fmla="*/ 2349 h 10000"/>
              <a:gd name="connsiteX239" fmla="*/ 9704 w 10000"/>
              <a:gd name="connsiteY239" fmla="*/ 1992 h 10000"/>
              <a:gd name="connsiteX240" fmla="*/ 9743 w 10000"/>
              <a:gd name="connsiteY240" fmla="*/ 1897 h 10000"/>
              <a:gd name="connsiteX241" fmla="*/ 9830 w 10000"/>
              <a:gd name="connsiteY241" fmla="*/ 1819 h 10000"/>
              <a:gd name="connsiteX242" fmla="*/ 9830 w 10000"/>
              <a:gd name="connsiteY242" fmla="*/ 1699 h 10000"/>
              <a:gd name="connsiteX243" fmla="*/ 9556 w 10000"/>
              <a:gd name="connsiteY243" fmla="*/ 1465 h 10000"/>
              <a:gd name="connsiteX244" fmla="*/ 9512 w 10000"/>
              <a:gd name="connsiteY244" fmla="*/ 1379 h 10000"/>
              <a:gd name="connsiteX245" fmla="*/ 9573 w 10000"/>
              <a:gd name="connsiteY245" fmla="*/ 1271 h 10000"/>
              <a:gd name="connsiteX246" fmla="*/ 9543 w 10000"/>
              <a:gd name="connsiteY246" fmla="*/ 1194 h 10000"/>
              <a:gd name="connsiteX247" fmla="*/ 9486 w 10000"/>
              <a:gd name="connsiteY247" fmla="*/ 1159 h 10000"/>
              <a:gd name="connsiteX248" fmla="*/ 9438 w 10000"/>
              <a:gd name="connsiteY248" fmla="*/ 978 h 10000"/>
              <a:gd name="connsiteX249" fmla="*/ 9495 w 10000"/>
              <a:gd name="connsiteY249" fmla="*/ 831 h 10000"/>
              <a:gd name="connsiteX250" fmla="*/ 9077 w 10000"/>
              <a:gd name="connsiteY250" fmla="*/ 517 h 10000"/>
              <a:gd name="connsiteX251" fmla="*/ 8872 w 10000"/>
              <a:gd name="connsiteY251" fmla="*/ 440 h 10000"/>
              <a:gd name="connsiteX252" fmla="*/ 8493 w 10000"/>
              <a:gd name="connsiteY252" fmla="*/ 389 h 10000"/>
              <a:gd name="connsiteX253" fmla="*/ 7709 w 10000"/>
              <a:gd name="connsiteY253" fmla="*/ 26 h 10000"/>
              <a:gd name="connsiteX254" fmla="*/ 7683 w 10000"/>
              <a:gd name="connsiteY254" fmla="*/ 2 h 10000"/>
              <a:gd name="connsiteX255" fmla="*/ 7417 w 10000"/>
              <a:gd name="connsiteY255" fmla="*/ 0 h 10000"/>
              <a:gd name="connsiteX256" fmla="*/ 7356 w 10000"/>
              <a:gd name="connsiteY256" fmla="*/ 14 h 10000"/>
              <a:gd name="connsiteX257" fmla="*/ 7369 w 10000"/>
              <a:gd name="connsiteY257" fmla="*/ 61 h 10000"/>
              <a:gd name="connsiteX258" fmla="*/ 7422 w 10000"/>
              <a:gd name="connsiteY258" fmla="*/ 86 h 10000"/>
              <a:gd name="connsiteX259" fmla="*/ 7435 w 10000"/>
              <a:gd name="connsiteY259" fmla="*/ 139 h 10000"/>
              <a:gd name="connsiteX260" fmla="*/ 7417 w 10000"/>
              <a:gd name="connsiteY260" fmla="*/ 181 h 10000"/>
              <a:gd name="connsiteX261" fmla="*/ 7369 w 10000"/>
              <a:gd name="connsiteY261" fmla="*/ 208 h 10000"/>
              <a:gd name="connsiteX262" fmla="*/ 7334 w 10000"/>
              <a:gd name="connsiteY262" fmla="*/ 283 h 10000"/>
              <a:gd name="connsiteX263" fmla="*/ 7269 w 10000"/>
              <a:gd name="connsiteY263" fmla="*/ 336 h 10000"/>
              <a:gd name="connsiteX264" fmla="*/ 7282 w 10000"/>
              <a:gd name="connsiteY264" fmla="*/ 387 h 10000"/>
              <a:gd name="connsiteX265" fmla="*/ 7382 w 10000"/>
              <a:gd name="connsiteY265" fmla="*/ 434 h 10000"/>
              <a:gd name="connsiteX266" fmla="*/ 7317 w 10000"/>
              <a:gd name="connsiteY266" fmla="*/ 475 h 10000"/>
              <a:gd name="connsiteX267" fmla="*/ 7221 w 10000"/>
              <a:gd name="connsiteY267" fmla="*/ 485 h 10000"/>
              <a:gd name="connsiteX268" fmla="*/ 6420 w 10000"/>
              <a:gd name="connsiteY268" fmla="*/ 387 h 10000"/>
              <a:gd name="connsiteX269" fmla="*/ 6324 w 10000"/>
              <a:gd name="connsiteY269" fmla="*/ 395 h 10000"/>
              <a:gd name="connsiteX270" fmla="*/ 6267 w 10000"/>
              <a:gd name="connsiteY270" fmla="*/ 414 h 10000"/>
              <a:gd name="connsiteX271" fmla="*/ 6211 w 10000"/>
              <a:gd name="connsiteY271" fmla="*/ 462 h 10000"/>
              <a:gd name="connsiteX272" fmla="*/ 6220 w 10000"/>
              <a:gd name="connsiteY272" fmla="*/ 581 h 10000"/>
              <a:gd name="connsiteX273" fmla="*/ 6132 w 10000"/>
              <a:gd name="connsiteY273" fmla="*/ 735 h 10000"/>
              <a:gd name="connsiteX274" fmla="*/ 6024 w 10000"/>
              <a:gd name="connsiteY274" fmla="*/ 815 h 10000"/>
              <a:gd name="connsiteX275" fmla="*/ 5980 w 10000"/>
              <a:gd name="connsiteY275" fmla="*/ 805 h 10000"/>
              <a:gd name="connsiteX276" fmla="*/ 5880 w 10000"/>
              <a:gd name="connsiteY276" fmla="*/ 739 h 10000"/>
              <a:gd name="connsiteX277" fmla="*/ 5753 w 10000"/>
              <a:gd name="connsiteY277" fmla="*/ 705 h 10000"/>
              <a:gd name="connsiteX278" fmla="*/ 5618 w 10000"/>
              <a:gd name="connsiteY278" fmla="*/ 715 h 10000"/>
              <a:gd name="connsiteX279" fmla="*/ 5301 w 10000"/>
              <a:gd name="connsiteY279" fmla="*/ 866 h 10000"/>
              <a:gd name="connsiteX280" fmla="*/ 5218 w 10000"/>
              <a:gd name="connsiteY280" fmla="*/ 1017 h 10000"/>
              <a:gd name="connsiteX281" fmla="*/ 4978 w 10000"/>
              <a:gd name="connsiteY281" fmla="*/ 1153 h 10000"/>
              <a:gd name="connsiteX282" fmla="*/ 4935 w 10000"/>
              <a:gd name="connsiteY282" fmla="*/ 1222 h 10000"/>
              <a:gd name="connsiteX283" fmla="*/ 5061 w 10000"/>
              <a:gd name="connsiteY283" fmla="*/ 1344 h 10000"/>
              <a:gd name="connsiteX284" fmla="*/ 5074 w 10000"/>
              <a:gd name="connsiteY284" fmla="*/ 1412 h 10000"/>
              <a:gd name="connsiteX285" fmla="*/ 4421 w 10000"/>
              <a:gd name="connsiteY285" fmla="*/ 1813 h 10000"/>
              <a:gd name="connsiteX286" fmla="*/ 4220 w 10000"/>
              <a:gd name="connsiteY286" fmla="*/ 2070 h 10000"/>
              <a:gd name="connsiteX287" fmla="*/ 4003 w 10000"/>
              <a:gd name="connsiteY287" fmla="*/ 2135 h 10000"/>
              <a:gd name="connsiteX288" fmla="*/ 3868 w 10000"/>
              <a:gd name="connsiteY288" fmla="*/ 2131 h 10000"/>
              <a:gd name="connsiteX289" fmla="*/ 3785 w 10000"/>
              <a:gd name="connsiteY289" fmla="*/ 2153 h 10000"/>
              <a:gd name="connsiteX290" fmla="*/ 3558 w 10000"/>
              <a:gd name="connsiteY290" fmla="*/ 2793 h 10000"/>
              <a:gd name="connsiteX291" fmla="*/ 3036 w 10000"/>
              <a:gd name="connsiteY291" fmla="*/ 3166 h 10000"/>
              <a:gd name="connsiteX292" fmla="*/ 3040 w 10000"/>
              <a:gd name="connsiteY292" fmla="*/ 3225 h 10000"/>
              <a:gd name="connsiteX293" fmla="*/ 3271 w 10000"/>
              <a:gd name="connsiteY293" fmla="*/ 3392 h 10000"/>
              <a:gd name="connsiteX294" fmla="*/ 3197 w 10000"/>
              <a:gd name="connsiteY294" fmla="*/ 3573 h 10000"/>
              <a:gd name="connsiteX295" fmla="*/ 3062 w 10000"/>
              <a:gd name="connsiteY295" fmla="*/ 3640 h 10000"/>
              <a:gd name="connsiteX296" fmla="*/ 2657 w 10000"/>
              <a:gd name="connsiteY296" fmla="*/ 3595 h 10000"/>
              <a:gd name="connsiteX297" fmla="*/ 2378 w 10000"/>
              <a:gd name="connsiteY297" fmla="*/ 3620 h 10000"/>
              <a:gd name="connsiteX298" fmla="*/ 2152 w 10000"/>
              <a:gd name="connsiteY298" fmla="*/ 3673 h 10000"/>
              <a:gd name="connsiteX299" fmla="*/ 1790 w 10000"/>
              <a:gd name="connsiteY299" fmla="*/ 3840 h 10000"/>
              <a:gd name="connsiteX300" fmla="*/ 1598 w 10000"/>
              <a:gd name="connsiteY300" fmla="*/ 4042 h 10000"/>
              <a:gd name="connsiteX301" fmla="*/ 1616 w 10000"/>
              <a:gd name="connsiteY301" fmla="*/ 4154 h 10000"/>
              <a:gd name="connsiteX302" fmla="*/ 1681 w 10000"/>
              <a:gd name="connsiteY302" fmla="*/ 4241 h 10000"/>
              <a:gd name="connsiteX303" fmla="*/ 1733 w 10000"/>
              <a:gd name="connsiteY303" fmla="*/ 4276 h 10000"/>
              <a:gd name="connsiteX304" fmla="*/ 1638 w 10000"/>
              <a:gd name="connsiteY304" fmla="*/ 4331 h 10000"/>
              <a:gd name="connsiteX305" fmla="*/ 1433 w 10000"/>
              <a:gd name="connsiteY305" fmla="*/ 4710 h 10000"/>
              <a:gd name="connsiteX306" fmla="*/ 1472 w 10000"/>
              <a:gd name="connsiteY306" fmla="*/ 4732 h 10000"/>
              <a:gd name="connsiteX307" fmla="*/ 1503 w 10000"/>
              <a:gd name="connsiteY307" fmla="*/ 4828 h 10000"/>
              <a:gd name="connsiteX308" fmla="*/ 1407 w 10000"/>
              <a:gd name="connsiteY308" fmla="*/ 5227 h 10000"/>
              <a:gd name="connsiteX309" fmla="*/ 1503 w 10000"/>
              <a:gd name="connsiteY309" fmla="*/ 5329 h 10000"/>
              <a:gd name="connsiteX310" fmla="*/ 1764 w 10000"/>
              <a:gd name="connsiteY310" fmla="*/ 5441 h 10000"/>
              <a:gd name="connsiteX311" fmla="*/ 1777 w 10000"/>
              <a:gd name="connsiteY311" fmla="*/ 5578 h 10000"/>
              <a:gd name="connsiteX312" fmla="*/ 1664 w 10000"/>
              <a:gd name="connsiteY312" fmla="*/ 5690 h 10000"/>
              <a:gd name="connsiteX313" fmla="*/ 1503 w 10000"/>
              <a:gd name="connsiteY313" fmla="*/ 5759 h 10000"/>
              <a:gd name="connsiteX314" fmla="*/ 1289 w 10000"/>
              <a:gd name="connsiteY314" fmla="*/ 5787 h 10000"/>
              <a:gd name="connsiteX315" fmla="*/ 1233 w 10000"/>
              <a:gd name="connsiteY315" fmla="*/ 5826 h 10000"/>
              <a:gd name="connsiteX316" fmla="*/ 1359 w 10000"/>
              <a:gd name="connsiteY316" fmla="*/ 5920 h 10000"/>
              <a:gd name="connsiteX317" fmla="*/ 1429 w 10000"/>
              <a:gd name="connsiteY317" fmla="*/ 6142 h 10000"/>
              <a:gd name="connsiteX318" fmla="*/ 1267 w 10000"/>
              <a:gd name="connsiteY318" fmla="*/ 6333 h 10000"/>
              <a:gd name="connsiteX319" fmla="*/ 1324 w 10000"/>
              <a:gd name="connsiteY319" fmla="*/ 6392 h 10000"/>
              <a:gd name="connsiteX320" fmla="*/ 1272 w 10000"/>
              <a:gd name="connsiteY320" fmla="*/ 6492 h 10000"/>
              <a:gd name="connsiteX321" fmla="*/ 1167 w 10000"/>
              <a:gd name="connsiteY321" fmla="*/ 6561 h 10000"/>
              <a:gd name="connsiteX322" fmla="*/ 758 w 10000"/>
              <a:gd name="connsiteY322" fmla="*/ 6614 h 10000"/>
              <a:gd name="connsiteX323" fmla="*/ 732 w 10000"/>
              <a:gd name="connsiteY323" fmla="*/ 6706 h 10000"/>
              <a:gd name="connsiteX324" fmla="*/ 510 w 10000"/>
              <a:gd name="connsiteY324" fmla="*/ 6843 h 10000"/>
              <a:gd name="connsiteX325" fmla="*/ 540 w 10000"/>
              <a:gd name="connsiteY325" fmla="*/ 7040 h 10000"/>
              <a:gd name="connsiteX326" fmla="*/ 353 w 10000"/>
              <a:gd name="connsiteY326" fmla="*/ 7293 h 10000"/>
              <a:gd name="connsiteX327" fmla="*/ 226 w 10000"/>
              <a:gd name="connsiteY327" fmla="*/ 7323 h 10000"/>
              <a:gd name="connsiteX328" fmla="*/ 174 w 10000"/>
              <a:gd name="connsiteY328" fmla="*/ 7262 h 10000"/>
              <a:gd name="connsiteX329" fmla="*/ 109 w 10000"/>
              <a:gd name="connsiteY329" fmla="*/ 7354 h 10000"/>
              <a:gd name="connsiteX330" fmla="*/ 152 w 10000"/>
              <a:gd name="connsiteY330" fmla="*/ 7197 h 10000"/>
              <a:gd name="connsiteX331" fmla="*/ 126 w 10000"/>
              <a:gd name="connsiteY33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402 w 10000"/>
              <a:gd name="connsiteY208" fmla="*/ 2662 h 10000"/>
              <a:gd name="connsiteX209" fmla="*/ 8449 w 10000"/>
              <a:gd name="connsiteY209" fmla="*/ 2656 h 10000"/>
              <a:gd name="connsiteX210" fmla="*/ 8593 w 10000"/>
              <a:gd name="connsiteY210" fmla="*/ 2669 h 10000"/>
              <a:gd name="connsiteX211" fmla="*/ 8606 w 10000"/>
              <a:gd name="connsiteY211" fmla="*/ 2630 h 10000"/>
              <a:gd name="connsiteX212" fmla="*/ 8685 w 10000"/>
              <a:gd name="connsiteY212" fmla="*/ 2597 h 10000"/>
              <a:gd name="connsiteX213" fmla="*/ 8558 w 10000"/>
              <a:gd name="connsiteY213" fmla="*/ 2481 h 10000"/>
              <a:gd name="connsiteX214" fmla="*/ 8558 w 10000"/>
              <a:gd name="connsiteY214" fmla="*/ 2459 h 10000"/>
              <a:gd name="connsiteX215" fmla="*/ 8698 w 10000"/>
              <a:gd name="connsiteY215" fmla="*/ 2504 h 10000"/>
              <a:gd name="connsiteX216" fmla="*/ 8763 w 10000"/>
              <a:gd name="connsiteY216" fmla="*/ 2548 h 10000"/>
              <a:gd name="connsiteX217" fmla="*/ 8815 w 10000"/>
              <a:gd name="connsiteY217" fmla="*/ 2548 h 10000"/>
              <a:gd name="connsiteX218" fmla="*/ 8789 w 10000"/>
              <a:gd name="connsiteY218" fmla="*/ 2457 h 10000"/>
              <a:gd name="connsiteX219" fmla="*/ 8798 w 10000"/>
              <a:gd name="connsiteY219" fmla="*/ 2467 h 10000"/>
              <a:gd name="connsiteX220" fmla="*/ 8841 w 10000"/>
              <a:gd name="connsiteY220" fmla="*/ 2457 h 10000"/>
              <a:gd name="connsiteX221" fmla="*/ 8855 w 10000"/>
              <a:gd name="connsiteY221" fmla="*/ 2341 h 10000"/>
              <a:gd name="connsiteX222" fmla="*/ 8898 w 10000"/>
              <a:gd name="connsiteY222" fmla="*/ 2332 h 10000"/>
              <a:gd name="connsiteX223" fmla="*/ 8946 w 10000"/>
              <a:gd name="connsiteY223" fmla="*/ 2330 h 10000"/>
              <a:gd name="connsiteX224" fmla="*/ 8946 w 10000"/>
              <a:gd name="connsiteY224" fmla="*/ 2361 h 10000"/>
              <a:gd name="connsiteX225" fmla="*/ 8994 w 10000"/>
              <a:gd name="connsiteY225" fmla="*/ 2389 h 10000"/>
              <a:gd name="connsiteX226" fmla="*/ 9051 w 10000"/>
              <a:gd name="connsiteY226" fmla="*/ 2400 h 10000"/>
              <a:gd name="connsiteX227" fmla="*/ 9094 w 10000"/>
              <a:gd name="connsiteY227" fmla="*/ 2324 h 10000"/>
              <a:gd name="connsiteX228" fmla="*/ 9164 w 10000"/>
              <a:gd name="connsiteY228" fmla="*/ 2347 h 10000"/>
              <a:gd name="connsiteX229" fmla="*/ 9247 w 10000"/>
              <a:gd name="connsiteY229" fmla="*/ 2402 h 10000"/>
              <a:gd name="connsiteX230" fmla="*/ 9286 w 10000"/>
              <a:gd name="connsiteY230" fmla="*/ 2400 h 10000"/>
              <a:gd name="connsiteX231" fmla="*/ 9355 w 10000"/>
              <a:gd name="connsiteY231" fmla="*/ 2428 h 10000"/>
              <a:gd name="connsiteX232" fmla="*/ 9408 w 10000"/>
              <a:gd name="connsiteY232" fmla="*/ 2359 h 10000"/>
              <a:gd name="connsiteX233" fmla="*/ 9717 w 10000"/>
              <a:gd name="connsiteY233" fmla="*/ 2343 h 10000"/>
              <a:gd name="connsiteX234" fmla="*/ 9830 w 10000"/>
              <a:gd name="connsiteY234" fmla="*/ 2369 h 10000"/>
              <a:gd name="connsiteX235" fmla="*/ 9909 w 10000"/>
              <a:gd name="connsiteY235" fmla="*/ 2410 h 10000"/>
              <a:gd name="connsiteX236" fmla="*/ 9948 w 10000"/>
              <a:gd name="connsiteY236" fmla="*/ 2365 h 10000"/>
              <a:gd name="connsiteX237" fmla="*/ 10000 w 10000"/>
              <a:gd name="connsiteY237" fmla="*/ 2349 h 10000"/>
              <a:gd name="connsiteX238" fmla="*/ 9704 w 10000"/>
              <a:gd name="connsiteY238" fmla="*/ 1992 h 10000"/>
              <a:gd name="connsiteX239" fmla="*/ 9743 w 10000"/>
              <a:gd name="connsiteY239" fmla="*/ 1897 h 10000"/>
              <a:gd name="connsiteX240" fmla="*/ 9830 w 10000"/>
              <a:gd name="connsiteY240" fmla="*/ 1819 h 10000"/>
              <a:gd name="connsiteX241" fmla="*/ 9830 w 10000"/>
              <a:gd name="connsiteY241" fmla="*/ 1699 h 10000"/>
              <a:gd name="connsiteX242" fmla="*/ 9556 w 10000"/>
              <a:gd name="connsiteY242" fmla="*/ 1465 h 10000"/>
              <a:gd name="connsiteX243" fmla="*/ 9512 w 10000"/>
              <a:gd name="connsiteY243" fmla="*/ 1379 h 10000"/>
              <a:gd name="connsiteX244" fmla="*/ 9573 w 10000"/>
              <a:gd name="connsiteY244" fmla="*/ 1271 h 10000"/>
              <a:gd name="connsiteX245" fmla="*/ 9543 w 10000"/>
              <a:gd name="connsiteY245" fmla="*/ 1194 h 10000"/>
              <a:gd name="connsiteX246" fmla="*/ 9486 w 10000"/>
              <a:gd name="connsiteY246" fmla="*/ 1159 h 10000"/>
              <a:gd name="connsiteX247" fmla="*/ 9438 w 10000"/>
              <a:gd name="connsiteY247" fmla="*/ 978 h 10000"/>
              <a:gd name="connsiteX248" fmla="*/ 9495 w 10000"/>
              <a:gd name="connsiteY248" fmla="*/ 831 h 10000"/>
              <a:gd name="connsiteX249" fmla="*/ 9077 w 10000"/>
              <a:gd name="connsiteY249" fmla="*/ 517 h 10000"/>
              <a:gd name="connsiteX250" fmla="*/ 8872 w 10000"/>
              <a:gd name="connsiteY250" fmla="*/ 440 h 10000"/>
              <a:gd name="connsiteX251" fmla="*/ 8493 w 10000"/>
              <a:gd name="connsiteY251" fmla="*/ 389 h 10000"/>
              <a:gd name="connsiteX252" fmla="*/ 7709 w 10000"/>
              <a:gd name="connsiteY252" fmla="*/ 26 h 10000"/>
              <a:gd name="connsiteX253" fmla="*/ 7683 w 10000"/>
              <a:gd name="connsiteY253" fmla="*/ 2 h 10000"/>
              <a:gd name="connsiteX254" fmla="*/ 7417 w 10000"/>
              <a:gd name="connsiteY254" fmla="*/ 0 h 10000"/>
              <a:gd name="connsiteX255" fmla="*/ 7356 w 10000"/>
              <a:gd name="connsiteY255" fmla="*/ 14 h 10000"/>
              <a:gd name="connsiteX256" fmla="*/ 7369 w 10000"/>
              <a:gd name="connsiteY256" fmla="*/ 61 h 10000"/>
              <a:gd name="connsiteX257" fmla="*/ 7422 w 10000"/>
              <a:gd name="connsiteY257" fmla="*/ 86 h 10000"/>
              <a:gd name="connsiteX258" fmla="*/ 7435 w 10000"/>
              <a:gd name="connsiteY258" fmla="*/ 139 h 10000"/>
              <a:gd name="connsiteX259" fmla="*/ 7417 w 10000"/>
              <a:gd name="connsiteY259" fmla="*/ 181 h 10000"/>
              <a:gd name="connsiteX260" fmla="*/ 7369 w 10000"/>
              <a:gd name="connsiteY260" fmla="*/ 208 h 10000"/>
              <a:gd name="connsiteX261" fmla="*/ 7334 w 10000"/>
              <a:gd name="connsiteY261" fmla="*/ 283 h 10000"/>
              <a:gd name="connsiteX262" fmla="*/ 7269 w 10000"/>
              <a:gd name="connsiteY262" fmla="*/ 336 h 10000"/>
              <a:gd name="connsiteX263" fmla="*/ 7282 w 10000"/>
              <a:gd name="connsiteY263" fmla="*/ 387 h 10000"/>
              <a:gd name="connsiteX264" fmla="*/ 7382 w 10000"/>
              <a:gd name="connsiteY264" fmla="*/ 434 h 10000"/>
              <a:gd name="connsiteX265" fmla="*/ 7317 w 10000"/>
              <a:gd name="connsiteY265" fmla="*/ 475 h 10000"/>
              <a:gd name="connsiteX266" fmla="*/ 7221 w 10000"/>
              <a:gd name="connsiteY266" fmla="*/ 485 h 10000"/>
              <a:gd name="connsiteX267" fmla="*/ 6420 w 10000"/>
              <a:gd name="connsiteY267" fmla="*/ 387 h 10000"/>
              <a:gd name="connsiteX268" fmla="*/ 6324 w 10000"/>
              <a:gd name="connsiteY268" fmla="*/ 395 h 10000"/>
              <a:gd name="connsiteX269" fmla="*/ 6267 w 10000"/>
              <a:gd name="connsiteY269" fmla="*/ 414 h 10000"/>
              <a:gd name="connsiteX270" fmla="*/ 6211 w 10000"/>
              <a:gd name="connsiteY270" fmla="*/ 462 h 10000"/>
              <a:gd name="connsiteX271" fmla="*/ 6220 w 10000"/>
              <a:gd name="connsiteY271" fmla="*/ 581 h 10000"/>
              <a:gd name="connsiteX272" fmla="*/ 6132 w 10000"/>
              <a:gd name="connsiteY272" fmla="*/ 735 h 10000"/>
              <a:gd name="connsiteX273" fmla="*/ 6024 w 10000"/>
              <a:gd name="connsiteY273" fmla="*/ 815 h 10000"/>
              <a:gd name="connsiteX274" fmla="*/ 5980 w 10000"/>
              <a:gd name="connsiteY274" fmla="*/ 805 h 10000"/>
              <a:gd name="connsiteX275" fmla="*/ 5880 w 10000"/>
              <a:gd name="connsiteY275" fmla="*/ 739 h 10000"/>
              <a:gd name="connsiteX276" fmla="*/ 5753 w 10000"/>
              <a:gd name="connsiteY276" fmla="*/ 705 h 10000"/>
              <a:gd name="connsiteX277" fmla="*/ 5618 w 10000"/>
              <a:gd name="connsiteY277" fmla="*/ 715 h 10000"/>
              <a:gd name="connsiteX278" fmla="*/ 5301 w 10000"/>
              <a:gd name="connsiteY278" fmla="*/ 866 h 10000"/>
              <a:gd name="connsiteX279" fmla="*/ 5218 w 10000"/>
              <a:gd name="connsiteY279" fmla="*/ 1017 h 10000"/>
              <a:gd name="connsiteX280" fmla="*/ 4978 w 10000"/>
              <a:gd name="connsiteY280" fmla="*/ 1153 h 10000"/>
              <a:gd name="connsiteX281" fmla="*/ 4935 w 10000"/>
              <a:gd name="connsiteY281" fmla="*/ 1222 h 10000"/>
              <a:gd name="connsiteX282" fmla="*/ 5061 w 10000"/>
              <a:gd name="connsiteY282" fmla="*/ 1344 h 10000"/>
              <a:gd name="connsiteX283" fmla="*/ 5074 w 10000"/>
              <a:gd name="connsiteY283" fmla="*/ 1412 h 10000"/>
              <a:gd name="connsiteX284" fmla="*/ 4421 w 10000"/>
              <a:gd name="connsiteY284" fmla="*/ 1813 h 10000"/>
              <a:gd name="connsiteX285" fmla="*/ 4220 w 10000"/>
              <a:gd name="connsiteY285" fmla="*/ 2070 h 10000"/>
              <a:gd name="connsiteX286" fmla="*/ 4003 w 10000"/>
              <a:gd name="connsiteY286" fmla="*/ 2135 h 10000"/>
              <a:gd name="connsiteX287" fmla="*/ 3868 w 10000"/>
              <a:gd name="connsiteY287" fmla="*/ 2131 h 10000"/>
              <a:gd name="connsiteX288" fmla="*/ 3785 w 10000"/>
              <a:gd name="connsiteY288" fmla="*/ 2153 h 10000"/>
              <a:gd name="connsiteX289" fmla="*/ 3558 w 10000"/>
              <a:gd name="connsiteY289" fmla="*/ 2793 h 10000"/>
              <a:gd name="connsiteX290" fmla="*/ 3036 w 10000"/>
              <a:gd name="connsiteY290" fmla="*/ 3166 h 10000"/>
              <a:gd name="connsiteX291" fmla="*/ 3040 w 10000"/>
              <a:gd name="connsiteY291" fmla="*/ 3225 h 10000"/>
              <a:gd name="connsiteX292" fmla="*/ 3271 w 10000"/>
              <a:gd name="connsiteY292" fmla="*/ 3392 h 10000"/>
              <a:gd name="connsiteX293" fmla="*/ 3197 w 10000"/>
              <a:gd name="connsiteY293" fmla="*/ 3573 h 10000"/>
              <a:gd name="connsiteX294" fmla="*/ 3062 w 10000"/>
              <a:gd name="connsiteY294" fmla="*/ 3640 h 10000"/>
              <a:gd name="connsiteX295" fmla="*/ 2657 w 10000"/>
              <a:gd name="connsiteY295" fmla="*/ 3595 h 10000"/>
              <a:gd name="connsiteX296" fmla="*/ 2378 w 10000"/>
              <a:gd name="connsiteY296" fmla="*/ 3620 h 10000"/>
              <a:gd name="connsiteX297" fmla="*/ 2152 w 10000"/>
              <a:gd name="connsiteY297" fmla="*/ 3673 h 10000"/>
              <a:gd name="connsiteX298" fmla="*/ 1790 w 10000"/>
              <a:gd name="connsiteY298" fmla="*/ 3840 h 10000"/>
              <a:gd name="connsiteX299" fmla="*/ 1598 w 10000"/>
              <a:gd name="connsiteY299" fmla="*/ 4042 h 10000"/>
              <a:gd name="connsiteX300" fmla="*/ 1616 w 10000"/>
              <a:gd name="connsiteY300" fmla="*/ 4154 h 10000"/>
              <a:gd name="connsiteX301" fmla="*/ 1681 w 10000"/>
              <a:gd name="connsiteY301" fmla="*/ 4241 h 10000"/>
              <a:gd name="connsiteX302" fmla="*/ 1733 w 10000"/>
              <a:gd name="connsiteY302" fmla="*/ 4276 h 10000"/>
              <a:gd name="connsiteX303" fmla="*/ 1638 w 10000"/>
              <a:gd name="connsiteY303" fmla="*/ 4331 h 10000"/>
              <a:gd name="connsiteX304" fmla="*/ 1433 w 10000"/>
              <a:gd name="connsiteY304" fmla="*/ 4710 h 10000"/>
              <a:gd name="connsiteX305" fmla="*/ 1472 w 10000"/>
              <a:gd name="connsiteY305" fmla="*/ 4732 h 10000"/>
              <a:gd name="connsiteX306" fmla="*/ 1503 w 10000"/>
              <a:gd name="connsiteY306" fmla="*/ 4828 h 10000"/>
              <a:gd name="connsiteX307" fmla="*/ 1407 w 10000"/>
              <a:gd name="connsiteY307" fmla="*/ 5227 h 10000"/>
              <a:gd name="connsiteX308" fmla="*/ 1503 w 10000"/>
              <a:gd name="connsiteY308" fmla="*/ 5329 h 10000"/>
              <a:gd name="connsiteX309" fmla="*/ 1764 w 10000"/>
              <a:gd name="connsiteY309" fmla="*/ 5441 h 10000"/>
              <a:gd name="connsiteX310" fmla="*/ 1777 w 10000"/>
              <a:gd name="connsiteY310" fmla="*/ 5578 h 10000"/>
              <a:gd name="connsiteX311" fmla="*/ 1664 w 10000"/>
              <a:gd name="connsiteY311" fmla="*/ 5690 h 10000"/>
              <a:gd name="connsiteX312" fmla="*/ 1503 w 10000"/>
              <a:gd name="connsiteY312" fmla="*/ 5759 h 10000"/>
              <a:gd name="connsiteX313" fmla="*/ 1289 w 10000"/>
              <a:gd name="connsiteY313" fmla="*/ 5787 h 10000"/>
              <a:gd name="connsiteX314" fmla="*/ 1233 w 10000"/>
              <a:gd name="connsiteY314" fmla="*/ 5826 h 10000"/>
              <a:gd name="connsiteX315" fmla="*/ 1359 w 10000"/>
              <a:gd name="connsiteY315" fmla="*/ 5920 h 10000"/>
              <a:gd name="connsiteX316" fmla="*/ 1429 w 10000"/>
              <a:gd name="connsiteY316" fmla="*/ 6142 h 10000"/>
              <a:gd name="connsiteX317" fmla="*/ 1267 w 10000"/>
              <a:gd name="connsiteY317" fmla="*/ 6333 h 10000"/>
              <a:gd name="connsiteX318" fmla="*/ 1324 w 10000"/>
              <a:gd name="connsiteY318" fmla="*/ 6392 h 10000"/>
              <a:gd name="connsiteX319" fmla="*/ 1272 w 10000"/>
              <a:gd name="connsiteY319" fmla="*/ 6492 h 10000"/>
              <a:gd name="connsiteX320" fmla="*/ 1167 w 10000"/>
              <a:gd name="connsiteY320" fmla="*/ 6561 h 10000"/>
              <a:gd name="connsiteX321" fmla="*/ 758 w 10000"/>
              <a:gd name="connsiteY321" fmla="*/ 6614 h 10000"/>
              <a:gd name="connsiteX322" fmla="*/ 732 w 10000"/>
              <a:gd name="connsiteY322" fmla="*/ 6706 h 10000"/>
              <a:gd name="connsiteX323" fmla="*/ 510 w 10000"/>
              <a:gd name="connsiteY323" fmla="*/ 6843 h 10000"/>
              <a:gd name="connsiteX324" fmla="*/ 540 w 10000"/>
              <a:gd name="connsiteY324" fmla="*/ 7040 h 10000"/>
              <a:gd name="connsiteX325" fmla="*/ 353 w 10000"/>
              <a:gd name="connsiteY325" fmla="*/ 7293 h 10000"/>
              <a:gd name="connsiteX326" fmla="*/ 226 w 10000"/>
              <a:gd name="connsiteY326" fmla="*/ 7323 h 10000"/>
              <a:gd name="connsiteX327" fmla="*/ 174 w 10000"/>
              <a:gd name="connsiteY327" fmla="*/ 7262 h 10000"/>
              <a:gd name="connsiteX328" fmla="*/ 109 w 10000"/>
              <a:gd name="connsiteY328" fmla="*/ 7354 h 10000"/>
              <a:gd name="connsiteX329" fmla="*/ 152 w 10000"/>
              <a:gd name="connsiteY329" fmla="*/ 7197 h 10000"/>
              <a:gd name="connsiteX330" fmla="*/ 126 w 10000"/>
              <a:gd name="connsiteY33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606 w 10000"/>
              <a:gd name="connsiteY210" fmla="*/ 2630 h 10000"/>
              <a:gd name="connsiteX211" fmla="*/ 8685 w 10000"/>
              <a:gd name="connsiteY211" fmla="*/ 2597 h 10000"/>
              <a:gd name="connsiteX212" fmla="*/ 8558 w 10000"/>
              <a:gd name="connsiteY212" fmla="*/ 2481 h 10000"/>
              <a:gd name="connsiteX213" fmla="*/ 8558 w 10000"/>
              <a:gd name="connsiteY213" fmla="*/ 2459 h 10000"/>
              <a:gd name="connsiteX214" fmla="*/ 8698 w 10000"/>
              <a:gd name="connsiteY214" fmla="*/ 2504 h 10000"/>
              <a:gd name="connsiteX215" fmla="*/ 8763 w 10000"/>
              <a:gd name="connsiteY215" fmla="*/ 2548 h 10000"/>
              <a:gd name="connsiteX216" fmla="*/ 8815 w 10000"/>
              <a:gd name="connsiteY216" fmla="*/ 2548 h 10000"/>
              <a:gd name="connsiteX217" fmla="*/ 8789 w 10000"/>
              <a:gd name="connsiteY217" fmla="*/ 2457 h 10000"/>
              <a:gd name="connsiteX218" fmla="*/ 8798 w 10000"/>
              <a:gd name="connsiteY218" fmla="*/ 2467 h 10000"/>
              <a:gd name="connsiteX219" fmla="*/ 8841 w 10000"/>
              <a:gd name="connsiteY219" fmla="*/ 2457 h 10000"/>
              <a:gd name="connsiteX220" fmla="*/ 8855 w 10000"/>
              <a:gd name="connsiteY220" fmla="*/ 2341 h 10000"/>
              <a:gd name="connsiteX221" fmla="*/ 8898 w 10000"/>
              <a:gd name="connsiteY221" fmla="*/ 2332 h 10000"/>
              <a:gd name="connsiteX222" fmla="*/ 8946 w 10000"/>
              <a:gd name="connsiteY222" fmla="*/ 2330 h 10000"/>
              <a:gd name="connsiteX223" fmla="*/ 8946 w 10000"/>
              <a:gd name="connsiteY223" fmla="*/ 2361 h 10000"/>
              <a:gd name="connsiteX224" fmla="*/ 8994 w 10000"/>
              <a:gd name="connsiteY224" fmla="*/ 2389 h 10000"/>
              <a:gd name="connsiteX225" fmla="*/ 9051 w 10000"/>
              <a:gd name="connsiteY225" fmla="*/ 2400 h 10000"/>
              <a:gd name="connsiteX226" fmla="*/ 9094 w 10000"/>
              <a:gd name="connsiteY226" fmla="*/ 2324 h 10000"/>
              <a:gd name="connsiteX227" fmla="*/ 9164 w 10000"/>
              <a:gd name="connsiteY227" fmla="*/ 2347 h 10000"/>
              <a:gd name="connsiteX228" fmla="*/ 9247 w 10000"/>
              <a:gd name="connsiteY228" fmla="*/ 2402 h 10000"/>
              <a:gd name="connsiteX229" fmla="*/ 9286 w 10000"/>
              <a:gd name="connsiteY229" fmla="*/ 2400 h 10000"/>
              <a:gd name="connsiteX230" fmla="*/ 9355 w 10000"/>
              <a:gd name="connsiteY230" fmla="*/ 2428 h 10000"/>
              <a:gd name="connsiteX231" fmla="*/ 9408 w 10000"/>
              <a:gd name="connsiteY231" fmla="*/ 2359 h 10000"/>
              <a:gd name="connsiteX232" fmla="*/ 9717 w 10000"/>
              <a:gd name="connsiteY232" fmla="*/ 2343 h 10000"/>
              <a:gd name="connsiteX233" fmla="*/ 9830 w 10000"/>
              <a:gd name="connsiteY233" fmla="*/ 2369 h 10000"/>
              <a:gd name="connsiteX234" fmla="*/ 9909 w 10000"/>
              <a:gd name="connsiteY234" fmla="*/ 2410 h 10000"/>
              <a:gd name="connsiteX235" fmla="*/ 9948 w 10000"/>
              <a:gd name="connsiteY235" fmla="*/ 2365 h 10000"/>
              <a:gd name="connsiteX236" fmla="*/ 10000 w 10000"/>
              <a:gd name="connsiteY236" fmla="*/ 2349 h 10000"/>
              <a:gd name="connsiteX237" fmla="*/ 9704 w 10000"/>
              <a:gd name="connsiteY237" fmla="*/ 1992 h 10000"/>
              <a:gd name="connsiteX238" fmla="*/ 9743 w 10000"/>
              <a:gd name="connsiteY238" fmla="*/ 1897 h 10000"/>
              <a:gd name="connsiteX239" fmla="*/ 9830 w 10000"/>
              <a:gd name="connsiteY239" fmla="*/ 1819 h 10000"/>
              <a:gd name="connsiteX240" fmla="*/ 9830 w 10000"/>
              <a:gd name="connsiteY240" fmla="*/ 1699 h 10000"/>
              <a:gd name="connsiteX241" fmla="*/ 9556 w 10000"/>
              <a:gd name="connsiteY241" fmla="*/ 1465 h 10000"/>
              <a:gd name="connsiteX242" fmla="*/ 9512 w 10000"/>
              <a:gd name="connsiteY242" fmla="*/ 1379 h 10000"/>
              <a:gd name="connsiteX243" fmla="*/ 9573 w 10000"/>
              <a:gd name="connsiteY243" fmla="*/ 1271 h 10000"/>
              <a:gd name="connsiteX244" fmla="*/ 9543 w 10000"/>
              <a:gd name="connsiteY244" fmla="*/ 1194 h 10000"/>
              <a:gd name="connsiteX245" fmla="*/ 9486 w 10000"/>
              <a:gd name="connsiteY245" fmla="*/ 1159 h 10000"/>
              <a:gd name="connsiteX246" fmla="*/ 9438 w 10000"/>
              <a:gd name="connsiteY246" fmla="*/ 978 h 10000"/>
              <a:gd name="connsiteX247" fmla="*/ 9495 w 10000"/>
              <a:gd name="connsiteY247" fmla="*/ 831 h 10000"/>
              <a:gd name="connsiteX248" fmla="*/ 9077 w 10000"/>
              <a:gd name="connsiteY248" fmla="*/ 517 h 10000"/>
              <a:gd name="connsiteX249" fmla="*/ 8872 w 10000"/>
              <a:gd name="connsiteY249" fmla="*/ 440 h 10000"/>
              <a:gd name="connsiteX250" fmla="*/ 8493 w 10000"/>
              <a:gd name="connsiteY250" fmla="*/ 389 h 10000"/>
              <a:gd name="connsiteX251" fmla="*/ 7709 w 10000"/>
              <a:gd name="connsiteY251" fmla="*/ 26 h 10000"/>
              <a:gd name="connsiteX252" fmla="*/ 7683 w 10000"/>
              <a:gd name="connsiteY252" fmla="*/ 2 h 10000"/>
              <a:gd name="connsiteX253" fmla="*/ 7417 w 10000"/>
              <a:gd name="connsiteY253" fmla="*/ 0 h 10000"/>
              <a:gd name="connsiteX254" fmla="*/ 7356 w 10000"/>
              <a:gd name="connsiteY254" fmla="*/ 14 h 10000"/>
              <a:gd name="connsiteX255" fmla="*/ 7369 w 10000"/>
              <a:gd name="connsiteY255" fmla="*/ 61 h 10000"/>
              <a:gd name="connsiteX256" fmla="*/ 7422 w 10000"/>
              <a:gd name="connsiteY256" fmla="*/ 86 h 10000"/>
              <a:gd name="connsiteX257" fmla="*/ 7435 w 10000"/>
              <a:gd name="connsiteY257" fmla="*/ 139 h 10000"/>
              <a:gd name="connsiteX258" fmla="*/ 7417 w 10000"/>
              <a:gd name="connsiteY258" fmla="*/ 181 h 10000"/>
              <a:gd name="connsiteX259" fmla="*/ 7369 w 10000"/>
              <a:gd name="connsiteY259" fmla="*/ 208 h 10000"/>
              <a:gd name="connsiteX260" fmla="*/ 7334 w 10000"/>
              <a:gd name="connsiteY260" fmla="*/ 283 h 10000"/>
              <a:gd name="connsiteX261" fmla="*/ 7269 w 10000"/>
              <a:gd name="connsiteY261" fmla="*/ 336 h 10000"/>
              <a:gd name="connsiteX262" fmla="*/ 7282 w 10000"/>
              <a:gd name="connsiteY262" fmla="*/ 387 h 10000"/>
              <a:gd name="connsiteX263" fmla="*/ 7382 w 10000"/>
              <a:gd name="connsiteY263" fmla="*/ 434 h 10000"/>
              <a:gd name="connsiteX264" fmla="*/ 7317 w 10000"/>
              <a:gd name="connsiteY264" fmla="*/ 475 h 10000"/>
              <a:gd name="connsiteX265" fmla="*/ 7221 w 10000"/>
              <a:gd name="connsiteY265" fmla="*/ 485 h 10000"/>
              <a:gd name="connsiteX266" fmla="*/ 6420 w 10000"/>
              <a:gd name="connsiteY266" fmla="*/ 387 h 10000"/>
              <a:gd name="connsiteX267" fmla="*/ 6324 w 10000"/>
              <a:gd name="connsiteY267" fmla="*/ 395 h 10000"/>
              <a:gd name="connsiteX268" fmla="*/ 6267 w 10000"/>
              <a:gd name="connsiteY268" fmla="*/ 414 h 10000"/>
              <a:gd name="connsiteX269" fmla="*/ 6211 w 10000"/>
              <a:gd name="connsiteY269" fmla="*/ 462 h 10000"/>
              <a:gd name="connsiteX270" fmla="*/ 6220 w 10000"/>
              <a:gd name="connsiteY270" fmla="*/ 581 h 10000"/>
              <a:gd name="connsiteX271" fmla="*/ 6132 w 10000"/>
              <a:gd name="connsiteY271" fmla="*/ 735 h 10000"/>
              <a:gd name="connsiteX272" fmla="*/ 6024 w 10000"/>
              <a:gd name="connsiteY272" fmla="*/ 815 h 10000"/>
              <a:gd name="connsiteX273" fmla="*/ 5980 w 10000"/>
              <a:gd name="connsiteY273" fmla="*/ 805 h 10000"/>
              <a:gd name="connsiteX274" fmla="*/ 5880 w 10000"/>
              <a:gd name="connsiteY274" fmla="*/ 739 h 10000"/>
              <a:gd name="connsiteX275" fmla="*/ 5753 w 10000"/>
              <a:gd name="connsiteY275" fmla="*/ 705 h 10000"/>
              <a:gd name="connsiteX276" fmla="*/ 5618 w 10000"/>
              <a:gd name="connsiteY276" fmla="*/ 715 h 10000"/>
              <a:gd name="connsiteX277" fmla="*/ 5301 w 10000"/>
              <a:gd name="connsiteY277" fmla="*/ 866 h 10000"/>
              <a:gd name="connsiteX278" fmla="*/ 5218 w 10000"/>
              <a:gd name="connsiteY278" fmla="*/ 1017 h 10000"/>
              <a:gd name="connsiteX279" fmla="*/ 4978 w 10000"/>
              <a:gd name="connsiteY279" fmla="*/ 1153 h 10000"/>
              <a:gd name="connsiteX280" fmla="*/ 4935 w 10000"/>
              <a:gd name="connsiteY280" fmla="*/ 1222 h 10000"/>
              <a:gd name="connsiteX281" fmla="*/ 5061 w 10000"/>
              <a:gd name="connsiteY281" fmla="*/ 1344 h 10000"/>
              <a:gd name="connsiteX282" fmla="*/ 5074 w 10000"/>
              <a:gd name="connsiteY282" fmla="*/ 1412 h 10000"/>
              <a:gd name="connsiteX283" fmla="*/ 4421 w 10000"/>
              <a:gd name="connsiteY283" fmla="*/ 1813 h 10000"/>
              <a:gd name="connsiteX284" fmla="*/ 4220 w 10000"/>
              <a:gd name="connsiteY284" fmla="*/ 2070 h 10000"/>
              <a:gd name="connsiteX285" fmla="*/ 4003 w 10000"/>
              <a:gd name="connsiteY285" fmla="*/ 2135 h 10000"/>
              <a:gd name="connsiteX286" fmla="*/ 3868 w 10000"/>
              <a:gd name="connsiteY286" fmla="*/ 2131 h 10000"/>
              <a:gd name="connsiteX287" fmla="*/ 3785 w 10000"/>
              <a:gd name="connsiteY287" fmla="*/ 2153 h 10000"/>
              <a:gd name="connsiteX288" fmla="*/ 3558 w 10000"/>
              <a:gd name="connsiteY288" fmla="*/ 2793 h 10000"/>
              <a:gd name="connsiteX289" fmla="*/ 3036 w 10000"/>
              <a:gd name="connsiteY289" fmla="*/ 3166 h 10000"/>
              <a:gd name="connsiteX290" fmla="*/ 3040 w 10000"/>
              <a:gd name="connsiteY290" fmla="*/ 3225 h 10000"/>
              <a:gd name="connsiteX291" fmla="*/ 3271 w 10000"/>
              <a:gd name="connsiteY291" fmla="*/ 3392 h 10000"/>
              <a:gd name="connsiteX292" fmla="*/ 3197 w 10000"/>
              <a:gd name="connsiteY292" fmla="*/ 3573 h 10000"/>
              <a:gd name="connsiteX293" fmla="*/ 3062 w 10000"/>
              <a:gd name="connsiteY293" fmla="*/ 3640 h 10000"/>
              <a:gd name="connsiteX294" fmla="*/ 2657 w 10000"/>
              <a:gd name="connsiteY294" fmla="*/ 3595 h 10000"/>
              <a:gd name="connsiteX295" fmla="*/ 2378 w 10000"/>
              <a:gd name="connsiteY295" fmla="*/ 3620 h 10000"/>
              <a:gd name="connsiteX296" fmla="*/ 2152 w 10000"/>
              <a:gd name="connsiteY296" fmla="*/ 3673 h 10000"/>
              <a:gd name="connsiteX297" fmla="*/ 1790 w 10000"/>
              <a:gd name="connsiteY297" fmla="*/ 3840 h 10000"/>
              <a:gd name="connsiteX298" fmla="*/ 1598 w 10000"/>
              <a:gd name="connsiteY298" fmla="*/ 4042 h 10000"/>
              <a:gd name="connsiteX299" fmla="*/ 1616 w 10000"/>
              <a:gd name="connsiteY299" fmla="*/ 4154 h 10000"/>
              <a:gd name="connsiteX300" fmla="*/ 1681 w 10000"/>
              <a:gd name="connsiteY300" fmla="*/ 4241 h 10000"/>
              <a:gd name="connsiteX301" fmla="*/ 1733 w 10000"/>
              <a:gd name="connsiteY301" fmla="*/ 4276 h 10000"/>
              <a:gd name="connsiteX302" fmla="*/ 1638 w 10000"/>
              <a:gd name="connsiteY302" fmla="*/ 4331 h 10000"/>
              <a:gd name="connsiteX303" fmla="*/ 1433 w 10000"/>
              <a:gd name="connsiteY303" fmla="*/ 4710 h 10000"/>
              <a:gd name="connsiteX304" fmla="*/ 1472 w 10000"/>
              <a:gd name="connsiteY304" fmla="*/ 4732 h 10000"/>
              <a:gd name="connsiteX305" fmla="*/ 1503 w 10000"/>
              <a:gd name="connsiteY305" fmla="*/ 4828 h 10000"/>
              <a:gd name="connsiteX306" fmla="*/ 1407 w 10000"/>
              <a:gd name="connsiteY306" fmla="*/ 5227 h 10000"/>
              <a:gd name="connsiteX307" fmla="*/ 1503 w 10000"/>
              <a:gd name="connsiteY307" fmla="*/ 5329 h 10000"/>
              <a:gd name="connsiteX308" fmla="*/ 1764 w 10000"/>
              <a:gd name="connsiteY308" fmla="*/ 5441 h 10000"/>
              <a:gd name="connsiteX309" fmla="*/ 1777 w 10000"/>
              <a:gd name="connsiteY309" fmla="*/ 5578 h 10000"/>
              <a:gd name="connsiteX310" fmla="*/ 1664 w 10000"/>
              <a:gd name="connsiteY310" fmla="*/ 5690 h 10000"/>
              <a:gd name="connsiteX311" fmla="*/ 1503 w 10000"/>
              <a:gd name="connsiteY311" fmla="*/ 5759 h 10000"/>
              <a:gd name="connsiteX312" fmla="*/ 1289 w 10000"/>
              <a:gd name="connsiteY312" fmla="*/ 5787 h 10000"/>
              <a:gd name="connsiteX313" fmla="*/ 1233 w 10000"/>
              <a:gd name="connsiteY313" fmla="*/ 5826 h 10000"/>
              <a:gd name="connsiteX314" fmla="*/ 1359 w 10000"/>
              <a:gd name="connsiteY314" fmla="*/ 5920 h 10000"/>
              <a:gd name="connsiteX315" fmla="*/ 1429 w 10000"/>
              <a:gd name="connsiteY315" fmla="*/ 6142 h 10000"/>
              <a:gd name="connsiteX316" fmla="*/ 1267 w 10000"/>
              <a:gd name="connsiteY316" fmla="*/ 6333 h 10000"/>
              <a:gd name="connsiteX317" fmla="*/ 1324 w 10000"/>
              <a:gd name="connsiteY317" fmla="*/ 6392 h 10000"/>
              <a:gd name="connsiteX318" fmla="*/ 1272 w 10000"/>
              <a:gd name="connsiteY318" fmla="*/ 6492 h 10000"/>
              <a:gd name="connsiteX319" fmla="*/ 1167 w 10000"/>
              <a:gd name="connsiteY319" fmla="*/ 6561 h 10000"/>
              <a:gd name="connsiteX320" fmla="*/ 758 w 10000"/>
              <a:gd name="connsiteY320" fmla="*/ 6614 h 10000"/>
              <a:gd name="connsiteX321" fmla="*/ 732 w 10000"/>
              <a:gd name="connsiteY321" fmla="*/ 6706 h 10000"/>
              <a:gd name="connsiteX322" fmla="*/ 510 w 10000"/>
              <a:gd name="connsiteY322" fmla="*/ 6843 h 10000"/>
              <a:gd name="connsiteX323" fmla="*/ 540 w 10000"/>
              <a:gd name="connsiteY323" fmla="*/ 7040 h 10000"/>
              <a:gd name="connsiteX324" fmla="*/ 353 w 10000"/>
              <a:gd name="connsiteY324" fmla="*/ 7293 h 10000"/>
              <a:gd name="connsiteX325" fmla="*/ 226 w 10000"/>
              <a:gd name="connsiteY325" fmla="*/ 7323 h 10000"/>
              <a:gd name="connsiteX326" fmla="*/ 174 w 10000"/>
              <a:gd name="connsiteY326" fmla="*/ 7262 h 10000"/>
              <a:gd name="connsiteX327" fmla="*/ 109 w 10000"/>
              <a:gd name="connsiteY327" fmla="*/ 7354 h 10000"/>
              <a:gd name="connsiteX328" fmla="*/ 152 w 10000"/>
              <a:gd name="connsiteY328" fmla="*/ 7197 h 10000"/>
              <a:gd name="connsiteX329" fmla="*/ 126 w 10000"/>
              <a:gd name="connsiteY32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685 w 10000"/>
              <a:gd name="connsiteY210" fmla="*/ 2597 h 10000"/>
              <a:gd name="connsiteX211" fmla="*/ 8558 w 10000"/>
              <a:gd name="connsiteY211" fmla="*/ 2481 h 10000"/>
              <a:gd name="connsiteX212" fmla="*/ 8558 w 10000"/>
              <a:gd name="connsiteY212" fmla="*/ 2459 h 10000"/>
              <a:gd name="connsiteX213" fmla="*/ 8698 w 10000"/>
              <a:gd name="connsiteY213" fmla="*/ 2504 h 10000"/>
              <a:gd name="connsiteX214" fmla="*/ 8763 w 10000"/>
              <a:gd name="connsiteY214" fmla="*/ 2548 h 10000"/>
              <a:gd name="connsiteX215" fmla="*/ 8815 w 10000"/>
              <a:gd name="connsiteY215" fmla="*/ 2548 h 10000"/>
              <a:gd name="connsiteX216" fmla="*/ 8789 w 10000"/>
              <a:gd name="connsiteY216" fmla="*/ 2457 h 10000"/>
              <a:gd name="connsiteX217" fmla="*/ 8798 w 10000"/>
              <a:gd name="connsiteY217" fmla="*/ 2467 h 10000"/>
              <a:gd name="connsiteX218" fmla="*/ 8841 w 10000"/>
              <a:gd name="connsiteY218" fmla="*/ 2457 h 10000"/>
              <a:gd name="connsiteX219" fmla="*/ 8855 w 10000"/>
              <a:gd name="connsiteY219" fmla="*/ 2341 h 10000"/>
              <a:gd name="connsiteX220" fmla="*/ 8898 w 10000"/>
              <a:gd name="connsiteY220" fmla="*/ 2332 h 10000"/>
              <a:gd name="connsiteX221" fmla="*/ 8946 w 10000"/>
              <a:gd name="connsiteY221" fmla="*/ 2330 h 10000"/>
              <a:gd name="connsiteX222" fmla="*/ 8946 w 10000"/>
              <a:gd name="connsiteY222" fmla="*/ 2361 h 10000"/>
              <a:gd name="connsiteX223" fmla="*/ 8994 w 10000"/>
              <a:gd name="connsiteY223" fmla="*/ 2389 h 10000"/>
              <a:gd name="connsiteX224" fmla="*/ 9051 w 10000"/>
              <a:gd name="connsiteY224" fmla="*/ 2400 h 10000"/>
              <a:gd name="connsiteX225" fmla="*/ 9094 w 10000"/>
              <a:gd name="connsiteY225" fmla="*/ 2324 h 10000"/>
              <a:gd name="connsiteX226" fmla="*/ 9164 w 10000"/>
              <a:gd name="connsiteY226" fmla="*/ 2347 h 10000"/>
              <a:gd name="connsiteX227" fmla="*/ 9247 w 10000"/>
              <a:gd name="connsiteY227" fmla="*/ 2402 h 10000"/>
              <a:gd name="connsiteX228" fmla="*/ 9286 w 10000"/>
              <a:gd name="connsiteY228" fmla="*/ 2400 h 10000"/>
              <a:gd name="connsiteX229" fmla="*/ 9355 w 10000"/>
              <a:gd name="connsiteY229" fmla="*/ 2428 h 10000"/>
              <a:gd name="connsiteX230" fmla="*/ 9408 w 10000"/>
              <a:gd name="connsiteY230" fmla="*/ 2359 h 10000"/>
              <a:gd name="connsiteX231" fmla="*/ 9717 w 10000"/>
              <a:gd name="connsiteY231" fmla="*/ 2343 h 10000"/>
              <a:gd name="connsiteX232" fmla="*/ 9830 w 10000"/>
              <a:gd name="connsiteY232" fmla="*/ 2369 h 10000"/>
              <a:gd name="connsiteX233" fmla="*/ 9909 w 10000"/>
              <a:gd name="connsiteY233" fmla="*/ 2410 h 10000"/>
              <a:gd name="connsiteX234" fmla="*/ 9948 w 10000"/>
              <a:gd name="connsiteY234" fmla="*/ 2365 h 10000"/>
              <a:gd name="connsiteX235" fmla="*/ 10000 w 10000"/>
              <a:gd name="connsiteY235" fmla="*/ 2349 h 10000"/>
              <a:gd name="connsiteX236" fmla="*/ 9704 w 10000"/>
              <a:gd name="connsiteY236" fmla="*/ 1992 h 10000"/>
              <a:gd name="connsiteX237" fmla="*/ 9743 w 10000"/>
              <a:gd name="connsiteY237" fmla="*/ 1897 h 10000"/>
              <a:gd name="connsiteX238" fmla="*/ 9830 w 10000"/>
              <a:gd name="connsiteY238" fmla="*/ 1819 h 10000"/>
              <a:gd name="connsiteX239" fmla="*/ 9830 w 10000"/>
              <a:gd name="connsiteY239" fmla="*/ 1699 h 10000"/>
              <a:gd name="connsiteX240" fmla="*/ 9556 w 10000"/>
              <a:gd name="connsiteY240" fmla="*/ 1465 h 10000"/>
              <a:gd name="connsiteX241" fmla="*/ 9512 w 10000"/>
              <a:gd name="connsiteY241" fmla="*/ 1379 h 10000"/>
              <a:gd name="connsiteX242" fmla="*/ 9573 w 10000"/>
              <a:gd name="connsiteY242" fmla="*/ 1271 h 10000"/>
              <a:gd name="connsiteX243" fmla="*/ 9543 w 10000"/>
              <a:gd name="connsiteY243" fmla="*/ 1194 h 10000"/>
              <a:gd name="connsiteX244" fmla="*/ 9486 w 10000"/>
              <a:gd name="connsiteY244" fmla="*/ 1159 h 10000"/>
              <a:gd name="connsiteX245" fmla="*/ 9438 w 10000"/>
              <a:gd name="connsiteY245" fmla="*/ 978 h 10000"/>
              <a:gd name="connsiteX246" fmla="*/ 9495 w 10000"/>
              <a:gd name="connsiteY246" fmla="*/ 831 h 10000"/>
              <a:gd name="connsiteX247" fmla="*/ 9077 w 10000"/>
              <a:gd name="connsiteY247" fmla="*/ 517 h 10000"/>
              <a:gd name="connsiteX248" fmla="*/ 8872 w 10000"/>
              <a:gd name="connsiteY248" fmla="*/ 440 h 10000"/>
              <a:gd name="connsiteX249" fmla="*/ 8493 w 10000"/>
              <a:gd name="connsiteY249" fmla="*/ 389 h 10000"/>
              <a:gd name="connsiteX250" fmla="*/ 7709 w 10000"/>
              <a:gd name="connsiteY250" fmla="*/ 26 h 10000"/>
              <a:gd name="connsiteX251" fmla="*/ 7683 w 10000"/>
              <a:gd name="connsiteY251" fmla="*/ 2 h 10000"/>
              <a:gd name="connsiteX252" fmla="*/ 7417 w 10000"/>
              <a:gd name="connsiteY252" fmla="*/ 0 h 10000"/>
              <a:gd name="connsiteX253" fmla="*/ 7356 w 10000"/>
              <a:gd name="connsiteY253" fmla="*/ 14 h 10000"/>
              <a:gd name="connsiteX254" fmla="*/ 7369 w 10000"/>
              <a:gd name="connsiteY254" fmla="*/ 61 h 10000"/>
              <a:gd name="connsiteX255" fmla="*/ 7422 w 10000"/>
              <a:gd name="connsiteY255" fmla="*/ 86 h 10000"/>
              <a:gd name="connsiteX256" fmla="*/ 7435 w 10000"/>
              <a:gd name="connsiteY256" fmla="*/ 139 h 10000"/>
              <a:gd name="connsiteX257" fmla="*/ 7417 w 10000"/>
              <a:gd name="connsiteY257" fmla="*/ 181 h 10000"/>
              <a:gd name="connsiteX258" fmla="*/ 7369 w 10000"/>
              <a:gd name="connsiteY258" fmla="*/ 208 h 10000"/>
              <a:gd name="connsiteX259" fmla="*/ 7334 w 10000"/>
              <a:gd name="connsiteY259" fmla="*/ 283 h 10000"/>
              <a:gd name="connsiteX260" fmla="*/ 7269 w 10000"/>
              <a:gd name="connsiteY260" fmla="*/ 336 h 10000"/>
              <a:gd name="connsiteX261" fmla="*/ 7282 w 10000"/>
              <a:gd name="connsiteY261" fmla="*/ 387 h 10000"/>
              <a:gd name="connsiteX262" fmla="*/ 7382 w 10000"/>
              <a:gd name="connsiteY262" fmla="*/ 434 h 10000"/>
              <a:gd name="connsiteX263" fmla="*/ 7317 w 10000"/>
              <a:gd name="connsiteY263" fmla="*/ 475 h 10000"/>
              <a:gd name="connsiteX264" fmla="*/ 7221 w 10000"/>
              <a:gd name="connsiteY264" fmla="*/ 485 h 10000"/>
              <a:gd name="connsiteX265" fmla="*/ 6420 w 10000"/>
              <a:gd name="connsiteY265" fmla="*/ 387 h 10000"/>
              <a:gd name="connsiteX266" fmla="*/ 6324 w 10000"/>
              <a:gd name="connsiteY266" fmla="*/ 395 h 10000"/>
              <a:gd name="connsiteX267" fmla="*/ 6267 w 10000"/>
              <a:gd name="connsiteY267" fmla="*/ 414 h 10000"/>
              <a:gd name="connsiteX268" fmla="*/ 6211 w 10000"/>
              <a:gd name="connsiteY268" fmla="*/ 462 h 10000"/>
              <a:gd name="connsiteX269" fmla="*/ 6220 w 10000"/>
              <a:gd name="connsiteY269" fmla="*/ 581 h 10000"/>
              <a:gd name="connsiteX270" fmla="*/ 6132 w 10000"/>
              <a:gd name="connsiteY270" fmla="*/ 735 h 10000"/>
              <a:gd name="connsiteX271" fmla="*/ 6024 w 10000"/>
              <a:gd name="connsiteY271" fmla="*/ 815 h 10000"/>
              <a:gd name="connsiteX272" fmla="*/ 5980 w 10000"/>
              <a:gd name="connsiteY272" fmla="*/ 805 h 10000"/>
              <a:gd name="connsiteX273" fmla="*/ 5880 w 10000"/>
              <a:gd name="connsiteY273" fmla="*/ 739 h 10000"/>
              <a:gd name="connsiteX274" fmla="*/ 5753 w 10000"/>
              <a:gd name="connsiteY274" fmla="*/ 705 h 10000"/>
              <a:gd name="connsiteX275" fmla="*/ 5618 w 10000"/>
              <a:gd name="connsiteY275" fmla="*/ 715 h 10000"/>
              <a:gd name="connsiteX276" fmla="*/ 5301 w 10000"/>
              <a:gd name="connsiteY276" fmla="*/ 866 h 10000"/>
              <a:gd name="connsiteX277" fmla="*/ 5218 w 10000"/>
              <a:gd name="connsiteY277" fmla="*/ 1017 h 10000"/>
              <a:gd name="connsiteX278" fmla="*/ 4978 w 10000"/>
              <a:gd name="connsiteY278" fmla="*/ 1153 h 10000"/>
              <a:gd name="connsiteX279" fmla="*/ 4935 w 10000"/>
              <a:gd name="connsiteY279" fmla="*/ 1222 h 10000"/>
              <a:gd name="connsiteX280" fmla="*/ 5061 w 10000"/>
              <a:gd name="connsiteY280" fmla="*/ 1344 h 10000"/>
              <a:gd name="connsiteX281" fmla="*/ 5074 w 10000"/>
              <a:gd name="connsiteY281" fmla="*/ 1412 h 10000"/>
              <a:gd name="connsiteX282" fmla="*/ 4421 w 10000"/>
              <a:gd name="connsiteY282" fmla="*/ 1813 h 10000"/>
              <a:gd name="connsiteX283" fmla="*/ 4220 w 10000"/>
              <a:gd name="connsiteY283" fmla="*/ 2070 h 10000"/>
              <a:gd name="connsiteX284" fmla="*/ 4003 w 10000"/>
              <a:gd name="connsiteY284" fmla="*/ 2135 h 10000"/>
              <a:gd name="connsiteX285" fmla="*/ 3868 w 10000"/>
              <a:gd name="connsiteY285" fmla="*/ 2131 h 10000"/>
              <a:gd name="connsiteX286" fmla="*/ 3785 w 10000"/>
              <a:gd name="connsiteY286" fmla="*/ 2153 h 10000"/>
              <a:gd name="connsiteX287" fmla="*/ 3558 w 10000"/>
              <a:gd name="connsiteY287" fmla="*/ 2793 h 10000"/>
              <a:gd name="connsiteX288" fmla="*/ 3036 w 10000"/>
              <a:gd name="connsiteY288" fmla="*/ 3166 h 10000"/>
              <a:gd name="connsiteX289" fmla="*/ 3040 w 10000"/>
              <a:gd name="connsiteY289" fmla="*/ 3225 h 10000"/>
              <a:gd name="connsiteX290" fmla="*/ 3271 w 10000"/>
              <a:gd name="connsiteY290" fmla="*/ 3392 h 10000"/>
              <a:gd name="connsiteX291" fmla="*/ 3197 w 10000"/>
              <a:gd name="connsiteY291" fmla="*/ 3573 h 10000"/>
              <a:gd name="connsiteX292" fmla="*/ 3062 w 10000"/>
              <a:gd name="connsiteY292" fmla="*/ 3640 h 10000"/>
              <a:gd name="connsiteX293" fmla="*/ 2657 w 10000"/>
              <a:gd name="connsiteY293" fmla="*/ 3595 h 10000"/>
              <a:gd name="connsiteX294" fmla="*/ 2378 w 10000"/>
              <a:gd name="connsiteY294" fmla="*/ 3620 h 10000"/>
              <a:gd name="connsiteX295" fmla="*/ 2152 w 10000"/>
              <a:gd name="connsiteY295" fmla="*/ 3673 h 10000"/>
              <a:gd name="connsiteX296" fmla="*/ 1790 w 10000"/>
              <a:gd name="connsiteY296" fmla="*/ 3840 h 10000"/>
              <a:gd name="connsiteX297" fmla="*/ 1598 w 10000"/>
              <a:gd name="connsiteY297" fmla="*/ 4042 h 10000"/>
              <a:gd name="connsiteX298" fmla="*/ 1616 w 10000"/>
              <a:gd name="connsiteY298" fmla="*/ 4154 h 10000"/>
              <a:gd name="connsiteX299" fmla="*/ 1681 w 10000"/>
              <a:gd name="connsiteY299" fmla="*/ 4241 h 10000"/>
              <a:gd name="connsiteX300" fmla="*/ 1733 w 10000"/>
              <a:gd name="connsiteY300" fmla="*/ 4276 h 10000"/>
              <a:gd name="connsiteX301" fmla="*/ 1638 w 10000"/>
              <a:gd name="connsiteY301" fmla="*/ 4331 h 10000"/>
              <a:gd name="connsiteX302" fmla="*/ 1433 w 10000"/>
              <a:gd name="connsiteY302" fmla="*/ 4710 h 10000"/>
              <a:gd name="connsiteX303" fmla="*/ 1472 w 10000"/>
              <a:gd name="connsiteY303" fmla="*/ 4732 h 10000"/>
              <a:gd name="connsiteX304" fmla="*/ 1503 w 10000"/>
              <a:gd name="connsiteY304" fmla="*/ 4828 h 10000"/>
              <a:gd name="connsiteX305" fmla="*/ 1407 w 10000"/>
              <a:gd name="connsiteY305" fmla="*/ 5227 h 10000"/>
              <a:gd name="connsiteX306" fmla="*/ 1503 w 10000"/>
              <a:gd name="connsiteY306" fmla="*/ 5329 h 10000"/>
              <a:gd name="connsiteX307" fmla="*/ 1764 w 10000"/>
              <a:gd name="connsiteY307" fmla="*/ 5441 h 10000"/>
              <a:gd name="connsiteX308" fmla="*/ 1777 w 10000"/>
              <a:gd name="connsiteY308" fmla="*/ 5578 h 10000"/>
              <a:gd name="connsiteX309" fmla="*/ 1664 w 10000"/>
              <a:gd name="connsiteY309" fmla="*/ 5690 h 10000"/>
              <a:gd name="connsiteX310" fmla="*/ 1503 w 10000"/>
              <a:gd name="connsiteY310" fmla="*/ 5759 h 10000"/>
              <a:gd name="connsiteX311" fmla="*/ 1289 w 10000"/>
              <a:gd name="connsiteY311" fmla="*/ 5787 h 10000"/>
              <a:gd name="connsiteX312" fmla="*/ 1233 w 10000"/>
              <a:gd name="connsiteY312" fmla="*/ 5826 h 10000"/>
              <a:gd name="connsiteX313" fmla="*/ 1359 w 10000"/>
              <a:gd name="connsiteY313" fmla="*/ 5920 h 10000"/>
              <a:gd name="connsiteX314" fmla="*/ 1429 w 10000"/>
              <a:gd name="connsiteY314" fmla="*/ 6142 h 10000"/>
              <a:gd name="connsiteX315" fmla="*/ 1267 w 10000"/>
              <a:gd name="connsiteY315" fmla="*/ 6333 h 10000"/>
              <a:gd name="connsiteX316" fmla="*/ 1324 w 10000"/>
              <a:gd name="connsiteY316" fmla="*/ 6392 h 10000"/>
              <a:gd name="connsiteX317" fmla="*/ 1272 w 10000"/>
              <a:gd name="connsiteY317" fmla="*/ 6492 h 10000"/>
              <a:gd name="connsiteX318" fmla="*/ 1167 w 10000"/>
              <a:gd name="connsiteY318" fmla="*/ 6561 h 10000"/>
              <a:gd name="connsiteX319" fmla="*/ 758 w 10000"/>
              <a:gd name="connsiteY319" fmla="*/ 6614 h 10000"/>
              <a:gd name="connsiteX320" fmla="*/ 732 w 10000"/>
              <a:gd name="connsiteY320" fmla="*/ 6706 h 10000"/>
              <a:gd name="connsiteX321" fmla="*/ 510 w 10000"/>
              <a:gd name="connsiteY321" fmla="*/ 6843 h 10000"/>
              <a:gd name="connsiteX322" fmla="*/ 540 w 10000"/>
              <a:gd name="connsiteY322" fmla="*/ 7040 h 10000"/>
              <a:gd name="connsiteX323" fmla="*/ 353 w 10000"/>
              <a:gd name="connsiteY323" fmla="*/ 7293 h 10000"/>
              <a:gd name="connsiteX324" fmla="*/ 226 w 10000"/>
              <a:gd name="connsiteY324" fmla="*/ 7323 h 10000"/>
              <a:gd name="connsiteX325" fmla="*/ 174 w 10000"/>
              <a:gd name="connsiteY325" fmla="*/ 7262 h 10000"/>
              <a:gd name="connsiteX326" fmla="*/ 109 w 10000"/>
              <a:gd name="connsiteY326" fmla="*/ 7354 h 10000"/>
              <a:gd name="connsiteX327" fmla="*/ 152 w 10000"/>
              <a:gd name="connsiteY327" fmla="*/ 7197 h 10000"/>
              <a:gd name="connsiteX328" fmla="*/ 126 w 10000"/>
              <a:gd name="connsiteY32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558 w 10000"/>
              <a:gd name="connsiteY210" fmla="*/ 2481 h 10000"/>
              <a:gd name="connsiteX211" fmla="*/ 8558 w 10000"/>
              <a:gd name="connsiteY211" fmla="*/ 2459 h 10000"/>
              <a:gd name="connsiteX212" fmla="*/ 8698 w 10000"/>
              <a:gd name="connsiteY212" fmla="*/ 2504 h 10000"/>
              <a:gd name="connsiteX213" fmla="*/ 8763 w 10000"/>
              <a:gd name="connsiteY213" fmla="*/ 2548 h 10000"/>
              <a:gd name="connsiteX214" fmla="*/ 8815 w 10000"/>
              <a:gd name="connsiteY214" fmla="*/ 2548 h 10000"/>
              <a:gd name="connsiteX215" fmla="*/ 8789 w 10000"/>
              <a:gd name="connsiteY215" fmla="*/ 2457 h 10000"/>
              <a:gd name="connsiteX216" fmla="*/ 8798 w 10000"/>
              <a:gd name="connsiteY216" fmla="*/ 2467 h 10000"/>
              <a:gd name="connsiteX217" fmla="*/ 8841 w 10000"/>
              <a:gd name="connsiteY217" fmla="*/ 2457 h 10000"/>
              <a:gd name="connsiteX218" fmla="*/ 8855 w 10000"/>
              <a:gd name="connsiteY218" fmla="*/ 2341 h 10000"/>
              <a:gd name="connsiteX219" fmla="*/ 8898 w 10000"/>
              <a:gd name="connsiteY219" fmla="*/ 2332 h 10000"/>
              <a:gd name="connsiteX220" fmla="*/ 8946 w 10000"/>
              <a:gd name="connsiteY220" fmla="*/ 2330 h 10000"/>
              <a:gd name="connsiteX221" fmla="*/ 8946 w 10000"/>
              <a:gd name="connsiteY221" fmla="*/ 2361 h 10000"/>
              <a:gd name="connsiteX222" fmla="*/ 8994 w 10000"/>
              <a:gd name="connsiteY222" fmla="*/ 2389 h 10000"/>
              <a:gd name="connsiteX223" fmla="*/ 9051 w 10000"/>
              <a:gd name="connsiteY223" fmla="*/ 2400 h 10000"/>
              <a:gd name="connsiteX224" fmla="*/ 9094 w 10000"/>
              <a:gd name="connsiteY224" fmla="*/ 2324 h 10000"/>
              <a:gd name="connsiteX225" fmla="*/ 9164 w 10000"/>
              <a:gd name="connsiteY225" fmla="*/ 2347 h 10000"/>
              <a:gd name="connsiteX226" fmla="*/ 9247 w 10000"/>
              <a:gd name="connsiteY226" fmla="*/ 2402 h 10000"/>
              <a:gd name="connsiteX227" fmla="*/ 9286 w 10000"/>
              <a:gd name="connsiteY227" fmla="*/ 2400 h 10000"/>
              <a:gd name="connsiteX228" fmla="*/ 9355 w 10000"/>
              <a:gd name="connsiteY228" fmla="*/ 2428 h 10000"/>
              <a:gd name="connsiteX229" fmla="*/ 9408 w 10000"/>
              <a:gd name="connsiteY229" fmla="*/ 2359 h 10000"/>
              <a:gd name="connsiteX230" fmla="*/ 9717 w 10000"/>
              <a:gd name="connsiteY230" fmla="*/ 2343 h 10000"/>
              <a:gd name="connsiteX231" fmla="*/ 9830 w 10000"/>
              <a:gd name="connsiteY231" fmla="*/ 2369 h 10000"/>
              <a:gd name="connsiteX232" fmla="*/ 9909 w 10000"/>
              <a:gd name="connsiteY232" fmla="*/ 2410 h 10000"/>
              <a:gd name="connsiteX233" fmla="*/ 9948 w 10000"/>
              <a:gd name="connsiteY233" fmla="*/ 2365 h 10000"/>
              <a:gd name="connsiteX234" fmla="*/ 10000 w 10000"/>
              <a:gd name="connsiteY234" fmla="*/ 2349 h 10000"/>
              <a:gd name="connsiteX235" fmla="*/ 9704 w 10000"/>
              <a:gd name="connsiteY235" fmla="*/ 1992 h 10000"/>
              <a:gd name="connsiteX236" fmla="*/ 9743 w 10000"/>
              <a:gd name="connsiteY236" fmla="*/ 1897 h 10000"/>
              <a:gd name="connsiteX237" fmla="*/ 9830 w 10000"/>
              <a:gd name="connsiteY237" fmla="*/ 1819 h 10000"/>
              <a:gd name="connsiteX238" fmla="*/ 9830 w 10000"/>
              <a:gd name="connsiteY238" fmla="*/ 1699 h 10000"/>
              <a:gd name="connsiteX239" fmla="*/ 9556 w 10000"/>
              <a:gd name="connsiteY239" fmla="*/ 1465 h 10000"/>
              <a:gd name="connsiteX240" fmla="*/ 9512 w 10000"/>
              <a:gd name="connsiteY240" fmla="*/ 1379 h 10000"/>
              <a:gd name="connsiteX241" fmla="*/ 9573 w 10000"/>
              <a:gd name="connsiteY241" fmla="*/ 1271 h 10000"/>
              <a:gd name="connsiteX242" fmla="*/ 9543 w 10000"/>
              <a:gd name="connsiteY242" fmla="*/ 1194 h 10000"/>
              <a:gd name="connsiteX243" fmla="*/ 9486 w 10000"/>
              <a:gd name="connsiteY243" fmla="*/ 1159 h 10000"/>
              <a:gd name="connsiteX244" fmla="*/ 9438 w 10000"/>
              <a:gd name="connsiteY244" fmla="*/ 978 h 10000"/>
              <a:gd name="connsiteX245" fmla="*/ 9495 w 10000"/>
              <a:gd name="connsiteY245" fmla="*/ 831 h 10000"/>
              <a:gd name="connsiteX246" fmla="*/ 9077 w 10000"/>
              <a:gd name="connsiteY246" fmla="*/ 517 h 10000"/>
              <a:gd name="connsiteX247" fmla="*/ 8872 w 10000"/>
              <a:gd name="connsiteY247" fmla="*/ 440 h 10000"/>
              <a:gd name="connsiteX248" fmla="*/ 8493 w 10000"/>
              <a:gd name="connsiteY248" fmla="*/ 389 h 10000"/>
              <a:gd name="connsiteX249" fmla="*/ 7709 w 10000"/>
              <a:gd name="connsiteY249" fmla="*/ 26 h 10000"/>
              <a:gd name="connsiteX250" fmla="*/ 7683 w 10000"/>
              <a:gd name="connsiteY250" fmla="*/ 2 h 10000"/>
              <a:gd name="connsiteX251" fmla="*/ 7417 w 10000"/>
              <a:gd name="connsiteY251" fmla="*/ 0 h 10000"/>
              <a:gd name="connsiteX252" fmla="*/ 7356 w 10000"/>
              <a:gd name="connsiteY252" fmla="*/ 14 h 10000"/>
              <a:gd name="connsiteX253" fmla="*/ 7369 w 10000"/>
              <a:gd name="connsiteY253" fmla="*/ 61 h 10000"/>
              <a:gd name="connsiteX254" fmla="*/ 7422 w 10000"/>
              <a:gd name="connsiteY254" fmla="*/ 86 h 10000"/>
              <a:gd name="connsiteX255" fmla="*/ 7435 w 10000"/>
              <a:gd name="connsiteY255" fmla="*/ 139 h 10000"/>
              <a:gd name="connsiteX256" fmla="*/ 7417 w 10000"/>
              <a:gd name="connsiteY256" fmla="*/ 181 h 10000"/>
              <a:gd name="connsiteX257" fmla="*/ 7369 w 10000"/>
              <a:gd name="connsiteY257" fmla="*/ 208 h 10000"/>
              <a:gd name="connsiteX258" fmla="*/ 7334 w 10000"/>
              <a:gd name="connsiteY258" fmla="*/ 283 h 10000"/>
              <a:gd name="connsiteX259" fmla="*/ 7269 w 10000"/>
              <a:gd name="connsiteY259" fmla="*/ 336 h 10000"/>
              <a:gd name="connsiteX260" fmla="*/ 7282 w 10000"/>
              <a:gd name="connsiteY260" fmla="*/ 387 h 10000"/>
              <a:gd name="connsiteX261" fmla="*/ 7382 w 10000"/>
              <a:gd name="connsiteY261" fmla="*/ 434 h 10000"/>
              <a:gd name="connsiteX262" fmla="*/ 7317 w 10000"/>
              <a:gd name="connsiteY262" fmla="*/ 475 h 10000"/>
              <a:gd name="connsiteX263" fmla="*/ 7221 w 10000"/>
              <a:gd name="connsiteY263" fmla="*/ 485 h 10000"/>
              <a:gd name="connsiteX264" fmla="*/ 6420 w 10000"/>
              <a:gd name="connsiteY264" fmla="*/ 387 h 10000"/>
              <a:gd name="connsiteX265" fmla="*/ 6324 w 10000"/>
              <a:gd name="connsiteY265" fmla="*/ 395 h 10000"/>
              <a:gd name="connsiteX266" fmla="*/ 6267 w 10000"/>
              <a:gd name="connsiteY266" fmla="*/ 414 h 10000"/>
              <a:gd name="connsiteX267" fmla="*/ 6211 w 10000"/>
              <a:gd name="connsiteY267" fmla="*/ 462 h 10000"/>
              <a:gd name="connsiteX268" fmla="*/ 6220 w 10000"/>
              <a:gd name="connsiteY268" fmla="*/ 581 h 10000"/>
              <a:gd name="connsiteX269" fmla="*/ 6132 w 10000"/>
              <a:gd name="connsiteY269" fmla="*/ 735 h 10000"/>
              <a:gd name="connsiteX270" fmla="*/ 6024 w 10000"/>
              <a:gd name="connsiteY270" fmla="*/ 815 h 10000"/>
              <a:gd name="connsiteX271" fmla="*/ 5980 w 10000"/>
              <a:gd name="connsiteY271" fmla="*/ 805 h 10000"/>
              <a:gd name="connsiteX272" fmla="*/ 5880 w 10000"/>
              <a:gd name="connsiteY272" fmla="*/ 739 h 10000"/>
              <a:gd name="connsiteX273" fmla="*/ 5753 w 10000"/>
              <a:gd name="connsiteY273" fmla="*/ 705 h 10000"/>
              <a:gd name="connsiteX274" fmla="*/ 5618 w 10000"/>
              <a:gd name="connsiteY274" fmla="*/ 715 h 10000"/>
              <a:gd name="connsiteX275" fmla="*/ 5301 w 10000"/>
              <a:gd name="connsiteY275" fmla="*/ 866 h 10000"/>
              <a:gd name="connsiteX276" fmla="*/ 5218 w 10000"/>
              <a:gd name="connsiteY276" fmla="*/ 1017 h 10000"/>
              <a:gd name="connsiteX277" fmla="*/ 4978 w 10000"/>
              <a:gd name="connsiteY277" fmla="*/ 1153 h 10000"/>
              <a:gd name="connsiteX278" fmla="*/ 4935 w 10000"/>
              <a:gd name="connsiteY278" fmla="*/ 1222 h 10000"/>
              <a:gd name="connsiteX279" fmla="*/ 5061 w 10000"/>
              <a:gd name="connsiteY279" fmla="*/ 1344 h 10000"/>
              <a:gd name="connsiteX280" fmla="*/ 5074 w 10000"/>
              <a:gd name="connsiteY280" fmla="*/ 1412 h 10000"/>
              <a:gd name="connsiteX281" fmla="*/ 4421 w 10000"/>
              <a:gd name="connsiteY281" fmla="*/ 1813 h 10000"/>
              <a:gd name="connsiteX282" fmla="*/ 4220 w 10000"/>
              <a:gd name="connsiteY282" fmla="*/ 2070 h 10000"/>
              <a:gd name="connsiteX283" fmla="*/ 4003 w 10000"/>
              <a:gd name="connsiteY283" fmla="*/ 2135 h 10000"/>
              <a:gd name="connsiteX284" fmla="*/ 3868 w 10000"/>
              <a:gd name="connsiteY284" fmla="*/ 2131 h 10000"/>
              <a:gd name="connsiteX285" fmla="*/ 3785 w 10000"/>
              <a:gd name="connsiteY285" fmla="*/ 2153 h 10000"/>
              <a:gd name="connsiteX286" fmla="*/ 3558 w 10000"/>
              <a:gd name="connsiteY286" fmla="*/ 2793 h 10000"/>
              <a:gd name="connsiteX287" fmla="*/ 3036 w 10000"/>
              <a:gd name="connsiteY287" fmla="*/ 3166 h 10000"/>
              <a:gd name="connsiteX288" fmla="*/ 3040 w 10000"/>
              <a:gd name="connsiteY288" fmla="*/ 3225 h 10000"/>
              <a:gd name="connsiteX289" fmla="*/ 3271 w 10000"/>
              <a:gd name="connsiteY289" fmla="*/ 3392 h 10000"/>
              <a:gd name="connsiteX290" fmla="*/ 3197 w 10000"/>
              <a:gd name="connsiteY290" fmla="*/ 3573 h 10000"/>
              <a:gd name="connsiteX291" fmla="*/ 3062 w 10000"/>
              <a:gd name="connsiteY291" fmla="*/ 3640 h 10000"/>
              <a:gd name="connsiteX292" fmla="*/ 2657 w 10000"/>
              <a:gd name="connsiteY292" fmla="*/ 3595 h 10000"/>
              <a:gd name="connsiteX293" fmla="*/ 2378 w 10000"/>
              <a:gd name="connsiteY293" fmla="*/ 3620 h 10000"/>
              <a:gd name="connsiteX294" fmla="*/ 2152 w 10000"/>
              <a:gd name="connsiteY294" fmla="*/ 3673 h 10000"/>
              <a:gd name="connsiteX295" fmla="*/ 1790 w 10000"/>
              <a:gd name="connsiteY295" fmla="*/ 3840 h 10000"/>
              <a:gd name="connsiteX296" fmla="*/ 1598 w 10000"/>
              <a:gd name="connsiteY296" fmla="*/ 4042 h 10000"/>
              <a:gd name="connsiteX297" fmla="*/ 1616 w 10000"/>
              <a:gd name="connsiteY297" fmla="*/ 4154 h 10000"/>
              <a:gd name="connsiteX298" fmla="*/ 1681 w 10000"/>
              <a:gd name="connsiteY298" fmla="*/ 4241 h 10000"/>
              <a:gd name="connsiteX299" fmla="*/ 1733 w 10000"/>
              <a:gd name="connsiteY299" fmla="*/ 4276 h 10000"/>
              <a:gd name="connsiteX300" fmla="*/ 1638 w 10000"/>
              <a:gd name="connsiteY300" fmla="*/ 4331 h 10000"/>
              <a:gd name="connsiteX301" fmla="*/ 1433 w 10000"/>
              <a:gd name="connsiteY301" fmla="*/ 4710 h 10000"/>
              <a:gd name="connsiteX302" fmla="*/ 1472 w 10000"/>
              <a:gd name="connsiteY302" fmla="*/ 4732 h 10000"/>
              <a:gd name="connsiteX303" fmla="*/ 1503 w 10000"/>
              <a:gd name="connsiteY303" fmla="*/ 4828 h 10000"/>
              <a:gd name="connsiteX304" fmla="*/ 1407 w 10000"/>
              <a:gd name="connsiteY304" fmla="*/ 5227 h 10000"/>
              <a:gd name="connsiteX305" fmla="*/ 1503 w 10000"/>
              <a:gd name="connsiteY305" fmla="*/ 5329 h 10000"/>
              <a:gd name="connsiteX306" fmla="*/ 1764 w 10000"/>
              <a:gd name="connsiteY306" fmla="*/ 5441 h 10000"/>
              <a:gd name="connsiteX307" fmla="*/ 1777 w 10000"/>
              <a:gd name="connsiteY307" fmla="*/ 5578 h 10000"/>
              <a:gd name="connsiteX308" fmla="*/ 1664 w 10000"/>
              <a:gd name="connsiteY308" fmla="*/ 5690 h 10000"/>
              <a:gd name="connsiteX309" fmla="*/ 1503 w 10000"/>
              <a:gd name="connsiteY309" fmla="*/ 5759 h 10000"/>
              <a:gd name="connsiteX310" fmla="*/ 1289 w 10000"/>
              <a:gd name="connsiteY310" fmla="*/ 5787 h 10000"/>
              <a:gd name="connsiteX311" fmla="*/ 1233 w 10000"/>
              <a:gd name="connsiteY311" fmla="*/ 5826 h 10000"/>
              <a:gd name="connsiteX312" fmla="*/ 1359 w 10000"/>
              <a:gd name="connsiteY312" fmla="*/ 5920 h 10000"/>
              <a:gd name="connsiteX313" fmla="*/ 1429 w 10000"/>
              <a:gd name="connsiteY313" fmla="*/ 6142 h 10000"/>
              <a:gd name="connsiteX314" fmla="*/ 1267 w 10000"/>
              <a:gd name="connsiteY314" fmla="*/ 6333 h 10000"/>
              <a:gd name="connsiteX315" fmla="*/ 1324 w 10000"/>
              <a:gd name="connsiteY315" fmla="*/ 6392 h 10000"/>
              <a:gd name="connsiteX316" fmla="*/ 1272 w 10000"/>
              <a:gd name="connsiteY316" fmla="*/ 6492 h 10000"/>
              <a:gd name="connsiteX317" fmla="*/ 1167 w 10000"/>
              <a:gd name="connsiteY317" fmla="*/ 6561 h 10000"/>
              <a:gd name="connsiteX318" fmla="*/ 758 w 10000"/>
              <a:gd name="connsiteY318" fmla="*/ 6614 h 10000"/>
              <a:gd name="connsiteX319" fmla="*/ 732 w 10000"/>
              <a:gd name="connsiteY319" fmla="*/ 6706 h 10000"/>
              <a:gd name="connsiteX320" fmla="*/ 510 w 10000"/>
              <a:gd name="connsiteY320" fmla="*/ 6843 h 10000"/>
              <a:gd name="connsiteX321" fmla="*/ 540 w 10000"/>
              <a:gd name="connsiteY321" fmla="*/ 7040 h 10000"/>
              <a:gd name="connsiteX322" fmla="*/ 353 w 10000"/>
              <a:gd name="connsiteY322" fmla="*/ 7293 h 10000"/>
              <a:gd name="connsiteX323" fmla="*/ 226 w 10000"/>
              <a:gd name="connsiteY323" fmla="*/ 7323 h 10000"/>
              <a:gd name="connsiteX324" fmla="*/ 174 w 10000"/>
              <a:gd name="connsiteY324" fmla="*/ 7262 h 10000"/>
              <a:gd name="connsiteX325" fmla="*/ 109 w 10000"/>
              <a:gd name="connsiteY325" fmla="*/ 7354 h 10000"/>
              <a:gd name="connsiteX326" fmla="*/ 152 w 10000"/>
              <a:gd name="connsiteY326" fmla="*/ 7197 h 10000"/>
              <a:gd name="connsiteX327" fmla="*/ 126 w 10000"/>
              <a:gd name="connsiteY32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58 w 10000"/>
              <a:gd name="connsiteY209" fmla="*/ 2481 h 10000"/>
              <a:gd name="connsiteX210" fmla="*/ 8558 w 10000"/>
              <a:gd name="connsiteY210" fmla="*/ 2459 h 10000"/>
              <a:gd name="connsiteX211" fmla="*/ 8698 w 10000"/>
              <a:gd name="connsiteY211" fmla="*/ 2504 h 10000"/>
              <a:gd name="connsiteX212" fmla="*/ 8763 w 10000"/>
              <a:gd name="connsiteY212" fmla="*/ 2548 h 10000"/>
              <a:gd name="connsiteX213" fmla="*/ 8815 w 10000"/>
              <a:gd name="connsiteY213" fmla="*/ 2548 h 10000"/>
              <a:gd name="connsiteX214" fmla="*/ 8789 w 10000"/>
              <a:gd name="connsiteY214" fmla="*/ 2457 h 10000"/>
              <a:gd name="connsiteX215" fmla="*/ 8798 w 10000"/>
              <a:gd name="connsiteY215" fmla="*/ 2467 h 10000"/>
              <a:gd name="connsiteX216" fmla="*/ 8841 w 10000"/>
              <a:gd name="connsiteY216" fmla="*/ 2457 h 10000"/>
              <a:gd name="connsiteX217" fmla="*/ 8855 w 10000"/>
              <a:gd name="connsiteY217" fmla="*/ 2341 h 10000"/>
              <a:gd name="connsiteX218" fmla="*/ 8898 w 10000"/>
              <a:gd name="connsiteY218" fmla="*/ 2332 h 10000"/>
              <a:gd name="connsiteX219" fmla="*/ 8946 w 10000"/>
              <a:gd name="connsiteY219" fmla="*/ 2330 h 10000"/>
              <a:gd name="connsiteX220" fmla="*/ 8946 w 10000"/>
              <a:gd name="connsiteY220" fmla="*/ 2361 h 10000"/>
              <a:gd name="connsiteX221" fmla="*/ 8994 w 10000"/>
              <a:gd name="connsiteY221" fmla="*/ 2389 h 10000"/>
              <a:gd name="connsiteX222" fmla="*/ 9051 w 10000"/>
              <a:gd name="connsiteY222" fmla="*/ 2400 h 10000"/>
              <a:gd name="connsiteX223" fmla="*/ 9094 w 10000"/>
              <a:gd name="connsiteY223" fmla="*/ 2324 h 10000"/>
              <a:gd name="connsiteX224" fmla="*/ 9164 w 10000"/>
              <a:gd name="connsiteY224" fmla="*/ 2347 h 10000"/>
              <a:gd name="connsiteX225" fmla="*/ 9247 w 10000"/>
              <a:gd name="connsiteY225" fmla="*/ 2402 h 10000"/>
              <a:gd name="connsiteX226" fmla="*/ 9286 w 10000"/>
              <a:gd name="connsiteY226" fmla="*/ 2400 h 10000"/>
              <a:gd name="connsiteX227" fmla="*/ 9355 w 10000"/>
              <a:gd name="connsiteY227" fmla="*/ 2428 h 10000"/>
              <a:gd name="connsiteX228" fmla="*/ 9408 w 10000"/>
              <a:gd name="connsiteY228" fmla="*/ 2359 h 10000"/>
              <a:gd name="connsiteX229" fmla="*/ 9717 w 10000"/>
              <a:gd name="connsiteY229" fmla="*/ 2343 h 10000"/>
              <a:gd name="connsiteX230" fmla="*/ 9830 w 10000"/>
              <a:gd name="connsiteY230" fmla="*/ 2369 h 10000"/>
              <a:gd name="connsiteX231" fmla="*/ 9909 w 10000"/>
              <a:gd name="connsiteY231" fmla="*/ 2410 h 10000"/>
              <a:gd name="connsiteX232" fmla="*/ 9948 w 10000"/>
              <a:gd name="connsiteY232" fmla="*/ 2365 h 10000"/>
              <a:gd name="connsiteX233" fmla="*/ 10000 w 10000"/>
              <a:gd name="connsiteY233" fmla="*/ 2349 h 10000"/>
              <a:gd name="connsiteX234" fmla="*/ 9704 w 10000"/>
              <a:gd name="connsiteY234" fmla="*/ 1992 h 10000"/>
              <a:gd name="connsiteX235" fmla="*/ 9743 w 10000"/>
              <a:gd name="connsiteY235" fmla="*/ 1897 h 10000"/>
              <a:gd name="connsiteX236" fmla="*/ 9830 w 10000"/>
              <a:gd name="connsiteY236" fmla="*/ 1819 h 10000"/>
              <a:gd name="connsiteX237" fmla="*/ 9830 w 10000"/>
              <a:gd name="connsiteY237" fmla="*/ 1699 h 10000"/>
              <a:gd name="connsiteX238" fmla="*/ 9556 w 10000"/>
              <a:gd name="connsiteY238" fmla="*/ 1465 h 10000"/>
              <a:gd name="connsiteX239" fmla="*/ 9512 w 10000"/>
              <a:gd name="connsiteY239" fmla="*/ 1379 h 10000"/>
              <a:gd name="connsiteX240" fmla="*/ 9573 w 10000"/>
              <a:gd name="connsiteY240" fmla="*/ 1271 h 10000"/>
              <a:gd name="connsiteX241" fmla="*/ 9543 w 10000"/>
              <a:gd name="connsiteY241" fmla="*/ 1194 h 10000"/>
              <a:gd name="connsiteX242" fmla="*/ 9486 w 10000"/>
              <a:gd name="connsiteY242" fmla="*/ 1159 h 10000"/>
              <a:gd name="connsiteX243" fmla="*/ 9438 w 10000"/>
              <a:gd name="connsiteY243" fmla="*/ 978 h 10000"/>
              <a:gd name="connsiteX244" fmla="*/ 9495 w 10000"/>
              <a:gd name="connsiteY244" fmla="*/ 831 h 10000"/>
              <a:gd name="connsiteX245" fmla="*/ 9077 w 10000"/>
              <a:gd name="connsiteY245" fmla="*/ 517 h 10000"/>
              <a:gd name="connsiteX246" fmla="*/ 8872 w 10000"/>
              <a:gd name="connsiteY246" fmla="*/ 440 h 10000"/>
              <a:gd name="connsiteX247" fmla="*/ 8493 w 10000"/>
              <a:gd name="connsiteY247" fmla="*/ 389 h 10000"/>
              <a:gd name="connsiteX248" fmla="*/ 7709 w 10000"/>
              <a:gd name="connsiteY248" fmla="*/ 26 h 10000"/>
              <a:gd name="connsiteX249" fmla="*/ 7683 w 10000"/>
              <a:gd name="connsiteY249" fmla="*/ 2 h 10000"/>
              <a:gd name="connsiteX250" fmla="*/ 7417 w 10000"/>
              <a:gd name="connsiteY250" fmla="*/ 0 h 10000"/>
              <a:gd name="connsiteX251" fmla="*/ 7356 w 10000"/>
              <a:gd name="connsiteY251" fmla="*/ 14 h 10000"/>
              <a:gd name="connsiteX252" fmla="*/ 7369 w 10000"/>
              <a:gd name="connsiteY252" fmla="*/ 61 h 10000"/>
              <a:gd name="connsiteX253" fmla="*/ 7422 w 10000"/>
              <a:gd name="connsiteY253" fmla="*/ 86 h 10000"/>
              <a:gd name="connsiteX254" fmla="*/ 7435 w 10000"/>
              <a:gd name="connsiteY254" fmla="*/ 139 h 10000"/>
              <a:gd name="connsiteX255" fmla="*/ 7417 w 10000"/>
              <a:gd name="connsiteY255" fmla="*/ 181 h 10000"/>
              <a:gd name="connsiteX256" fmla="*/ 7369 w 10000"/>
              <a:gd name="connsiteY256" fmla="*/ 208 h 10000"/>
              <a:gd name="connsiteX257" fmla="*/ 7334 w 10000"/>
              <a:gd name="connsiteY257" fmla="*/ 283 h 10000"/>
              <a:gd name="connsiteX258" fmla="*/ 7269 w 10000"/>
              <a:gd name="connsiteY258" fmla="*/ 336 h 10000"/>
              <a:gd name="connsiteX259" fmla="*/ 7282 w 10000"/>
              <a:gd name="connsiteY259" fmla="*/ 387 h 10000"/>
              <a:gd name="connsiteX260" fmla="*/ 7382 w 10000"/>
              <a:gd name="connsiteY260" fmla="*/ 434 h 10000"/>
              <a:gd name="connsiteX261" fmla="*/ 7317 w 10000"/>
              <a:gd name="connsiteY261" fmla="*/ 475 h 10000"/>
              <a:gd name="connsiteX262" fmla="*/ 7221 w 10000"/>
              <a:gd name="connsiteY262" fmla="*/ 485 h 10000"/>
              <a:gd name="connsiteX263" fmla="*/ 6420 w 10000"/>
              <a:gd name="connsiteY263" fmla="*/ 387 h 10000"/>
              <a:gd name="connsiteX264" fmla="*/ 6324 w 10000"/>
              <a:gd name="connsiteY264" fmla="*/ 395 h 10000"/>
              <a:gd name="connsiteX265" fmla="*/ 6267 w 10000"/>
              <a:gd name="connsiteY265" fmla="*/ 414 h 10000"/>
              <a:gd name="connsiteX266" fmla="*/ 6211 w 10000"/>
              <a:gd name="connsiteY266" fmla="*/ 462 h 10000"/>
              <a:gd name="connsiteX267" fmla="*/ 6220 w 10000"/>
              <a:gd name="connsiteY267" fmla="*/ 581 h 10000"/>
              <a:gd name="connsiteX268" fmla="*/ 6132 w 10000"/>
              <a:gd name="connsiteY268" fmla="*/ 735 h 10000"/>
              <a:gd name="connsiteX269" fmla="*/ 6024 w 10000"/>
              <a:gd name="connsiteY269" fmla="*/ 815 h 10000"/>
              <a:gd name="connsiteX270" fmla="*/ 5980 w 10000"/>
              <a:gd name="connsiteY270" fmla="*/ 805 h 10000"/>
              <a:gd name="connsiteX271" fmla="*/ 5880 w 10000"/>
              <a:gd name="connsiteY271" fmla="*/ 739 h 10000"/>
              <a:gd name="connsiteX272" fmla="*/ 5753 w 10000"/>
              <a:gd name="connsiteY272" fmla="*/ 705 h 10000"/>
              <a:gd name="connsiteX273" fmla="*/ 5618 w 10000"/>
              <a:gd name="connsiteY273" fmla="*/ 715 h 10000"/>
              <a:gd name="connsiteX274" fmla="*/ 5301 w 10000"/>
              <a:gd name="connsiteY274" fmla="*/ 866 h 10000"/>
              <a:gd name="connsiteX275" fmla="*/ 5218 w 10000"/>
              <a:gd name="connsiteY275" fmla="*/ 1017 h 10000"/>
              <a:gd name="connsiteX276" fmla="*/ 4978 w 10000"/>
              <a:gd name="connsiteY276" fmla="*/ 1153 h 10000"/>
              <a:gd name="connsiteX277" fmla="*/ 4935 w 10000"/>
              <a:gd name="connsiteY277" fmla="*/ 1222 h 10000"/>
              <a:gd name="connsiteX278" fmla="*/ 5061 w 10000"/>
              <a:gd name="connsiteY278" fmla="*/ 1344 h 10000"/>
              <a:gd name="connsiteX279" fmla="*/ 5074 w 10000"/>
              <a:gd name="connsiteY279" fmla="*/ 1412 h 10000"/>
              <a:gd name="connsiteX280" fmla="*/ 4421 w 10000"/>
              <a:gd name="connsiteY280" fmla="*/ 1813 h 10000"/>
              <a:gd name="connsiteX281" fmla="*/ 4220 w 10000"/>
              <a:gd name="connsiteY281" fmla="*/ 2070 h 10000"/>
              <a:gd name="connsiteX282" fmla="*/ 4003 w 10000"/>
              <a:gd name="connsiteY282" fmla="*/ 2135 h 10000"/>
              <a:gd name="connsiteX283" fmla="*/ 3868 w 10000"/>
              <a:gd name="connsiteY283" fmla="*/ 2131 h 10000"/>
              <a:gd name="connsiteX284" fmla="*/ 3785 w 10000"/>
              <a:gd name="connsiteY284" fmla="*/ 2153 h 10000"/>
              <a:gd name="connsiteX285" fmla="*/ 3558 w 10000"/>
              <a:gd name="connsiteY285" fmla="*/ 2793 h 10000"/>
              <a:gd name="connsiteX286" fmla="*/ 3036 w 10000"/>
              <a:gd name="connsiteY286" fmla="*/ 3166 h 10000"/>
              <a:gd name="connsiteX287" fmla="*/ 3040 w 10000"/>
              <a:gd name="connsiteY287" fmla="*/ 3225 h 10000"/>
              <a:gd name="connsiteX288" fmla="*/ 3271 w 10000"/>
              <a:gd name="connsiteY288" fmla="*/ 3392 h 10000"/>
              <a:gd name="connsiteX289" fmla="*/ 3197 w 10000"/>
              <a:gd name="connsiteY289" fmla="*/ 3573 h 10000"/>
              <a:gd name="connsiteX290" fmla="*/ 3062 w 10000"/>
              <a:gd name="connsiteY290" fmla="*/ 3640 h 10000"/>
              <a:gd name="connsiteX291" fmla="*/ 2657 w 10000"/>
              <a:gd name="connsiteY291" fmla="*/ 3595 h 10000"/>
              <a:gd name="connsiteX292" fmla="*/ 2378 w 10000"/>
              <a:gd name="connsiteY292" fmla="*/ 3620 h 10000"/>
              <a:gd name="connsiteX293" fmla="*/ 2152 w 10000"/>
              <a:gd name="connsiteY293" fmla="*/ 3673 h 10000"/>
              <a:gd name="connsiteX294" fmla="*/ 1790 w 10000"/>
              <a:gd name="connsiteY294" fmla="*/ 3840 h 10000"/>
              <a:gd name="connsiteX295" fmla="*/ 1598 w 10000"/>
              <a:gd name="connsiteY295" fmla="*/ 4042 h 10000"/>
              <a:gd name="connsiteX296" fmla="*/ 1616 w 10000"/>
              <a:gd name="connsiteY296" fmla="*/ 4154 h 10000"/>
              <a:gd name="connsiteX297" fmla="*/ 1681 w 10000"/>
              <a:gd name="connsiteY297" fmla="*/ 4241 h 10000"/>
              <a:gd name="connsiteX298" fmla="*/ 1733 w 10000"/>
              <a:gd name="connsiteY298" fmla="*/ 4276 h 10000"/>
              <a:gd name="connsiteX299" fmla="*/ 1638 w 10000"/>
              <a:gd name="connsiteY299" fmla="*/ 4331 h 10000"/>
              <a:gd name="connsiteX300" fmla="*/ 1433 w 10000"/>
              <a:gd name="connsiteY300" fmla="*/ 4710 h 10000"/>
              <a:gd name="connsiteX301" fmla="*/ 1472 w 10000"/>
              <a:gd name="connsiteY301" fmla="*/ 4732 h 10000"/>
              <a:gd name="connsiteX302" fmla="*/ 1503 w 10000"/>
              <a:gd name="connsiteY302" fmla="*/ 4828 h 10000"/>
              <a:gd name="connsiteX303" fmla="*/ 1407 w 10000"/>
              <a:gd name="connsiteY303" fmla="*/ 5227 h 10000"/>
              <a:gd name="connsiteX304" fmla="*/ 1503 w 10000"/>
              <a:gd name="connsiteY304" fmla="*/ 5329 h 10000"/>
              <a:gd name="connsiteX305" fmla="*/ 1764 w 10000"/>
              <a:gd name="connsiteY305" fmla="*/ 5441 h 10000"/>
              <a:gd name="connsiteX306" fmla="*/ 1777 w 10000"/>
              <a:gd name="connsiteY306" fmla="*/ 5578 h 10000"/>
              <a:gd name="connsiteX307" fmla="*/ 1664 w 10000"/>
              <a:gd name="connsiteY307" fmla="*/ 5690 h 10000"/>
              <a:gd name="connsiteX308" fmla="*/ 1503 w 10000"/>
              <a:gd name="connsiteY308" fmla="*/ 5759 h 10000"/>
              <a:gd name="connsiteX309" fmla="*/ 1289 w 10000"/>
              <a:gd name="connsiteY309" fmla="*/ 5787 h 10000"/>
              <a:gd name="connsiteX310" fmla="*/ 1233 w 10000"/>
              <a:gd name="connsiteY310" fmla="*/ 5826 h 10000"/>
              <a:gd name="connsiteX311" fmla="*/ 1359 w 10000"/>
              <a:gd name="connsiteY311" fmla="*/ 5920 h 10000"/>
              <a:gd name="connsiteX312" fmla="*/ 1429 w 10000"/>
              <a:gd name="connsiteY312" fmla="*/ 6142 h 10000"/>
              <a:gd name="connsiteX313" fmla="*/ 1267 w 10000"/>
              <a:gd name="connsiteY313" fmla="*/ 6333 h 10000"/>
              <a:gd name="connsiteX314" fmla="*/ 1324 w 10000"/>
              <a:gd name="connsiteY314" fmla="*/ 6392 h 10000"/>
              <a:gd name="connsiteX315" fmla="*/ 1272 w 10000"/>
              <a:gd name="connsiteY315" fmla="*/ 6492 h 10000"/>
              <a:gd name="connsiteX316" fmla="*/ 1167 w 10000"/>
              <a:gd name="connsiteY316" fmla="*/ 6561 h 10000"/>
              <a:gd name="connsiteX317" fmla="*/ 758 w 10000"/>
              <a:gd name="connsiteY317" fmla="*/ 6614 h 10000"/>
              <a:gd name="connsiteX318" fmla="*/ 732 w 10000"/>
              <a:gd name="connsiteY318" fmla="*/ 6706 h 10000"/>
              <a:gd name="connsiteX319" fmla="*/ 510 w 10000"/>
              <a:gd name="connsiteY319" fmla="*/ 6843 h 10000"/>
              <a:gd name="connsiteX320" fmla="*/ 540 w 10000"/>
              <a:gd name="connsiteY320" fmla="*/ 7040 h 10000"/>
              <a:gd name="connsiteX321" fmla="*/ 353 w 10000"/>
              <a:gd name="connsiteY321" fmla="*/ 7293 h 10000"/>
              <a:gd name="connsiteX322" fmla="*/ 226 w 10000"/>
              <a:gd name="connsiteY322" fmla="*/ 7323 h 10000"/>
              <a:gd name="connsiteX323" fmla="*/ 174 w 10000"/>
              <a:gd name="connsiteY323" fmla="*/ 7262 h 10000"/>
              <a:gd name="connsiteX324" fmla="*/ 109 w 10000"/>
              <a:gd name="connsiteY324" fmla="*/ 7354 h 10000"/>
              <a:gd name="connsiteX325" fmla="*/ 152 w 10000"/>
              <a:gd name="connsiteY325" fmla="*/ 7197 h 10000"/>
              <a:gd name="connsiteX326" fmla="*/ 126 w 10000"/>
              <a:gd name="connsiteY32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558 w 10000"/>
              <a:gd name="connsiteY208" fmla="*/ 2481 h 10000"/>
              <a:gd name="connsiteX209" fmla="*/ 8558 w 10000"/>
              <a:gd name="connsiteY209" fmla="*/ 2459 h 10000"/>
              <a:gd name="connsiteX210" fmla="*/ 8698 w 10000"/>
              <a:gd name="connsiteY210" fmla="*/ 2504 h 10000"/>
              <a:gd name="connsiteX211" fmla="*/ 8763 w 10000"/>
              <a:gd name="connsiteY211" fmla="*/ 2548 h 10000"/>
              <a:gd name="connsiteX212" fmla="*/ 8815 w 10000"/>
              <a:gd name="connsiteY212" fmla="*/ 2548 h 10000"/>
              <a:gd name="connsiteX213" fmla="*/ 8789 w 10000"/>
              <a:gd name="connsiteY213" fmla="*/ 2457 h 10000"/>
              <a:gd name="connsiteX214" fmla="*/ 8798 w 10000"/>
              <a:gd name="connsiteY214" fmla="*/ 2467 h 10000"/>
              <a:gd name="connsiteX215" fmla="*/ 8841 w 10000"/>
              <a:gd name="connsiteY215" fmla="*/ 2457 h 10000"/>
              <a:gd name="connsiteX216" fmla="*/ 8855 w 10000"/>
              <a:gd name="connsiteY216" fmla="*/ 2341 h 10000"/>
              <a:gd name="connsiteX217" fmla="*/ 8898 w 10000"/>
              <a:gd name="connsiteY217" fmla="*/ 2332 h 10000"/>
              <a:gd name="connsiteX218" fmla="*/ 8946 w 10000"/>
              <a:gd name="connsiteY218" fmla="*/ 2330 h 10000"/>
              <a:gd name="connsiteX219" fmla="*/ 8946 w 10000"/>
              <a:gd name="connsiteY219" fmla="*/ 2361 h 10000"/>
              <a:gd name="connsiteX220" fmla="*/ 8994 w 10000"/>
              <a:gd name="connsiteY220" fmla="*/ 2389 h 10000"/>
              <a:gd name="connsiteX221" fmla="*/ 9051 w 10000"/>
              <a:gd name="connsiteY221" fmla="*/ 2400 h 10000"/>
              <a:gd name="connsiteX222" fmla="*/ 9094 w 10000"/>
              <a:gd name="connsiteY222" fmla="*/ 2324 h 10000"/>
              <a:gd name="connsiteX223" fmla="*/ 9164 w 10000"/>
              <a:gd name="connsiteY223" fmla="*/ 2347 h 10000"/>
              <a:gd name="connsiteX224" fmla="*/ 9247 w 10000"/>
              <a:gd name="connsiteY224" fmla="*/ 2402 h 10000"/>
              <a:gd name="connsiteX225" fmla="*/ 9286 w 10000"/>
              <a:gd name="connsiteY225" fmla="*/ 2400 h 10000"/>
              <a:gd name="connsiteX226" fmla="*/ 9355 w 10000"/>
              <a:gd name="connsiteY226" fmla="*/ 2428 h 10000"/>
              <a:gd name="connsiteX227" fmla="*/ 9408 w 10000"/>
              <a:gd name="connsiteY227" fmla="*/ 2359 h 10000"/>
              <a:gd name="connsiteX228" fmla="*/ 9717 w 10000"/>
              <a:gd name="connsiteY228" fmla="*/ 2343 h 10000"/>
              <a:gd name="connsiteX229" fmla="*/ 9830 w 10000"/>
              <a:gd name="connsiteY229" fmla="*/ 2369 h 10000"/>
              <a:gd name="connsiteX230" fmla="*/ 9909 w 10000"/>
              <a:gd name="connsiteY230" fmla="*/ 2410 h 10000"/>
              <a:gd name="connsiteX231" fmla="*/ 9948 w 10000"/>
              <a:gd name="connsiteY231" fmla="*/ 2365 h 10000"/>
              <a:gd name="connsiteX232" fmla="*/ 10000 w 10000"/>
              <a:gd name="connsiteY232" fmla="*/ 2349 h 10000"/>
              <a:gd name="connsiteX233" fmla="*/ 9704 w 10000"/>
              <a:gd name="connsiteY233" fmla="*/ 1992 h 10000"/>
              <a:gd name="connsiteX234" fmla="*/ 9743 w 10000"/>
              <a:gd name="connsiteY234" fmla="*/ 1897 h 10000"/>
              <a:gd name="connsiteX235" fmla="*/ 9830 w 10000"/>
              <a:gd name="connsiteY235" fmla="*/ 1819 h 10000"/>
              <a:gd name="connsiteX236" fmla="*/ 9830 w 10000"/>
              <a:gd name="connsiteY236" fmla="*/ 1699 h 10000"/>
              <a:gd name="connsiteX237" fmla="*/ 9556 w 10000"/>
              <a:gd name="connsiteY237" fmla="*/ 1465 h 10000"/>
              <a:gd name="connsiteX238" fmla="*/ 9512 w 10000"/>
              <a:gd name="connsiteY238" fmla="*/ 1379 h 10000"/>
              <a:gd name="connsiteX239" fmla="*/ 9573 w 10000"/>
              <a:gd name="connsiteY239" fmla="*/ 1271 h 10000"/>
              <a:gd name="connsiteX240" fmla="*/ 9543 w 10000"/>
              <a:gd name="connsiteY240" fmla="*/ 1194 h 10000"/>
              <a:gd name="connsiteX241" fmla="*/ 9486 w 10000"/>
              <a:gd name="connsiteY241" fmla="*/ 1159 h 10000"/>
              <a:gd name="connsiteX242" fmla="*/ 9438 w 10000"/>
              <a:gd name="connsiteY242" fmla="*/ 978 h 10000"/>
              <a:gd name="connsiteX243" fmla="*/ 9495 w 10000"/>
              <a:gd name="connsiteY243" fmla="*/ 831 h 10000"/>
              <a:gd name="connsiteX244" fmla="*/ 9077 w 10000"/>
              <a:gd name="connsiteY244" fmla="*/ 517 h 10000"/>
              <a:gd name="connsiteX245" fmla="*/ 8872 w 10000"/>
              <a:gd name="connsiteY245" fmla="*/ 440 h 10000"/>
              <a:gd name="connsiteX246" fmla="*/ 8493 w 10000"/>
              <a:gd name="connsiteY246" fmla="*/ 389 h 10000"/>
              <a:gd name="connsiteX247" fmla="*/ 7709 w 10000"/>
              <a:gd name="connsiteY247" fmla="*/ 26 h 10000"/>
              <a:gd name="connsiteX248" fmla="*/ 7683 w 10000"/>
              <a:gd name="connsiteY248" fmla="*/ 2 h 10000"/>
              <a:gd name="connsiteX249" fmla="*/ 7417 w 10000"/>
              <a:gd name="connsiteY249" fmla="*/ 0 h 10000"/>
              <a:gd name="connsiteX250" fmla="*/ 7356 w 10000"/>
              <a:gd name="connsiteY250" fmla="*/ 14 h 10000"/>
              <a:gd name="connsiteX251" fmla="*/ 7369 w 10000"/>
              <a:gd name="connsiteY251" fmla="*/ 61 h 10000"/>
              <a:gd name="connsiteX252" fmla="*/ 7422 w 10000"/>
              <a:gd name="connsiteY252" fmla="*/ 86 h 10000"/>
              <a:gd name="connsiteX253" fmla="*/ 7435 w 10000"/>
              <a:gd name="connsiteY253" fmla="*/ 139 h 10000"/>
              <a:gd name="connsiteX254" fmla="*/ 7417 w 10000"/>
              <a:gd name="connsiteY254" fmla="*/ 181 h 10000"/>
              <a:gd name="connsiteX255" fmla="*/ 7369 w 10000"/>
              <a:gd name="connsiteY255" fmla="*/ 208 h 10000"/>
              <a:gd name="connsiteX256" fmla="*/ 7334 w 10000"/>
              <a:gd name="connsiteY256" fmla="*/ 283 h 10000"/>
              <a:gd name="connsiteX257" fmla="*/ 7269 w 10000"/>
              <a:gd name="connsiteY257" fmla="*/ 336 h 10000"/>
              <a:gd name="connsiteX258" fmla="*/ 7282 w 10000"/>
              <a:gd name="connsiteY258" fmla="*/ 387 h 10000"/>
              <a:gd name="connsiteX259" fmla="*/ 7382 w 10000"/>
              <a:gd name="connsiteY259" fmla="*/ 434 h 10000"/>
              <a:gd name="connsiteX260" fmla="*/ 7317 w 10000"/>
              <a:gd name="connsiteY260" fmla="*/ 475 h 10000"/>
              <a:gd name="connsiteX261" fmla="*/ 7221 w 10000"/>
              <a:gd name="connsiteY261" fmla="*/ 485 h 10000"/>
              <a:gd name="connsiteX262" fmla="*/ 6420 w 10000"/>
              <a:gd name="connsiteY262" fmla="*/ 387 h 10000"/>
              <a:gd name="connsiteX263" fmla="*/ 6324 w 10000"/>
              <a:gd name="connsiteY263" fmla="*/ 395 h 10000"/>
              <a:gd name="connsiteX264" fmla="*/ 6267 w 10000"/>
              <a:gd name="connsiteY264" fmla="*/ 414 h 10000"/>
              <a:gd name="connsiteX265" fmla="*/ 6211 w 10000"/>
              <a:gd name="connsiteY265" fmla="*/ 462 h 10000"/>
              <a:gd name="connsiteX266" fmla="*/ 6220 w 10000"/>
              <a:gd name="connsiteY266" fmla="*/ 581 h 10000"/>
              <a:gd name="connsiteX267" fmla="*/ 6132 w 10000"/>
              <a:gd name="connsiteY267" fmla="*/ 735 h 10000"/>
              <a:gd name="connsiteX268" fmla="*/ 6024 w 10000"/>
              <a:gd name="connsiteY268" fmla="*/ 815 h 10000"/>
              <a:gd name="connsiteX269" fmla="*/ 5980 w 10000"/>
              <a:gd name="connsiteY269" fmla="*/ 805 h 10000"/>
              <a:gd name="connsiteX270" fmla="*/ 5880 w 10000"/>
              <a:gd name="connsiteY270" fmla="*/ 739 h 10000"/>
              <a:gd name="connsiteX271" fmla="*/ 5753 w 10000"/>
              <a:gd name="connsiteY271" fmla="*/ 705 h 10000"/>
              <a:gd name="connsiteX272" fmla="*/ 5618 w 10000"/>
              <a:gd name="connsiteY272" fmla="*/ 715 h 10000"/>
              <a:gd name="connsiteX273" fmla="*/ 5301 w 10000"/>
              <a:gd name="connsiteY273" fmla="*/ 866 h 10000"/>
              <a:gd name="connsiteX274" fmla="*/ 5218 w 10000"/>
              <a:gd name="connsiteY274" fmla="*/ 1017 h 10000"/>
              <a:gd name="connsiteX275" fmla="*/ 4978 w 10000"/>
              <a:gd name="connsiteY275" fmla="*/ 1153 h 10000"/>
              <a:gd name="connsiteX276" fmla="*/ 4935 w 10000"/>
              <a:gd name="connsiteY276" fmla="*/ 1222 h 10000"/>
              <a:gd name="connsiteX277" fmla="*/ 5061 w 10000"/>
              <a:gd name="connsiteY277" fmla="*/ 1344 h 10000"/>
              <a:gd name="connsiteX278" fmla="*/ 5074 w 10000"/>
              <a:gd name="connsiteY278" fmla="*/ 1412 h 10000"/>
              <a:gd name="connsiteX279" fmla="*/ 4421 w 10000"/>
              <a:gd name="connsiteY279" fmla="*/ 1813 h 10000"/>
              <a:gd name="connsiteX280" fmla="*/ 4220 w 10000"/>
              <a:gd name="connsiteY280" fmla="*/ 2070 h 10000"/>
              <a:gd name="connsiteX281" fmla="*/ 4003 w 10000"/>
              <a:gd name="connsiteY281" fmla="*/ 2135 h 10000"/>
              <a:gd name="connsiteX282" fmla="*/ 3868 w 10000"/>
              <a:gd name="connsiteY282" fmla="*/ 2131 h 10000"/>
              <a:gd name="connsiteX283" fmla="*/ 3785 w 10000"/>
              <a:gd name="connsiteY283" fmla="*/ 2153 h 10000"/>
              <a:gd name="connsiteX284" fmla="*/ 3558 w 10000"/>
              <a:gd name="connsiteY284" fmla="*/ 2793 h 10000"/>
              <a:gd name="connsiteX285" fmla="*/ 3036 w 10000"/>
              <a:gd name="connsiteY285" fmla="*/ 3166 h 10000"/>
              <a:gd name="connsiteX286" fmla="*/ 3040 w 10000"/>
              <a:gd name="connsiteY286" fmla="*/ 3225 h 10000"/>
              <a:gd name="connsiteX287" fmla="*/ 3271 w 10000"/>
              <a:gd name="connsiteY287" fmla="*/ 3392 h 10000"/>
              <a:gd name="connsiteX288" fmla="*/ 3197 w 10000"/>
              <a:gd name="connsiteY288" fmla="*/ 3573 h 10000"/>
              <a:gd name="connsiteX289" fmla="*/ 3062 w 10000"/>
              <a:gd name="connsiteY289" fmla="*/ 3640 h 10000"/>
              <a:gd name="connsiteX290" fmla="*/ 2657 w 10000"/>
              <a:gd name="connsiteY290" fmla="*/ 3595 h 10000"/>
              <a:gd name="connsiteX291" fmla="*/ 2378 w 10000"/>
              <a:gd name="connsiteY291" fmla="*/ 3620 h 10000"/>
              <a:gd name="connsiteX292" fmla="*/ 2152 w 10000"/>
              <a:gd name="connsiteY292" fmla="*/ 3673 h 10000"/>
              <a:gd name="connsiteX293" fmla="*/ 1790 w 10000"/>
              <a:gd name="connsiteY293" fmla="*/ 3840 h 10000"/>
              <a:gd name="connsiteX294" fmla="*/ 1598 w 10000"/>
              <a:gd name="connsiteY294" fmla="*/ 4042 h 10000"/>
              <a:gd name="connsiteX295" fmla="*/ 1616 w 10000"/>
              <a:gd name="connsiteY295" fmla="*/ 4154 h 10000"/>
              <a:gd name="connsiteX296" fmla="*/ 1681 w 10000"/>
              <a:gd name="connsiteY296" fmla="*/ 4241 h 10000"/>
              <a:gd name="connsiteX297" fmla="*/ 1733 w 10000"/>
              <a:gd name="connsiteY297" fmla="*/ 4276 h 10000"/>
              <a:gd name="connsiteX298" fmla="*/ 1638 w 10000"/>
              <a:gd name="connsiteY298" fmla="*/ 4331 h 10000"/>
              <a:gd name="connsiteX299" fmla="*/ 1433 w 10000"/>
              <a:gd name="connsiteY299" fmla="*/ 4710 h 10000"/>
              <a:gd name="connsiteX300" fmla="*/ 1472 w 10000"/>
              <a:gd name="connsiteY300" fmla="*/ 4732 h 10000"/>
              <a:gd name="connsiteX301" fmla="*/ 1503 w 10000"/>
              <a:gd name="connsiteY301" fmla="*/ 4828 h 10000"/>
              <a:gd name="connsiteX302" fmla="*/ 1407 w 10000"/>
              <a:gd name="connsiteY302" fmla="*/ 5227 h 10000"/>
              <a:gd name="connsiteX303" fmla="*/ 1503 w 10000"/>
              <a:gd name="connsiteY303" fmla="*/ 5329 h 10000"/>
              <a:gd name="connsiteX304" fmla="*/ 1764 w 10000"/>
              <a:gd name="connsiteY304" fmla="*/ 5441 h 10000"/>
              <a:gd name="connsiteX305" fmla="*/ 1777 w 10000"/>
              <a:gd name="connsiteY305" fmla="*/ 5578 h 10000"/>
              <a:gd name="connsiteX306" fmla="*/ 1664 w 10000"/>
              <a:gd name="connsiteY306" fmla="*/ 5690 h 10000"/>
              <a:gd name="connsiteX307" fmla="*/ 1503 w 10000"/>
              <a:gd name="connsiteY307" fmla="*/ 5759 h 10000"/>
              <a:gd name="connsiteX308" fmla="*/ 1289 w 10000"/>
              <a:gd name="connsiteY308" fmla="*/ 5787 h 10000"/>
              <a:gd name="connsiteX309" fmla="*/ 1233 w 10000"/>
              <a:gd name="connsiteY309" fmla="*/ 5826 h 10000"/>
              <a:gd name="connsiteX310" fmla="*/ 1359 w 10000"/>
              <a:gd name="connsiteY310" fmla="*/ 5920 h 10000"/>
              <a:gd name="connsiteX311" fmla="*/ 1429 w 10000"/>
              <a:gd name="connsiteY311" fmla="*/ 6142 h 10000"/>
              <a:gd name="connsiteX312" fmla="*/ 1267 w 10000"/>
              <a:gd name="connsiteY312" fmla="*/ 6333 h 10000"/>
              <a:gd name="connsiteX313" fmla="*/ 1324 w 10000"/>
              <a:gd name="connsiteY313" fmla="*/ 6392 h 10000"/>
              <a:gd name="connsiteX314" fmla="*/ 1272 w 10000"/>
              <a:gd name="connsiteY314" fmla="*/ 6492 h 10000"/>
              <a:gd name="connsiteX315" fmla="*/ 1167 w 10000"/>
              <a:gd name="connsiteY315" fmla="*/ 6561 h 10000"/>
              <a:gd name="connsiteX316" fmla="*/ 758 w 10000"/>
              <a:gd name="connsiteY316" fmla="*/ 6614 h 10000"/>
              <a:gd name="connsiteX317" fmla="*/ 732 w 10000"/>
              <a:gd name="connsiteY317" fmla="*/ 6706 h 10000"/>
              <a:gd name="connsiteX318" fmla="*/ 510 w 10000"/>
              <a:gd name="connsiteY318" fmla="*/ 6843 h 10000"/>
              <a:gd name="connsiteX319" fmla="*/ 540 w 10000"/>
              <a:gd name="connsiteY319" fmla="*/ 7040 h 10000"/>
              <a:gd name="connsiteX320" fmla="*/ 353 w 10000"/>
              <a:gd name="connsiteY320" fmla="*/ 7293 h 10000"/>
              <a:gd name="connsiteX321" fmla="*/ 226 w 10000"/>
              <a:gd name="connsiteY321" fmla="*/ 7323 h 10000"/>
              <a:gd name="connsiteX322" fmla="*/ 174 w 10000"/>
              <a:gd name="connsiteY322" fmla="*/ 7262 h 10000"/>
              <a:gd name="connsiteX323" fmla="*/ 109 w 10000"/>
              <a:gd name="connsiteY323" fmla="*/ 7354 h 10000"/>
              <a:gd name="connsiteX324" fmla="*/ 152 w 10000"/>
              <a:gd name="connsiteY324" fmla="*/ 7197 h 10000"/>
              <a:gd name="connsiteX325" fmla="*/ 126 w 10000"/>
              <a:gd name="connsiteY32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558 w 10000"/>
              <a:gd name="connsiteY208" fmla="*/ 2459 h 10000"/>
              <a:gd name="connsiteX209" fmla="*/ 8698 w 10000"/>
              <a:gd name="connsiteY209" fmla="*/ 2504 h 10000"/>
              <a:gd name="connsiteX210" fmla="*/ 8763 w 10000"/>
              <a:gd name="connsiteY210" fmla="*/ 2548 h 10000"/>
              <a:gd name="connsiteX211" fmla="*/ 8815 w 10000"/>
              <a:gd name="connsiteY211" fmla="*/ 2548 h 10000"/>
              <a:gd name="connsiteX212" fmla="*/ 8789 w 10000"/>
              <a:gd name="connsiteY212" fmla="*/ 2457 h 10000"/>
              <a:gd name="connsiteX213" fmla="*/ 8798 w 10000"/>
              <a:gd name="connsiteY213" fmla="*/ 2467 h 10000"/>
              <a:gd name="connsiteX214" fmla="*/ 8841 w 10000"/>
              <a:gd name="connsiteY214" fmla="*/ 2457 h 10000"/>
              <a:gd name="connsiteX215" fmla="*/ 8855 w 10000"/>
              <a:gd name="connsiteY215" fmla="*/ 2341 h 10000"/>
              <a:gd name="connsiteX216" fmla="*/ 8898 w 10000"/>
              <a:gd name="connsiteY216" fmla="*/ 2332 h 10000"/>
              <a:gd name="connsiteX217" fmla="*/ 8946 w 10000"/>
              <a:gd name="connsiteY217" fmla="*/ 2330 h 10000"/>
              <a:gd name="connsiteX218" fmla="*/ 8946 w 10000"/>
              <a:gd name="connsiteY218" fmla="*/ 2361 h 10000"/>
              <a:gd name="connsiteX219" fmla="*/ 8994 w 10000"/>
              <a:gd name="connsiteY219" fmla="*/ 2389 h 10000"/>
              <a:gd name="connsiteX220" fmla="*/ 9051 w 10000"/>
              <a:gd name="connsiteY220" fmla="*/ 2400 h 10000"/>
              <a:gd name="connsiteX221" fmla="*/ 9094 w 10000"/>
              <a:gd name="connsiteY221" fmla="*/ 2324 h 10000"/>
              <a:gd name="connsiteX222" fmla="*/ 9164 w 10000"/>
              <a:gd name="connsiteY222" fmla="*/ 2347 h 10000"/>
              <a:gd name="connsiteX223" fmla="*/ 9247 w 10000"/>
              <a:gd name="connsiteY223" fmla="*/ 2402 h 10000"/>
              <a:gd name="connsiteX224" fmla="*/ 9286 w 10000"/>
              <a:gd name="connsiteY224" fmla="*/ 2400 h 10000"/>
              <a:gd name="connsiteX225" fmla="*/ 9355 w 10000"/>
              <a:gd name="connsiteY225" fmla="*/ 2428 h 10000"/>
              <a:gd name="connsiteX226" fmla="*/ 9408 w 10000"/>
              <a:gd name="connsiteY226" fmla="*/ 2359 h 10000"/>
              <a:gd name="connsiteX227" fmla="*/ 9717 w 10000"/>
              <a:gd name="connsiteY227" fmla="*/ 2343 h 10000"/>
              <a:gd name="connsiteX228" fmla="*/ 9830 w 10000"/>
              <a:gd name="connsiteY228" fmla="*/ 2369 h 10000"/>
              <a:gd name="connsiteX229" fmla="*/ 9909 w 10000"/>
              <a:gd name="connsiteY229" fmla="*/ 2410 h 10000"/>
              <a:gd name="connsiteX230" fmla="*/ 9948 w 10000"/>
              <a:gd name="connsiteY230" fmla="*/ 2365 h 10000"/>
              <a:gd name="connsiteX231" fmla="*/ 10000 w 10000"/>
              <a:gd name="connsiteY231" fmla="*/ 2349 h 10000"/>
              <a:gd name="connsiteX232" fmla="*/ 9704 w 10000"/>
              <a:gd name="connsiteY232" fmla="*/ 1992 h 10000"/>
              <a:gd name="connsiteX233" fmla="*/ 9743 w 10000"/>
              <a:gd name="connsiteY233" fmla="*/ 1897 h 10000"/>
              <a:gd name="connsiteX234" fmla="*/ 9830 w 10000"/>
              <a:gd name="connsiteY234" fmla="*/ 1819 h 10000"/>
              <a:gd name="connsiteX235" fmla="*/ 9830 w 10000"/>
              <a:gd name="connsiteY235" fmla="*/ 1699 h 10000"/>
              <a:gd name="connsiteX236" fmla="*/ 9556 w 10000"/>
              <a:gd name="connsiteY236" fmla="*/ 1465 h 10000"/>
              <a:gd name="connsiteX237" fmla="*/ 9512 w 10000"/>
              <a:gd name="connsiteY237" fmla="*/ 1379 h 10000"/>
              <a:gd name="connsiteX238" fmla="*/ 9573 w 10000"/>
              <a:gd name="connsiteY238" fmla="*/ 1271 h 10000"/>
              <a:gd name="connsiteX239" fmla="*/ 9543 w 10000"/>
              <a:gd name="connsiteY239" fmla="*/ 1194 h 10000"/>
              <a:gd name="connsiteX240" fmla="*/ 9486 w 10000"/>
              <a:gd name="connsiteY240" fmla="*/ 1159 h 10000"/>
              <a:gd name="connsiteX241" fmla="*/ 9438 w 10000"/>
              <a:gd name="connsiteY241" fmla="*/ 978 h 10000"/>
              <a:gd name="connsiteX242" fmla="*/ 9495 w 10000"/>
              <a:gd name="connsiteY242" fmla="*/ 831 h 10000"/>
              <a:gd name="connsiteX243" fmla="*/ 9077 w 10000"/>
              <a:gd name="connsiteY243" fmla="*/ 517 h 10000"/>
              <a:gd name="connsiteX244" fmla="*/ 8872 w 10000"/>
              <a:gd name="connsiteY244" fmla="*/ 440 h 10000"/>
              <a:gd name="connsiteX245" fmla="*/ 8493 w 10000"/>
              <a:gd name="connsiteY245" fmla="*/ 389 h 10000"/>
              <a:gd name="connsiteX246" fmla="*/ 7709 w 10000"/>
              <a:gd name="connsiteY246" fmla="*/ 26 h 10000"/>
              <a:gd name="connsiteX247" fmla="*/ 7683 w 10000"/>
              <a:gd name="connsiteY247" fmla="*/ 2 h 10000"/>
              <a:gd name="connsiteX248" fmla="*/ 7417 w 10000"/>
              <a:gd name="connsiteY248" fmla="*/ 0 h 10000"/>
              <a:gd name="connsiteX249" fmla="*/ 7356 w 10000"/>
              <a:gd name="connsiteY249" fmla="*/ 14 h 10000"/>
              <a:gd name="connsiteX250" fmla="*/ 7369 w 10000"/>
              <a:gd name="connsiteY250" fmla="*/ 61 h 10000"/>
              <a:gd name="connsiteX251" fmla="*/ 7422 w 10000"/>
              <a:gd name="connsiteY251" fmla="*/ 86 h 10000"/>
              <a:gd name="connsiteX252" fmla="*/ 7435 w 10000"/>
              <a:gd name="connsiteY252" fmla="*/ 139 h 10000"/>
              <a:gd name="connsiteX253" fmla="*/ 7417 w 10000"/>
              <a:gd name="connsiteY253" fmla="*/ 181 h 10000"/>
              <a:gd name="connsiteX254" fmla="*/ 7369 w 10000"/>
              <a:gd name="connsiteY254" fmla="*/ 208 h 10000"/>
              <a:gd name="connsiteX255" fmla="*/ 7334 w 10000"/>
              <a:gd name="connsiteY255" fmla="*/ 283 h 10000"/>
              <a:gd name="connsiteX256" fmla="*/ 7269 w 10000"/>
              <a:gd name="connsiteY256" fmla="*/ 336 h 10000"/>
              <a:gd name="connsiteX257" fmla="*/ 7282 w 10000"/>
              <a:gd name="connsiteY257" fmla="*/ 387 h 10000"/>
              <a:gd name="connsiteX258" fmla="*/ 7382 w 10000"/>
              <a:gd name="connsiteY258" fmla="*/ 434 h 10000"/>
              <a:gd name="connsiteX259" fmla="*/ 7317 w 10000"/>
              <a:gd name="connsiteY259" fmla="*/ 475 h 10000"/>
              <a:gd name="connsiteX260" fmla="*/ 7221 w 10000"/>
              <a:gd name="connsiteY260" fmla="*/ 485 h 10000"/>
              <a:gd name="connsiteX261" fmla="*/ 6420 w 10000"/>
              <a:gd name="connsiteY261" fmla="*/ 387 h 10000"/>
              <a:gd name="connsiteX262" fmla="*/ 6324 w 10000"/>
              <a:gd name="connsiteY262" fmla="*/ 395 h 10000"/>
              <a:gd name="connsiteX263" fmla="*/ 6267 w 10000"/>
              <a:gd name="connsiteY263" fmla="*/ 414 h 10000"/>
              <a:gd name="connsiteX264" fmla="*/ 6211 w 10000"/>
              <a:gd name="connsiteY264" fmla="*/ 462 h 10000"/>
              <a:gd name="connsiteX265" fmla="*/ 6220 w 10000"/>
              <a:gd name="connsiteY265" fmla="*/ 581 h 10000"/>
              <a:gd name="connsiteX266" fmla="*/ 6132 w 10000"/>
              <a:gd name="connsiteY266" fmla="*/ 735 h 10000"/>
              <a:gd name="connsiteX267" fmla="*/ 6024 w 10000"/>
              <a:gd name="connsiteY267" fmla="*/ 815 h 10000"/>
              <a:gd name="connsiteX268" fmla="*/ 5980 w 10000"/>
              <a:gd name="connsiteY268" fmla="*/ 805 h 10000"/>
              <a:gd name="connsiteX269" fmla="*/ 5880 w 10000"/>
              <a:gd name="connsiteY269" fmla="*/ 739 h 10000"/>
              <a:gd name="connsiteX270" fmla="*/ 5753 w 10000"/>
              <a:gd name="connsiteY270" fmla="*/ 705 h 10000"/>
              <a:gd name="connsiteX271" fmla="*/ 5618 w 10000"/>
              <a:gd name="connsiteY271" fmla="*/ 715 h 10000"/>
              <a:gd name="connsiteX272" fmla="*/ 5301 w 10000"/>
              <a:gd name="connsiteY272" fmla="*/ 866 h 10000"/>
              <a:gd name="connsiteX273" fmla="*/ 5218 w 10000"/>
              <a:gd name="connsiteY273" fmla="*/ 1017 h 10000"/>
              <a:gd name="connsiteX274" fmla="*/ 4978 w 10000"/>
              <a:gd name="connsiteY274" fmla="*/ 1153 h 10000"/>
              <a:gd name="connsiteX275" fmla="*/ 4935 w 10000"/>
              <a:gd name="connsiteY275" fmla="*/ 1222 h 10000"/>
              <a:gd name="connsiteX276" fmla="*/ 5061 w 10000"/>
              <a:gd name="connsiteY276" fmla="*/ 1344 h 10000"/>
              <a:gd name="connsiteX277" fmla="*/ 5074 w 10000"/>
              <a:gd name="connsiteY277" fmla="*/ 1412 h 10000"/>
              <a:gd name="connsiteX278" fmla="*/ 4421 w 10000"/>
              <a:gd name="connsiteY278" fmla="*/ 1813 h 10000"/>
              <a:gd name="connsiteX279" fmla="*/ 4220 w 10000"/>
              <a:gd name="connsiteY279" fmla="*/ 2070 h 10000"/>
              <a:gd name="connsiteX280" fmla="*/ 4003 w 10000"/>
              <a:gd name="connsiteY280" fmla="*/ 2135 h 10000"/>
              <a:gd name="connsiteX281" fmla="*/ 3868 w 10000"/>
              <a:gd name="connsiteY281" fmla="*/ 2131 h 10000"/>
              <a:gd name="connsiteX282" fmla="*/ 3785 w 10000"/>
              <a:gd name="connsiteY282" fmla="*/ 2153 h 10000"/>
              <a:gd name="connsiteX283" fmla="*/ 3558 w 10000"/>
              <a:gd name="connsiteY283" fmla="*/ 2793 h 10000"/>
              <a:gd name="connsiteX284" fmla="*/ 3036 w 10000"/>
              <a:gd name="connsiteY284" fmla="*/ 3166 h 10000"/>
              <a:gd name="connsiteX285" fmla="*/ 3040 w 10000"/>
              <a:gd name="connsiteY285" fmla="*/ 3225 h 10000"/>
              <a:gd name="connsiteX286" fmla="*/ 3271 w 10000"/>
              <a:gd name="connsiteY286" fmla="*/ 3392 h 10000"/>
              <a:gd name="connsiteX287" fmla="*/ 3197 w 10000"/>
              <a:gd name="connsiteY287" fmla="*/ 3573 h 10000"/>
              <a:gd name="connsiteX288" fmla="*/ 3062 w 10000"/>
              <a:gd name="connsiteY288" fmla="*/ 3640 h 10000"/>
              <a:gd name="connsiteX289" fmla="*/ 2657 w 10000"/>
              <a:gd name="connsiteY289" fmla="*/ 3595 h 10000"/>
              <a:gd name="connsiteX290" fmla="*/ 2378 w 10000"/>
              <a:gd name="connsiteY290" fmla="*/ 3620 h 10000"/>
              <a:gd name="connsiteX291" fmla="*/ 2152 w 10000"/>
              <a:gd name="connsiteY291" fmla="*/ 3673 h 10000"/>
              <a:gd name="connsiteX292" fmla="*/ 1790 w 10000"/>
              <a:gd name="connsiteY292" fmla="*/ 3840 h 10000"/>
              <a:gd name="connsiteX293" fmla="*/ 1598 w 10000"/>
              <a:gd name="connsiteY293" fmla="*/ 4042 h 10000"/>
              <a:gd name="connsiteX294" fmla="*/ 1616 w 10000"/>
              <a:gd name="connsiteY294" fmla="*/ 4154 h 10000"/>
              <a:gd name="connsiteX295" fmla="*/ 1681 w 10000"/>
              <a:gd name="connsiteY295" fmla="*/ 4241 h 10000"/>
              <a:gd name="connsiteX296" fmla="*/ 1733 w 10000"/>
              <a:gd name="connsiteY296" fmla="*/ 4276 h 10000"/>
              <a:gd name="connsiteX297" fmla="*/ 1638 w 10000"/>
              <a:gd name="connsiteY297" fmla="*/ 4331 h 10000"/>
              <a:gd name="connsiteX298" fmla="*/ 1433 w 10000"/>
              <a:gd name="connsiteY298" fmla="*/ 4710 h 10000"/>
              <a:gd name="connsiteX299" fmla="*/ 1472 w 10000"/>
              <a:gd name="connsiteY299" fmla="*/ 4732 h 10000"/>
              <a:gd name="connsiteX300" fmla="*/ 1503 w 10000"/>
              <a:gd name="connsiteY300" fmla="*/ 4828 h 10000"/>
              <a:gd name="connsiteX301" fmla="*/ 1407 w 10000"/>
              <a:gd name="connsiteY301" fmla="*/ 5227 h 10000"/>
              <a:gd name="connsiteX302" fmla="*/ 1503 w 10000"/>
              <a:gd name="connsiteY302" fmla="*/ 5329 h 10000"/>
              <a:gd name="connsiteX303" fmla="*/ 1764 w 10000"/>
              <a:gd name="connsiteY303" fmla="*/ 5441 h 10000"/>
              <a:gd name="connsiteX304" fmla="*/ 1777 w 10000"/>
              <a:gd name="connsiteY304" fmla="*/ 5578 h 10000"/>
              <a:gd name="connsiteX305" fmla="*/ 1664 w 10000"/>
              <a:gd name="connsiteY305" fmla="*/ 5690 h 10000"/>
              <a:gd name="connsiteX306" fmla="*/ 1503 w 10000"/>
              <a:gd name="connsiteY306" fmla="*/ 5759 h 10000"/>
              <a:gd name="connsiteX307" fmla="*/ 1289 w 10000"/>
              <a:gd name="connsiteY307" fmla="*/ 5787 h 10000"/>
              <a:gd name="connsiteX308" fmla="*/ 1233 w 10000"/>
              <a:gd name="connsiteY308" fmla="*/ 5826 h 10000"/>
              <a:gd name="connsiteX309" fmla="*/ 1359 w 10000"/>
              <a:gd name="connsiteY309" fmla="*/ 5920 h 10000"/>
              <a:gd name="connsiteX310" fmla="*/ 1429 w 10000"/>
              <a:gd name="connsiteY310" fmla="*/ 6142 h 10000"/>
              <a:gd name="connsiteX311" fmla="*/ 1267 w 10000"/>
              <a:gd name="connsiteY311" fmla="*/ 6333 h 10000"/>
              <a:gd name="connsiteX312" fmla="*/ 1324 w 10000"/>
              <a:gd name="connsiteY312" fmla="*/ 6392 h 10000"/>
              <a:gd name="connsiteX313" fmla="*/ 1272 w 10000"/>
              <a:gd name="connsiteY313" fmla="*/ 6492 h 10000"/>
              <a:gd name="connsiteX314" fmla="*/ 1167 w 10000"/>
              <a:gd name="connsiteY314" fmla="*/ 6561 h 10000"/>
              <a:gd name="connsiteX315" fmla="*/ 758 w 10000"/>
              <a:gd name="connsiteY315" fmla="*/ 6614 h 10000"/>
              <a:gd name="connsiteX316" fmla="*/ 732 w 10000"/>
              <a:gd name="connsiteY316" fmla="*/ 6706 h 10000"/>
              <a:gd name="connsiteX317" fmla="*/ 510 w 10000"/>
              <a:gd name="connsiteY317" fmla="*/ 6843 h 10000"/>
              <a:gd name="connsiteX318" fmla="*/ 540 w 10000"/>
              <a:gd name="connsiteY318" fmla="*/ 7040 h 10000"/>
              <a:gd name="connsiteX319" fmla="*/ 353 w 10000"/>
              <a:gd name="connsiteY319" fmla="*/ 7293 h 10000"/>
              <a:gd name="connsiteX320" fmla="*/ 226 w 10000"/>
              <a:gd name="connsiteY320" fmla="*/ 7323 h 10000"/>
              <a:gd name="connsiteX321" fmla="*/ 174 w 10000"/>
              <a:gd name="connsiteY321" fmla="*/ 7262 h 10000"/>
              <a:gd name="connsiteX322" fmla="*/ 109 w 10000"/>
              <a:gd name="connsiteY322" fmla="*/ 7354 h 10000"/>
              <a:gd name="connsiteX323" fmla="*/ 152 w 10000"/>
              <a:gd name="connsiteY323" fmla="*/ 7197 h 10000"/>
              <a:gd name="connsiteX324" fmla="*/ 126 w 10000"/>
              <a:gd name="connsiteY32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558 w 10000"/>
              <a:gd name="connsiteY208" fmla="*/ 2459 h 10000"/>
              <a:gd name="connsiteX209" fmla="*/ 8698 w 10000"/>
              <a:gd name="connsiteY209" fmla="*/ 2504 h 10000"/>
              <a:gd name="connsiteX210" fmla="*/ 8815 w 10000"/>
              <a:gd name="connsiteY210" fmla="*/ 2548 h 10000"/>
              <a:gd name="connsiteX211" fmla="*/ 8789 w 10000"/>
              <a:gd name="connsiteY211" fmla="*/ 2457 h 10000"/>
              <a:gd name="connsiteX212" fmla="*/ 8798 w 10000"/>
              <a:gd name="connsiteY212" fmla="*/ 2467 h 10000"/>
              <a:gd name="connsiteX213" fmla="*/ 8841 w 10000"/>
              <a:gd name="connsiteY213" fmla="*/ 2457 h 10000"/>
              <a:gd name="connsiteX214" fmla="*/ 8855 w 10000"/>
              <a:gd name="connsiteY214" fmla="*/ 2341 h 10000"/>
              <a:gd name="connsiteX215" fmla="*/ 8898 w 10000"/>
              <a:gd name="connsiteY215" fmla="*/ 2332 h 10000"/>
              <a:gd name="connsiteX216" fmla="*/ 8946 w 10000"/>
              <a:gd name="connsiteY216" fmla="*/ 2330 h 10000"/>
              <a:gd name="connsiteX217" fmla="*/ 8946 w 10000"/>
              <a:gd name="connsiteY217" fmla="*/ 2361 h 10000"/>
              <a:gd name="connsiteX218" fmla="*/ 8994 w 10000"/>
              <a:gd name="connsiteY218" fmla="*/ 2389 h 10000"/>
              <a:gd name="connsiteX219" fmla="*/ 9051 w 10000"/>
              <a:gd name="connsiteY219" fmla="*/ 2400 h 10000"/>
              <a:gd name="connsiteX220" fmla="*/ 9094 w 10000"/>
              <a:gd name="connsiteY220" fmla="*/ 2324 h 10000"/>
              <a:gd name="connsiteX221" fmla="*/ 9164 w 10000"/>
              <a:gd name="connsiteY221" fmla="*/ 2347 h 10000"/>
              <a:gd name="connsiteX222" fmla="*/ 9247 w 10000"/>
              <a:gd name="connsiteY222" fmla="*/ 2402 h 10000"/>
              <a:gd name="connsiteX223" fmla="*/ 9286 w 10000"/>
              <a:gd name="connsiteY223" fmla="*/ 2400 h 10000"/>
              <a:gd name="connsiteX224" fmla="*/ 9355 w 10000"/>
              <a:gd name="connsiteY224" fmla="*/ 2428 h 10000"/>
              <a:gd name="connsiteX225" fmla="*/ 9408 w 10000"/>
              <a:gd name="connsiteY225" fmla="*/ 2359 h 10000"/>
              <a:gd name="connsiteX226" fmla="*/ 9717 w 10000"/>
              <a:gd name="connsiteY226" fmla="*/ 2343 h 10000"/>
              <a:gd name="connsiteX227" fmla="*/ 9830 w 10000"/>
              <a:gd name="connsiteY227" fmla="*/ 2369 h 10000"/>
              <a:gd name="connsiteX228" fmla="*/ 9909 w 10000"/>
              <a:gd name="connsiteY228" fmla="*/ 2410 h 10000"/>
              <a:gd name="connsiteX229" fmla="*/ 9948 w 10000"/>
              <a:gd name="connsiteY229" fmla="*/ 2365 h 10000"/>
              <a:gd name="connsiteX230" fmla="*/ 10000 w 10000"/>
              <a:gd name="connsiteY230" fmla="*/ 2349 h 10000"/>
              <a:gd name="connsiteX231" fmla="*/ 9704 w 10000"/>
              <a:gd name="connsiteY231" fmla="*/ 1992 h 10000"/>
              <a:gd name="connsiteX232" fmla="*/ 9743 w 10000"/>
              <a:gd name="connsiteY232" fmla="*/ 1897 h 10000"/>
              <a:gd name="connsiteX233" fmla="*/ 9830 w 10000"/>
              <a:gd name="connsiteY233" fmla="*/ 1819 h 10000"/>
              <a:gd name="connsiteX234" fmla="*/ 9830 w 10000"/>
              <a:gd name="connsiteY234" fmla="*/ 1699 h 10000"/>
              <a:gd name="connsiteX235" fmla="*/ 9556 w 10000"/>
              <a:gd name="connsiteY235" fmla="*/ 1465 h 10000"/>
              <a:gd name="connsiteX236" fmla="*/ 9512 w 10000"/>
              <a:gd name="connsiteY236" fmla="*/ 1379 h 10000"/>
              <a:gd name="connsiteX237" fmla="*/ 9573 w 10000"/>
              <a:gd name="connsiteY237" fmla="*/ 1271 h 10000"/>
              <a:gd name="connsiteX238" fmla="*/ 9543 w 10000"/>
              <a:gd name="connsiteY238" fmla="*/ 1194 h 10000"/>
              <a:gd name="connsiteX239" fmla="*/ 9486 w 10000"/>
              <a:gd name="connsiteY239" fmla="*/ 1159 h 10000"/>
              <a:gd name="connsiteX240" fmla="*/ 9438 w 10000"/>
              <a:gd name="connsiteY240" fmla="*/ 978 h 10000"/>
              <a:gd name="connsiteX241" fmla="*/ 9495 w 10000"/>
              <a:gd name="connsiteY241" fmla="*/ 831 h 10000"/>
              <a:gd name="connsiteX242" fmla="*/ 9077 w 10000"/>
              <a:gd name="connsiteY242" fmla="*/ 517 h 10000"/>
              <a:gd name="connsiteX243" fmla="*/ 8872 w 10000"/>
              <a:gd name="connsiteY243" fmla="*/ 440 h 10000"/>
              <a:gd name="connsiteX244" fmla="*/ 8493 w 10000"/>
              <a:gd name="connsiteY244" fmla="*/ 389 h 10000"/>
              <a:gd name="connsiteX245" fmla="*/ 7709 w 10000"/>
              <a:gd name="connsiteY245" fmla="*/ 26 h 10000"/>
              <a:gd name="connsiteX246" fmla="*/ 7683 w 10000"/>
              <a:gd name="connsiteY246" fmla="*/ 2 h 10000"/>
              <a:gd name="connsiteX247" fmla="*/ 7417 w 10000"/>
              <a:gd name="connsiteY247" fmla="*/ 0 h 10000"/>
              <a:gd name="connsiteX248" fmla="*/ 7356 w 10000"/>
              <a:gd name="connsiteY248" fmla="*/ 14 h 10000"/>
              <a:gd name="connsiteX249" fmla="*/ 7369 w 10000"/>
              <a:gd name="connsiteY249" fmla="*/ 61 h 10000"/>
              <a:gd name="connsiteX250" fmla="*/ 7422 w 10000"/>
              <a:gd name="connsiteY250" fmla="*/ 86 h 10000"/>
              <a:gd name="connsiteX251" fmla="*/ 7435 w 10000"/>
              <a:gd name="connsiteY251" fmla="*/ 139 h 10000"/>
              <a:gd name="connsiteX252" fmla="*/ 7417 w 10000"/>
              <a:gd name="connsiteY252" fmla="*/ 181 h 10000"/>
              <a:gd name="connsiteX253" fmla="*/ 7369 w 10000"/>
              <a:gd name="connsiteY253" fmla="*/ 208 h 10000"/>
              <a:gd name="connsiteX254" fmla="*/ 7334 w 10000"/>
              <a:gd name="connsiteY254" fmla="*/ 283 h 10000"/>
              <a:gd name="connsiteX255" fmla="*/ 7269 w 10000"/>
              <a:gd name="connsiteY255" fmla="*/ 336 h 10000"/>
              <a:gd name="connsiteX256" fmla="*/ 7282 w 10000"/>
              <a:gd name="connsiteY256" fmla="*/ 387 h 10000"/>
              <a:gd name="connsiteX257" fmla="*/ 7382 w 10000"/>
              <a:gd name="connsiteY257" fmla="*/ 434 h 10000"/>
              <a:gd name="connsiteX258" fmla="*/ 7317 w 10000"/>
              <a:gd name="connsiteY258" fmla="*/ 475 h 10000"/>
              <a:gd name="connsiteX259" fmla="*/ 7221 w 10000"/>
              <a:gd name="connsiteY259" fmla="*/ 485 h 10000"/>
              <a:gd name="connsiteX260" fmla="*/ 6420 w 10000"/>
              <a:gd name="connsiteY260" fmla="*/ 387 h 10000"/>
              <a:gd name="connsiteX261" fmla="*/ 6324 w 10000"/>
              <a:gd name="connsiteY261" fmla="*/ 395 h 10000"/>
              <a:gd name="connsiteX262" fmla="*/ 6267 w 10000"/>
              <a:gd name="connsiteY262" fmla="*/ 414 h 10000"/>
              <a:gd name="connsiteX263" fmla="*/ 6211 w 10000"/>
              <a:gd name="connsiteY263" fmla="*/ 462 h 10000"/>
              <a:gd name="connsiteX264" fmla="*/ 6220 w 10000"/>
              <a:gd name="connsiteY264" fmla="*/ 581 h 10000"/>
              <a:gd name="connsiteX265" fmla="*/ 6132 w 10000"/>
              <a:gd name="connsiteY265" fmla="*/ 735 h 10000"/>
              <a:gd name="connsiteX266" fmla="*/ 6024 w 10000"/>
              <a:gd name="connsiteY266" fmla="*/ 815 h 10000"/>
              <a:gd name="connsiteX267" fmla="*/ 5980 w 10000"/>
              <a:gd name="connsiteY267" fmla="*/ 805 h 10000"/>
              <a:gd name="connsiteX268" fmla="*/ 5880 w 10000"/>
              <a:gd name="connsiteY268" fmla="*/ 739 h 10000"/>
              <a:gd name="connsiteX269" fmla="*/ 5753 w 10000"/>
              <a:gd name="connsiteY269" fmla="*/ 705 h 10000"/>
              <a:gd name="connsiteX270" fmla="*/ 5618 w 10000"/>
              <a:gd name="connsiteY270" fmla="*/ 715 h 10000"/>
              <a:gd name="connsiteX271" fmla="*/ 5301 w 10000"/>
              <a:gd name="connsiteY271" fmla="*/ 866 h 10000"/>
              <a:gd name="connsiteX272" fmla="*/ 5218 w 10000"/>
              <a:gd name="connsiteY272" fmla="*/ 1017 h 10000"/>
              <a:gd name="connsiteX273" fmla="*/ 4978 w 10000"/>
              <a:gd name="connsiteY273" fmla="*/ 1153 h 10000"/>
              <a:gd name="connsiteX274" fmla="*/ 4935 w 10000"/>
              <a:gd name="connsiteY274" fmla="*/ 1222 h 10000"/>
              <a:gd name="connsiteX275" fmla="*/ 5061 w 10000"/>
              <a:gd name="connsiteY275" fmla="*/ 1344 h 10000"/>
              <a:gd name="connsiteX276" fmla="*/ 5074 w 10000"/>
              <a:gd name="connsiteY276" fmla="*/ 1412 h 10000"/>
              <a:gd name="connsiteX277" fmla="*/ 4421 w 10000"/>
              <a:gd name="connsiteY277" fmla="*/ 1813 h 10000"/>
              <a:gd name="connsiteX278" fmla="*/ 4220 w 10000"/>
              <a:gd name="connsiteY278" fmla="*/ 2070 h 10000"/>
              <a:gd name="connsiteX279" fmla="*/ 4003 w 10000"/>
              <a:gd name="connsiteY279" fmla="*/ 2135 h 10000"/>
              <a:gd name="connsiteX280" fmla="*/ 3868 w 10000"/>
              <a:gd name="connsiteY280" fmla="*/ 2131 h 10000"/>
              <a:gd name="connsiteX281" fmla="*/ 3785 w 10000"/>
              <a:gd name="connsiteY281" fmla="*/ 2153 h 10000"/>
              <a:gd name="connsiteX282" fmla="*/ 3558 w 10000"/>
              <a:gd name="connsiteY282" fmla="*/ 2793 h 10000"/>
              <a:gd name="connsiteX283" fmla="*/ 3036 w 10000"/>
              <a:gd name="connsiteY283" fmla="*/ 3166 h 10000"/>
              <a:gd name="connsiteX284" fmla="*/ 3040 w 10000"/>
              <a:gd name="connsiteY284" fmla="*/ 3225 h 10000"/>
              <a:gd name="connsiteX285" fmla="*/ 3271 w 10000"/>
              <a:gd name="connsiteY285" fmla="*/ 3392 h 10000"/>
              <a:gd name="connsiteX286" fmla="*/ 3197 w 10000"/>
              <a:gd name="connsiteY286" fmla="*/ 3573 h 10000"/>
              <a:gd name="connsiteX287" fmla="*/ 3062 w 10000"/>
              <a:gd name="connsiteY287" fmla="*/ 3640 h 10000"/>
              <a:gd name="connsiteX288" fmla="*/ 2657 w 10000"/>
              <a:gd name="connsiteY288" fmla="*/ 3595 h 10000"/>
              <a:gd name="connsiteX289" fmla="*/ 2378 w 10000"/>
              <a:gd name="connsiteY289" fmla="*/ 3620 h 10000"/>
              <a:gd name="connsiteX290" fmla="*/ 2152 w 10000"/>
              <a:gd name="connsiteY290" fmla="*/ 3673 h 10000"/>
              <a:gd name="connsiteX291" fmla="*/ 1790 w 10000"/>
              <a:gd name="connsiteY291" fmla="*/ 3840 h 10000"/>
              <a:gd name="connsiteX292" fmla="*/ 1598 w 10000"/>
              <a:gd name="connsiteY292" fmla="*/ 4042 h 10000"/>
              <a:gd name="connsiteX293" fmla="*/ 1616 w 10000"/>
              <a:gd name="connsiteY293" fmla="*/ 4154 h 10000"/>
              <a:gd name="connsiteX294" fmla="*/ 1681 w 10000"/>
              <a:gd name="connsiteY294" fmla="*/ 4241 h 10000"/>
              <a:gd name="connsiteX295" fmla="*/ 1733 w 10000"/>
              <a:gd name="connsiteY295" fmla="*/ 4276 h 10000"/>
              <a:gd name="connsiteX296" fmla="*/ 1638 w 10000"/>
              <a:gd name="connsiteY296" fmla="*/ 4331 h 10000"/>
              <a:gd name="connsiteX297" fmla="*/ 1433 w 10000"/>
              <a:gd name="connsiteY297" fmla="*/ 4710 h 10000"/>
              <a:gd name="connsiteX298" fmla="*/ 1472 w 10000"/>
              <a:gd name="connsiteY298" fmla="*/ 4732 h 10000"/>
              <a:gd name="connsiteX299" fmla="*/ 1503 w 10000"/>
              <a:gd name="connsiteY299" fmla="*/ 4828 h 10000"/>
              <a:gd name="connsiteX300" fmla="*/ 1407 w 10000"/>
              <a:gd name="connsiteY300" fmla="*/ 5227 h 10000"/>
              <a:gd name="connsiteX301" fmla="*/ 1503 w 10000"/>
              <a:gd name="connsiteY301" fmla="*/ 5329 h 10000"/>
              <a:gd name="connsiteX302" fmla="*/ 1764 w 10000"/>
              <a:gd name="connsiteY302" fmla="*/ 5441 h 10000"/>
              <a:gd name="connsiteX303" fmla="*/ 1777 w 10000"/>
              <a:gd name="connsiteY303" fmla="*/ 5578 h 10000"/>
              <a:gd name="connsiteX304" fmla="*/ 1664 w 10000"/>
              <a:gd name="connsiteY304" fmla="*/ 5690 h 10000"/>
              <a:gd name="connsiteX305" fmla="*/ 1503 w 10000"/>
              <a:gd name="connsiteY305" fmla="*/ 5759 h 10000"/>
              <a:gd name="connsiteX306" fmla="*/ 1289 w 10000"/>
              <a:gd name="connsiteY306" fmla="*/ 5787 h 10000"/>
              <a:gd name="connsiteX307" fmla="*/ 1233 w 10000"/>
              <a:gd name="connsiteY307" fmla="*/ 5826 h 10000"/>
              <a:gd name="connsiteX308" fmla="*/ 1359 w 10000"/>
              <a:gd name="connsiteY308" fmla="*/ 5920 h 10000"/>
              <a:gd name="connsiteX309" fmla="*/ 1429 w 10000"/>
              <a:gd name="connsiteY309" fmla="*/ 6142 h 10000"/>
              <a:gd name="connsiteX310" fmla="*/ 1267 w 10000"/>
              <a:gd name="connsiteY310" fmla="*/ 6333 h 10000"/>
              <a:gd name="connsiteX311" fmla="*/ 1324 w 10000"/>
              <a:gd name="connsiteY311" fmla="*/ 6392 h 10000"/>
              <a:gd name="connsiteX312" fmla="*/ 1272 w 10000"/>
              <a:gd name="connsiteY312" fmla="*/ 6492 h 10000"/>
              <a:gd name="connsiteX313" fmla="*/ 1167 w 10000"/>
              <a:gd name="connsiteY313" fmla="*/ 6561 h 10000"/>
              <a:gd name="connsiteX314" fmla="*/ 758 w 10000"/>
              <a:gd name="connsiteY314" fmla="*/ 6614 h 10000"/>
              <a:gd name="connsiteX315" fmla="*/ 732 w 10000"/>
              <a:gd name="connsiteY315" fmla="*/ 6706 h 10000"/>
              <a:gd name="connsiteX316" fmla="*/ 510 w 10000"/>
              <a:gd name="connsiteY316" fmla="*/ 6843 h 10000"/>
              <a:gd name="connsiteX317" fmla="*/ 540 w 10000"/>
              <a:gd name="connsiteY317" fmla="*/ 7040 h 10000"/>
              <a:gd name="connsiteX318" fmla="*/ 353 w 10000"/>
              <a:gd name="connsiteY318" fmla="*/ 7293 h 10000"/>
              <a:gd name="connsiteX319" fmla="*/ 226 w 10000"/>
              <a:gd name="connsiteY319" fmla="*/ 7323 h 10000"/>
              <a:gd name="connsiteX320" fmla="*/ 174 w 10000"/>
              <a:gd name="connsiteY320" fmla="*/ 7262 h 10000"/>
              <a:gd name="connsiteX321" fmla="*/ 109 w 10000"/>
              <a:gd name="connsiteY321" fmla="*/ 7354 h 10000"/>
              <a:gd name="connsiteX322" fmla="*/ 152 w 10000"/>
              <a:gd name="connsiteY322" fmla="*/ 7197 h 10000"/>
              <a:gd name="connsiteX323" fmla="*/ 126 w 10000"/>
              <a:gd name="connsiteY32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798 w 10000"/>
              <a:gd name="connsiteY211" fmla="*/ 2467 h 10000"/>
              <a:gd name="connsiteX212" fmla="*/ 8841 w 10000"/>
              <a:gd name="connsiteY212" fmla="*/ 2457 h 10000"/>
              <a:gd name="connsiteX213" fmla="*/ 8855 w 10000"/>
              <a:gd name="connsiteY213" fmla="*/ 2341 h 10000"/>
              <a:gd name="connsiteX214" fmla="*/ 8898 w 10000"/>
              <a:gd name="connsiteY214" fmla="*/ 2332 h 10000"/>
              <a:gd name="connsiteX215" fmla="*/ 8946 w 10000"/>
              <a:gd name="connsiteY215" fmla="*/ 2330 h 10000"/>
              <a:gd name="connsiteX216" fmla="*/ 8946 w 10000"/>
              <a:gd name="connsiteY216" fmla="*/ 2361 h 10000"/>
              <a:gd name="connsiteX217" fmla="*/ 8994 w 10000"/>
              <a:gd name="connsiteY217" fmla="*/ 2389 h 10000"/>
              <a:gd name="connsiteX218" fmla="*/ 9051 w 10000"/>
              <a:gd name="connsiteY218" fmla="*/ 2400 h 10000"/>
              <a:gd name="connsiteX219" fmla="*/ 9094 w 10000"/>
              <a:gd name="connsiteY219" fmla="*/ 2324 h 10000"/>
              <a:gd name="connsiteX220" fmla="*/ 9164 w 10000"/>
              <a:gd name="connsiteY220" fmla="*/ 2347 h 10000"/>
              <a:gd name="connsiteX221" fmla="*/ 9247 w 10000"/>
              <a:gd name="connsiteY221" fmla="*/ 2402 h 10000"/>
              <a:gd name="connsiteX222" fmla="*/ 9286 w 10000"/>
              <a:gd name="connsiteY222" fmla="*/ 2400 h 10000"/>
              <a:gd name="connsiteX223" fmla="*/ 9355 w 10000"/>
              <a:gd name="connsiteY223" fmla="*/ 2428 h 10000"/>
              <a:gd name="connsiteX224" fmla="*/ 9408 w 10000"/>
              <a:gd name="connsiteY224" fmla="*/ 2359 h 10000"/>
              <a:gd name="connsiteX225" fmla="*/ 9717 w 10000"/>
              <a:gd name="connsiteY225" fmla="*/ 2343 h 10000"/>
              <a:gd name="connsiteX226" fmla="*/ 9830 w 10000"/>
              <a:gd name="connsiteY226" fmla="*/ 2369 h 10000"/>
              <a:gd name="connsiteX227" fmla="*/ 9909 w 10000"/>
              <a:gd name="connsiteY227" fmla="*/ 2410 h 10000"/>
              <a:gd name="connsiteX228" fmla="*/ 9948 w 10000"/>
              <a:gd name="connsiteY228" fmla="*/ 2365 h 10000"/>
              <a:gd name="connsiteX229" fmla="*/ 10000 w 10000"/>
              <a:gd name="connsiteY229" fmla="*/ 2349 h 10000"/>
              <a:gd name="connsiteX230" fmla="*/ 9704 w 10000"/>
              <a:gd name="connsiteY230" fmla="*/ 1992 h 10000"/>
              <a:gd name="connsiteX231" fmla="*/ 9743 w 10000"/>
              <a:gd name="connsiteY231" fmla="*/ 1897 h 10000"/>
              <a:gd name="connsiteX232" fmla="*/ 9830 w 10000"/>
              <a:gd name="connsiteY232" fmla="*/ 1819 h 10000"/>
              <a:gd name="connsiteX233" fmla="*/ 9830 w 10000"/>
              <a:gd name="connsiteY233" fmla="*/ 1699 h 10000"/>
              <a:gd name="connsiteX234" fmla="*/ 9556 w 10000"/>
              <a:gd name="connsiteY234" fmla="*/ 1465 h 10000"/>
              <a:gd name="connsiteX235" fmla="*/ 9512 w 10000"/>
              <a:gd name="connsiteY235" fmla="*/ 1379 h 10000"/>
              <a:gd name="connsiteX236" fmla="*/ 9573 w 10000"/>
              <a:gd name="connsiteY236" fmla="*/ 1271 h 10000"/>
              <a:gd name="connsiteX237" fmla="*/ 9543 w 10000"/>
              <a:gd name="connsiteY237" fmla="*/ 1194 h 10000"/>
              <a:gd name="connsiteX238" fmla="*/ 9486 w 10000"/>
              <a:gd name="connsiteY238" fmla="*/ 1159 h 10000"/>
              <a:gd name="connsiteX239" fmla="*/ 9438 w 10000"/>
              <a:gd name="connsiteY239" fmla="*/ 978 h 10000"/>
              <a:gd name="connsiteX240" fmla="*/ 9495 w 10000"/>
              <a:gd name="connsiteY240" fmla="*/ 831 h 10000"/>
              <a:gd name="connsiteX241" fmla="*/ 9077 w 10000"/>
              <a:gd name="connsiteY241" fmla="*/ 517 h 10000"/>
              <a:gd name="connsiteX242" fmla="*/ 8872 w 10000"/>
              <a:gd name="connsiteY242" fmla="*/ 440 h 10000"/>
              <a:gd name="connsiteX243" fmla="*/ 8493 w 10000"/>
              <a:gd name="connsiteY243" fmla="*/ 389 h 10000"/>
              <a:gd name="connsiteX244" fmla="*/ 7709 w 10000"/>
              <a:gd name="connsiteY244" fmla="*/ 26 h 10000"/>
              <a:gd name="connsiteX245" fmla="*/ 7683 w 10000"/>
              <a:gd name="connsiteY245" fmla="*/ 2 h 10000"/>
              <a:gd name="connsiteX246" fmla="*/ 7417 w 10000"/>
              <a:gd name="connsiteY246" fmla="*/ 0 h 10000"/>
              <a:gd name="connsiteX247" fmla="*/ 7356 w 10000"/>
              <a:gd name="connsiteY247" fmla="*/ 14 h 10000"/>
              <a:gd name="connsiteX248" fmla="*/ 7369 w 10000"/>
              <a:gd name="connsiteY248" fmla="*/ 61 h 10000"/>
              <a:gd name="connsiteX249" fmla="*/ 7422 w 10000"/>
              <a:gd name="connsiteY249" fmla="*/ 86 h 10000"/>
              <a:gd name="connsiteX250" fmla="*/ 7435 w 10000"/>
              <a:gd name="connsiteY250" fmla="*/ 139 h 10000"/>
              <a:gd name="connsiteX251" fmla="*/ 7417 w 10000"/>
              <a:gd name="connsiteY251" fmla="*/ 181 h 10000"/>
              <a:gd name="connsiteX252" fmla="*/ 7369 w 10000"/>
              <a:gd name="connsiteY252" fmla="*/ 208 h 10000"/>
              <a:gd name="connsiteX253" fmla="*/ 7334 w 10000"/>
              <a:gd name="connsiteY253" fmla="*/ 283 h 10000"/>
              <a:gd name="connsiteX254" fmla="*/ 7269 w 10000"/>
              <a:gd name="connsiteY254" fmla="*/ 336 h 10000"/>
              <a:gd name="connsiteX255" fmla="*/ 7282 w 10000"/>
              <a:gd name="connsiteY255" fmla="*/ 387 h 10000"/>
              <a:gd name="connsiteX256" fmla="*/ 7382 w 10000"/>
              <a:gd name="connsiteY256" fmla="*/ 434 h 10000"/>
              <a:gd name="connsiteX257" fmla="*/ 7317 w 10000"/>
              <a:gd name="connsiteY257" fmla="*/ 475 h 10000"/>
              <a:gd name="connsiteX258" fmla="*/ 7221 w 10000"/>
              <a:gd name="connsiteY258" fmla="*/ 485 h 10000"/>
              <a:gd name="connsiteX259" fmla="*/ 6420 w 10000"/>
              <a:gd name="connsiteY259" fmla="*/ 387 h 10000"/>
              <a:gd name="connsiteX260" fmla="*/ 6324 w 10000"/>
              <a:gd name="connsiteY260" fmla="*/ 395 h 10000"/>
              <a:gd name="connsiteX261" fmla="*/ 6267 w 10000"/>
              <a:gd name="connsiteY261" fmla="*/ 414 h 10000"/>
              <a:gd name="connsiteX262" fmla="*/ 6211 w 10000"/>
              <a:gd name="connsiteY262" fmla="*/ 462 h 10000"/>
              <a:gd name="connsiteX263" fmla="*/ 6220 w 10000"/>
              <a:gd name="connsiteY263" fmla="*/ 581 h 10000"/>
              <a:gd name="connsiteX264" fmla="*/ 6132 w 10000"/>
              <a:gd name="connsiteY264" fmla="*/ 735 h 10000"/>
              <a:gd name="connsiteX265" fmla="*/ 6024 w 10000"/>
              <a:gd name="connsiteY265" fmla="*/ 815 h 10000"/>
              <a:gd name="connsiteX266" fmla="*/ 5980 w 10000"/>
              <a:gd name="connsiteY266" fmla="*/ 805 h 10000"/>
              <a:gd name="connsiteX267" fmla="*/ 5880 w 10000"/>
              <a:gd name="connsiteY267" fmla="*/ 739 h 10000"/>
              <a:gd name="connsiteX268" fmla="*/ 5753 w 10000"/>
              <a:gd name="connsiteY268" fmla="*/ 705 h 10000"/>
              <a:gd name="connsiteX269" fmla="*/ 5618 w 10000"/>
              <a:gd name="connsiteY269" fmla="*/ 715 h 10000"/>
              <a:gd name="connsiteX270" fmla="*/ 5301 w 10000"/>
              <a:gd name="connsiteY270" fmla="*/ 866 h 10000"/>
              <a:gd name="connsiteX271" fmla="*/ 5218 w 10000"/>
              <a:gd name="connsiteY271" fmla="*/ 1017 h 10000"/>
              <a:gd name="connsiteX272" fmla="*/ 4978 w 10000"/>
              <a:gd name="connsiteY272" fmla="*/ 1153 h 10000"/>
              <a:gd name="connsiteX273" fmla="*/ 4935 w 10000"/>
              <a:gd name="connsiteY273" fmla="*/ 1222 h 10000"/>
              <a:gd name="connsiteX274" fmla="*/ 5061 w 10000"/>
              <a:gd name="connsiteY274" fmla="*/ 1344 h 10000"/>
              <a:gd name="connsiteX275" fmla="*/ 5074 w 10000"/>
              <a:gd name="connsiteY275" fmla="*/ 1412 h 10000"/>
              <a:gd name="connsiteX276" fmla="*/ 4421 w 10000"/>
              <a:gd name="connsiteY276" fmla="*/ 1813 h 10000"/>
              <a:gd name="connsiteX277" fmla="*/ 4220 w 10000"/>
              <a:gd name="connsiteY277" fmla="*/ 2070 h 10000"/>
              <a:gd name="connsiteX278" fmla="*/ 4003 w 10000"/>
              <a:gd name="connsiteY278" fmla="*/ 2135 h 10000"/>
              <a:gd name="connsiteX279" fmla="*/ 3868 w 10000"/>
              <a:gd name="connsiteY279" fmla="*/ 2131 h 10000"/>
              <a:gd name="connsiteX280" fmla="*/ 3785 w 10000"/>
              <a:gd name="connsiteY280" fmla="*/ 2153 h 10000"/>
              <a:gd name="connsiteX281" fmla="*/ 3558 w 10000"/>
              <a:gd name="connsiteY281" fmla="*/ 2793 h 10000"/>
              <a:gd name="connsiteX282" fmla="*/ 3036 w 10000"/>
              <a:gd name="connsiteY282" fmla="*/ 3166 h 10000"/>
              <a:gd name="connsiteX283" fmla="*/ 3040 w 10000"/>
              <a:gd name="connsiteY283" fmla="*/ 3225 h 10000"/>
              <a:gd name="connsiteX284" fmla="*/ 3271 w 10000"/>
              <a:gd name="connsiteY284" fmla="*/ 3392 h 10000"/>
              <a:gd name="connsiteX285" fmla="*/ 3197 w 10000"/>
              <a:gd name="connsiteY285" fmla="*/ 3573 h 10000"/>
              <a:gd name="connsiteX286" fmla="*/ 3062 w 10000"/>
              <a:gd name="connsiteY286" fmla="*/ 3640 h 10000"/>
              <a:gd name="connsiteX287" fmla="*/ 2657 w 10000"/>
              <a:gd name="connsiteY287" fmla="*/ 3595 h 10000"/>
              <a:gd name="connsiteX288" fmla="*/ 2378 w 10000"/>
              <a:gd name="connsiteY288" fmla="*/ 3620 h 10000"/>
              <a:gd name="connsiteX289" fmla="*/ 2152 w 10000"/>
              <a:gd name="connsiteY289" fmla="*/ 3673 h 10000"/>
              <a:gd name="connsiteX290" fmla="*/ 1790 w 10000"/>
              <a:gd name="connsiteY290" fmla="*/ 3840 h 10000"/>
              <a:gd name="connsiteX291" fmla="*/ 1598 w 10000"/>
              <a:gd name="connsiteY291" fmla="*/ 4042 h 10000"/>
              <a:gd name="connsiteX292" fmla="*/ 1616 w 10000"/>
              <a:gd name="connsiteY292" fmla="*/ 4154 h 10000"/>
              <a:gd name="connsiteX293" fmla="*/ 1681 w 10000"/>
              <a:gd name="connsiteY293" fmla="*/ 4241 h 10000"/>
              <a:gd name="connsiteX294" fmla="*/ 1733 w 10000"/>
              <a:gd name="connsiteY294" fmla="*/ 4276 h 10000"/>
              <a:gd name="connsiteX295" fmla="*/ 1638 w 10000"/>
              <a:gd name="connsiteY295" fmla="*/ 4331 h 10000"/>
              <a:gd name="connsiteX296" fmla="*/ 1433 w 10000"/>
              <a:gd name="connsiteY296" fmla="*/ 4710 h 10000"/>
              <a:gd name="connsiteX297" fmla="*/ 1472 w 10000"/>
              <a:gd name="connsiteY297" fmla="*/ 4732 h 10000"/>
              <a:gd name="connsiteX298" fmla="*/ 1503 w 10000"/>
              <a:gd name="connsiteY298" fmla="*/ 4828 h 10000"/>
              <a:gd name="connsiteX299" fmla="*/ 1407 w 10000"/>
              <a:gd name="connsiteY299" fmla="*/ 5227 h 10000"/>
              <a:gd name="connsiteX300" fmla="*/ 1503 w 10000"/>
              <a:gd name="connsiteY300" fmla="*/ 5329 h 10000"/>
              <a:gd name="connsiteX301" fmla="*/ 1764 w 10000"/>
              <a:gd name="connsiteY301" fmla="*/ 5441 h 10000"/>
              <a:gd name="connsiteX302" fmla="*/ 1777 w 10000"/>
              <a:gd name="connsiteY302" fmla="*/ 5578 h 10000"/>
              <a:gd name="connsiteX303" fmla="*/ 1664 w 10000"/>
              <a:gd name="connsiteY303" fmla="*/ 5690 h 10000"/>
              <a:gd name="connsiteX304" fmla="*/ 1503 w 10000"/>
              <a:gd name="connsiteY304" fmla="*/ 5759 h 10000"/>
              <a:gd name="connsiteX305" fmla="*/ 1289 w 10000"/>
              <a:gd name="connsiteY305" fmla="*/ 5787 h 10000"/>
              <a:gd name="connsiteX306" fmla="*/ 1233 w 10000"/>
              <a:gd name="connsiteY306" fmla="*/ 5826 h 10000"/>
              <a:gd name="connsiteX307" fmla="*/ 1359 w 10000"/>
              <a:gd name="connsiteY307" fmla="*/ 5920 h 10000"/>
              <a:gd name="connsiteX308" fmla="*/ 1429 w 10000"/>
              <a:gd name="connsiteY308" fmla="*/ 6142 h 10000"/>
              <a:gd name="connsiteX309" fmla="*/ 1267 w 10000"/>
              <a:gd name="connsiteY309" fmla="*/ 6333 h 10000"/>
              <a:gd name="connsiteX310" fmla="*/ 1324 w 10000"/>
              <a:gd name="connsiteY310" fmla="*/ 6392 h 10000"/>
              <a:gd name="connsiteX311" fmla="*/ 1272 w 10000"/>
              <a:gd name="connsiteY311" fmla="*/ 6492 h 10000"/>
              <a:gd name="connsiteX312" fmla="*/ 1167 w 10000"/>
              <a:gd name="connsiteY312" fmla="*/ 6561 h 10000"/>
              <a:gd name="connsiteX313" fmla="*/ 758 w 10000"/>
              <a:gd name="connsiteY313" fmla="*/ 6614 h 10000"/>
              <a:gd name="connsiteX314" fmla="*/ 732 w 10000"/>
              <a:gd name="connsiteY314" fmla="*/ 6706 h 10000"/>
              <a:gd name="connsiteX315" fmla="*/ 510 w 10000"/>
              <a:gd name="connsiteY315" fmla="*/ 6843 h 10000"/>
              <a:gd name="connsiteX316" fmla="*/ 540 w 10000"/>
              <a:gd name="connsiteY316" fmla="*/ 7040 h 10000"/>
              <a:gd name="connsiteX317" fmla="*/ 353 w 10000"/>
              <a:gd name="connsiteY317" fmla="*/ 7293 h 10000"/>
              <a:gd name="connsiteX318" fmla="*/ 226 w 10000"/>
              <a:gd name="connsiteY318" fmla="*/ 7323 h 10000"/>
              <a:gd name="connsiteX319" fmla="*/ 174 w 10000"/>
              <a:gd name="connsiteY319" fmla="*/ 7262 h 10000"/>
              <a:gd name="connsiteX320" fmla="*/ 109 w 10000"/>
              <a:gd name="connsiteY320" fmla="*/ 7354 h 10000"/>
              <a:gd name="connsiteX321" fmla="*/ 152 w 10000"/>
              <a:gd name="connsiteY321" fmla="*/ 7197 h 10000"/>
              <a:gd name="connsiteX322" fmla="*/ 126 w 10000"/>
              <a:gd name="connsiteY32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798 w 10000"/>
              <a:gd name="connsiteY211" fmla="*/ 2467 h 10000"/>
              <a:gd name="connsiteX212" fmla="*/ 8855 w 10000"/>
              <a:gd name="connsiteY212" fmla="*/ 2341 h 10000"/>
              <a:gd name="connsiteX213" fmla="*/ 8898 w 10000"/>
              <a:gd name="connsiteY213" fmla="*/ 2332 h 10000"/>
              <a:gd name="connsiteX214" fmla="*/ 8946 w 10000"/>
              <a:gd name="connsiteY214" fmla="*/ 2330 h 10000"/>
              <a:gd name="connsiteX215" fmla="*/ 8946 w 10000"/>
              <a:gd name="connsiteY215" fmla="*/ 2361 h 10000"/>
              <a:gd name="connsiteX216" fmla="*/ 8994 w 10000"/>
              <a:gd name="connsiteY216" fmla="*/ 2389 h 10000"/>
              <a:gd name="connsiteX217" fmla="*/ 9051 w 10000"/>
              <a:gd name="connsiteY217" fmla="*/ 2400 h 10000"/>
              <a:gd name="connsiteX218" fmla="*/ 9094 w 10000"/>
              <a:gd name="connsiteY218" fmla="*/ 2324 h 10000"/>
              <a:gd name="connsiteX219" fmla="*/ 9164 w 10000"/>
              <a:gd name="connsiteY219" fmla="*/ 2347 h 10000"/>
              <a:gd name="connsiteX220" fmla="*/ 9247 w 10000"/>
              <a:gd name="connsiteY220" fmla="*/ 2402 h 10000"/>
              <a:gd name="connsiteX221" fmla="*/ 9286 w 10000"/>
              <a:gd name="connsiteY221" fmla="*/ 2400 h 10000"/>
              <a:gd name="connsiteX222" fmla="*/ 9355 w 10000"/>
              <a:gd name="connsiteY222" fmla="*/ 2428 h 10000"/>
              <a:gd name="connsiteX223" fmla="*/ 9408 w 10000"/>
              <a:gd name="connsiteY223" fmla="*/ 2359 h 10000"/>
              <a:gd name="connsiteX224" fmla="*/ 9717 w 10000"/>
              <a:gd name="connsiteY224" fmla="*/ 2343 h 10000"/>
              <a:gd name="connsiteX225" fmla="*/ 9830 w 10000"/>
              <a:gd name="connsiteY225" fmla="*/ 2369 h 10000"/>
              <a:gd name="connsiteX226" fmla="*/ 9909 w 10000"/>
              <a:gd name="connsiteY226" fmla="*/ 2410 h 10000"/>
              <a:gd name="connsiteX227" fmla="*/ 9948 w 10000"/>
              <a:gd name="connsiteY227" fmla="*/ 2365 h 10000"/>
              <a:gd name="connsiteX228" fmla="*/ 10000 w 10000"/>
              <a:gd name="connsiteY228" fmla="*/ 2349 h 10000"/>
              <a:gd name="connsiteX229" fmla="*/ 9704 w 10000"/>
              <a:gd name="connsiteY229" fmla="*/ 1992 h 10000"/>
              <a:gd name="connsiteX230" fmla="*/ 9743 w 10000"/>
              <a:gd name="connsiteY230" fmla="*/ 1897 h 10000"/>
              <a:gd name="connsiteX231" fmla="*/ 9830 w 10000"/>
              <a:gd name="connsiteY231" fmla="*/ 1819 h 10000"/>
              <a:gd name="connsiteX232" fmla="*/ 9830 w 10000"/>
              <a:gd name="connsiteY232" fmla="*/ 1699 h 10000"/>
              <a:gd name="connsiteX233" fmla="*/ 9556 w 10000"/>
              <a:gd name="connsiteY233" fmla="*/ 1465 h 10000"/>
              <a:gd name="connsiteX234" fmla="*/ 9512 w 10000"/>
              <a:gd name="connsiteY234" fmla="*/ 1379 h 10000"/>
              <a:gd name="connsiteX235" fmla="*/ 9573 w 10000"/>
              <a:gd name="connsiteY235" fmla="*/ 1271 h 10000"/>
              <a:gd name="connsiteX236" fmla="*/ 9543 w 10000"/>
              <a:gd name="connsiteY236" fmla="*/ 1194 h 10000"/>
              <a:gd name="connsiteX237" fmla="*/ 9486 w 10000"/>
              <a:gd name="connsiteY237" fmla="*/ 1159 h 10000"/>
              <a:gd name="connsiteX238" fmla="*/ 9438 w 10000"/>
              <a:gd name="connsiteY238" fmla="*/ 978 h 10000"/>
              <a:gd name="connsiteX239" fmla="*/ 9495 w 10000"/>
              <a:gd name="connsiteY239" fmla="*/ 831 h 10000"/>
              <a:gd name="connsiteX240" fmla="*/ 9077 w 10000"/>
              <a:gd name="connsiteY240" fmla="*/ 517 h 10000"/>
              <a:gd name="connsiteX241" fmla="*/ 8872 w 10000"/>
              <a:gd name="connsiteY241" fmla="*/ 440 h 10000"/>
              <a:gd name="connsiteX242" fmla="*/ 8493 w 10000"/>
              <a:gd name="connsiteY242" fmla="*/ 389 h 10000"/>
              <a:gd name="connsiteX243" fmla="*/ 7709 w 10000"/>
              <a:gd name="connsiteY243" fmla="*/ 26 h 10000"/>
              <a:gd name="connsiteX244" fmla="*/ 7683 w 10000"/>
              <a:gd name="connsiteY244" fmla="*/ 2 h 10000"/>
              <a:gd name="connsiteX245" fmla="*/ 7417 w 10000"/>
              <a:gd name="connsiteY245" fmla="*/ 0 h 10000"/>
              <a:gd name="connsiteX246" fmla="*/ 7356 w 10000"/>
              <a:gd name="connsiteY246" fmla="*/ 14 h 10000"/>
              <a:gd name="connsiteX247" fmla="*/ 7369 w 10000"/>
              <a:gd name="connsiteY247" fmla="*/ 61 h 10000"/>
              <a:gd name="connsiteX248" fmla="*/ 7422 w 10000"/>
              <a:gd name="connsiteY248" fmla="*/ 86 h 10000"/>
              <a:gd name="connsiteX249" fmla="*/ 7435 w 10000"/>
              <a:gd name="connsiteY249" fmla="*/ 139 h 10000"/>
              <a:gd name="connsiteX250" fmla="*/ 7417 w 10000"/>
              <a:gd name="connsiteY250" fmla="*/ 181 h 10000"/>
              <a:gd name="connsiteX251" fmla="*/ 7369 w 10000"/>
              <a:gd name="connsiteY251" fmla="*/ 208 h 10000"/>
              <a:gd name="connsiteX252" fmla="*/ 7334 w 10000"/>
              <a:gd name="connsiteY252" fmla="*/ 283 h 10000"/>
              <a:gd name="connsiteX253" fmla="*/ 7269 w 10000"/>
              <a:gd name="connsiteY253" fmla="*/ 336 h 10000"/>
              <a:gd name="connsiteX254" fmla="*/ 7282 w 10000"/>
              <a:gd name="connsiteY254" fmla="*/ 387 h 10000"/>
              <a:gd name="connsiteX255" fmla="*/ 7382 w 10000"/>
              <a:gd name="connsiteY255" fmla="*/ 434 h 10000"/>
              <a:gd name="connsiteX256" fmla="*/ 7317 w 10000"/>
              <a:gd name="connsiteY256" fmla="*/ 475 h 10000"/>
              <a:gd name="connsiteX257" fmla="*/ 7221 w 10000"/>
              <a:gd name="connsiteY257" fmla="*/ 485 h 10000"/>
              <a:gd name="connsiteX258" fmla="*/ 6420 w 10000"/>
              <a:gd name="connsiteY258" fmla="*/ 387 h 10000"/>
              <a:gd name="connsiteX259" fmla="*/ 6324 w 10000"/>
              <a:gd name="connsiteY259" fmla="*/ 395 h 10000"/>
              <a:gd name="connsiteX260" fmla="*/ 6267 w 10000"/>
              <a:gd name="connsiteY260" fmla="*/ 414 h 10000"/>
              <a:gd name="connsiteX261" fmla="*/ 6211 w 10000"/>
              <a:gd name="connsiteY261" fmla="*/ 462 h 10000"/>
              <a:gd name="connsiteX262" fmla="*/ 6220 w 10000"/>
              <a:gd name="connsiteY262" fmla="*/ 581 h 10000"/>
              <a:gd name="connsiteX263" fmla="*/ 6132 w 10000"/>
              <a:gd name="connsiteY263" fmla="*/ 735 h 10000"/>
              <a:gd name="connsiteX264" fmla="*/ 6024 w 10000"/>
              <a:gd name="connsiteY264" fmla="*/ 815 h 10000"/>
              <a:gd name="connsiteX265" fmla="*/ 5980 w 10000"/>
              <a:gd name="connsiteY265" fmla="*/ 805 h 10000"/>
              <a:gd name="connsiteX266" fmla="*/ 5880 w 10000"/>
              <a:gd name="connsiteY266" fmla="*/ 739 h 10000"/>
              <a:gd name="connsiteX267" fmla="*/ 5753 w 10000"/>
              <a:gd name="connsiteY267" fmla="*/ 705 h 10000"/>
              <a:gd name="connsiteX268" fmla="*/ 5618 w 10000"/>
              <a:gd name="connsiteY268" fmla="*/ 715 h 10000"/>
              <a:gd name="connsiteX269" fmla="*/ 5301 w 10000"/>
              <a:gd name="connsiteY269" fmla="*/ 866 h 10000"/>
              <a:gd name="connsiteX270" fmla="*/ 5218 w 10000"/>
              <a:gd name="connsiteY270" fmla="*/ 1017 h 10000"/>
              <a:gd name="connsiteX271" fmla="*/ 4978 w 10000"/>
              <a:gd name="connsiteY271" fmla="*/ 1153 h 10000"/>
              <a:gd name="connsiteX272" fmla="*/ 4935 w 10000"/>
              <a:gd name="connsiteY272" fmla="*/ 1222 h 10000"/>
              <a:gd name="connsiteX273" fmla="*/ 5061 w 10000"/>
              <a:gd name="connsiteY273" fmla="*/ 1344 h 10000"/>
              <a:gd name="connsiteX274" fmla="*/ 5074 w 10000"/>
              <a:gd name="connsiteY274" fmla="*/ 1412 h 10000"/>
              <a:gd name="connsiteX275" fmla="*/ 4421 w 10000"/>
              <a:gd name="connsiteY275" fmla="*/ 1813 h 10000"/>
              <a:gd name="connsiteX276" fmla="*/ 4220 w 10000"/>
              <a:gd name="connsiteY276" fmla="*/ 2070 h 10000"/>
              <a:gd name="connsiteX277" fmla="*/ 4003 w 10000"/>
              <a:gd name="connsiteY277" fmla="*/ 2135 h 10000"/>
              <a:gd name="connsiteX278" fmla="*/ 3868 w 10000"/>
              <a:gd name="connsiteY278" fmla="*/ 2131 h 10000"/>
              <a:gd name="connsiteX279" fmla="*/ 3785 w 10000"/>
              <a:gd name="connsiteY279" fmla="*/ 2153 h 10000"/>
              <a:gd name="connsiteX280" fmla="*/ 3558 w 10000"/>
              <a:gd name="connsiteY280" fmla="*/ 2793 h 10000"/>
              <a:gd name="connsiteX281" fmla="*/ 3036 w 10000"/>
              <a:gd name="connsiteY281" fmla="*/ 3166 h 10000"/>
              <a:gd name="connsiteX282" fmla="*/ 3040 w 10000"/>
              <a:gd name="connsiteY282" fmla="*/ 3225 h 10000"/>
              <a:gd name="connsiteX283" fmla="*/ 3271 w 10000"/>
              <a:gd name="connsiteY283" fmla="*/ 3392 h 10000"/>
              <a:gd name="connsiteX284" fmla="*/ 3197 w 10000"/>
              <a:gd name="connsiteY284" fmla="*/ 3573 h 10000"/>
              <a:gd name="connsiteX285" fmla="*/ 3062 w 10000"/>
              <a:gd name="connsiteY285" fmla="*/ 3640 h 10000"/>
              <a:gd name="connsiteX286" fmla="*/ 2657 w 10000"/>
              <a:gd name="connsiteY286" fmla="*/ 3595 h 10000"/>
              <a:gd name="connsiteX287" fmla="*/ 2378 w 10000"/>
              <a:gd name="connsiteY287" fmla="*/ 3620 h 10000"/>
              <a:gd name="connsiteX288" fmla="*/ 2152 w 10000"/>
              <a:gd name="connsiteY288" fmla="*/ 3673 h 10000"/>
              <a:gd name="connsiteX289" fmla="*/ 1790 w 10000"/>
              <a:gd name="connsiteY289" fmla="*/ 3840 h 10000"/>
              <a:gd name="connsiteX290" fmla="*/ 1598 w 10000"/>
              <a:gd name="connsiteY290" fmla="*/ 4042 h 10000"/>
              <a:gd name="connsiteX291" fmla="*/ 1616 w 10000"/>
              <a:gd name="connsiteY291" fmla="*/ 4154 h 10000"/>
              <a:gd name="connsiteX292" fmla="*/ 1681 w 10000"/>
              <a:gd name="connsiteY292" fmla="*/ 4241 h 10000"/>
              <a:gd name="connsiteX293" fmla="*/ 1733 w 10000"/>
              <a:gd name="connsiteY293" fmla="*/ 4276 h 10000"/>
              <a:gd name="connsiteX294" fmla="*/ 1638 w 10000"/>
              <a:gd name="connsiteY294" fmla="*/ 4331 h 10000"/>
              <a:gd name="connsiteX295" fmla="*/ 1433 w 10000"/>
              <a:gd name="connsiteY295" fmla="*/ 4710 h 10000"/>
              <a:gd name="connsiteX296" fmla="*/ 1472 w 10000"/>
              <a:gd name="connsiteY296" fmla="*/ 4732 h 10000"/>
              <a:gd name="connsiteX297" fmla="*/ 1503 w 10000"/>
              <a:gd name="connsiteY297" fmla="*/ 4828 h 10000"/>
              <a:gd name="connsiteX298" fmla="*/ 1407 w 10000"/>
              <a:gd name="connsiteY298" fmla="*/ 5227 h 10000"/>
              <a:gd name="connsiteX299" fmla="*/ 1503 w 10000"/>
              <a:gd name="connsiteY299" fmla="*/ 5329 h 10000"/>
              <a:gd name="connsiteX300" fmla="*/ 1764 w 10000"/>
              <a:gd name="connsiteY300" fmla="*/ 5441 h 10000"/>
              <a:gd name="connsiteX301" fmla="*/ 1777 w 10000"/>
              <a:gd name="connsiteY301" fmla="*/ 5578 h 10000"/>
              <a:gd name="connsiteX302" fmla="*/ 1664 w 10000"/>
              <a:gd name="connsiteY302" fmla="*/ 5690 h 10000"/>
              <a:gd name="connsiteX303" fmla="*/ 1503 w 10000"/>
              <a:gd name="connsiteY303" fmla="*/ 5759 h 10000"/>
              <a:gd name="connsiteX304" fmla="*/ 1289 w 10000"/>
              <a:gd name="connsiteY304" fmla="*/ 5787 h 10000"/>
              <a:gd name="connsiteX305" fmla="*/ 1233 w 10000"/>
              <a:gd name="connsiteY305" fmla="*/ 5826 h 10000"/>
              <a:gd name="connsiteX306" fmla="*/ 1359 w 10000"/>
              <a:gd name="connsiteY306" fmla="*/ 5920 h 10000"/>
              <a:gd name="connsiteX307" fmla="*/ 1429 w 10000"/>
              <a:gd name="connsiteY307" fmla="*/ 6142 h 10000"/>
              <a:gd name="connsiteX308" fmla="*/ 1267 w 10000"/>
              <a:gd name="connsiteY308" fmla="*/ 6333 h 10000"/>
              <a:gd name="connsiteX309" fmla="*/ 1324 w 10000"/>
              <a:gd name="connsiteY309" fmla="*/ 6392 h 10000"/>
              <a:gd name="connsiteX310" fmla="*/ 1272 w 10000"/>
              <a:gd name="connsiteY310" fmla="*/ 6492 h 10000"/>
              <a:gd name="connsiteX311" fmla="*/ 1167 w 10000"/>
              <a:gd name="connsiteY311" fmla="*/ 6561 h 10000"/>
              <a:gd name="connsiteX312" fmla="*/ 758 w 10000"/>
              <a:gd name="connsiteY312" fmla="*/ 6614 h 10000"/>
              <a:gd name="connsiteX313" fmla="*/ 732 w 10000"/>
              <a:gd name="connsiteY313" fmla="*/ 6706 h 10000"/>
              <a:gd name="connsiteX314" fmla="*/ 510 w 10000"/>
              <a:gd name="connsiteY314" fmla="*/ 6843 h 10000"/>
              <a:gd name="connsiteX315" fmla="*/ 540 w 10000"/>
              <a:gd name="connsiteY315" fmla="*/ 7040 h 10000"/>
              <a:gd name="connsiteX316" fmla="*/ 353 w 10000"/>
              <a:gd name="connsiteY316" fmla="*/ 7293 h 10000"/>
              <a:gd name="connsiteX317" fmla="*/ 226 w 10000"/>
              <a:gd name="connsiteY317" fmla="*/ 7323 h 10000"/>
              <a:gd name="connsiteX318" fmla="*/ 174 w 10000"/>
              <a:gd name="connsiteY318" fmla="*/ 7262 h 10000"/>
              <a:gd name="connsiteX319" fmla="*/ 109 w 10000"/>
              <a:gd name="connsiteY319" fmla="*/ 7354 h 10000"/>
              <a:gd name="connsiteX320" fmla="*/ 152 w 10000"/>
              <a:gd name="connsiteY320" fmla="*/ 7197 h 10000"/>
              <a:gd name="connsiteX321" fmla="*/ 126 w 10000"/>
              <a:gd name="connsiteY32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855 w 10000"/>
              <a:gd name="connsiteY211" fmla="*/ 2341 h 10000"/>
              <a:gd name="connsiteX212" fmla="*/ 8898 w 10000"/>
              <a:gd name="connsiteY212" fmla="*/ 2332 h 10000"/>
              <a:gd name="connsiteX213" fmla="*/ 8946 w 10000"/>
              <a:gd name="connsiteY213" fmla="*/ 2330 h 10000"/>
              <a:gd name="connsiteX214" fmla="*/ 8946 w 10000"/>
              <a:gd name="connsiteY214" fmla="*/ 2361 h 10000"/>
              <a:gd name="connsiteX215" fmla="*/ 8994 w 10000"/>
              <a:gd name="connsiteY215" fmla="*/ 2389 h 10000"/>
              <a:gd name="connsiteX216" fmla="*/ 9051 w 10000"/>
              <a:gd name="connsiteY216" fmla="*/ 2400 h 10000"/>
              <a:gd name="connsiteX217" fmla="*/ 9094 w 10000"/>
              <a:gd name="connsiteY217" fmla="*/ 2324 h 10000"/>
              <a:gd name="connsiteX218" fmla="*/ 9164 w 10000"/>
              <a:gd name="connsiteY218" fmla="*/ 2347 h 10000"/>
              <a:gd name="connsiteX219" fmla="*/ 9247 w 10000"/>
              <a:gd name="connsiteY219" fmla="*/ 2402 h 10000"/>
              <a:gd name="connsiteX220" fmla="*/ 9286 w 10000"/>
              <a:gd name="connsiteY220" fmla="*/ 2400 h 10000"/>
              <a:gd name="connsiteX221" fmla="*/ 9355 w 10000"/>
              <a:gd name="connsiteY221" fmla="*/ 2428 h 10000"/>
              <a:gd name="connsiteX222" fmla="*/ 9408 w 10000"/>
              <a:gd name="connsiteY222" fmla="*/ 2359 h 10000"/>
              <a:gd name="connsiteX223" fmla="*/ 9717 w 10000"/>
              <a:gd name="connsiteY223" fmla="*/ 2343 h 10000"/>
              <a:gd name="connsiteX224" fmla="*/ 9830 w 10000"/>
              <a:gd name="connsiteY224" fmla="*/ 2369 h 10000"/>
              <a:gd name="connsiteX225" fmla="*/ 9909 w 10000"/>
              <a:gd name="connsiteY225" fmla="*/ 2410 h 10000"/>
              <a:gd name="connsiteX226" fmla="*/ 9948 w 10000"/>
              <a:gd name="connsiteY226" fmla="*/ 2365 h 10000"/>
              <a:gd name="connsiteX227" fmla="*/ 10000 w 10000"/>
              <a:gd name="connsiteY227" fmla="*/ 2349 h 10000"/>
              <a:gd name="connsiteX228" fmla="*/ 9704 w 10000"/>
              <a:gd name="connsiteY228" fmla="*/ 1992 h 10000"/>
              <a:gd name="connsiteX229" fmla="*/ 9743 w 10000"/>
              <a:gd name="connsiteY229" fmla="*/ 1897 h 10000"/>
              <a:gd name="connsiteX230" fmla="*/ 9830 w 10000"/>
              <a:gd name="connsiteY230" fmla="*/ 1819 h 10000"/>
              <a:gd name="connsiteX231" fmla="*/ 9830 w 10000"/>
              <a:gd name="connsiteY231" fmla="*/ 1699 h 10000"/>
              <a:gd name="connsiteX232" fmla="*/ 9556 w 10000"/>
              <a:gd name="connsiteY232" fmla="*/ 1465 h 10000"/>
              <a:gd name="connsiteX233" fmla="*/ 9512 w 10000"/>
              <a:gd name="connsiteY233" fmla="*/ 1379 h 10000"/>
              <a:gd name="connsiteX234" fmla="*/ 9573 w 10000"/>
              <a:gd name="connsiteY234" fmla="*/ 1271 h 10000"/>
              <a:gd name="connsiteX235" fmla="*/ 9543 w 10000"/>
              <a:gd name="connsiteY235" fmla="*/ 1194 h 10000"/>
              <a:gd name="connsiteX236" fmla="*/ 9486 w 10000"/>
              <a:gd name="connsiteY236" fmla="*/ 1159 h 10000"/>
              <a:gd name="connsiteX237" fmla="*/ 9438 w 10000"/>
              <a:gd name="connsiteY237" fmla="*/ 978 h 10000"/>
              <a:gd name="connsiteX238" fmla="*/ 9495 w 10000"/>
              <a:gd name="connsiteY238" fmla="*/ 831 h 10000"/>
              <a:gd name="connsiteX239" fmla="*/ 9077 w 10000"/>
              <a:gd name="connsiteY239" fmla="*/ 517 h 10000"/>
              <a:gd name="connsiteX240" fmla="*/ 8872 w 10000"/>
              <a:gd name="connsiteY240" fmla="*/ 440 h 10000"/>
              <a:gd name="connsiteX241" fmla="*/ 8493 w 10000"/>
              <a:gd name="connsiteY241" fmla="*/ 389 h 10000"/>
              <a:gd name="connsiteX242" fmla="*/ 7709 w 10000"/>
              <a:gd name="connsiteY242" fmla="*/ 26 h 10000"/>
              <a:gd name="connsiteX243" fmla="*/ 7683 w 10000"/>
              <a:gd name="connsiteY243" fmla="*/ 2 h 10000"/>
              <a:gd name="connsiteX244" fmla="*/ 7417 w 10000"/>
              <a:gd name="connsiteY244" fmla="*/ 0 h 10000"/>
              <a:gd name="connsiteX245" fmla="*/ 7356 w 10000"/>
              <a:gd name="connsiteY245" fmla="*/ 14 h 10000"/>
              <a:gd name="connsiteX246" fmla="*/ 7369 w 10000"/>
              <a:gd name="connsiteY246" fmla="*/ 61 h 10000"/>
              <a:gd name="connsiteX247" fmla="*/ 7422 w 10000"/>
              <a:gd name="connsiteY247" fmla="*/ 86 h 10000"/>
              <a:gd name="connsiteX248" fmla="*/ 7435 w 10000"/>
              <a:gd name="connsiteY248" fmla="*/ 139 h 10000"/>
              <a:gd name="connsiteX249" fmla="*/ 7417 w 10000"/>
              <a:gd name="connsiteY249" fmla="*/ 181 h 10000"/>
              <a:gd name="connsiteX250" fmla="*/ 7369 w 10000"/>
              <a:gd name="connsiteY250" fmla="*/ 208 h 10000"/>
              <a:gd name="connsiteX251" fmla="*/ 7334 w 10000"/>
              <a:gd name="connsiteY251" fmla="*/ 283 h 10000"/>
              <a:gd name="connsiteX252" fmla="*/ 7269 w 10000"/>
              <a:gd name="connsiteY252" fmla="*/ 336 h 10000"/>
              <a:gd name="connsiteX253" fmla="*/ 7282 w 10000"/>
              <a:gd name="connsiteY253" fmla="*/ 387 h 10000"/>
              <a:gd name="connsiteX254" fmla="*/ 7382 w 10000"/>
              <a:gd name="connsiteY254" fmla="*/ 434 h 10000"/>
              <a:gd name="connsiteX255" fmla="*/ 7317 w 10000"/>
              <a:gd name="connsiteY255" fmla="*/ 475 h 10000"/>
              <a:gd name="connsiteX256" fmla="*/ 7221 w 10000"/>
              <a:gd name="connsiteY256" fmla="*/ 485 h 10000"/>
              <a:gd name="connsiteX257" fmla="*/ 6420 w 10000"/>
              <a:gd name="connsiteY257" fmla="*/ 387 h 10000"/>
              <a:gd name="connsiteX258" fmla="*/ 6324 w 10000"/>
              <a:gd name="connsiteY258" fmla="*/ 395 h 10000"/>
              <a:gd name="connsiteX259" fmla="*/ 6267 w 10000"/>
              <a:gd name="connsiteY259" fmla="*/ 414 h 10000"/>
              <a:gd name="connsiteX260" fmla="*/ 6211 w 10000"/>
              <a:gd name="connsiteY260" fmla="*/ 462 h 10000"/>
              <a:gd name="connsiteX261" fmla="*/ 6220 w 10000"/>
              <a:gd name="connsiteY261" fmla="*/ 581 h 10000"/>
              <a:gd name="connsiteX262" fmla="*/ 6132 w 10000"/>
              <a:gd name="connsiteY262" fmla="*/ 735 h 10000"/>
              <a:gd name="connsiteX263" fmla="*/ 6024 w 10000"/>
              <a:gd name="connsiteY263" fmla="*/ 815 h 10000"/>
              <a:gd name="connsiteX264" fmla="*/ 5980 w 10000"/>
              <a:gd name="connsiteY264" fmla="*/ 805 h 10000"/>
              <a:gd name="connsiteX265" fmla="*/ 5880 w 10000"/>
              <a:gd name="connsiteY265" fmla="*/ 739 h 10000"/>
              <a:gd name="connsiteX266" fmla="*/ 5753 w 10000"/>
              <a:gd name="connsiteY266" fmla="*/ 705 h 10000"/>
              <a:gd name="connsiteX267" fmla="*/ 5618 w 10000"/>
              <a:gd name="connsiteY267" fmla="*/ 715 h 10000"/>
              <a:gd name="connsiteX268" fmla="*/ 5301 w 10000"/>
              <a:gd name="connsiteY268" fmla="*/ 866 h 10000"/>
              <a:gd name="connsiteX269" fmla="*/ 5218 w 10000"/>
              <a:gd name="connsiteY269" fmla="*/ 1017 h 10000"/>
              <a:gd name="connsiteX270" fmla="*/ 4978 w 10000"/>
              <a:gd name="connsiteY270" fmla="*/ 1153 h 10000"/>
              <a:gd name="connsiteX271" fmla="*/ 4935 w 10000"/>
              <a:gd name="connsiteY271" fmla="*/ 1222 h 10000"/>
              <a:gd name="connsiteX272" fmla="*/ 5061 w 10000"/>
              <a:gd name="connsiteY272" fmla="*/ 1344 h 10000"/>
              <a:gd name="connsiteX273" fmla="*/ 5074 w 10000"/>
              <a:gd name="connsiteY273" fmla="*/ 1412 h 10000"/>
              <a:gd name="connsiteX274" fmla="*/ 4421 w 10000"/>
              <a:gd name="connsiteY274" fmla="*/ 1813 h 10000"/>
              <a:gd name="connsiteX275" fmla="*/ 4220 w 10000"/>
              <a:gd name="connsiteY275" fmla="*/ 2070 h 10000"/>
              <a:gd name="connsiteX276" fmla="*/ 4003 w 10000"/>
              <a:gd name="connsiteY276" fmla="*/ 2135 h 10000"/>
              <a:gd name="connsiteX277" fmla="*/ 3868 w 10000"/>
              <a:gd name="connsiteY277" fmla="*/ 2131 h 10000"/>
              <a:gd name="connsiteX278" fmla="*/ 3785 w 10000"/>
              <a:gd name="connsiteY278" fmla="*/ 2153 h 10000"/>
              <a:gd name="connsiteX279" fmla="*/ 3558 w 10000"/>
              <a:gd name="connsiteY279" fmla="*/ 2793 h 10000"/>
              <a:gd name="connsiteX280" fmla="*/ 3036 w 10000"/>
              <a:gd name="connsiteY280" fmla="*/ 3166 h 10000"/>
              <a:gd name="connsiteX281" fmla="*/ 3040 w 10000"/>
              <a:gd name="connsiteY281" fmla="*/ 3225 h 10000"/>
              <a:gd name="connsiteX282" fmla="*/ 3271 w 10000"/>
              <a:gd name="connsiteY282" fmla="*/ 3392 h 10000"/>
              <a:gd name="connsiteX283" fmla="*/ 3197 w 10000"/>
              <a:gd name="connsiteY283" fmla="*/ 3573 h 10000"/>
              <a:gd name="connsiteX284" fmla="*/ 3062 w 10000"/>
              <a:gd name="connsiteY284" fmla="*/ 3640 h 10000"/>
              <a:gd name="connsiteX285" fmla="*/ 2657 w 10000"/>
              <a:gd name="connsiteY285" fmla="*/ 3595 h 10000"/>
              <a:gd name="connsiteX286" fmla="*/ 2378 w 10000"/>
              <a:gd name="connsiteY286" fmla="*/ 3620 h 10000"/>
              <a:gd name="connsiteX287" fmla="*/ 2152 w 10000"/>
              <a:gd name="connsiteY287" fmla="*/ 3673 h 10000"/>
              <a:gd name="connsiteX288" fmla="*/ 1790 w 10000"/>
              <a:gd name="connsiteY288" fmla="*/ 3840 h 10000"/>
              <a:gd name="connsiteX289" fmla="*/ 1598 w 10000"/>
              <a:gd name="connsiteY289" fmla="*/ 4042 h 10000"/>
              <a:gd name="connsiteX290" fmla="*/ 1616 w 10000"/>
              <a:gd name="connsiteY290" fmla="*/ 4154 h 10000"/>
              <a:gd name="connsiteX291" fmla="*/ 1681 w 10000"/>
              <a:gd name="connsiteY291" fmla="*/ 4241 h 10000"/>
              <a:gd name="connsiteX292" fmla="*/ 1733 w 10000"/>
              <a:gd name="connsiteY292" fmla="*/ 4276 h 10000"/>
              <a:gd name="connsiteX293" fmla="*/ 1638 w 10000"/>
              <a:gd name="connsiteY293" fmla="*/ 4331 h 10000"/>
              <a:gd name="connsiteX294" fmla="*/ 1433 w 10000"/>
              <a:gd name="connsiteY294" fmla="*/ 4710 h 10000"/>
              <a:gd name="connsiteX295" fmla="*/ 1472 w 10000"/>
              <a:gd name="connsiteY295" fmla="*/ 4732 h 10000"/>
              <a:gd name="connsiteX296" fmla="*/ 1503 w 10000"/>
              <a:gd name="connsiteY296" fmla="*/ 4828 h 10000"/>
              <a:gd name="connsiteX297" fmla="*/ 1407 w 10000"/>
              <a:gd name="connsiteY297" fmla="*/ 5227 h 10000"/>
              <a:gd name="connsiteX298" fmla="*/ 1503 w 10000"/>
              <a:gd name="connsiteY298" fmla="*/ 5329 h 10000"/>
              <a:gd name="connsiteX299" fmla="*/ 1764 w 10000"/>
              <a:gd name="connsiteY299" fmla="*/ 5441 h 10000"/>
              <a:gd name="connsiteX300" fmla="*/ 1777 w 10000"/>
              <a:gd name="connsiteY300" fmla="*/ 5578 h 10000"/>
              <a:gd name="connsiteX301" fmla="*/ 1664 w 10000"/>
              <a:gd name="connsiteY301" fmla="*/ 5690 h 10000"/>
              <a:gd name="connsiteX302" fmla="*/ 1503 w 10000"/>
              <a:gd name="connsiteY302" fmla="*/ 5759 h 10000"/>
              <a:gd name="connsiteX303" fmla="*/ 1289 w 10000"/>
              <a:gd name="connsiteY303" fmla="*/ 5787 h 10000"/>
              <a:gd name="connsiteX304" fmla="*/ 1233 w 10000"/>
              <a:gd name="connsiteY304" fmla="*/ 5826 h 10000"/>
              <a:gd name="connsiteX305" fmla="*/ 1359 w 10000"/>
              <a:gd name="connsiteY305" fmla="*/ 5920 h 10000"/>
              <a:gd name="connsiteX306" fmla="*/ 1429 w 10000"/>
              <a:gd name="connsiteY306" fmla="*/ 6142 h 10000"/>
              <a:gd name="connsiteX307" fmla="*/ 1267 w 10000"/>
              <a:gd name="connsiteY307" fmla="*/ 6333 h 10000"/>
              <a:gd name="connsiteX308" fmla="*/ 1324 w 10000"/>
              <a:gd name="connsiteY308" fmla="*/ 6392 h 10000"/>
              <a:gd name="connsiteX309" fmla="*/ 1272 w 10000"/>
              <a:gd name="connsiteY309" fmla="*/ 6492 h 10000"/>
              <a:gd name="connsiteX310" fmla="*/ 1167 w 10000"/>
              <a:gd name="connsiteY310" fmla="*/ 6561 h 10000"/>
              <a:gd name="connsiteX311" fmla="*/ 758 w 10000"/>
              <a:gd name="connsiteY311" fmla="*/ 6614 h 10000"/>
              <a:gd name="connsiteX312" fmla="*/ 732 w 10000"/>
              <a:gd name="connsiteY312" fmla="*/ 6706 h 10000"/>
              <a:gd name="connsiteX313" fmla="*/ 510 w 10000"/>
              <a:gd name="connsiteY313" fmla="*/ 6843 h 10000"/>
              <a:gd name="connsiteX314" fmla="*/ 540 w 10000"/>
              <a:gd name="connsiteY314" fmla="*/ 7040 h 10000"/>
              <a:gd name="connsiteX315" fmla="*/ 353 w 10000"/>
              <a:gd name="connsiteY315" fmla="*/ 7293 h 10000"/>
              <a:gd name="connsiteX316" fmla="*/ 226 w 10000"/>
              <a:gd name="connsiteY316" fmla="*/ 7323 h 10000"/>
              <a:gd name="connsiteX317" fmla="*/ 174 w 10000"/>
              <a:gd name="connsiteY317" fmla="*/ 7262 h 10000"/>
              <a:gd name="connsiteX318" fmla="*/ 109 w 10000"/>
              <a:gd name="connsiteY318" fmla="*/ 7354 h 10000"/>
              <a:gd name="connsiteX319" fmla="*/ 152 w 10000"/>
              <a:gd name="connsiteY319" fmla="*/ 7197 h 10000"/>
              <a:gd name="connsiteX320" fmla="*/ 126 w 10000"/>
              <a:gd name="connsiteY32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815 w 10000"/>
              <a:gd name="connsiteY208" fmla="*/ 2548 h 10000"/>
              <a:gd name="connsiteX209" fmla="*/ 8789 w 10000"/>
              <a:gd name="connsiteY209" fmla="*/ 2457 h 10000"/>
              <a:gd name="connsiteX210" fmla="*/ 8855 w 10000"/>
              <a:gd name="connsiteY210" fmla="*/ 2341 h 10000"/>
              <a:gd name="connsiteX211" fmla="*/ 8898 w 10000"/>
              <a:gd name="connsiteY211" fmla="*/ 2332 h 10000"/>
              <a:gd name="connsiteX212" fmla="*/ 8946 w 10000"/>
              <a:gd name="connsiteY212" fmla="*/ 2330 h 10000"/>
              <a:gd name="connsiteX213" fmla="*/ 8946 w 10000"/>
              <a:gd name="connsiteY213" fmla="*/ 2361 h 10000"/>
              <a:gd name="connsiteX214" fmla="*/ 8994 w 10000"/>
              <a:gd name="connsiteY214" fmla="*/ 2389 h 10000"/>
              <a:gd name="connsiteX215" fmla="*/ 9051 w 10000"/>
              <a:gd name="connsiteY215" fmla="*/ 2400 h 10000"/>
              <a:gd name="connsiteX216" fmla="*/ 9094 w 10000"/>
              <a:gd name="connsiteY216" fmla="*/ 2324 h 10000"/>
              <a:gd name="connsiteX217" fmla="*/ 9164 w 10000"/>
              <a:gd name="connsiteY217" fmla="*/ 2347 h 10000"/>
              <a:gd name="connsiteX218" fmla="*/ 9247 w 10000"/>
              <a:gd name="connsiteY218" fmla="*/ 2402 h 10000"/>
              <a:gd name="connsiteX219" fmla="*/ 9286 w 10000"/>
              <a:gd name="connsiteY219" fmla="*/ 2400 h 10000"/>
              <a:gd name="connsiteX220" fmla="*/ 9355 w 10000"/>
              <a:gd name="connsiteY220" fmla="*/ 2428 h 10000"/>
              <a:gd name="connsiteX221" fmla="*/ 9408 w 10000"/>
              <a:gd name="connsiteY221" fmla="*/ 2359 h 10000"/>
              <a:gd name="connsiteX222" fmla="*/ 9717 w 10000"/>
              <a:gd name="connsiteY222" fmla="*/ 2343 h 10000"/>
              <a:gd name="connsiteX223" fmla="*/ 9830 w 10000"/>
              <a:gd name="connsiteY223" fmla="*/ 2369 h 10000"/>
              <a:gd name="connsiteX224" fmla="*/ 9909 w 10000"/>
              <a:gd name="connsiteY224" fmla="*/ 2410 h 10000"/>
              <a:gd name="connsiteX225" fmla="*/ 9948 w 10000"/>
              <a:gd name="connsiteY225" fmla="*/ 2365 h 10000"/>
              <a:gd name="connsiteX226" fmla="*/ 10000 w 10000"/>
              <a:gd name="connsiteY226" fmla="*/ 2349 h 10000"/>
              <a:gd name="connsiteX227" fmla="*/ 9704 w 10000"/>
              <a:gd name="connsiteY227" fmla="*/ 1992 h 10000"/>
              <a:gd name="connsiteX228" fmla="*/ 9743 w 10000"/>
              <a:gd name="connsiteY228" fmla="*/ 1897 h 10000"/>
              <a:gd name="connsiteX229" fmla="*/ 9830 w 10000"/>
              <a:gd name="connsiteY229" fmla="*/ 1819 h 10000"/>
              <a:gd name="connsiteX230" fmla="*/ 9830 w 10000"/>
              <a:gd name="connsiteY230" fmla="*/ 1699 h 10000"/>
              <a:gd name="connsiteX231" fmla="*/ 9556 w 10000"/>
              <a:gd name="connsiteY231" fmla="*/ 1465 h 10000"/>
              <a:gd name="connsiteX232" fmla="*/ 9512 w 10000"/>
              <a:gd name="connsiteY232" fmla="*/ 1379 h 10000"/>
              <a:gd name="connsiteX233" fmla="*/ 9573 w 10000"/>
              <a:gd name="connsiteY233" fmla="*/ 1271 h 10000"/>
              <a:gd name="connsiteX234" fmla="*/ 9543 w 10000"/>
              <a:gd name="connsiteY234" fmla="*/ 1194 h 10000"/>
              <a:gd name="connsiteX235" fmla="*/ 9486 w 10000"/>
              <a:gd name="connsiteY235" fmla="*/ 1159 h 10000"/>
              <a:gd name="connsiteX236" fmla="*/ 9438 w 10000"/>
              <a:gd name="connsiteY236" fmla="*/ 978 h 10000"/>
              <a:gd name="connsiteX237" fmla="*/ 9495 w 10000"/>
              <a:gd name="connsiteY237" fmla="*/ 831 h 10000"/>
              <a:gd name="connsiteX238" fmla="*/ 9077 w 10000"/>
              <a:gd name="connsiteY238" fmla="*/ 517 h 10000"/>
              <a:gd name="connsiteX239" fmla="*/ 8872 w 10000"/>
              <a:gd name="connsiteY239" fmla="*/ 440 h 10000"/>
              <a:gd name="connsiteX240" fmla="*/ 8493 w 10000"/>
              <a:gd name="connsiteY240" fmla="*/ 389 h 10000"/>
              <a:gd name="connsiteX241" fmla="*/ 7709 w 10000"/>
              <a:gd name="connsiteY241" fmla="*/ 26 h 10000"/>
              <a:gd name="connsiteX242" fmla="*/ 7683 w 10000"/>
              <a:gd name="connsiteY242" fmla="*/ 2 h 10000"/>
              <a:gd name="connsiteX243" fmla="*/ 7417 w 10000"/>
              <a:gd name="connsiteY243" fmla="*/ 0 h 10000"/>
              <a:gd name="connsiteX244" fmla="*/ 7356 w 10000"/>
              <a:gd name="connsiteY244" fmla="*/ 14 h 10000"/>
              <a:gd name="connsiteX245" fmla="*/ 7369 w 10000"/>
              <a:gd name="connsiteY245" fmla="*/ 61 h 10000"/>
              <a:gd name="connsiteX246" fmla="*/ 7422 w 10000"/>
              <a:gd name="connsiteY246" fmla="*/ 86 h 10000"/>
              <a:gd name="connsiteX247" fmla="*/ 7435 w 10000"/>
              <a:gd name="connsiteY247" fmla="*/ 139 h 10000"/>
              <a:gd name="connsiteX248" fmla="*/ 7417 w 10000"/>
              <a:gd name="connsiteY248" fmla="*/ 181 h 10000"/>
              <a:gd name="connsiteX249" fmla="*/ 7369 w 10000"/>
              <a:gd name="connsiteY249" fmla="*/ 208 h 10000"/>
              <a:gd name="connsiteX250" fmla="*/ 7334 w 10000"/>
              <a:gd name="connsiteY250" fmla="*/ 283 h 10000"/>
              <a:gd name="connsiteX251" fmla="*/ 7269 w 10000"/>
              <a:gd name="connsiteY251" fmla="*/ 336 h 10000"/>
              <a:gd name="connsiteX252" fmla="*/ 7282 w 10000"/>
              <a:gd name="connsiteY252" fmla="*/ 387 h 10000"/>
              <a:gd name="connsiteX253" fmla="*/ 7382 w 10000"/>
              <a:gd name="connsiteY253" fmla="*/ 434 h 10000"/>
              <a:gd name="connsiteX254" fmla="*/ 7317 w 10000"/>
              <a:gd name="connsiteY254" fmla="*/ 475 h 10000"/>
              <a:gd name="connsiteX255" fmla="*/ 7221 w 10000"/>
              <a:gd name="connsiteY255" fmla="*/ 485 h 10000"/>
              <a:gd name="connsiteX256" fmla="*/ 6420 w 10000"/>
              <a:gd name="connsiteY256" fmla="*/ 387 h 10000"/>
              <a:gd name="connsiteX257" fmla="*/ 6324 w 10000"/>
              <a:gd name="connsiteY257" fmla="*/ 395 h 10000"/>
              <a:gd name="connsiteX258" fmla="*/ 6267 w 10000"/>
              <a:gd name="connsiteY258" fmla="*/ 414 h 10000"/>
              <a:gd name="connsiteX259" fmla="*/ 6211 w 10000"/>
              <a:gd name="connsiteY259" fmla="*/ 462 h 10000"/>
              <a:gd name="connsiteX260" fmla="*/ 6220 w 10000"/>
              <a:gd name="connsiteY260" fmla="*/ 581 h 10000"/>
              <a:gd name="connsiteX261" fmla="*/ 6132 w 10000"/>
              <a:gd name="connsiteY261" fmla="*/ 735 h 10000"/>
              <a:gd name="connsiteX262" fmla="*/ 6024 w 10000"/>
              <a:gd name="connsiteY262" fmla="*/ 815 h 10000"/>
              <a:gd name="connsiteX263" fmla="*/ 5980 w 10000"/>
              <a:gd name="connsiteY263" fmla="*/ 805 h 10000"/>
              <a:gd name="connsiteX264" fmla="*/ 5880 w 10000"/>
              <a:gd name="connsiteY264" fmla="*/ 739 h 10000"/>
              <a:gd name="connsiteX265" fmla="*/ 5753 w 10000"/>
              <a:gd name="connsiteY265" fmla="*/ 705 h 10000"/>
              <a:gd name="connsiteX266" fmla="*/ 5618 w 10000"/>
              <a:gd name="connsiteY266" fmla="*/ 715 h 10000"/>
              <a:gd name="connsiteX267" fmla="*/ 5301 w 10000"/>
              <a:gd name="connsiteY267" fmla="*/ 866 h 10000"/>
              <a:gd name="connsiteX268" fmla="*/ 5218 w 10000"/>
              <a:gd name="connsiteY268" fmla="*/ 1017 h 10000"/>
              <a:gd name="connsiteX269" fmla="*/ 4978 w 10000"/>
              <a:gd name="connsiteY269" fmla="*/ 1153 h 10000"/>
              <a:gd name="connsiteX270" fmla="*/ 4935 w 10000"/>
              <a:gd name="connsiteY270" fmla="*/ 1222 h 10000"/>
              <a:gd name="connsiteX271" fmla="*/ 5061 w 10000"/>
              <a:gd name="connsiteY271" fmla="*/ 1344 h 10000"/>
              <a:gd name="connsiteX272" fmla="*/ 5074 w 10000"/>
              <a:gd name="connsiteY272" fmla="*/ 1412 h 10000"/>
              <a:gd name="connsiteX273" fmla="*/ 4421 w 10000"/>
              <a:gd name="connsiteY273" fmla="*/ 1813 h 10000"/>
              <a:gd name="connsiteX274" fmla="*/ 4220 w 10000"/>
              <a:gd name="connsiteY274" fmla="*/ 2070 h 10000"/>
              <a:gd name="connsiteX275" fmla="*/ 4003 w 10000"/>
              <a:gd name="connsiteY275" fmla="*/ 2135 h 10000"/>
              <a:gd name="connsiteX276" fmla="*/ 3868 w 10000"/>
              <a:gd name="connsiteY276" fmla="*/ 2131 h 10000"/>
              <a:gd name="connsiteX277" fmla="*/ 3785 w 10000"/>
              <a:gd name="connsiteY277" fmla="*/ 2153 h 10000"/>
              <a:gd name="connsiteX278" fmla="*/ 3558 w 10000"/>
              <a:gd name="connsiteY278" fmla="*/ 2793 h 10000"/>
              <a:gd name="connsiteX279" fmla="*/ 3036 w 10000"/>
              <a:gd name="connsiteY279" fmla="*/ 3166 h 10000"/>
              <a:gd name="connsiteX280" fmla="*/ 3040 w 10000"/>
              <a:gd name="connsiteY280" fmla="*/ 3225 h 10000"/>
              <a:gd name="connsiteX281" fmla="*/ 3271 w 10000"/>
              <a:gd name="connsiteY281" fmla="*/ 3392 h 10000"/>
              <a:gd name="connsiteX282" fmla="*/ 3197 w 10000"/>
              <a:gd name="connsiteY282" fmla="*/ 3573 h 10000"/>
              <a:gd name="connsiteX283" fmla="*/ 3062 w 10000"/>
              <a:gd name="connsiteY283" fmla="*/ 3640 h 10000"/>
              <a:gd name="connsiteX284" fmla="*/ 2657 w 10000"/>
              <a:gd name="connsiteY284" fmla="*/ 3595 h 10000"/>
              <a:gd name="connsiteX285" fmla="*/ 2378 w 10000"/>
              <a:gd name="connsiteY285" fmla="*/ 3620 h 10000"/>
              <a:gd name="connsiteX286" fmla="*/ 2152 w 10000"/>
              <a:gd name="connsiteY286" fmla="*/ 3673 h 10000"/>
              <a:gd name="connsiteX287" fmla="*/ 1790 w 10000"/>
              <a:gd name="connsiteY287" fmla="*/ 3840 h 10000"/>
              <a:gd name="connsiteX288" fmla="*/ 1598 w 10000"/>
              <a:gd name="connsiteY288" fmla="*/ 4042 h 10000"/>
              <a:gd name="connsiteX289" fmla="*/ 1616 w 10000"/>
              <a:gd name="connsiteY289" fmla="*/ 4154 h 10000"/>
              <a:gd name="connsiteX290" fmla="*/ 1681 w 10000"/>
              <a:gd name="connsiteY290" fmla="*/ 4241 h 10000"/>
              <a:gd name="connsiteX291" fmla="*/ 1733 w 10000"/>
              <a:gd name="connsiteY291" fmla="*/ 4276 h 10000"/>
              <a:gd name="connsiteX292" fmla="*/ 1638 w 10000"/>
              <a:gd name="connsiteY292" fmla="*/ 4331 h 10000"/>
              <a:gd name="connsiteX293" fmla="*/ 1433 w 10000"/>
              <a:gd name="connsiteY293" fmla="*/ 4710 h 10000"/>
              <a:gd name="connsiteX294" fmla="*/ 1472 w 10000"/>
              <a:gd name="connsiteY294" fmla="*/ 4732 h 10000"/>
              <a:gd name="connsiteX295" fmla="*/ 1503 w 10000"/>
              <a:gd name="connsiteY295" fmla="*/ 4828 h 10000"/>
              <a:gd name="connsiteX296" fmla="*/ 1407 w 10000"/>
              <a:gd name="connsiteY296" fmla="*/ 5227 h 10000"/>
              <a:gd name="connsiteX297" fmla="*/ 1503 w 10000"/>
              <a:gd name="connsiteY297" fmla="*/ 5329 h 10000"/>
              <a:gd name="connsiteX298" fmla="*/ 1764 w 10000"/>
              <a:gd name="connsiteY298" fmla="*/ 5441 h 10000"/>
              <a:gd name="connsiteX299" fmla="*/ 1777 w 10000"/>
              <a:gd name="connsiteY299" fmla="*/ 5578 h 10000"/>
              <a:gd name="connsiteX300" fmla="*/ 1664 w 10000"/>
              <a:gd name="connsiteY300" fmla="*/ 5690 h 10000"/>
              <a:gd name="connsiteX301" fmla="*/ 1503 w 10000"/>
              <a:gd name="connsiteY301" fmla="*/ 5759 h 10000"/>
              <a:gd name="connsiteX302" fmla="*/ 1289 w 10000"/>
              <a:gd name="connsiteY302" fmla="*/ 5787 h 10000"/>
              <a:gd name="connsiteX303" fmla="*/ 1233 w 10000"/>
              <a:gd name="connsiteY303" fmla="*/ 5826 h 10000"/>
              <a:gd name="connsiteX304" fmla="*/ 1359 w 10000"/>
              <a:gd name="connsiteY304" fmla="*/ 5920 h 10000"/>
              <a:gd name="connsiteX305" fmla="*/ 1429 w 10000"/>
              <a:gd name="connsiteY305" fmla="*/ 6142 h 10000"/>
              <a:gd name="connsiteX306" fmla="*/ 1267 w 10000"/>
              <a:gd name="connsiteY306" fmla="*/ 6333 h 10000"/>
              <a:gd name="connsiteX307" fmla="*/ 1324 w 10000"/>
              <a:gd name="connsiteY307" fmla="*/ 6392 h 10000"/>
              <a:gd name="connsiteX308" fmla="*/ 1272 w 10000"/>
              <a:gd name="connsiteY308" fmla="*/ 6492 h 10000"/>
              <a:gd name="connsiteX309" fmla="*/ 1167 w 10000"/>
              <a:gd name="connsiteY309" fmla="*/ 6561 h 10000"/>
              <a:gd name="connsiteX310" fmla="*/ 758 w 10000"/>
              <a:gd name="connsiteY310" fmla="*/ 6614 h 10000"/>
              <a:gd name="connsiteX311" fmla="*/ 732 w 10000"/>
              <a:gd name="connsiteY311" fmla="*/ 6706 h 10000"/>
              <a:gd name="connsiteX312" fmla="*/ 510 w 10000"/>
              <a:gd name="connsiteY312" fmla="*/ 6843 h 10000"/>
              <a:gd name="connsiteX313" fmla="*/ 540 w 10000"/>
              <a:gd name="connsiteY313" fmla="*/ 7040 h 10000"/>
              <a:gd name="connsiteX314" fmla="*/ 353 w 10000"/>
              <a:gd name="connsiteY314" fmla="*/ 7293 h 10000"/>
              <a:gd name="connsiteX315" fmla="*/ 226 w 10000"/>
              <a:gd name="connsiteY315" fmla="*/ 7323 h 10000"/>
              <a:gd name="connsiteX316" fmla="*/ 174 w 10000"/>
              <a:gd name="connsiteY316" fmla="*/ 7262 h 10000"/>
              <a:gd name="connsiteX317" fmla="*/ 109 w 10000"/>
              <a:gd name="connsiteY317" fmla="*/ 7354 h 10000"/>
              <a:gd name="connsiteX318" fmla="*/ 152 w 10000"/>
              <a:gd name="connsiteY318" fmla="*/ 7197 h 10000"/>
              <a:gd name="connsiteX319" fmla="*/ 126 w 10000"/>
              <a:gd name="connsiteY31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15 w 10000"/>
              <a:gd name="connsiteY207" fmla="*/ 2548 h 10000"/>
              <a:gd name="connsiteX208" fmla="*/ 8789 w 10000"/>
              <a:gd name="connsiteY208" fmla="*/ 2457 h 10000"/>
              <a:gd name="connsiteX209" fmla="*/ 8855 w 10000"/>
              <a:gd name="connsiteY209" fmla="*/ 2341 h 10000"/>
              <a:gd name="connsiteX210" fmla="*/ 8898 w 10000"/>
              <a:gd name="connsiteY210" fmla="*/ 2332 h 10000"/>
              <a:gd name="connsiteX211" fmla="*/ 8946 w 10000"/>
              <a:gd name="connsiteY211" fmla="*/ 2330 h 10000"/>
              <a:gd name="connsiteX212" fmla="*/ 8946 w 10000"/>
              <a:gd name="connsiteY212" fmla="*/ 2361 h 10000"/>
              <a:gd name="connsiteX213" fmla="*/ 8994 w 10000"/>
              <a:gd name="connsiteY213" fmla="*/ 2389 h 10000"/>
              <a:gd name="connsiteX214" fmla="*/ 9051 w 10000"/>
              <a:gd name="connsiteY214" fmla="*/ 2400 h 10000"/>
              <a:gd name="connsiteX215" fmla="*/ 9094 w 10000"/>
              <a:gd name="connsiteY215" fmla="*/ 2324 h 10000"/>
              <a:gd name="connsiteX216" fmla="*/ 9164 w 10000"/>
              <a:gd name="connsiteY216" fmla="*/ 2347 h 10000"/>
              <a:gd name="connsiteX217" fmla="*/ 9247 w 10000"/>
              <a:gd name="connsiteY217" fmla="*/ 2402 h 10000"/>
              <a:gd name="connsiteX218" fmla="*/ 9286 w 10000"/>
              <a:gd name="connsiteY218" fmla="*/ 2400 h 10000"/>
              <a:gd name="connsiteX219" fmla="*/ 9355 w 10000"/>
              <a:gd name="connsiteY219" fmla="*/ 2428 h 10000"/>
              <a:gd name="connsiteX220" fmla="*/ 9408 w 10000"/>
              <a:gd name="connsiteY220" fmla="*/ 2359 h 10000"/>
              <a:gd name="connsiteX221" fmla="*/ 9717 w 10000"/>
              <a:gd name="connsiteY221" fmla="*/ 2343 h 10000"/>
              <a:gd name="connsiteX222" fmla="*/ 9830 w 10000"/>
              <a:gd name="connsiteY222" fmla="*/ 2369 h 10000"/>
              <a:gd name="connsiteX223" fmla="*/ 9909 w 10000"/>
              <a:gd name="connsiteY223" fmla="*/ 2410 h 10000"/>
              <a:gd name="connsiteX224" fmla="*/ 9948 w 10000"/>
              <a:gd name="connsiteY224" fmla="*/ 2365 h 10000"/>
              <a:gd name="connsiteX225" fmla="*/ 10000 w 10000"/>
              <a:gd name="connsiteY225" fmla="*/ 2349 h 10000"/>
              <a:gd name="connsiteX226" fmla="*/ 9704 w 10000"/>
              <a:gd name="connsiteY226" fmla="*/ 1992 h 10000"/>
              <a:gd name="connsiteX227" fmla="*/ 9743 w 10000"/>
              <a:gd name="connsiteY227" fmla="*/ 1897 h 10000"/>
              <a:gd name="connsiteX228" fmla="*/ 9830 w 10000"/>
              <a:gd name="connsiteY228" fmla="*/ 1819 h 10000"/>
              <a:gd name="connsiteX229" fmla="*/ 9830 w 10000"/>
              <a:gd name="connsiteY229" fmla="*/ 1699 h 10000"/>
              <a:gd name="connsiteX230" fmla="*/ 9556 w 10000"/>
              <a:gd name="connsiteY230" fmla="*/ 1465 h 10000"/>
              <a:gd name="connsiteX231" fmla="*/ 9512 w 10000"/>
              <a:gd name="connsiteY231" fmla="*/ 1379 h 10000"/>
              <a:gd name="connsiteX232" fmla="*/ 9573 w 10000"/>
              <a:gd name="connsiteY232" fmla="*/ 1271 h 10000"/>
              <a:gd name="connsiteX233" fmla="*/ 9543 w 10000"/>
              <a:gd name="connsiteY233" fmla="*/ 1194 h 10000"/>
              <a:gd name="connsiteX234" fmla="*/ 9486 w 10000"/>
              <a:gd name="connsiteY234" fmla="*/ 1159 h 10000"/>
              <a:gd name="connsiteX235" fmla="*/ 9438 w 10000"/>
              <a:gd name="connsiteY235" fmla="*/ 978 h 10000"/>
              <a:gd name="connsiteX236" fmla="*/ 9495 w 10000"/>
              <a:gd name="connsiteY236" fmla="*/ 831 h 10000"/>
              <a:gd name="connsiteX237" fmla="*/ 9077 w 10000"/>
              <a:gd name="connsiteY237" fmla="*/ 517 h 10000"/>
              <a:gd name="connsiteX238" fmla="*/ 8872 w 10000"/>
              <a:gd name="connsiteY238" fmla="*/ 440 h 10000"/>
              <a:gd name="connsiteX239" fmla="*/ 8493 w 10000"/>
              <a:gd name="connsiteY239" fmla="*/ 389 h 10000"/>
              <a:gd name="connsiteX240" fmla="*/ 7709 w 10000"/>
              <a:gd name="connsiteY240" fmla="*/ 26 h 10000"/>
              <a:gd name="connsiteX241" fmla="*/ 7683 w 10000"/>
              <a:gd name="connsiteY241" fmla="*/ 2 h 10000"/>
              <a:gd name="connsiteX242" fmla="*/ 7417 w 10000"/>
              <a:gd name="connsiteY242" fmla="*/ 0 h 10000"/>
              <a:gd name="connsiteX243" fmla="*/ 7356 w 10000"/>
              <a:gd name="connsiteY243" fmla="*/ 14 h 10000"/>
              <a:gd name="connsiteX244" fmla="*/ 7369 w 10000"/>
              <a:gd name="connsiteY244" fmla="*/ 61 h 10000"/>
              <a:gd name="connsiteX245" fmla="*/ 7422 w 10000"/>
              <a:gd name="connsiteY245" fmla="*/ 86 h 10000"/>
              <a:gd name="connsiteX246" fmla="*/ 7435 w 10000"/>
              <a:gd name="connsiteY246" fmla="*/ 139 h 10000"/>
              <a:gd name="connsiteX247" fmla="*/ 7417 w 10000"/>
              <a:gd name="connsiteY247" fmla="*/ 181 h 10000"/>
              <a:gd name="connsiteX248" fmla="*/ 7369 w 10000"/>
              <a:gd name="connsiteY248" fmla="*/ 208 h 10000"/>
              <a:gd name="connsiteX249" fmla="*/ 7334 w 10000"/>
              <a:gd name="connsiteY249" fmla="*/ 283 h 10000"/>
              <a:gd name="connsiteX250" fmla="*/ 7269 w 10000"/>
              <a:gd name="connsiteY250" fmla="*/ 336 h 10000"/>
              <a:gd name="connsiteX251" fmla="*/ 7282 w 10000"/>
              <a:gd name="connsiteY251" fmla="*/ 387 h 10000"/>
              <a:gd name="connsiteX252" fmla="*/ 7382 w 10000"/>
              <a:gd name="connsiteY252" fmla="*/ 434 h 10000"/>
              <a:gd name="connsiteX253" fmla="*/ 7317 w 10000"/>
              <a:gd name="connsiteY253" fmla="*/ 475 h 10000"/>
              <a:gd name="connsiteX254" fmla="*/ 7221 w 10000"/>
              <a:gd name="connsiteY254" fmla="*/ 485 h 10000"/>
              <a:gd name="connsiteX255" fmla="*/ 6420 w 10000"/>
              <a:gd name="connsiteY255" fmla="*/ 387 h 10000"/>
              <a:gd name="connsiteX256" fmla="*/ 6324 w 10000"/>
              <a:gd name="connsiteY256" fmla="*/ 395 h 10000"/>
              <a:gd name="connsiteX257" fmla="*/ 6267 w 10000"/>
              <a:gd name="connsiteY257" fmla="*/ 414 h 10000"/>
              <a:gd name="connsiteX258" fmla="*/ 6211 w 10000"/>
              <a:gd name="connsiteY258" fmla="*/ 462 h 10000"/>
              <a:gd name="connsiteX259" fmla="*/ 6220 w 10000"/>
              <a:gd name="connsiteY259" fmla="*/ 581 h 10000"/>
              <a:gd name="connsiteX260" fmla="*/ 6132 w 10000"/>
              <a:gd name="connsiteY260" fmla="*/ 735 h 10000"/>
              <a:gd name="connsiteX261" fmla="*/ 6024 w 10000"/>
              <a:gd name="connsiteY261" fmla="*/ 815 h 10000"/>
              <a:gd name="connsiteX262" fmla="*/ 5980 w 10000"/>
              <a:gd name="connsiteY262" fmla="*/ 805 h 10000"/>
              <a:gd name="connsiteX263" fmla="*/ 5880 w 10000"/>
              <a:gd name="connsiteY263" fmla="*/ 739 h 10000"/>
              <a:gd name="connsiteX264" fmla="*/ 5753 w 10000"/>
              <a:gd name="connsiteY264" fmla="*/ 705 h 10000"/>
              <a:gd name="connsiteX265" fmla="*/ 5618 w 10000"/>
              <a:gd name="connsiteY265" fmla="*/ 715 h 10000"/>
              <a:gd name="connsiteX266" fmla="*/ 5301 w 10000"/>
              <a:gd name="connsiteY266" fmla="*/ 866 h 10000"/>
              <a:gd name="connsiteX267" fmla="*/ 5218 w 10000"/>
              <a:gd name="connsiteY267" fmla="*/ 1017 h 10000"/>
              <a:gd name="connsiteX268" fmla="*/ 4978 w 10000"/>
              <a:gd name="connsiteY268" fmla="*/ 1153 h 10000"/>
              <a:gd name="connsiteX269" fmla="*/ 4935 w 10000"/>
              <a:gd name="connsiteY269" fmla="*/ 1222 h 10000"/>
              <a:gd name="connsiteX270" fmla="*/ 5061 w 10000"/>
              <a:gd name="connsiteY270" fmla="*/ 1344 h 10000"/>
              <a:gd name="connsiteX271" fmla="*/ 5074 w 10000"/>
              <a:gd name="connsiteY271" fmla="*/ 1412 h 10000"/>
              <a:gd name="connsiteX272" fmla="*/ 4421 w 10000"/>
              <a:gd name="connsiteY272" fmla="*/ 1813 h 10000"/>
              <a:gd name="connsiteX273" fmla="*/ 4220 w 10000"/>
              <a:gd name="connsiteY273" fmla="*/ 2070 h 10000"/>
              <a:gd name="connsiteX274" fmla="*/ 4003 w 10000"/>
              <a:gd name="connsiteY274" fmla="*/ 2135 h 10000"/>
              <a:gd name="connsiteX275" fmla="*/ 3868 w 10000"/>
              <a:gd name="connsiteY275" fmla="*/ 2131 h 10000"/>
              <a:gd name="connsiteX276" fmla="*/ 3785 w 10000"/>
              <a:gd name="connsiteY276" fmla="*/ 2153 h 10000"/>
              <a:gd name="connsiteX277" fmla="*/ 3558 w 10000"/>
              <a:gd name="connsiteY277" fmla="*/ 2793 h 10000"/>
              <a:gd name="connsiteX278" fmla="*/ 3036 w 10000"/>
              <a:gd name="connsiteY278" fmla="*/ 3166 h 10000"/>
              <a:gd name="connsiteX279" fmla="*/ 3040 w 10000"/>
              <a:gd name="connsiteY279" fmla="*/ 3225 h 10000"/>
              <a:gd name="connsiteX280" fmla="*/ 3271 w 10000"/>
              <a:gd name="connsiteY280" fmla="*/ 3392 h 10000"/>
              <a:gd name="connsiteX281" fmla="*/ 3197 w 10000"/>
              <a:gd name="connsiteY281" fmla="*/ 3573 h 10000"/>
              <a:gd name="connsiteX282" fmla="*/ 3062 w 10000"/>
              <a:gd name="connsiteY282" fmla="*/ 3640 h 10000"/>
              <a:gd name="connsiteX283" fmla="*/ 2657 w 10000"/>
              <a:gd name="connsiteY283" fmla="*/ 3595 h 10000"/>
              <a:gd name="connsiteX284" fmla="*/ 2378 w 10000"/>
              <a:gd name="connsiteY284" fmla="*/ 3620 h 10000"/>
              <a:gd name="connsiteX285" fmla="*/ 2152 w 10000"/>
              <a:gd name="connsiteY285" fmla="*/ 3673 h 10000"/>
              <a:gd name="connsiteX286" fmla="*/ 1790 w 10000"/>
              <a:gd name="connsiteY286" fmla="*/ 3840 h 10000"/>
              <a:gd name="connsiteX287" fmla="*/ 1598 w 10000"/>
              <a:gd name="connsiteY287" fmla="*/ 4042 h 10000"/>
              <a:gd name="connsiteX288" fmla="*/ 1616 w 10000"/>
              <a:gd name="connsiteY288" fmla="*/ 4154 h 10000"/>
              <a:gd name="connsiteX289" fmla="*/ 1681 w 10000"/>
              <a:gd name="connsiteY289" fmla="*/ 4241 h 10000"/>
              <a:gd name="connsiteX290" fmla="*/ 1733 w 10000"/>
              <a:gd name="connsiteY290" fmla="*/ 4276 h 10000"/>
              <a:gd name="connsiteX291" fmla="*/ 1638 w 10000"/>
              <a:gd name="connsiteY291" fmla="*/ 4331 h 10000"/>
              <a:gd name="connsiteX292" fmla="*/ 1433 w 10000"/>
              <a:gd name="connsiteY292" fmla="*/ 4710 h 10000"/>
              <a:gd name="connsiteX293" fmla="*/ 1472 w 10000"/>
              <a:gd name="connsiteY293" fmla="*/ 4732 h 10000"/>
              <a:gd name="connsiteX294" fmla="*/ 1503 w 10000"/>
              <a:gd name="connsiteY294" fmla="*/ 4828 h 10000"/>
              <a:gd name="connsiteX295" fmla="*/ 1407 w 10000"/>
              <a:gd name="connsiteY295" fmla="*/ 5227 h 10000"/>
              <a:gd name="connsiteX296" fmla="*/ 1503 w 10000"/>
              <a:gd name="connsiteY296" fmla="*/ 5329 h 10000"/>
              <a:gd name="connsiteX297" fmla="*/ 1764 w 10000"/>
              <a:gd name="connsiteY297" fmla="*/ 5441 h 10000"/>
              <a:gd name="connsiteX298" fmla="*/ 1777 w 10000"/>
              <a:gd name="connsiteY298" fmla="*/ 5578 h 10000"/>
              <a:gd name="connsiteX299" fmla="*/ 1664 w 10000"/>
              <a:gd name="connsiteY299" fmla="*/ 5690 h 10000"/>
              <a:gd name="connsiteX300" fmla="*/ 1503 w 10000"/>
              <a:gd name="connsiteY300" fmla="*/ 5759 h 10000"/>
              <a:gd name="connsiteX301" fmla="*/ 1289 w 10000"/>
              <a:gd name="connsiteY301" fmla="*/ 5787 h 10000"/>
              <a:gd name="connsiteX302" fmla="*/ 1233 w 10000"/>
              <a:gd name="connsiteY302" fmla="*/ 5826 h 10000"/>
              <a:gd name="connsiteX303" fmla="*/ 1359 w 10000"/>
              <a:gd name="connsiteY303" fmla="*/ 5920 h 10000"/>
              <a:gd name="connsiteX304" fmla="*/ 1429 w 10000"/>
              <a:gd name="connsiteY304" fmla="*/ 6142 h 10000"/>
              <a:gd name="connsiteX305" fmla="*/ 1267 w 10000"/>
              <a:gd name="connsiteY305" fmla="*/ 6333 h 10000"/>
              <a:gd name="connsiteX306" fmla="*/ 1324 w 10000"/>
              <a:gd name="connsiteY306" fmla="*/ 6392 h 10000"/>
              <a:gd name="connsiteX307" fmla="*/ 1272 w 10000"/>
              <a:gd name="connsiteY307" fmla="*/ 6492 h 10000"/>
              <a:gd name="connsiteX308" fmla="*/ 1167 w 10000"/>
              <a:gd name="connsiteY308" fmla="*/ 6561 h 10000"/>
              <a:gd name="connsiteX309" fmla="*/ 758 w 10000"/>
              <a:gd name="connsiteY309" fmla="*/ 6614 h 10000"/>
              <a:gd name="connsiteX310" fmla="*/ 732 w 10000"/>
              <a:gd name="connsiteY310" fmla="*/ 6706 h 10000"/>
              <a:gd name="connsiteX311" fmla="*/ 510 w 10000"/>
              <a:gd name="connsiteY311" fmla="*/ 6843 h 10000"/>
              <a:gd name="connsiteX312" fmla="*/ 540 w 10000"/>
              <a:gd name="connsiteY312" fmla="*/ 7040 h 10000"/>
              <a:gd name="connsiteX313" fmla="*/ 353 w 10000"/>
              <a:gd name="connsiteY313" fmla="*/ 7293 h 10000"/>
              <a:gd name="connsiteX314" fmla="*/ 226 w 10000"/>
              <a:gd name="connsiteY314" fmla="*/ 7323 h 10000"/>
              <a:gd name="connsiteX315" fmla="*/ 174 w 10000"/>
              <a:gd name="connsiteY315" fmla="*/ 7262 h 10000"/>
              <a:gd name="connsiteX316" fmla="*/ 109 w 10000"/>
              <a:gd name="connsiteY316" fmla="*/ 7354 h 10000"/>
              <a:gd name="connsiteX317" fmla="*/ 152 w 10000"/>
              <a:gd name="connsiteY317" fmla="*/ 7197 h 10000"/>
              <a:gd name="connsiteX318" fmla="*/ 126 w 10000"/>
              <a:gd name="connsiteY31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15 w 10000"/>
              <a:gd name="connsiteY207" fmla="*/ 2548 h 10000"/>
              <a:gd name="connsiteX208" fmla="*/ 8855 w 10000"/>
              <a:gd name="connsiteY208" fmla="*/ 2341 h 10000"/>
              <a:gd name="connsiteX209" fmla="*/ 8898 w 10000"/>
              <a:gd name="connsiteY209" fmla="*/ 2332 h 10000"/>
              <a:gd name="connsiteX210" fmla="*/ 8946 w 10000"/>
              <a:gd name="connsiteY210" fmla="*/ 2330 h 10000"/>
              <a:gd name="connsiteX211" fmla="*/ 8946 w 10000"/>
              <a:gd name="connsiteY211" fmla="*/ 2361 h 10000"/>
              <a:gd name="connsiteX212" fmla="*/ 8994 w 10000"/>
              <a:gd name="connsiteY212" fmla="*/ 2389 h 10000"/>
              <a:gd name="connsiteX213" fmla="*/ 9051 w 10000"/>
              <a:gd name="connsiteY213" fmla="*/ 2400 h 10000"/>
              <a:gd name="connsiteX214" fmla="*/ 9094 w 10000"/>
              <a:gd name="connsiteY214" fmla="*/ 2324 h 10000"/>
              <a:gd name="connsiteX215" fmla="*/ 9164 w 10000"/>
              <a:gd name="connsiteY215" fmla="*/ 2347 h 10000"/>
              <a:gd name="connsiteX216" fmla="*/ 9247 w 10000"/>
              <a:gd name="connsiteY216" fmla="*/ 2402 h 10000"/>
              <a:gd name="connsiteX217" fmla="*/ 9286 w 10000"/>
              <a:gd name="connsiteY217" fmla="*/ 2400 h 10000"/>
              <a:gd name="connsiteX218" fmla="*/ 9355 w 10000"/>
              <a:gd name="connsiteY218" fmla="*/ 2428 h 10000"/>
              <a:gd name="connsiteX219" fmla="*/ 9408 w 10000"/>
              <a:gd name="connsiteY219" fmla="*/ 2359 h 10000"/>
              <a:gd name="connsiteX220" fmla="*/ 9717 w 10000"/>
              <a:gd name="connsiteY220" fmla="*/ 2343 h 10000"/>
              <a:gd name="connsiteX221" fmla="*/ 9830 w 10000"/>
              <a:gd name="connsiteY221" fmla="*/ 2369 h 10000"/>
              <a:gd name="connsiteX222" fmla="*/ 9909 w 10000"/>
              <a:gd name="connsiteY222" fmla="*/ 2410 h 10000"/>
              <a:gd name="connsiteX223" fmla="*/ 9948 w 10000"/>
              <a:gd name="connsiteY223" fmla="*/ 2365 h 10000"/>
              <a:gd name="connsiteX224" fmla="*/ 10000 w 10000"/>
              <a:gd name="connsiteY224" fmla="*/ 2349 h 10000"/>
              <a:gd name="connsiteX225" fmla="*/ 9704 w 10000"/>
              <a:gd name="connsiteY225" fmla="*/ 1992 h 10000"/>
              <a:gd name="connsiteX226" fmla="*/ 9743 w 10000"/>
              <a:gd name="connsiteY226" fmla="*/ 1897 h 10000"/>
              <a:gd name="connsiteX227" fmla="*/ 9830 w 10000"/>
              <a:gd name="connsiteY227" fmla="*/ 1819 h 10000"/>
              <a:gd name="connsiteX228" fmla="*/ 9830 w 10000"/>
              <a:gd name="connsiteY228" fmla="*/ 1699 h 10000"/>
              <a:gd name="connsiteX229" fmla="*/ 9556 w 10000"/>
              <a:gd name="connsiteY229" fmla="*/ 1465 h 10000"/>
              <a:gd name="connsiteX230" fmla="*/ 9512 w 10000"/>
              <a:gd name="connsiteY230" fmla="*/ 1379 h 10000"/>
              <a:gd name="connsiteX231" fmla="*/ 9573 w 10000"/>
              <a:gd name="connsiteY231" fmla="*/ 1271 h 10000"/>
              <a:gd name="connsiteX232" fmla="*/ 9543 w 10000"/>
              <a:gd name="connsiteY232" fmla="*/ 1194 h 10000"/>
              <a:gd name="connsiteX233" fmla="*/ 9486 w 10000"/>
              <a:gd name="connsiteY233" fmla="*/ 1159 h 10000"/>
              <a:gd name="connsiteX234" fmla="*/ 9438 w 10000"/>
              <a:gd name="connsiteY234" fmla="*/ 978 h 10000"/>
              <a:gd name="connsiteX235" fmla="*/ 9495 w 10000"/>
              <a:gd name="connsiteY235" fmla="*/ 831 h 10000"/>
              <a:gd name="connsiteX236" fmla="*/ 9077 w 10000"/>
              <a:gd name="connsiteY236" fmla="*/ 517 h 10000"/>
              <a:gd name="connsiteX237" fmla="*/ 8872 w 10000"/>
              <a:gd name="connsiteY237" fmla="*/ 440 h 10000"/>
              <a:gd name="connsiteX238" fmla="*/ 8493 w 10000"/>
              <a:gd name="connsiteY238" fmla="*/ 389 h 10000"/>
              <a:gd name="connsiteX239" fmla="*/ 7709 w 10000"/>
              <a:gd name="connsiteY239" fmla="*/ 26 h 10000"/>
              <a:gd name="connsiteX240" fmla="*/ 7683 w 10000"/>
              <a:gd name="connsiteY240" fmla="*/ 2 h 10000"/>
              <a:gd name="connsiteX241" fmla="*/ 7417 w 10000"/>
              <a:gd name="connsiteY241" fmla="*/ 0 h 10000"/>
              <a:gd name="connsiteX242" fmla="*/ 7356 w 10000"/>
              <a:gd name="connsiteY242" fmla="*/ 14 h 10000"/>
              <a:gd name="connsiteX243" fmla="*/ 7369 w 10000"/>
              <a:gd name="connsiteY243" fmla="*/ 61 h 10000"/>
              <a:gd name="connsiteX244" fmla="*/ 7422 w 10000"/>
              <a:gd name="connsiteY244" fmla="*/ 86 h 10000"/>
              <a:gd name="connsiteX245" fmla="*/ 7435 w 10000"/>
              <a:gd name="connsiteY245" fmla="*/ 139 h 10000"/>
              <a:gd name="connsiteX246" fmla="*/ 7417 w 10000"/>
              <a:gd name="connsiteY246" fmla="*/ 181 h 10000"/>
              <a:gd name="connsiteX247" fmla="*/ 7369 w 10000"/>
              <a:gd name="connsiteY247" fmla="*/ 208 h 10000"/>
              <a:gd name="connsiteX248" fmla="*/ 7334 w 10000"/>
              <a:gd name="connsiteY248" fmla="*/ 283 h 10000"/>
              <a:gd name="connsiteX249" fmla="*/ 7269 w 10000"/>
              <a:gd name="connsiteY249" fmla="*/ 336 h 10000"/>
              <a:gd name="connsiteX250" fmla="*/ 7282 w 10000"/>
              <a:gd name="connsiteY250" fmla="*/ 387 h 10000"/>
              <a:gd name="connsiteX251" fmla="*/ 7382 w 10000"/>
              <a:gd name="connsiteY251" fmla="*/ 434 h 10000"/>
              <a:gd name="connsiteX252" fmla="*/ 7317 w 10000"/>
              <a:gd name="connsiteY252" fmla="*/ 475 h 10000"/>
              <a:gd name="connsiteX253" fmla="*/ 7221 w 10000"/>
              <a:gd name="connsiteY253" fmla="*/ 485 h 10000"/>
              <a:gd name="connsiteX254" fmla="*/ 6420 w 10000"/>
              <a:gd name="connsiteY254" fmla="*/ 387 h 10000"/>
              <a:gd name="connsiteX255" fmla="*/ 6324 w 10000"/>
              <a:gd name="connsiteY255" fmla="*/ 395 h 10000"/>
              <a:gd name="connsiteX256" fmla="*/ 6267 w 10000"/>
              <a:gd name="connsiteY256" fmla="*/ 414 h 10000"/>
              <a:gd name="connsiteX257" fmla="*/ 6211 w 10000"/>
              <a:gd name="connsiteY257" fmla="*/ 462 h 10000"/>
              <a:gd name="connsiteX258" fmla="*/ 6220 w 10000"/>
              <a:gd name="connsiteY258" fmla="*/ 581 h 10000"/>
              <a:gd name="connsiteX259" fmla="*/ 6132 w 10000"/>
              <a:gd name="connsiteY259" fmla="*/ 735 h 10000"/>
              <a:gd name="connsiteX260" fmla="*/ 6024 w 10000"/>
              <a:gd name="connsiteY260" fmla="*/ 815 h 10000"/>
              <a:gd name="connsiteX261" fmla="*/ 5980 w 10000"/>
              <a:gd name="connsiteY261" fmla="*/ 805 h 10000"/>
              <a:gd name="connsiteX262" fmla="*/ 5880 w 10000"/>
              <a:gd name="connsiteY262" fmla="*/ 739 h 10000"/>
              <a:gd name="connsiteX263" fmla="*/ 5753 w 10000"/>
              <a:gd name="connsiteY263" fmla="*/ 705 h 10000"/>
              <a:gd name="connsiteX264" fmla="*/ 5618 w 10000"/>
              <a:gd name="connsiteY264" fmla="*/ 715 h 10000"/>
              <a:gd name="connsiteX265" fmla="*/ 5301 w 10000"/>
              <a:gd name="connsiteY265" fmla="*/ 866 h 10000"/>
              <a:gd name="connsiteX266" fmla="*/ 5218 w 10000"/>
              <a:gd name="connsiteY266" fmla="*/ 1017 h 10000"/>
              <a:gd name="connsiteX267" fmla="*/ 4978 w 10000"/>
              <a:gd name="connsiteY267" fmla="*/ 1153 h 10000"/>
              <a:gd name="connsiteX268" fmla="*/ 4935 w 10000"/>
              <a:gd name="connsiteY268" fmla="*/ 1222 h 10000"/>
              <a:gd name="connsiteX269" fmla="*/ 5061 w 10000"/>
              <a:gd name="connsiteY269" fmla="*/ 1344 h 10000"/>
              <a:gd name="connsiteX270" fmla="*/ 5074 w 10000"/>
              <a:gd name="connsiteY270" fmla="*/ 1412 h 10000"/>
              <a:gd name="connsiteX271" fmla="*/ 4421 w 10000"/>
              <a:gd name="connsiteY271" fmla="*/ 1813 h 10000"/>
              <a:gd name="connsiteX272" fmla="*/ 4220 w 10000"/>
              <a:gd name="connsiteY272" fmla="*/ 2070 h 10000"/>
              <a:gd name="connsiteX273" fmla="*/ 4003 w 10000"/>
              <a:gd name="connsiteY273" fmla="*/ 2135 h 10000"/>
              <a:gd name="connsiteX274" fmla="*/ 3868 w 10000"/>
              <a:gd name="connsiteY274" fmla="*/ 2131 h 10000"/>
              <a:gd name="connsiteX275" fmla="*/ 3785 w 10000"/>
              <a:gd name="connsiteY275" fmla="*/ 2153 h 10000"/>
              <a:gd name="connsiteX276" fmla="*/ 3558 w 10000"/>
              <a:gd name="connsiteY276" fmla="*/ 2793 h 10000"/>
              <a:gd name="connsiteX277" fmla="*/ 3036 w 10000"/>
              <a:gd name="connsiteY277" fmla="*/ 3166 h 10000"/>
              <a:gd name="connsiteX278" fmla="*/ 3040 w 10000"/>
              <a:gd name="connsiteY278" fmla="*/ 3225 h 10000"/>
              <a:gd name="connsiteX279" fmla="*/ 3271 w 10000"/>
              <a:gd name="connsiteY279" fmla="*/ 3392 h 10000"/>
              <a:gd name="connsiteX280" fmla="*/ 3197 w 10000"/>
              <a:gd name="connsiteY280" fmla="*/ 3573 h 10000"/>
              <a:gd name="connsiteX281" fmla="*/ 3062 w 10000"/>
              <a:gd name="connsiteY281" fmla="*/ 3640 h 10000"/>
              <a:gd name="connsiteX282" fmla="*/ 2657 w 10000"/>
              <a:gd name="connsiteY282" fmla="*/ 3595 h 10000"/>
              <a:gd name="connsiteX283" fmla="*/ 2378 w 10000"/>
              <a:gd name="connsiteY283" fmla="*/ 3620 h 10000"/>
              <a:gd name="connsiteX284" fmla="*/ 2152 w 10000"/>
              <a:gd name="connsiteY284" fmla="*/ 3673 h 10000"/>
              <a:gd name="connsiteX285" fmla="*/ 1790 w 10000"/>
              <a:gd name="connsiteY285" fmla="*/ 3840 h 10000"/>
              <a:gd name="connsiteX286" fmla="*/ 1598 w 10000"/>
              <a:gd name="connsiteY286" fmla="*/ 4042 h 10000"/>
              <a:gd name="connsiteX287" fmla="*/ 1616 w 10000"/>
              <a:gd name="connsiteY287" fmla="*/ 4154 h 10000"/>
              <a:gd name="connsiteX288" fmla="*/ 1681 w 10000"/>
              <a:gd name="connsiteY288" fmla="*/ 4241 h 10000"/>
              <a:gd name="connsiteX289" fmla="*/ 1733 w 10000"/>
              <a:gd name="connsiteY289" fmla="*/ 4276 h 10000"/>
              <a:gd name="connsiteX290" fmla="*/ 1638 w 10000"/>
              <a:gd name="connsiteY290" fmla="*/ 4331 h 10000"/>
              <a:gd name="connsiteX291" fmla="*/ 1433 w 10000"/>
              <a:gd name="connsiteY291" fmla="*/ 4710 h 10000"/>
              <a:gd name="connsiteX292" fmla="*/ 1472 w 10000"/>
              <a:gd name="connsiteY292" fmla="*/ 4732 h 10000"/>
              <a:gd name="connsiteX293" fmla="*/ 1503 w 10000"/>
              <a:gd name="connsiteY293" fmla="*/ 4828 h 10000"/>
              <a:gd name="connsiteX294" fmla="*/ 1407 w 10000"/>
              <a:gd name="connsiteY294" fmla="*/ 5227 h 10000"/>
              <a:gd name="connsiteX295" fmla="*/ 1503 w 10000"/>
              <a:gd name="connsiteY295" fmla="*/ 5329 h 10000"/>
              <a:gd name="connsiteX296" fmla="*/ 1764 w 10000"/>
              <a:gd name="connsiteY296" fmla="*/ 5441 h 10000"/>
              <a:gd name="connsiteX297" fmla="*/ 1777 w 10000"/>
              <a:gd name="connsiteY297" fmla="*/ 5578 h 10000"/>
              <a:gd name="connsiteX298" fmla="*/ 1664 w 10000"/>
              <a:gd name="connsiteY298" fmla="*/ 5690 h 10000"/>
              <a:gd name="connsiteX299" fmla="*/ 1503 w 10000"/>
              <a:gd name="connsiteY299" fmla="*/ 5759 h 10000"/>
              <a:gd name="connsiteX300" fmla="*/ 1289 w 10000"/>
              <a:gd name="connsiteY300" fmla="*/ 5787 h 10000"/>
              <a:gd name="connsiteX301" fmla="*/ 1233 w 10000"/>
              <a:gd name="connsiteY301" fmla="*/ 5826 h 10000"/>
              <a:gd name="connsiteX302" fmla="*/ 1359 w 10000"/>
              <a:gd name="connsiteY302" fmla="*/ 5920 h 10000"/>
              <a:gd name="connsiteX303" fmla="*/ 1429 w 10000"/>
              <a:gd name="connsiteY303" fmla="*/ 6142 h 10000"/>
              <a:gd name="connsiteX304" fmla="*/ 1267 w 10000"/>
              <a:gd name="connsiteY304" fmla="*/ 6333 h 10000"/>
              <a:gd name="connsiteX305" fmla="*/ 1324 w 10000"/>
              <a:gd name="connsiteY305" fmla="*/ 6392 h 10000"/>
              <a:gd name="connsiteX306" fmla="*/ 1272 w 10000"/>
              <a:gd name="connsiteY306" fmla="*/ 6492 h 10000"/>
              <a:gd name="connsiteX307" fmla="*/ 1167 w 10000"/>
              <a:gd name="connsiteY307" fmla="*/ 6561 h 10000"/>
              <a:gd name="connsiteX308" fmla="*/ 758 w 10000"/>
              <a:gd name="connsiteY308" fmla="*/ 6614 h 10000"/>
              <a:gd name="connsiteX309" fmla="*/ 732 w 10000"/>
              <a:gd name="connsiteY309" fmla="*/ 6706 h 10000"/>
              <a:gd name="connsiteX310" fmla="*/ 510 w 10000"/>
              <a:gd name="connsiteY310" fmla="*/ 6843 h 10000"/>
              <a:gd name="connsiteX311" fmla="*/ 540 w 10000"/>
              <a:gd name="connsiteY311" fmla="*/ 7040 h 10000"/>
              <a:gd name="connsiteX312" fmla="*/ 353 w 10000"/>
              <a:gd name="connsiteY312" fmla="*/ 7293 h 10000"/>
              <a:gd name="connsiteX313" fmla="*/ 226 w 10000"/>
              <a:gd name="connsiteY313" fmla="*/ 7323 h 10000"/>
              <a:gd name="connsiteX314" fmla="*/ 174 w 10000"/>
              <a:gd name="connsiteY314" fmla="*/ 7262 h 10000"/>
              <a:gd name="connsiteX315" fmla="*/ 109 w 10000"/>
              <a:gd name="connsiteY315" fmla="*/ 7354 h 10000"/>
              <a:gd name="connsiteX316" fmla="*/ 152 w 10000"/>
              <a:gd name="connsiteY316" fmla="*/ 7197 h 10000"/>
              <a:gd name="connsiteX317" fmla="*/ 126 w 10000"/>
              <a:gd name="connsiteY31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8994 w 10000"/>
              <a:gd name="connsiteY211" fmla="*/ 2389 h 10000"/>
              <a:gd name="connsiteX212" fmla="*/ 9051 w 10000"/>
              <a:gd name="connsiteY212" fmla="*/ 2400 h 10000"/>
              <a:gd name="connsiteX213" fmla="*/ 9094 w 10000"/>
              <a:gd name="connsiteY213" fmla="*/ 2324 h 10000"/>
              <a:gd name="connsiteX214" fmla="*/ 9164 w 10000"/>
              <a:gd name="connsiteY214" fmla="*/ 2347 h 10000"/>
              <a:gd name="connsiteX215" fmla="*/ 9247 w 10000"/>
              <a:gd name="connsiteY215" fmla="*/ 2402 h 10000"/>
              <a:gd name="connsiteX216" fmla="*/ 9286 w 10000"/>
              <a:gd name="connsiteY216" fmla="*/ 2400 h 10000"/>
              <a:gd name="connsiteX217" fmla="*/ 9355 w 10000"/>
              <a:gd name="connsiteY217" fmla="*/ 2428 h 10000"/>
              <a:gd name="connsiteX218" fmla="*/ 9408 w 10000"/>
              <a:gd name="connsiteY218" fmla="*/ 2359 h 10000"/>
              <a:gd name="connsiteX219" fmla="*/ 9717 w 10000"/>
              <a:gd name="connsiteY219" fmla="*/ 2343 h 10000"/>
              <a:gd name="connsiteX220" fmla="*/ 9830 w 10000"/>
              <a:gd name="connsiteY220" fmla="*/ 2369 h 10000"/>
              <a:gd name="connsiteX221" fmla="*/ 9909 w 10000"/>
              <a:gd name="connsiteY221" fmla="*/ 2410 h 10000"/>
              <a:gd name="connsiteX222" fmla="*/ 9948 w 10000"/>
              <a:gd name="connsiteY222" fmla="*/ 2365 h 10000"/>
              <a:gd name="connsiteX223" fmla="*/ 10000 w 10000"/>
              <a:gd name="connsiteY223" fmla="*/ 2349 h 10000"/>
              <a:gd name="connsiteX224" fmla="*/ 9704 w 10000"/>
              <a:gd name="connsiteY224" fmla="*/ 1992 h 10000"/>
              <a:gd name="connsiteX225" fmla="*/ 9743 w 10000"/>
              <a:gd name="connsiteY225" fmla="*/ 1897 h 10000"/>
              <a:gd name="connsiteX226" fmla="*/ 9830 w 10000"/>
              <a:gd name="connsiteY226" fmla="*/ 1819 h 10000"/>
              <a:gd name="connsiteX227" fmla="*/ 9830 w 10000"/>
              <a:gd name="connsiteY227" fmla="*/ 1699 h 10000"/>
              <a:gd name="connsiteX228" fmla="*/ 9556 w 10000"/>
              <a:gd name="connsiteY228" fmla="*/ 1465 h 10000"/>
              <a:gd name="connsiteX229" fmla="*/ 9512 w 10000"/>
              <a:gd name="connsiteY229" fmla="*/ 1379 h 10000"/>
              <a:gd name="connsiteX230" fmla="*/ 9573 w 10000"/>
              <a:gd name="connsiteY230" fmla="*/ 1271 h 10000"/>
              <a:gd name="connsiteX231" fmla="*/ 9543 w 10000"/>
              <a:gd name="connsiteY231" fmla="*/ 1194 h 10000"/>
              <a:gd name="connsiteX232" fmla="*/ 9486 w 10000"/>
              <a:gd name="connsiteY232" fmla="*/ 1159 h 10000"/>
              <a:gd name="connsiteX233" fmla="*/ 9438 w 10000"/>
              <a:gd name="connsiteY233" fmla="*/ 978 h 10000"/>
              <a:gd name="connsiteX234" fmla="*/ 9495 w 10000"/>
              <a:gd name="connsiteY234" fmla="*/ 831 h 10000"/>
              <a:gd name="connsiteX235" fmla="*/ 9077 w 10000"/>
              <a:gd name="connsiteY235" fmla="*/ 517 h 10000"/>
              <a:gd name="connsiteX236" fmla="*/ 8872 w 10000"/>
              <a:gd name="connsiteY236" fmla="*/ 440 h 10000"/>
              <a:gd name="connsiteX237" fmla="*/ 8493 w 10000"/>
              <a:gd name="connsiteY237" fmla="*/ 389 h 10000"/>
              <a:gd name="connsiteX238" fmla="*/ 7709 w 10000"/>
              <a:gd name="connsiteY238" fmla="*/ 26 h 10000"/>
              <a:gd name="connsiteX239" fmla="*/ 7683 w 10000"/>
              <a:gd name="connsiteY239" fmla="*/ 2 h 10000"/>
              <a:gd name="connsiteX240" fmla="*/ 7417 w 10000"/>
              <a:gd name="connsiteY240" fmla="*/ 0 h 10000"/>
              <a:gd name="connsiteX241" fmla="*/ 7356 w 10000"/>
              <a:gd name="connsiteY241" fmla="*/ 14 h 10000"/>
              <a:gd name="connsiteX242" fmla="*/ 7369 w 10000"/>
              <a:gd name="connsiteY242" fmla="*/ 61 h 10000"/>
              <a:gd name="connsiteX243" fmla="*/ 7422 w 10000"/>
              <a:gd name="connsiteY243" fmla="*/ 86 h 10000"/>
              <a:gd name="connsiteX244" fmla="*/ 7435 w 10000"/>
              <a:gd name="connsiteY244" fmla="*/ 139 h 10000"/>
              <a:gd name="connsiteX245" fmla="*/ 7417 w 10000"/>
              <a:gd name="connsiteY245" fmla="*/ 181 h 10000"/>
              <a:gd name="connsiteX246" fmla="*/ 7369 w 10000"/>
              <a:gd name="connsiteY246" fmla="*/ 208 h 10000"/>
              <a:gd name="connsiteX247" fmla="*/ 7334 w 10000"/>
              <a:gd name="connsiteY247" fmla="*/ 283 h 10000"/>
              <a:gd name="connsiteX248" fmla="*/ 7269 w 10000"/>
              <a:gd name="connsiteY248" fmla="*/ 336 h 10000"/>
              <a:gd name="connsiteX249" fmla="*/ 7282 w 10000"/>
              <a:gd name="connsiteY249" fmla="*/ 387 h 10000"/>
              <a:gd name="connsiteX250" fmla="*/ 7382 w 10000"/>
              <a:gd name="connsiteY250" fmla="*/ 434 h 10000"/>
              <a:gd name="connsiteX251" fmla="*/ 7317 w 10000"/>
              <a:gd name="connsiteY251" fmla="*/ 475 h 10000"/>
              <a:gd name="connsiteX252" fmla="*/ 7221 w 10000"/>
              <a:gd name="connsiteY252" fmla="*/ 485 h 10000"/>
              <a:gd name="connsiteX253" fmla="*/ 6420 w 10000"/>
              <a:gd name="connsiteY253" fmla="*/ 387 h 10000"/>
              <a:gd name="connsiteX254" fmla="*/ 6324 w 10000"/>
              <a:gd name="connsiteY254" fmla="*/ 395 h 10000"/>
              <a:gd name="connsiteX255" fmla="*/ 6267 w 10000"/>
              <a:gd name="connsiteY255" fmla="*/ 414 h 10000"/>
              <a:gd name="connsiteX256" fmla="*/ 6211 w 10000"/>
              <a:gd name="connsiteY256" fmla="*/ 462 h 10000"/>
              <a:gd name="connsiteX257" fmla="*/ 6220 w 10000"/>
              <a:gd name="connsiteY257" fmla="*/ 581 h 10000"/>
              <a:gd name="connsiteX258" fmla="*/ 6132 w 10000"/>
              <a:gd name="connsiteY258" fmla="*/ 735 h 10000"/>
              <a:gd name="connsiteX259" fmla="*/ 6024 w 10000"/>
              <a:gd name="connsiteY259" fmla="*/ 815 h 10000"/>
              <a:gd name="connsiteX260" fmla="*/ 5980 w 10000"/>
              <a:gd name="connsiteY260" fmla="*/ 805 h 10000"/>
              <a:gd name="connsiteX261" fmla="*/ 5880 w 10000"/>
              <a:gd name="connsiteY261" fmla="*/ 739 h 10000"/>
              <a:gd name="connsiteX262" fmla="*/ 5753 w 10000"/>
              <a:gd name="connsiteY262" fmla="*/ 705 h 10000"/>
              <a:gd name="connsiteX263" fmla="*/ 5618 w 10000"/>
              <a:gd name="connsiteY263" fmla="*/ 715 h 10000"/>
              <a:gd name="connsiteX264" fmla="*/ 5301 w 10000"/>
              <a:gd name="connsiteY264" fmla="*/ 866 h 10000"/>
              <a:gd name="connsiteX265" fmla="*/ 5218 w 10000"/>
              <a:gd name="connsiteY265" fmla="*/ 1017 h 10000"/>
              <a:gd name="connsiteX266" fmla="*/ 4978 w 10000"/>
              <a:gd name="connsiteY266" fmla="*/ 1153 h 10000"/>
              <a:gd name="connsiteX267" fmla="*/ 4935 w 10000"/>
              <a:gd name="connsiteY267" fmla="*/ 1222 h 10000"/>
              <a:gd name="connsiteX268" fmla="*/ 5061 w 10000"/>
              <a:gd name="connsiteY268" fmla="*/ 1344 h 10000"/>
              <a:gd name="connsiteX269" fmla="*/ 5074 w 10000"/>
              <a:gd name="connsiteY269" fmla="*/ 1412 h 10000"/>
              <a:gd name="connsiteX270" fmla="*/ 4421 w 10000"/>
              <a:gd name="connsiteY270" fmla="*/ 1813 h 10000"/>
              <a:gd name="connsiteX271" fmla="*/ 4220 w 10000"/>
              <a:gd name="connsiteY271" fmla="*/ 2070 h 10000"/>
              <a:gd name="connsiteX272" fmla="*/ 4003 w 10000"/>
              <a:gd name="connsiteY272" fmla="*/ 2135 h 10000"/>
              <a:gd name="connsiteX273" fmla="*/ 3868 w 10000"/>
              <a:gd name="connsiteY273" fmla="*/ 2131 h 10000"/>
              <a:gd name="connsiteX274" fmla="*/ 3785 w 10000"/>
              <a:gd name="connsiteY274" fmla="*/ 2153 h 10000"/>
              <a:gd name="connsiteX275" fmla="*/ 3558 w 10000"/>
              <a:gd name="connsiteY275" fmla="*/ 2793 h 10000"/>
              <a:gd name="connsiteX276" fmla="*/ 3036 w 10000"/>
              <a:gd name="connsiteY276" fmla="*/ 3166 h 10000"/>
              <a:gd name="connsiteX277" fmla="*/ 3040 w 10000"/>
              <a:gd name="connsiteY277" fmla="*/ 3225 h 10000"/>
              <a:gd name="connsiteX278" fmla="*/ 3271 w 10000"/>
              <a:gd name="connsiteY278" fmla="*/ 3392 h 10000"/>
              <a:gd name="connsiteX279" fmla="*/ 3197 w 10000"/>
              <a:gd name="connsiteY279" fmla="*/ 3573 h 10000"/>
              <a:gd name="connsiteX280" fmla="*/ 3062 w 10000"/>
              <a:gd name="connsiteY280" fmla="*/ 3640 h 10000"/>
              <a:gd name="connsiteX281" fmla="*/ 2657 w 10000"/>
              <a:gd name="connsiteY281" fmla="*/ 3595 h 10000"/>
              <a:gd name="connsiteX282" fmla="*/ 2378 w 10000"/>
              <a:gd name="connsiteY282" fmla="*/ 3620 h 10000"/>
              <a:gd name="connsiteX283" fmla="*/ 2152 w 10000"/>
              <a:gd name="connsiteY283" fmla="*/ 3673 h 10000"/>
              <a:gd name="connsiteX284" fmla="*/ 1790 w 10000"/>
              <a:gd name="connsiteY284" fmla="*/ 3840 h 10000"/>
              <a:gd name="connsiteX285" fmla="*/ 1598 w 10000"/>
              <a:gd name="connsiteY285" fmla="*/ 4042 h 10000"/>
              <a:gd name="connsiteX286" fmla="*/ 1616 w 10000"/>
              <a:gd name="connsiteY286" fmla="*/ 4154 h 10000"/>
              <a:gd name="connsiteX287" fmla="*/ 1681 w 10000"/>
              <a:gd name="connsiteY287" fmla="*/ 4241 h 10000"/>
              <a:gd name="connsiteX288" fmla="*/ 1733 w 10000"/>
              <a:gd name="connsiteY288" fmla="*/ 4276 h 10000"/>
              <a:gd name="connsiteX289" fmla="*/ 1638 w 10000"/>
              <a:gd name="connsiteY289" fmla="*/ 4331 h 10000"/>
              <a:gd name="connsiteX290" fmla="*/ 1433 w 10000"/>
              <a:gd name="connsiteY290" fmla="*/ 4710 h 10000"/>
              <a:gd name="connsiteX291" fmla="*/ 1472 w 10000"/>
              <a:gd name="connsiteY291" fmla="*/ 4732 h 10000"/>
              <a:gd name="connsiteX292" fmla="*/ 1503 w 10000"/>
              <a:gd name="connsiteY292" fmla="*/ 4828 h 10000"/>
              <a:gd name="connsiteX293" fmla="*/ 1407 w 10000"/>
              <a:gd name="connsiteY293" fmla="*/ 5227 h 10000"/>
              <a:gd name="connsiteX294" fmla="*/ 1503 w 10000"/>
              <a:gd name="connsiteY294" fmla="*/ 5329 h 10000"/>
              <a:gd name="connsiteX295" fmla="*/ 1764 w 10000"/>
              <a:gd name="connsiteY295" fmla="*/ 5441 h 10000"/>
              <a:gd name="connsiteX296" fmla="*/ 1777 w 10000"/>
              <a:gd name="connsiteY296" fmla="*/ 5578 h 10000"/>
              <a:gd name="connsiteX297" fmla="*/ 1664 w 10000"/>
              <a:gd name="connsiteY297" fmla="*/ 5690 h 10000"/>
              <a:gd name="connsiteX298" fmla="*/ 1503 w 10000"/>
              <a:gd name="connsiteY298" fmla="*/ 5759 h 10000"/>
              <a:gd name="connsiteX299" fmla="*/ 1289 w 10000"/>
              <a:gd name="connsiteY299" fmla="*/ 5787 h 10000"/>
              <a:gd name="connsiteX300" fmla="*/ 1233 w 10000"/>
              <a:gd name="connsiteY300" fmla="*/ 5826 h 10000"/>
              <a:gd name="connsiteX301" fmla="*/ 1359 w 10000"/>
              <a:gd name="connsiteY301" fmla="*/ 5920 h 10000"/>
              <a:gd name="connsiteX302" fmla="*/ 1429 w 10000"/>
              <a:gd name="connsiteY302" fmla="*/ 6142 h 10000"/>
              <a:gd name="connsiteX303" fmla="*/ 1267 w 10000"/>
              <a:gd name="connsiteY303" fmla="*/ 6333 h 10000"/>
              <a:gd name="connsiteX304" fmla="*/ 1324 w 10000"/>
              <a:gd name="connsiteY304" fmla="*/ 6392 h 10000"/>
              <a:gd name="connsiteX305" fmla="*/ 1272 w 10000"/>
              <a:gd name="connsiteY305" fmla="*/ 6492 h 10000"/>
              <a:gd name="connsiteX306" fmla="*/ 1167 w 10000"/>
              <a:gd name="connsiteY306" fmla="*/ 6561 h 10000"/>
              <a:gd name="connsiteX307" fmla="*/ 758 w 10000"/>
              <a:gd name="connsiteY307" fmla="*/ 6614 h 10000"/>
              <a:gd name="connsiteX308" fmla="*/ 732 w 10000"/>
              <a:gd name="connsiteY308" fmla="*/ 6706 h 10000"/>
              <a:gd name="connsiteX309" fmla="*/ 510 w 10000"/>
              <a:gd name="connsiteY309" fmla="*/ 6843 h 10000"/>
              <a:gd name="connsiteX310" fmla="*/ 540 w 10000"/>
              <a:gd name="connsiteY310" fmla="*/ 7040 h 10000"/>
              <a:gd name="connsiteX311" fmla="*/ 353 w 10000"/>
              <a:gd name="connsiteY311" fmla="*/ 7293 h 10000"/>
              <a:gd name="connsiteX312" fmla="*/ 226 w 10000"/>
              <a:gd name="connsiteY312" fmla="*/ 7323 h 10000"/>
              <a:gd name="connsiteX313" fmla="*/ 174 w 10000"/>
              <a:gd name="connsiteY313" fmla="*/ 7262 h 10000"/>
              <a:gd name="connsiteX314" fmla="*/ 109 w 10000"/>
              <a:gd name="connsiteY314" fmla="*/ 7354 h 10000"/>
              <a:gd name="connsiteX315" fmla="*/ 152 w 10000"/>
              <a:gd name="connsiteY315" fmla="*/ 7197 h 10000"/>
              <a:gd name="connsiteX316" fmla="*/ 126 w 10000"/>
              <a:gd name="connsiteY31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51 w 10000"/>
              <a:gd name="connsiteY211" fmla="*/ 2400 h 10000"/>
              <a:gd name="connsiteX212" fmla="*/ 9094 w 10000"/>
              <a:gd name="connsiteY212" fmla="*/ 2324 h 10000"/>
              <a:gd name="connsiteX213" fmla="*/ 9164 w 10000"/>
              <a:gd name="connsiteY213" fmla="*/ 2347 h 10000"/>
              <a:gd name="connsiteX214" fmla="*/ 9247 w 10000"/>
              <a:gd name="connsiteY214" fmla="*/ 2402 h 10000"/>
              <a:gd name="connsiteX215" fmla="*/ 9286 w 10000"/>
              <a:gd name="connsiteY215" fmla="*/ 2400 h 10000"/>
              <a:gd name="connsiteX216" fmla="*/ 9355 w 10000"/>
              <a:gd name="connsiteY216" fmla="*/ 2428 h 10000"/>
              <a:gd name="connsiteX217" fmla="*/ 9408 w 10000"/>
              <a:gd name="connsiteY217" fmla="*/ 2359 h 10000"/>
              <a:gd name="connsiteX218" fmla="*/ 9717 w 10000"/>
              <a:gd name="connsiteY218" fmla="*/ 2343 h 10000"/>
              <a:gd name="connsiteX219" fmla="*/ 9830 w 10000"/>
              <a:gd name="connsiteY219" fmla="*/ 2369 h 10000"/>
              <a:gd name="connsiteX220" fmla="*/ 9909 w 10000"/>
              <a:gd name="connsiteY220" fmla="*/ 2410 h 10000"/>
              <a:gd name="connsiteX221" fmla="*/ 9948 w 10000"/>
              <a:gd name="connsiteY221" fmla="*/ 2365 h 10000"/>
              <a:gd name="connsiteX222" fmla="*/ 10000 w 10000"/>
              <a:gd name="connsiteY222" fmla="*/ 2349 h 10000"/>
              <a:gd name="connsiteX223" fmla="*/ 9704 w 10000"/>
              <a:gd name="connsiteY223" fmla="*/ 1992 h 10000"/>
              <a:gd name="connsiteX224" fmla="*/ 9743 w 10000"/>
              <a:gd name="connsiteY224" fmla="*/ 1897 h 10000"/>
              <a:gd name="connsiteX225" fmla="*/ 9830 w 10000"/>
              <a:gd name="connsiteY225" fmla="*/ 1819 h 10000"/>
              <a:gd name="connsiteX226" fmla="*/ 9830 w 10000"/>
              <a:gd name="connsiteY226" fmla="*/ 1699 h 10000"/>
              <a:gd name="connsiteX227" fmla="*/ 9556 w 10000"/>
              <a:gd name="connsiteY227" fmla="*/ 1465 h 10000"/>
              <a:gd name="connsiteX228" fmla="*/ 9512 w 10000"/>
              <a:gd name="connsiteY228" fmla="*/ 1379 h 10000"/>
              <a:gd name="connsiteX229" fmla="*/ 9573 w 10000"/>
              <a:gd name="connsiteY229" fmla="*/ 1271 h 10000"/>
              <a:gd name="connsiteX230" fmla="*/ 9543 w 10000"/>
              <a:gd name="connsiteY230" fmla="*/ 1194 h 10000"/>
              <a:gd name="connsiteX231" fmla="*/ 9486 w 10000"/>
              <a:gd name="connsiteY231" fmla="*/ 1159 h 10000"/>
              <a:gd name="connsiteX232" fmla="*/ 9438 w 10000"/>
              <a:gd name="connsiteY232" fmla="*/ 978 h 10000"/>
              <a:gd name="connsiteX233" fmla="*/ 9495 w 10000"/>
              <a:gd name="connsiteY233" fmla="*/ 831 h 10000"/>
              <a:gd name="connsiteX234" fmla="*/ 9077 w 10000"/>
              <a:gd name="connsiteY234" fmla="*/ 517 h 10000"/>
              <a:gd name="connsiteX235" fmla="*/ 8872 w 10000"/>
              <a:gd name="connsiteY235" fmla="*/ 440 h 10000"/>
              <a:gd name="connsiteX236" fmla="*/ 8493 w 10000"/>
              <a:gd name="connsiteY236" fmla="*/ 389 h 10000"/>
              <a:gd name="connsiteX237" fmla="*/ 7709 w 10000"/>
              <a:gd name="connsiteY237" fmla="*/ 26 h 10000"/>
              <a:gd name="connsiteX238" fmla="*/ 7683 w 10000"/>
              <a:gd name="connsiteY238" fmla="*/ 2 h 10000"/>
              <a:gd name="connsiteX239" fmla="*/ 7417 w 10000"/>
              <a:gd name="connsiteY239" fmla="*/ 0 h 10000"/>
              <a:gd name="connsiteX240" fmla="*/ 7356 w 10000"/>
              <a:gd name="connsiteY240" fmla="*/ 14 h 10000"/>
              <a:gd name="connsiteX241" fmla="*/ 7369 w 10000"/>
              <a:gd name="connsiteY241" fmla="*/ 61 h 10000"/>
              <a:gd name="connsiteX242" fmla="*/ 7422 w 10000"/>
              <a:gd name="connsiteY242" fmla="*/ 86 h 10000"/>
              <a:gd name="connsiteX243" fmla="*/ 7435 w 10000"/>
              <a:gd name="connsiteY243" fmla="*/ 139 h 10000"/>
              <a:gd name="connsiteX244" fmla="*/ 7417 w 10000"/>
              <a:gd name="connsiteY244" fmla="*/ 181 h 10000"/>
              <a:gd name="connsiteX245" fmla="*/ 7369 w 10000"/>
              <a:gd name="connsiteY245" fmla="*/ 208 h 10000"/>
              <a:gd name="connsiteX246" fmla="*/ 7334 w 10000"/>
              <a:gd name="connsiteY246" fmla="*/ 283 h 10000"/>
              <a:gd name="connsiteX247" fmla="*/ 7269 w 10000"/>
              <a:gd name="connsiteY247" fmla="*/ 336 h 10000"/>
              <a:gd name="connsiteX248" fmla="*/ 7282 w 10000"/>
              <a:gd name="connsiteY248" fmla="*/ 387 h 10000"/>
              <a:gd name="connsiteX249" fmla="*/ 7382 w 10000"/>
              <a:gd name="connsiteY249" fmla="*/ 434 h 10000"/>
              <a:gd name="connsiteX250" fmla="*/ 7317 w 10000"/>
              <a:gd name="connsiteY250" fmla="*/ 475 h 10000"/>
              <a:gd name="connsiteX251" fmla="*/ 7221 w 10000"/>
              <a:gd name="connsiteY251" fmla="*/ 485 h 10000"/>
              <a:gd name="connsiteX252" fmla="*/ 6420 w 10000"/>
              <a:gd name="connsiteY252" fmla="*/ 387 h 10000"/>
              <a:gd name="connsiteX253" fmla="*/ 6324 w 10000"/>
              <a:gd name="connsiteY253" fmla="*/ 395 h 10000"/>
              <a:gd name="connsiteX254" fmla="*/ 6267 w 10000"/>
              <a:gd name="connsiteY254" fmla="*/ 414 h 10000"/>
              <a:gd name="connsiteX255" fmla="*/ 6211 w 10000"/>
              <a:gd name="connsiteY255" fmla="*/ 462 h 10000"/>
              <a:gd name="connsiteX256" fmla="*/ 6220 w 10000"/>
              <a:gd name="connsiteY256" fmla="*/ 581 h 10000"/>
              <a:gd name="connsiteX257" fmla="*/ 6132 w 10000"/>
              <a:gd name="connsiteY257" fmla="*/ 735 h 10000"/>
              <a:gd name="connsiteX258" fmla="*/ 6024 w 10000"/>
              <a:gd name="connsiteY258" fmla="*/ 815 h 10000"/>
              <a:gd name="connsiteX259" fmla="*/ 5980 w 10000"/>
              <a:gd name="connsiteY259" fmla="*/ 805 h 10000"/>
              <a:gd name="connsiteX260" fmla="*/ 5880 w 10000"/>
              <a:gd name="connsiteY260" fmla="*/ 739 h 10000"/>
              <a:gd name="connsiteX261" fmla="*/ 5753 w 10000"/>
              <a:gd name="connsiteY261" fmla="*/ 705 h 10000"/>
              <a:gd name="connsiteX262" fmla="*/ 5618 w 10000"/>
              <a:gd name="connsiteY262" fmla="*/ 715 h 10000"/>
              <a:gd name="connsiteX263" fmla="*/ 5301 w 10000"/>
              <a:gd name="connsiteY263" fmla="*/ 866 h 10000"/>
              <a:gd name="connsiteX264" fmla="*/ 5218 w 10000"/>
              <a:gd name="connsiteY264" fmla="*/ 1017 h 10000"/>
              <a:gd name="connsiteX265" fmla="*/ 4978 w 10000"/>
              <a:gd name="connsiteY265" fmla="*/ 1153 h 10000"/>
              <a:gd name="connsiteX266" fmla="*/ 4935 w 10000"/>
              <a:gd name="connsiteY266" fmla="*/ 1222 h 10000"/>
              <a:gd name="connsiteX267" fmla="*/ 5061 w 10000"/>
              <a:gd name="connsiteY267" fmla="*/ 1344 h 10000"/>
              <a:gd name="connsiteX268" fmla="*/ 5074 w 10000"/>
              <a:gd name="connsiteY268" fmla="*/ 1412 h 10000"/>
              <a:gd name="connsiteX269" fmla="*/ 4421 w 10000"/>
              <a:gd name="connsiteY269" fmla="*/ 1813 h 10000"/>
              <a:gd name="connsiteX270" fmla="*/ 4220 w 10000"/>
              <a:gd name="connsiteY270" fmla="*/ 2070 h 10000"/>
              <a:gd name="connsiteX271" fmla="*/ 4003 w 10000"/>
              <a:gd name="connsiteY271" fmla="*/ 2135 h 10000"/>
              <a:gd name="connsiteX272" fmla="*/ 3868 w 10000"/>
              <a:gd name="connsiteY272" fmla="*/ 2131 h 10000"/>
              <a:gd name="connsiteX273" fmla="*/ 3785 w 10000"/>
              <a:gd name="connsiteY273" fmla="*/ 2153 h 10000"/>
              <a:gd name="connsiteX274" fmla="*/ 3558 w 10000"/>
              <a:gd name="connsiteY274" fmla="*/ 2793 h 10000"/>
              <a:gd name="connsiteX275" fmla="*/ 3036 w 10000"/>
              <a:gd name="connsiteY275" fmla="*/ 3166 h 10000"/>
              <a:gd name="connsiteX276" fmla="*/ 3040 w 10000"/>
              <a:gd name="connsiteY276" fmla="*/ 3225 h 10000"/>
              <a:gd name="connsiteX277" fmla="*/ 3271 w 10000"/>
              <a:gd name="connsiteY277" fmla="*/ 3392 h 10000"/>
              <a:gd name="connsiteX278" fmla="*/ 3197 w 10000"/>
              <a:gd name="connsiteY278" fmla="*/ 3573 h 10000"/>
              <a:gd name="connsiteX279" fmla="*/ 3062 w 10000"/>
              <a:gd name="connsiteY279" fmla="*/ 3640 h 10000"/>
              <a:gd name="connsiteX280" fmla="*/ 2657 w 10000"/>
              <a:gd name="connsiteY280" fmla="*/ 3595 h 10000"/>
              <a:gd name="connsiteX281" fmla="*/ 2378 w 10000"/>
              <a:gd name="connsiteY281" fmla="*/ 3620 h 10000"/>
              <a:gd name="connsiteX282" fmla="*/ 2152 w 10000"/>
              <a:gd name="connsiteY282" fmla="*/ 3673 h 10000"/>
              <a:gd name="connsiteX283" fmla="*/ 1790 w 10000"/>
              <a:gd name="connsiteY283" fmla="*/ 3840 h 10000"/>
              <a:gd name="connsiteX284" fmla="*/ 1598 w 10000"/>
              <a:gd name="connsiteY284" fmla="*/ 4042 h 10000"/>
              <a:gd name="connsiteX285" fmla="*/ 1616 w 10000"/>
              <a:gd name="connsiteY285" fmla="*/ 4154 h 10000"/>
              <a:gd name="connsiteX286" fmla="*/ 1681 w 10000"/>
              <a:gd name="connsiteY286" fmla="*/ 4241 h 10000"/>
              <a:gd name="connsiteX287" fmla="*/ 1733 w 10000"/>
              <a:gd name="connsiteY287" fmla="*/ 4276 h 10000"/>
              <a:gd name="connsiteX288" fmla="*/ 1638 w 10000"/>
              <a:gd name="connsiteY288" fmla="*/ 4331 h 10000"/>
              <a:gd name="connsiteX289" fmla="*/ 1433 w 10000"/>
              <a:gd name="connsiteY289" fmla="*/ 4710 h 10000"/>
              <a:gd name="connsiteX290" fmla="*/ 1472 w 10000"/>
              <a:gd name="connsiteY290" fmla="*/ 4732 h 10000"/>
              <a:gd name="connsiteX291" fmla="*/ 1503 w 10000"/>
              <a:gd name="connsiteY291" fmla="*/ 4828 h 10000"/>
              <a:gd name="connsiteX292" fmla="*/ 1407 w 10000"/>
              <a:gd name="connsiteY292" fmla="*/ 5227 h 10000"/>
              <a:gd name="connsiteX293" fmla="*/ 1503 w 10000"/>
              <a:gd name="connsiteY293" fmla="*/ 5329 h 10000"/>
              <a:gd name="connsiteX294" fmla="*/ 1764 w 10000"/>
              <a:gd name="connsiteY294" fmla="*/ 5441 h 10000"/>
              <a:gd name="connsiteX295" fmla="*/ 1777 w 10000"/>
              <a:gd name="connsiteY295" fmla="*/ 5578 h 10000"/>
              <a:gd name="connsiteX296" fmla="*/ 1664 w 10000"/>
              <a:gd name="connsiteY296" fmla="*/ 5690 h 10000"/>
              <a:gd name="connsiteX297" fmla="*/ 1503 w 10000"/>
              <a:gd name="connsiteY297" fmla="*/ 5759 h 10000"/>
              <a:gd name="connsiteX298" fmla="*/ 1289 w 10000"/>
              <a:gd name="connsiteY298" fmla="*/ 5787 h 10000"/>
              <a:gd name="connsiteX299" fmla="*/ 1233 w 10000"/>
              <a:gd name="connsiteY299" fmla="*/ 5826 h 10000"/>
              <a:gd name="connsiteX300" fmla="*/ 1359 w 10000"/>
              <a:gd name="connsiteY300" fmla="*/ 5920 h 10000"/>
              <a:gd name="connsiteX301" fmla="*/ 1429 w 10000"/>
              <a:gd name="connsiteY301" fmla="*/ 6142 h 10000"/>
              <a:gd name="connsiteX302" fmla="*/ 1267 w 10000"/>
              <a:gd name="connsiteY302" fmla="*/ 6333 h 10000"/>
              <a:gd name="connsiteX303" fmla="*/ 1324 w 10000"/>
              <a:gd name="connsiteY303" fmla="*/ 6392 h 10000"/>
              <a:gd name="connsiteX304" fmla="*/ 1272 w 10000"/>
              <a:gd name="connsiteY304" fmla="*/ 6492 h 10000"/>
              <a:gd name="connsiteX305" fmla="*/ 1167 w 10000"/>
              <a:gd name="connsiteY305" fmla="*/ 6561 h 10000"/>
              <a:gd name="connsiteX306" fmla="*/ 758 w 10000"/>
              <a:gd name="connsiteY306" fmla="*/ 6614 h 10000"/>
              <a:gd name="connsiteX307" fmla="*/ 732 w 10000"/>
              <a:gd name="connsiteY307" fmla="*/ 6706 h 10000"/>
              <a:gd name="connsiteX308" fmla="*/ 510 w 10000"/>
              <a:gd name="connsiteY308" fmla="*/ 6843 h 10000"/>
              <a:gd name="connsiteX309" fmla="*/ 540 w 10000"/>
              <a:gd name="connsiteY309" fmla="*/ 7040 h 10000"/>
              <a:gd name="connsiteX310" fmla="*/ 353 w 10000"/>
              <a:gd name="connsiteY310" fmla="*/ 7293 h 10000"/>
              <a:gd name="connsiteX311" fmla="*/ 226 w 10000"/>
              <a:gd name="connsiteY311" fmla="*/ 7323 h 10000"/>
              <a:gd name="connsiteX312" fmla="*/ 174 w 10000"/>
              <a:gd name="connsiteY312" fmla="*/ 7262 h 10000"/>
              <a:gd name="connsiteX313" fmla="*/ 109 w 10000"/>
              <a:gd name="connsiteY313" fmla="*/ 7354 h 10000"/>
              <a:gd name="connsiteX314" fmla="*/ 152 w 10000"/>
              <a:gd name="connsiteY314" fmla="*/ 7197 h 10000"/>
              <a:gd name="connsiteX315" fmla="*/ 126 w 10000"/>
              <a:gd name="connsiteY31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247 w 10000"/>
              <a:gd name="connsiteY213" fmla="*/ 2402 h 10000"/>
              <a:gd name="connsiteX214" fmla="*/ 9286 w 10000"/>
              <a:gd name="connsiteY214" fmla="*/ 2400 h 10000"/>
              <a:gd name="connsiteX215" fmla="*/ 9355 w 10000"/>
              <a:gd name="connsiteY215" fmla="*/ 2428 h 10000"/>
              <a:gd name="connsiteX216" fmla="*/ 9408 w 10000"/>
              <a:gd name="connsiteY216" fmla="*/ 2359 h 10000"/>
              <a:gd name="connsiteX217" fmla="*/ 9717 w 10000"/>
              <a:gd name="connsiteY217" fmla="*/ 2343 h 10000"/>
              <a:gd name="connsiteX218" fmla="*/ 9830 w 10000"/>
              <a:gd name="connsiteY218" fmla="*/ 2369 h 10000"/>
              <a:gd name="connsiteX219" fmla="*/ 9909 w 10000"/>
              <a:gd name="connsiteY219" fmla="*/ 2410 h 10000"/>
              <a:gd name="connsiteX220" fmla="*/ 9948 w 10000"/>
              <a:gd name="connsiteY220" fmla="*/ 2365 h 10000"/>
              <a:gd name="connsiteX221" fmla="*/ 10000 w 10000"/>
              <a:gd name="connsiteY221" fmla="*/ 2349 h 10000"/>
              <a:gd name="connsiteX222" fmla="*/ 9704 w 10000"/>
              <a:gd name="connsiteY222" fmla="*/ 1992 h 10000"/>
              <a:gd name="connsiteX223" fmla="*/ 9743 w 10000"/>
              <a:gd name="connsiteY223" fmla="*/ 1897 h 10000"/>
              <a:gd name="connsiteX224" fmla="*/ 9830 w 10000"/>
              <a:gd name="connsiteY224" fmla="*/ 1819 h 10000"/>
              <a:gd name="connsiteX225" fmla="*/ 9830 w 10000"/>
              <a:gd name="connsiteY225" fmla="*/ 1699 h 10000"/>
              <a:gd name="connsiteX226" fmla="*/ 9556 w 10000"/>
              <a:gd name="connsiteY226" fmla="*/ 1465 h 10000"/>
              <a:gd name="connsiteX227" fmla="*/ 9512 w 10000"/>
              <a:gd name="connsiteY227" fmla="*/ 1379 h 10000"/>
              <a:gd name="connsiteX228" fmla="*/ 9573 w 10000"/>
              <a:gd name="connsiteY228" fmla="*/ 1271 h 10000"/>
              <a:gd name="connsiteX229" fmla="*/ 9543 w 10000"/>
              <a:gd name="connsiteY229" fmla="*/ 1194 h 10000"/>
              <a:gd name="connsiteX230" fmla="*/ 9486 w 10000"/>
              <a:gd name="connsiteY230" fmla="*/ 1159 h 10000"/>
              <a:gd name="connsiteX231" fmla="*/ 9438 w 10000"/>
              <a:gd name="connsiteY231" fmla="*/ 978 h 10000"/>
              <a:gd name="connsiteX232" fmla="*/ 9495 w 10000"/>
              <a:gd name="connsiteY232" fmla="*/ 831 h 10000"/>
              <a:gd name="connsiteX233" fmla="*/ 9077 w 10000"/>
              <a:gd name="connsiteY233" fmla="*/ 517 h 10000"/>
              <a:gd name="connsiteX234" fmla="*/ 8872 w 10000"/>
              <a:gd name="connsiteY234" fmla="*/ 440 h 10000"/>
              <a:gd name="connsiteX235" fmla="*/ 8493 w 10000"/>
              <a:gd name="connsiteY235" fmla="*/ 389 h 10000"/>
              <a:gd name="connsiteX236" fmla="*/ 7709 w 10000"/>
              <a:gd name="connsiteY236" fmla="*/ 26 h 10000"/>
              <a:gd name="connsiteX237" fmla="*/ 7683 w 10000"/>
              <a:gd name="connsiteY237" fmla="*/ 2 h 10000"/>
              <a:gd name="connsiteX238" fmla="*/ 7417 w 10000"/>
              <a:gd name="connsiteY238" fmla="*/ 0 h 10000"/>
              <a:gd name="connsiteX239" fmla="*/ 7356 w 10000"/>
              <a:gd name="connsiteY239" fmla="*/ 14 h 10000"/>
              <a:gd name="connsiteX240" fmla="*/ 7369 w 10000"/>
              <a:gd name="connsiteY240" fmla="*/ 61 h 10000"/>
              <a:gd name="connsiteX241" fmla="*/ 7422 w 10000"/>
              <a:gd name="connsiteY241" fmla="*/ 86 h 10000"/>
              <a:gd name="connsiteX242" fmla="*/ 7435 w 10000"/>
              <a:gd name="connsiteY242" fmla="*/ 139 h 10000"/>
              <a:gd name="connsiteX243" fmla="*/ 7417 w 10000"/>
              <a:gd name="connsiteY243" fmla="*/ 181 h 10000"/>
              <a:gd name="connsiteX244" fmla="*/ 7369 w 10000"/>
              <a:gd name="connsiteY244" fmla="*/ 208 h 10000"/>
              <a:gd name="connsiteX245" fmla="*/ 7334 w 10000"/>
              <a:gd name="connsiteY245" fmla="*/ 283 h 10000"/>
              <a:gd name="connsiteX246" fmla="*/ 7269 w 10000"/>
              <a:gd name="connsiteY246" fmla="*/ 336 h 10000"/>
              <a:gd name="connsiteX247" fmla="*/ 7282 w 10000"/>
              <a:gd name="connsiteY247" fmla="*/ 387 h 10000"/>
              <a:gd name="connsiteX248" fmla="*/ 7382 w 10000"/>
              <a:gd name="connsiteY248" fmla="*/ 434 h 10000"/>
              <a:gd name="connsiteX249" fmla="*/ 7317 w 10000"/>
              <a:gd name="connsiteY249" fmla="*/ 475 h 10000"/>
              <a:gd name="connsiteX250" fmla="*/ 7221 w 10000"/>
              <a:gd name="connsiteY250" fmla="*/ 485 h 10000"/>
              <a:gd name="connsiteX251" fmla="*/ 6420 w 10000"/>
              <a:gd name="connsiteY251" fmla="*/ 387 h 10000"/>
              <a:gd name="connsiteX252" fmla="*/ 6324 w 10000"/>
              <a:gd name="connsiteY252" fmla="*/ 395 h 10000"/>
              <a:gd name="connsiteX253" fmla="*/ 6267 w 10000"/>
              <a:gd name="connsiteY253" fmla="*/ 414 h 10000"/>
              <a:gd name="connsiteX254" fmla="*/ 6211 w 10000"/>
              <a:gd name="connsiteY254" fmla="*/ 462 h 10000"/>
              <a:gd name="connsiteX255" fmla="*/ 6220 w 10000"/>
              <a:gd name="connsiteY255" fmla="*/ 581 h 10000"/>
              <a:gd name="connsiteX256" fmla="*/ 6132 w 10000"/>
              <a:gd name="connsiteY256" fmla="*/ 735 h 10000"/>
              <a:gd name="connsiteX257" fmla="*/ 6024 w 10000"/>
              <a:gd name="connsiteY257" fmla="*/ 815 h 10000"/>
              <a:gd name="connsiteX258" fmla="*/ 5980 w 10000"/>
              <a:gd name="connsiteY258" fmla="*/ 805 h 10000"/>
              <a:gd name="connsiteX259" fmla="*/ 5880 w 10000"/>
              <a:gd name="connsiteY259" fmla="*/ 739 h 10000"/>
              <a:gd name="connsiteX260" fmla="*/ 5753 w 10000"/>
              <a:gd name="connsiteY260" fmla="*/ 705 h 10000"/>
              <a:gd name="connsiteX261" fmla="*/ 5618 w 10000"/>
              <a:gd name="connsiteY261" fmla="*/ 715 h 10000"/>
              <a:gd name="connsiteX262" fmla="*/ 5301 w 10000"/>
              <a:gd name="connsiteY262" fmla="*/ 866 h 10000"/>
              <a:gd name="connsiteX263" fmla="*/ 5218 w 10000"/>
              <a:gd name="connsiteY263" fmla="*/ 1017 h 10000"/>
              <a:gd name="connsiteX264" fmla="*/ 4978 w 10000"/>
              <a:gd name="connsiteY264" fmla="*/ 1153 h 10000"/>
              <a:gd name="connsiteX265" fmla="*/ 4935 w 10000"/>
              <a:gd name="connsiteY265" fmla="*/ 1222 h 10000"/>
              <a:gd name="connsiteX266" fmla="*/ 5061 w 10000"/>
              <a:gd name="connsiteY266" fmla="*/ 1344 h 10000"/>
              <a:gd name="connsiteX267" fmla="*/ 5074 w 10000"/>
              <a:gd name="connsiteY267" fmla="*/ 1412 h 10000"/>
              <a:gd name="connsiteX268" fmla="*/ 4421 w 10000"/>
              <a:gd name="connsiteY268" fmla="*/ 1813 h 10000"/>
              <a:gd name="connsiteX269" fmla="*/ 4220 w 10000"/>
              <a:gd name="connsiteY269" fmla="*/ 2070 h 10000"/>
              <a:gd name="connsiteX270" fmla="*/ 4003 w 10000"/>
              <a:gd name="connsiteY270" fmla="*/ 2135 h 10000"/>
              <a:gd name="connsiteX271" fmla="*/ 3868 w 10000"/>
              <a:gd name="connsiteY271" fmla="*/ 2131 h 10000"/>
              <a:gd name="connsiteX272" fmla="*/ 3785 w 10000"/>
              <a:gd name="connsiteY272" fmla="*/ 2153 h 10000"/>
              <a:gd name="connsiteX273" fmla="*/ 3558 w 10000"/>
              <a:gd name="connsiteY273" fmla="*/ 2793 h 10000"/>
              <a:gd name="connsiteX274" fmla="*/ 3036 w 10000"/>
              <a:gd name="connsiteY274" fmla="*/ 3166 h 10000"/>
              <a:gd name="connsiteX275" fmla="*/ 3040 w 10000"/>
              <a:gd name="connsiteY275" fmla="*/ 3225 h 10000"/>
              <a:gd name="connsiteX276" fmla="*/ 3271 w 10000"/>
              <a:gd name="connsiteY276" fmla="*/ 3392 h 10000"/>
              <a:gd name="connsiteX277" fmla="*/ 3197 w 10000"/>
              <a:gd name="connsiteY277" fmla="*/ 3573 h 10000"/>
              <a:gd name="connsiteX278" fmla="*/ 3062 w 10000"/>
              <a:gd name="connsiteY278" fmla="*/ 3640 h 10000"/>
              <a:gd name="connsiteX279" fmla="*/ 2657 w 10000"/>
              <a:gd name="connsiteY279" fmla="*/ 3595 h 10000"/>
              <a:gd name="connsiteX280" fmla="*/ 2378 w 10000"/>
              <a:gd name="connsiteY280" fmla="*/ 3620 h 10000"/>
              <a:gd name="connsiteX281" fmla="*/ 2152 w 10000"/>
              <a:gd name="connsiteY281" fmla="*/ 3673 h 10000"/>
              <a:gd name="connsiteX282" fmla="*/ 1790 w 10000"/>
              <a:gd name="connsiteY282" fmla="*/ 3840 h 10000"/>
              <a:gd name="connsiteX283" fmla="*/ 1598 w 10000"/>
              <a:gd name="connsiteY283" fmla="*/ 4042 h 10000"/>
              <a:gd name="connsiteX284" fmla="*/ 1616 w 10000"/>
              <a:gd name="connsiteY284" fmla="*/ 4154 h 10000"/>
              <a:gd name="connsiteX285" fmla="*/ 1681 w 10000"/>
              <a:gd name="connsiteY285" fmla="*/ 4241 h 10000"/>
              <a:gd name="connsiteX286" fmla="*/ 1733 w 10000"/>
              <a:gd name="connsiteY286" fmla="*/ 4276 h 10000"/>
              <a:gd name="connsiteX287" fmla="*/ 1638 w 10000"/>
              <a:gd name="connsiteY287" fmla="*/ 4331 h 10000"/>
              <a:gd name="connsiteX288" fmla="*/ 1433 w 10000"/>
              <a:gd name="connsiteY288" fmla="*/ 4710 h 10000"/>
              <a:gd name="connsiteX289" fmla="*/ 1472 w 10000"/>
              <a:gd name="connsiteY289" fmla="*/ 4732 h 10000"/>
              <a:gd name="connsiteX290" fmla="*/ 1503 w 10000"/>
              <a:gd name="connsiteY290" fmla="*/ 4828 h 10000"/>
              <a:gd name="connsiteX291" fmla="*/ 1407 w 10000"/>
              <a:gd name="connsiteY291" fmla="*/ 5227 h 10000"/>
              <a:gd name="connsiteX292" fmla="*/ 1503 w 10000"/>
              <a:gd name="connsiteY292" fmla="*/ 5329 h 10000"/>
              <a:gd name="connsiteX293" fmla="*/ 1764 w 10000"/>
              <a:gd name="connsiteY293" fmla="*/ 5441 h 10000"/>
              <a:gd name="connsiteX294" fmla="*/ 1777 w 10000"/>
              <a:gd name="connsiteY294" fmla="*/ 5578 h 10000"/>
              <a:gd name="connsiteX295" fmla="*/ 1664 w 10000"/>
              <a:gd name="connsiteY295" fmla="*/ 5690 h 10000"/>
              <a:gd name="connsiteX296" fmla="*/ 1503 w 10000"/>
              <a:gd name="connsiteY296" fmla="*/ 5759 h 10000"/>
              <a:gd name="connsiteX297" fmla="*/ 1289 w 10000"/>
              <a:gd name="connsiteY297" fmla="*/ 5787 h 10000"/>
              <a:gd name="connsiteX298" fmla="*/ 1233 w 10000"/>
              <a:gd name="connsiteY298" fmla="*/ 5826 h 10000"/>
              <a:gd name="connsiteX299" fmla="*/ 1359 w 10000"/>
              <a:gd name="connsiteY299" fmla="*/ 5920 h 10000"/>
              <a:gd name="connsiteX300" fmla="*/ 1429 w 10000"/>
              <a:gd name="connsiteY300" fmla="*/ 6142 h 10000"/>
              <a:gd name="connsiteX301" fmla="*/ 1267 w 10000"/>
              <a:gd name="connsiteY301" fmla="*/ 6333 h 10000"/>
              <a:gd name="connsiteX302" fmla="*/ 1324 w 10000"/>
              <a:gd name="connsiteY302" fmla="*/ 6392 h 10000"/>
              <a:gd name="connsiteX303" fmla="*/ 1272 w 10000"/>
              <a:gd name="connsiteY303" fmla="*/ 6492 h 10000"/>
              <a:gd name="connsiteX304" fmla="*/ 1167 w 10000"/>
              <a:gd name="connsiteY304" fmla="*/ 6561 h 10000"/>
              <a:gd name="connsiteX305" fmla="*/ 758 w 10000"/>
              <a:gd name="connsiteY305" fmla="*/ 6614 h 10000"/>
              <a:gd name="connsiteX306" fmla="*/ 732 w 10000"/>
              <a:gd name="connsiteY306" fmla="*/ 6706 h 10000"/>
              <a:gd name="connsiteX307" fmla="*/ 510 w 10000"/>
              <a:gd name="connsiteY307" fmla="*/ 6843 h 10000"/>
              <a:gd name="connsiteX308" fmla="*/ 540 w 10000"/>
              <a:gd name="connsiteY308" fmla="*/ 7040 h 10000"/>
              <a:gd name="connsiteX309" fmla="*/ 353 w 10000"/>
              <a:gd name="connsiteY309" fmla="*/ 7293 h 10000"/>
              <a:gd name="connsiteX310" fmla="*/ 226 w 10000"/>
              <a:gd name="connsiteY310" fmla="*/ 7323 h 10000"/>
              <a:gd name="connsiteX311" fmla="*/ 174 w 10000"/>
              <a:gd name="connsiteY311" fmla="*/ 7262 h 10000"/>
              <a:gd name="connsiteX312" fmla="*/ 109 w 10000"/>
              <a:gd name="connsiteY312" fmla="*/ 7354 h 10000"/>
              <a:gd name="connsiteX313" fmla="*/ 152 w 10000"/>
              <a:gd name="connsiteY313" fmla="*/ 7197 h 10000"/>
              <a:gd name="connsiteX314" fmla="*/ 126 w 10000"/>
              <a:gd name="connsiteY31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286 w 10000"/>
              <a:gd name="connsiteY213" fmla="*/ 2400 h 10000"/>
              <a:gd name="connsiteX214" fmla="*/ 9355 w 10000"/>
              <a:gd name="connsiteY214" fmla="*/ 2428 h 10000"/>
              <a:gd name="connsiteX215" fmla="*/ 9408 w 10000"/>
              <a:gd name="connsiteY215" fmla="*/ 2359 h 10000"/>
              <a:gd name="connsiteX216" fmla="*/ 9717 w 10000"/>
              <a:gd name="connsiteY216" fmla="*/ 2343 h 10000"/>
              <a:gd name="connsiteX217" fmla="*/ 9830 w 10000"/>
              <a:gd name="connsiteY217" fmla="*/ 2369 h 10000"/>
              <a:gd name="connsiteX218" fmla="*/ 9909 w 10000"/>
              <a:gd name="connsiteY218" fmla="*/ 2410 h 10000"/>
              <a:gd name="connsiteX219" fmla="*/ 9948 w 10000"/>
              <a:gd name="connsiteY219" fmla="*/ 2365 h 10000"/>
              <a:gd name="connsiteX220" fmla="*/ 10000 w 10000"/>
              <a:gd name="connsiteY220" fmla="*/ 2349 h 10000"/>
              <a:gd name="connsiteX221" fmla="*/ 9704 w 10000"/>
              <a:gd name="connsiteY221" fmla="*/ 1992 h 10000"/>
              <a:gd name="connsiteX222" fmla="*/ 9743 w 10000"/>
              <a:gd name="connsiteY222" fmla="*/ 1897 h 10000"/>
              <a:gd name="connsiteX223" fmla="*/ 9830 w 10000"/>
              <a:gd name="connsiteY223" fmla="*/ 1819 h 10000"/>
              <a:gd name="connsiteX224" fmla="*/ 9830 w 10000"/>
              <a:gd name="connsiteY224" fmla="*/ 1699 h 10000"/>
              <a:gd name="connsiteX225" fmla="*/ 9556 w 10000"/>
              <a:gd name="connsiteY225" fmla="*/ 1465 h 10000"/>
              <a:gd name="connsiteX226" fmla="*/ 9512 w 10000"/>
              <a:gd name="connsiteY226" fmla="*/ 1379 h 10000"/>
              <a:gd name="connsiteX227" fmla="*/ 9573 w 10000"/>
              <a:gd name="connsiteY227" fmla="*/ 1271 h 10000"/>
              <a:gd name="connsiteX228" fmla="*/ 9543 w 10000"/>
              <a:gd name="connsiteY228" fmla="*/ 1194 h 10000"/>
              <a:gd name="connsiteX229" fmla="*/ 9486 w 10000"/>
              <a:gd name="connsiteY229" fmla="*/ 1159 h 10000"/>
              <a:gd name="connsiteX230" fmla="*/ 9438 w 10000"/>
              <a:gd name="connsiteY230" fmla="*/ 978 h 10000"/>
              <a:gd name="connsiteX231" fmla="*/ 9495 w 10000"/>
              <a:gd name="connsiteY231" fmla="*/ 831 h 10000"/>
              <a:gd name="connsiteX232" fmla="*/ 9077 w 10000"/>
              <a:gd name="connsiteY232" fmla="*/ 517 h 10000"/>
              <a:gd name="connsiteX233" fmla="*/ 8872 w 10000"/>
              <a:gd name="connsiteY233" fmla="*/ 440 h 10000"/>
              <a:gd name="connsiteX234" fmla="*/ 8493 w 10000"/>
              <a:gd name="connsiteY234" fmla="*/ 389 h 10000"/>
              <a:gd name="connsiteX235" fmla="*/ 7709 w 10000"/>
              <a:gd name="connsiteY235" fmla="*/ 26 h 10000"/>
              <a:gd name="connsiteX236" fmla="*/ 7683 w 10000"/>
              <a:gd name="connsiteY236" fmla="*/ 2 h 10000"/>
              <a:gd name="connsiteX237" fmla="*/ 7417 w 10000"/>
              <a:gd name="connsiteY237" fmla="*/ 0 h 10000"/>
              <a:gd name="connsiteX238" fmla="*/ 7356 w 10000"/>
              <a:gd name="connsiteY238" fmla="*/ 14 h 10000"/>
              <a:gd name="connsiteX239" fmla="*/ 7369 w 10000"/>
              <a:gd name="connsiteY239" fmla="*/ 61 h 10000"/>
              <a:gd name="connsiteX240" fmla="*/ 7422 w 10000"/>
              <a:gd name="connsiteY240" fmla="*/ 86 h 10000"/>
              <a:gd name="connsiteX241" fmla="*/ 7435 w 10000"/>
              <a:gd name="connsiteY241" fmla="*/ 139 h 10000"/>
              <a:gd name="connsiteX242" fmla="*/ 7417 w 10000"/>
              <a:gd name="connsiteY242" fmla="*/ 181 h 10000"/>
              <a:gd name="connsiteX243" fmla="*/ 7369 w 10000"/>
              <a:gd name="connsiteY243" fmla="*/ 208 h 10000"/>
              <a:gd name="connsiteX244" fmla="*/ 7334 w 10000"/>
              <a:gd name="connsiteY244" fmla="*/ 283 h 10000"/>
              <a:gd name="connsiteX245" fmla="*/ 7269 w 10000"/>
              <a:gd name="connsiteY245" fmla="*/ 336 h 10000"/>
              <a:gd name="connsiteX246" fmla="*/ 7282 w 10000"/>
              <a:gd name="connsiteY246" fmla="*/ 387 h 10000"/>
              <a:gd name="connsiteX247" fmla="*/ 7382 w 10000"/>
              <a:gd name="connsiteY247" fmla="*/ 434 h 10000"/>
              <a:gd name="connsiteX248" fmla="*/ 7317 w 10000"/>
              <a:gd name="connsiteY248" fmla="*/ 475 h 10000"/>
              <a:gd name="connsiteX249" fmla="*/ 7221 w 10000"/>
              <a:gd name="connsiteY249" fmla="*/ 485 h 10000"/>
              <a:gd name="connsiteX250" fmla="*/ 6420 w 10000"/>
              <a:gd name="connsiteY250" fmla="*/ 387 h 10000"/>
              <a:gd name="connsiteX251" fmla="*/ 6324 w 10000"/>
              <a:gd name="connsiteY251" fmla="*/ 395 h 10000"/>
              <a:gd name="connsiteX252" fmla="*/ 6267 w 10000"/>
              <a:gd name="connsiteY252" fmla="*/ 414 h 10000"/>
              <a:gd name="connsiteX253" fmla="*/ 6211 w 10000"/>
              <a:gd name="connsiteY253" fmla="*/ 462 h 10000"/>
              <a:gd name="connsiteX254" fmla="*/ 6220 w 10000"/>
              <a:gd name="connsiteY254" fmla="*/ 581 h 10000"/>
              <a:gd name="connsiteX255" fmla="*/ 6132 w 10000"/>
              <a:gd name="connsiteY255" fmla="*/ 735 h 10000"/>
              <a:gd name="connsiteX256" fmla="*/ 6024 w 10000"/>
              <a:gd name="connsiteY256" fmla="*/ 815 h 10000"/>
              <a:gd name="connsiteX257" fmla="*/ 5980 w 10000"/>
              <a:gd name="connsiteY257" fmla="*/ 805 h 10000"/>
              <a:gd name="connsiteX258" fmla="*/ 5880 w 10000"/>
              <a:gd name="connsiteY258" fmla="*/ 739 h 10000"/>
              <a:gd name="connsiteX259" fmla="*/ 5753 w 10000"/>
              <a:gd name="connsiteY259" fmla="*/ 705 h 10000"/>
              <a:gd name="connsiteX260" fmla="*/ 5618 w 10000"/>
              <a:gd name="connsiteY260" fmla="*/ 715 h 10000"/>
              <a:gd name="connsiteX261" fmla="*/ 5301 w 10000"/>
              <a:gd name="connsiteY261" fmla="*/ 866 h 10000"/>
              <a:gd name="connsiteX262" fmla="*/ 5218 w 10000"/>
              <a:gd name="connsiteY262" fmla="*/ 1017 h 10000"/>
              <a:gd name="connsiteX263" fmla="*/ 4978 w 10000"/>
              <a:gd name="connsiteY263" fmla="*/ 1153 h 10000"/>
              <a:gd name="connsiteX264" fmla="*/ 4935 w 10000"/>
              <a:gd name="connsiteY264" fmla="*/ 1222 h 10000"/>
              <a:gd name="connsiteX265" fmla="*/ 5061 w 10000"/>
              <a:gd name="connsiteY265" fmla="*/ 1344 h 10000"/>
              <a:gd name="connsiteX266" fmla="*/ 5074 w 10000"/>
              <a:gd name="connsiteY266" fmla="*/ 1412 h 10000"/>
              <a:gd name="connsiteX267" fmla="*/ 4421 w 10000"/>
              <a:gd name="connsiteY267" fmla="*/ 1813 h 10000"/>
              <a:gd name="connsiteX268" fmla="*/ 4220 w 10000"/>
              <a:gd name="connsiteY268" fmla="*/ 2070 h 10000"/>
              <a:gd name="connsiteX269" fmla="*/ 4003 w 10000"/>
              <a:gd name="connsiteY269" fmla="*/ 2135 h 10000"/>
              <a:gd name="connsiteX270" fmla="*/ 3868 w 10000"/>
              <a:gd name="connsiteY270" fmla="*/ 2131 h 10000"/>
              <a:gd name="connsiteX271" fmla="*/ 3785 w 10000"/>
              <a:gd name="connsiteY271" fmla="*/ 2153 h 10000"/>
              <a:gd name="connsiteX272" fmla="*/ 3558 w 10000"/>
              <a:gd name="connsiteY272" fmla="*/ 2793 h 10000"/>
              <a:gd name="connsiteX273" fmla="*/ 3036 w 10000"/>
              <a:gd name="connsiteY273" fmla="*/ 3166 h 10000"/>
              <a:gd name="connsiteX274" fmla="*/ 3040 w 10000"/>
              <a:gd name="connsiteY274" fmla="*/ 3225 h 10000"/>
              <a:gd name="connsiteX275" fmla="*/ 3271 w 10000"/>
              <a:gd name="connsiteY275" fmla="*/ 3392 h 10000"/>
              <a:gd name="connsiteX276" fmla="*/ 3197 w 10000"/>
              <a:gd name="connsiteY276" fmla="*/ 3573 h 10000"/>
              <a:gd name="connsiteX277" fmla="*/ 3062 w 10000"/>
              <a:gd name="connsiteY277" fmla="*/ 3640 h 10000"/>
              <a:gd name="connsiteX278" fmla="*/ 2657 w 10000"/>
              <a:gd name="connsiteY278" fmla="*/ 3595 h 10000"/>
              <a:gd name="connsiteX279" fmla="*/ 2378 w 10000"/>
              <a:gd name="connsiteY279" fmla="*/ 3620 h 10000"/>
              <a:gd name="connsiteX280" fmla="*/ 2152 w 10000"/>
              <a:gd name="connsiteY280" fmla="*/ 3673 h 10000"/>
              <a:gd name="connsiteX281" fmla="*/ 1790 w 10000"/>
              <a:gd name="connsiteY281" fmla="*/ 3840 h 10000"/>
              <a:gd name="connsiteX282" fmla="*/ 1598 w 10000"/>
              <a:gd name="connsiteY282" fmla="*/ 4042 h 10000"/>
              <a:gd name="connsiteX283" fmla="*/ 1616 w 10000"/>
              <a:gd name="connsiteY283" fmla="*/ 4154 h 10000"/>
              <a:gd name="connsiteX284" fmla="*/ 1681 w 10000"/>
              <a:gd name="connsiteY284" fmla="*/ 4241 h 10000"/>
              <a:gd name="connsiteX285" fmla="*/ 1733 w 10000"/>
              <a:gd name="connsiteY285" fmla="*/ 4276 h 10000"/>
              <a:gd name="connsiteX286" fmla="*/ 1638 w 10000"/>
              <a:gd name="connsiteY286" fmla="*/ 4331 h 10000"/>
              <a:gd name="connsiteX287" fmla="*/ 1433 w 10000"/>
              <a:gd name="connsiteY287" fmla="*/ 4710 h 10000"/>
              <a:gd name="connsiteX288" fmla="*/ 1472 w 10000"/>
              <a:gd name="connsiteY288" fmla="*/ 4732 h 10000"/>
              <a:gd name="connsiteX289" fmla="*/ 1503 w 10000"/>
              <a:gd name="connsiteY289" fmla="*/ 4828 h 10000"/>
              <a:gd name="connsiteX290" fmla="*/ 1407 w 10000"/>
              <a:gd name="connsiteY290" fmla="*/ 5227 h 10000"/>
              <a:gd name="connsiteX291" fmla="*/ 1503 w 10000"/>
              <a:gd name="connsiteY291" fmla="*/ 5329 h 10000"/>
              <a:gd name="connsiteX292" fmla="*/ 1764 w 10000"/>
              <a:gd name="connsiteY292" fmla="*/ 5441 h 10000"/>
              <a:gd name="connsiteX293" fmla="*/ 1777 w 10000"/>
              <a:gd name="connsiteY293" fmla="*/ 5578 h 10000"/>
              <a:gd name="connsiteX294" fmla="*/ 1664 w 10000"/>
              <a:gd name="connsiteY294" fmla="*/ 5690 h 10000"/>
              <a:gd name="connsiteX295" fmla="*/ 1503 w 10000"/>
              <a:gd name="connsiteY295" fmla="*/ 5759 h 10000"/>
              <a:gd name="connsiteX296" fmla="*/ 1289 w 10000"/>
              <a:gd name="connsiteY296" fmla="*/ 5787 h 10000"/>
              <a:gd name="connsiteX297" fmla="*/ 1233 w 10000"/>
              <a:gd name="connsiteY297" fmla="*/ 5826 h 10000"/>
              <a:gd name="connsiteX298" fmla="*/ 1359 w 10000"/>
              <a:gd name="connsiteY298" fmla="*/ 5920 h 10000"/>
              <a:gd name="connsiteX299" fmla="*/ 1429 w 10000"/>
              <a:gd name="connsiteY299" fmla="*/ 6142 h 10000"/>
              <a:gd name="connsiteX300" fmla="*/ 1267 w 10000"/>
              <a:gd name="connsiteY300" fmla="*/ 6333 h 10000"/>
              <a:gd name="connsiteX301" fmla="*/ 1324 w 10000"/>
              <a:gd name="connsiteY301" fmla="*/ 6392 h 10000"/>
              <a:gd name="connsiteX302" fmla="*/ 1272 w 10000"/>
              <a:gd name="connsiteY302" fmla="*/ 6492 h 10000"/>
              <a:gd name="connsiteX303" fmla="*/ 1167 w 10000"/>
              <a:gd name="connsiteY303" fmla="*/ 6561 h 10000"/>
              <a:gd name="connsiteX304" fmla="*/ 758 w 10000"/>
              <a:gd name="connsiteY304" fmla="*/ 6614 h 10000"/>
              <a:gd name="connsiteX305" fmla="*/ 732 w 10000"/>
              <a:gd name="connsiteY305" fmla="*/ 6706 h 10000"/>
              <a:gd name="connsiteX306" fmla="*/ 510 w 10000"/>
              <a:gd name="connsiteY306" fmla="*/ 6843 h 10000"/>
              <a:gd name="connsiteX307" fmla="*/ 540 w 10000"/>
              <a:gd name="connsiteY307" fmla="*/ 7040 h 10000"/>
              <a:gd name="connsiteX308" fmla="*/ 353 w 10000"/>
              <a:gd name="connsiteY308" fmla="*/ 7293 h 10000"/>
              <a:gd name="connsiteX309" fmla="*/ 226 w 10000"/>
              <a:gd name="connsiteY309" fmla="*/ 7323 h 10000"/>
              <a:gd name="connsiteX310" fmla="*/ 174 w 10000"/>
              <a:gd name="connsiteY310" fmla="*/ 7262 h 10000"/>
              <a:gd name="connsiteX311" fmla="*/ 109 w 10000"/>
              <a:gd name="connsiteY311" fmla="*/ 7354 h 10000"/>
              <a:gd name="connsiteX312" fmla="*/ 152 w 10000"/>
              <a:gd name="connsiteY312" fmla="*/ 7197 h 10000"/>
              <a:gd name="connsiteX313" fmla="*/ 126 w 10000"/>
              <a:gd name="connsiteY31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355 w 10000"/>
              <a:gd name="connsiteY213" fmla="*/ 2428 h 10000"/>
              <a:gd name="connsiteX214" fmla="*/ 9408 w 10000"/>
              <a:gd name="connsiteY214" fmla="*/ 2359 h 10000"/>
              <a:gd name="connsiteX215" fmla="*/ 9717 w 10000"/>
              <a:gd name="connsiteY215" fmla="*/ 2343 h 10000"/>
              <a:gd name="connsiteX216" fmla="*/ 9830 w 10000"/>
              <a:gd name="connsiteY216" fmla="*/ 2369 h 10000"/>
              <a:gd name="connsiteX217" fmla="*/ 9909 w 10000"/>
              <a:gd name="connsiteY217" fmla="*/ 2410 h 10000"/>
              <a:gd name="connsiteX218" fmla="*/ 9948 w 10000"/>
              <a:gd name="connsiteY218" fmla="*/ 2365 h 10000"/>
              <a:gd name="connsiteX219" fmla="*/ 10000 w 10000"/>
              <a:gd name="connsiteY219" fmla="*/ 2349 h 10000"/>
              <a:gd name="connsiteX220" fmla="*/ 9704 w 10000"/>
              <a:gd name="connsiteY220" fmla="*/ 1992 h 10000"/>
              <a:gd name="connsiteX221" fmla="*/ 9743 w 10000"/>
              <a:gd name="connsiteY221" fmla="*/ 1897 h 10000"/>
              <a:gd name="connsiteX222" fmla="*/ 9830 w 10000"/>
              <a:gd name="connsiteY222" fmla="*/ 1819 h 10000"/>
              <a:gd name="connsiteX223" fmla="*/ 9830 w 10000"/>
              <a:gd name="connsiteY223" fmla="*/ 1699 h 10000"/>
              <a:gd name="connsiteX224" fmla="*/ 9556 w 10000"/>
              <a:gd name="connsiteY224" fmla="*/ 1465 h 10000"/>
              <a:gd name="connsiteX225" fmla="*/ 9512 w 10000"/>
              <a:gd name="connsiteY225" fmla="*/ 1379 h 10000"/>
              <a:gd name="connsiteX226" fmla="*/ 9573 w 10000"/>
              <a:gd name="connsiteY226" fmla="*/ 1271 h 10000"/>
              <a:gd name="connsiteX227" fmla="*/ 9543 w 10000"/>
              <a:gd name="connsiteY227" fmla="*/ 1194 h 10000"/>
              <a:gd name="connsiteX228" fmla="*/ 9486 w 10000"/>
              <a:gd name="connsiteY228" fmla="*/ 1159 h 10000"/>
              <a:gd name="connsiteX229" fmla="*/ 9438 w 10000"/>
              <a:gd name="connsiteY229" fmla="*/ 978 h 10000"/>
              <a:gd name="connsiteX230" fmla="*/ 9495 w 10000"/>
              <a:gd name="connsiteY230" fmla="*/ 831 h 10000"/>
              <a:gd name="connsiteX231" fmla="*/ 9077 w 10000"/>
              <a:gd name="connsiteY231" fmla="*/ 517 h 10000"/>
              <a:gd name="connsiteX232" fmla="*/ 8872 w 10000"/>
              <a:gd name="connsiteY232" fmla="*/ 440 h 10000"/>
              <a:gd name="connsiteX233" fmla="*/ 8493 w 10000"/>
              <a:gd name="connsiteY233" fmla="*/ 389 h 10000"/>
              <a:gd name="connsiteX234" fmla="*/ 7709 w 10000"/>
              <a:gd name="connsiteY234" fmla="*/ 26 h 10000"/>
              <a:gd name="connsiteX235" fmla="*/ 7683 w 10000"/>
              <a:gd name="connsiteY235" fmla="*/ 2 h 10000"/>
              <a:gd name="connsiteX236" fmla="*/ 7417 w 10000"/>
              <a:gd name="connsiteY236" fmla="*/ 0 h 10000"/>
              <a:gd name="connsiteX237" fmla="*/ 7356 w 10000"/>
              <a:gd name="connsiteY237" fmla="*/ 14 h 10000"/>
              <a:gd name="connsiteX238" fmla="*/ 7369 w 10000"/>
              <a:gd name="connsiteY238" fmla="*/ 61 h 10000"/>
              <a:gd name="connsiteX239" fmla="*/ 7422 w 10000"/>
              <a:gd name="connsiteY239" fmla="*/ 86 h 10000"/>
              <a:gd name="connsiteX240" fmla="*/ 7435 w 10000"/>
              <a:gd name="connsiteY240" fmla="*/ 139 h 10000"/>
              <a:gd name="connsiteX241" fmla="*/ 7417 w 10000"/>
              <a:gd name="connsiteY241" fmla="*/ 181 h 10000"/>
              <a:gd name="connsiteX242" fmla="*/ 7369 w 10000"/>
              <a:gd name="connsiteY242" fmla="*/ 208 h 10000"/>
              <a:gd name="connsiteX243" fmla="*/ 7334 w 10000"/>
              <a:gd name="connsiteY243" fmla="*/ 283 h 10000"/>
              <a:gd name="connsiteX244" fmla="*/ 7269 w 10000"/>
              <a:gd name="connsiteY244" fmla="*/ 336 h 10000"/>
              <a:gd name="connsiteX245" fmla="*/ 7282 w 10000"/>
              <a:gd name="connsiteY245" fmla="*/ 387 h 10000"/>
              <a:gd name="connsiteX246" fmla="*/ 7382 w 10000"/>
              <a:gd name="connsiteY246" fmla="*/ 434 h 10000"/>
              <a:gd name="connsiteX247" fmla="*/ 7317 w 10000"/>
              <a:gd name="connsiteY247" fmla="*/ 475 h 10000"/>
              <a:gd name="connsiteX248" fmla="*/ 7221 w 10000"/>
              <a:gd name="connsiteY248" fmla="*/ 485 h 10000"/>
              <a:gd name="connsiteX249" fmla="*/ 6420 w 10000"/>
              <a:gd name="connsiteY249" fmla="*/ 387 h 10000"/>
              <a:gd name="connsiteX250" fmla="*/ 6324 w 10000"/>
              <a:gd name="connsiteY250" fmla="*/ 395 h 10000"/>
              <a:gd name="connsiteX251" fmla="*/ 6267 w 10000"/>
              <a:gd name="connsiteY251" fmla="*/ 414 h 10000"/>
              <a:gd name="connsiteX252" fmla="*/ 6211 w 10000"/>
              <a:gd name="connsiteY252" fmla="*/ 462 h 10000"/>
              <a:gd name="connsiteX253" fmla="*/ 6220 w 10000"/>
              <a:gd name="connsiteY253" fmla="*/ 581 h 10000"/>
              <a:gd name="connsiteX254" fmla="*/ 6132 w 10000"/>
              <a:gd name="connsiteY254" fmla="*/ 735 h 10000"/>
              <a:gd name="connsiteX255" fmla="*/ 6024 w 10000"/>
              <a:gd name="connsiteY255" fmla="*/ 815 h 10000"/>
              <a:gd name="connsiteX256" fmla="*/ 5980 w 10000"/>
              <a:gd name="connsiteY256" fmla="*/ 805 h 10000"/>
              <a:gd name="connsiteX257" fmla="*/ 5880 w 10000"/>
              <a:gd name="connsiteY257" fmla="*/ 739 h 10000"/>
              <a:gd name="connsiteX258" fmla="*/ 5753 w 10000"/>
              <a:gd name="connsiteY258" fmla="*/ 705 h 10000"/>
              <a:gd name="connsiteX259" fmla="*/ 5618 w 10000"/>
              <a:gd name="connsiteY259" fmla="*/ 715 h 10000"/>
              <a:gd name="connsiteX260" fmla="*/ 5301 w 10000"/>
              <a:gd name="connsiteY260" fmla="*/ 866 h 10000"/>
              <a:gd name="connsiteX261" fmla="*/ 5218 w 10000"/>
              <a:gd name="connsiteY261" fmla="*/ 1017 h 10000"/>
              <a:gd name="connsiteX262" fmla="*/ 4978 w 10000"/>
              <a:gd name="connsiteY262" fmla="*/ 1153 h 10000"/>
              <a:gd name="connsiteX263" fmla="*/ 4935 w 10000"/>
              <a:gd name="connsiteY263" fmla="*/ 1222 h 10000"/>
              <a:gd name="connsiteX264" fmla="*/ 5061 w 10000"/>
              <a:gd name="connsiteY264" fmla="*/ 1344 h 10000"/>
              <a:gd name="connsiteX265" fmla="*/ 5074 w 10000"/>
              <a:gd name="connsiteY265" fmla="*/ 1412 h 10000"/>
              <a:gd name="connsiteX266" fmla="*/ 4421 w 10000"/>
              <a:gd name="connsiteY266" fmla="*/ 1813 h 10000"/>
              <a:gd name="connsiteX267" fmla="*/ 4220 w 10000"/>
              <a:gd name="connsiteY267" fmla="*/ 2070 h 10000"/>
              <a:gd name="connsiteX268" fmla="*/ 4003 w 10000"/>
              <a:gd name="connsiteY268" fmla="*/ 2135 h 10000"/>
              <a:gd name="connsiteX269" fmla="*/ 3868 w 10000"/>
              <a:gd name="connsiteY269" fmla="*/ 2131 h 10000"/>
              <a:gd name="connsiteX270" fmla="*/ 3785 w 10000"/>
              <a:gd name="connsiteY270" fmla="*/ 2153 h 10000"/>
              <a:gd name="connsiteX271" fmla="*/ 3558 w 10000"/>
              <a:gd name="connsiteY271" fmla="*/ 2793 h 10000"/>
              <a:gd name="connsiteX272" fmla="*/ 3036 w 10000"/>
              <a:gd name="connsiteY272" fmla="*/ 3166 h 10000"/>
              <a:gd name="connsiteX273" fmla="*/ 3040 w 10000"/>
              <a:gd name="connsiteY273" fmla="*/ 3225 h 10000"/>
              <a:gd name="connsiteX274" fmla="*/ 3271 w 10000"/>
              <a:gd name="connsiteY274" fmla="*/ 3392 h 10000"/>
              <a:gd name="connsiteX275" fmla="*/ 3197 w 10000"/>
              <a:gd name="connsiteY275" fmla="*/ 3573 h 10000"/>
              <a:gd name="connsiteX276" fmla="*/ 3062 w 10000"/>
              <a:gd name="connsiteY276" fmla="*/ 3640 h 10000"/>
              <a:gd name="connsiteX277" fmla="*/ 2657 w 10000"/>
              <a:gd name="connsiteY277" fmla="*/ 3595 h 10000"/>
              <a:gd name="connsiteX278" fmla="*/ 2378 w 10000"/>
              <a:gd name="connsiteY278" fmla="*/ 3620 h 10000"/>
              <a:gd name="connsiteX279" fmla="*/ 2152 w 10000"/>
              <a:gd name="connsiteY279" fmla="*/ 3673 h 10000"/>
              <a:gd name="connsiteX280" fmla="*/ 1790 w 10000"/>
              <a:gd name="connsiteY280" fmla="*/ 3840 h 10000"/>
              <a:gd name="connsiteX281" fmla="*/ 1598 w 10000"/>
              <a:gd name="connsiteY281" fmla="*/ 4042 h 10000"/>
              <a:gd name="connsiteX282" fmla="*/ 1616 w 10000"/>
              <a:gd name="connsiteY282" fmla="*/ 4154 h 10000"/>
              <a:gd name="connsiteX283" fmla="*/ 1681 w 10000"/>
              <a:gd name="connsiteY283" fmla="*/ 4241 h 10000"/>
              <a:gd name="connsiteX284" fmla="*/ 1733 w 10000"/>
              <a:gd name="connsiteY284" fmla="*/ 4276 h 10000"/>
              <a:gd name="connsiteX285" fmla="*/ 1638 w 10000"/>
              <a:gd name="connsiteY285" fmla="*/ 4331 h 10000"/>
              <a:gd name="connsiteX286" fmla="*/ 1433 w 10000"/>
              <a:gd name="connsiteY286" fmla="*/ 4710 h 10000"/>
              <a:gd name="connsiteX287" fmla="*/ 1472 w 10000"/>
              <a:gd name="connsiteY287" fmla="*/ 4732 h 10000"/>
              <a:gd name="connsiteX288" fmla="*/ 1503 w 10000"/>
              <a:gd name="connsiteY288" fmla="*/ 4828 h 10000"/>
              <a:gd name="connsiteX289" fmla="*/ 1407 w 10000"/>
              <a:gd name="connsiteY289" fmla="*/ 5227 h 10000"/>
              <a:gd name="connsiteX290" fmla="*/ 1503 w 10000"/>
              <a:gd name="connsiteY290" fmla="*/ 5329 h 10000"/>
              <a:gd name="connsiteX291" fmla="*/ 1764 w 10000"/>
              <a:gd name="connsiteY291" fmla="*/ 5441 h 10000"/>
              <a:gd name="connsiteX292" fmla="*/ 1777 w 10000"/>
              <a:gd name="connsiteY292" fmla="*/ 5578 h 10000"/>
              <a:gd name="connsiteX293" fmla="*/ 1664 w 10000"/>
              <a:gd name="connsiteY293" fmla="*/ 5690 h 10000"/>
              <a:gd name="connsiteX294" fmla="*/ 1503 w 10000"/>
              <a:gd name="connsiteY294" fmla="*/ 5759 h 10000"/>
              <a:gd name="connsiteX295" fmla="*/ 1289 w 10000"/>
              <a:gd name="connsiteY295" fmla="*/ 5787 h 10000"/>
              <a:gd name="connsiteX296" fmla="*/ 1233 w 10000"/>
              <a:gd name="connsiteY296" fmla="*/ 5826 h 10000"/>
              <a:gd name="connsiteX297" fmla="*/ 1359 w 10000"/>
              <a:gd name="connsiteY297" fmla="*/ 5920 h 10000"/>
              <a:gd name="connsiteX298" fmla="*/ 1429 w 10000"/>
              <a:gd name="connsiteY298" fmla="*/ 6142 h 10000"/>
              <a:gd name="connsiteX299" fmla="*/ 1267 w 10000"/>
              <a:gd name="connsiteY299" fmla="*/ 6333 h 10000"/>
              <a:gd name="connsiteX300" fmla="*/ 1324 w 10000"/>
              <a:gd name="connsiteY300" fmla="*/ 6392 h 10000"/>
              <a:gd name="connsiteX301" fmla="*/ 1272 w 10000"/>
              <a:gd name="connsiteY301" fmla="*/ 6492 h 10000"/>
              <a:gd name="connsiteX302" fmla="*/ 1167 w 10000"/>
              <a:gd name="connsiteY302" fmla="*/ 6561 h 10000"/>
              <a:gd name="connsiteX303" fmla="*/ 758 w 10000"/>
              <a:gd name="connsiteY303" fmla="*/ 6614 h 10000"/>
              <a:gd name="connsiteX304" fmla="*/ 732 w 10000"/>
              <a:gd name="connsiteY304" fmla="*/ 6706 h 10000"/>
              <a:gd name="connsiteX305" fmla="*/ 510 w 10000"/>
              <a:gd name="connsiteY305" fmla="*/ 6843 h 10000"/>
              <a:gd name="connsiteX306" fmla="*/ 540 w 10000"/>
              <a:gd name="connsiteY306" fmla="*/ 7040 h 10000"/>
              <a:gd name="connsiteX307" fmla="*/ 353 w 10000"/>
              <a:gd name="connsiteY307" fmla="*/ 7293 h 10000"/>
              <a:gd name="connsiteX308" fmla="*/ 226 w 10000"/>
              <a:gd name="connsiteY308" fmla="*/ 7323 h 10000"/>
              <a:gd name="connsiteX309" fmla="*/ 174 w 10000"/>
              <a:gd name="connsiteY309" fmla="*/ 7262 h 10000"/>
              <a:gd name="connsiteX310" fmla="*/ 109 w 10000"/>
              <a:gd name="connsiteY310" fmla="*/ 7354 h 10000"/>
              <a:gd name="connsiteX311" fmla="*/ 152 w 10000"/>
              <a:gd name="connsiteY311" fmla="*/ 7197 h 10000"/>
              <a:gd name="connsiteX312" fmla="*/ 126 w 10000"/>
              <a:gd name="connsiteY31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355 w 10000"/>
              <a:gd name="connsiteY212" fmla="*/ 2428 h 10000"/>
              <a:gd name="connsiteX213" fmla="*/ 9408 w 10000"/>
              <a:gd name="connsiteY213" fmla="*/ 2359 h 10000"/>
              <a:gd name="connsiteX214" fmla="*/ 9717 w 10000"/>
              <a:gd name="connsiteY214" fmla="*/ 2343 h 10000"/>
              <a:gd name="connsiteX215" fmla="*/ 9830 w 10000"/>
              <a:gd name="connsiteY215" fmla="*/ 2369 h 10000"/>
              <a:gd name="connsiteX216" fmla="*/ 9909 w 10000"/>
              <a:gd name="connsiteY216" fmla="*/ 2410 h 10000"/>
              <a:gd name="connsiteX217" fmla="*/ 9948 w 10000"/>
              <a:gd name="connsiteY217" fmla="*/ 2365 h 10000"/>
              <a:gd name="connsiteX218" fmla="*/ 10000 w 10000"/>
              <a:gd name="connsiteY218" fmla="*/ 2349 h 10000"/>
              <a:gd name="connsiteX219" fmla="*/ 9704 w 10000"/>
              <a:gd name="connsiteY219" fmla="*/ 1992 h 10000"/>
              <a:gd name="connsiteX220" fmla="*/ 9743 w 10000"/>
              <a:gd name="connsiteY220" fmla="*/ 1897 h 10000"/>
              <a:gd name="connsiteX221" fmla="*/ 9830 w 10000"/>
              <a:gd name="connsiteY221" fmla="*/ 1819 h 10000"/>
              <a:gd name="connsiteX222" fmla="*/ 9830 w 10000"/>
              <a:gd name="connsiteY222" fmla="*/ 1699 h 10000"/>
              <a:gd name="connsiteX223" fmla="*/ 9556 w 10000"/>
              <a:gd name="connsiteY223" fmla="*/ 1465 h 10000"/>
              <a:gd name="connsiteX224" fmla="*/ 9512 w 10000"/>
              <a:gd name="connsiteY224" fmla="*/ 1379 h 10000"/>
              <a:gd name="connsiteX225" fmla="*/ 9573 w 10000"/>
              <a:gd name="connsiteY225" fmla="*/ 1271 h 10000"/>
              <a:gd name="connsiteX226" fmla="*/ 9543 w 10000"/>
              <a:gd name="connsiteY226" fmla="*/ 1194 h 10000"/>
              <a:gd name="connsiteX227" fmla="*/ 9486 w 10000"/>
              <a:gd name="connsiteY227" fmla="*/ 1159 h 10000"/>
              <a:gd name="connsiteX228" fmla="*/ 9438 w 10000"/>
              <a:gd name="connsiteY228" fmla="*/ 978 h 10000"/>
              <a:gd name="connsiteX229" fmla="*/ 9495 w 10000"/>
              <a:gd name="connsiteY229" fmla="*/ 831 h 10000"/>
              <a:gd name="connsiteX230" fmla="*/ 9077 w 10000"/>
              <a:gd name="connsiteY230" fmla="*/ 517 h 10000"/>
              <a:gd name="connsiteX231" fmla="*/ 8872 w 10000"/>
              <a:gd name="connsiteY231" fmla="*/ 440 h 10000"/>
              <a:gd name="connsiteX232" fmla="*/ 8493 w 10000"/>
              <a:gd name="connsiteY232" fmla="*/ 389 h 10000"/>
              <a:gd name="connsiteX233" fmla="*/ 7709 w 10000"/>
              <a:gd name="connsiteY233" fmla="*/ 26 h 10000"/>
              <a:gd name="connsiteX234" fmla="*/ 7683 w 10000"/>
              <a:gd name="connsiteY234" fmla="*/ 2 h 10000"/>
              <a:gd name="connsiteX235" fmla="*/ 7417 w 10000"/>
              <a:gd name="connsiteY235" fmla="*/ 0 h 10000"/>
              <a:gd name="connsiteX236" fmla="*/ 7356 w 10000"/>
              <a:gd name="connsiteY236" fmla="*/ 14 h 10000"/>
              <a:gd name="connsiteX237" fmla="*/ 7369 w 10000"/>
              <a:gd name="connsiteY237" fmla="*/ 61 h 10000"/>
              <a:gd name="connsiteX238" fmla="*/ 7422 w 10000"/>
              <a:gd name="connsiteY238" fmla="*/ 86 h 10000"/>
              <a:gd name="connsiteX239" fmla="*/ 7435 w 10000"/>
              <a:gd name="connsiteY239" fmla="*/ 139 h 10000"/>
              <a:gd name="connsiteX240" fmla="*/ 7417 w 10000"/>
              <a:gd name="connsiteY240" fmla="*/ 181 h 10000"/>
              <a:gd name="connsiteX241" fmla="*/ 7369 w 10000"/>
              <a:gd name="connsiteY241" fmla="*/ 208 h 10000"/>
              <a:gd name="connsiteX242" fmla="*/ 7334 w 10000"/>
              <a:gd name="connsiteY242" fmla="*/ 283 h 10000"/>
              <a:gd name="connsiteX243" fmla="*/ 7269 w 10000"/>
              <a:gd name="connsiteY243" fmla="*/ 336 h 10000"/>
              <a:gd name="connsiteX244" fmla="*/ 7282 w 10000"/>
              <a:gd name="connsiteY244" fmla="*/ 387 h 10000"/>
              <a:gd name="connsiteX245" fmla="*/ 7382 w 10000"/>
              <a:gd name="connsiteY245" fmla="*/ 434 h 10000"/>
              <a:gd name="connsiteX246" fmla="*/ 7317 w 10000"/>
              <a:gd name="connsiteY246" fmla="*/ 475 h 10000"/>
              <a:gd name="connsiteX247" fmla="*/ 7221 w 10000"/>
              <a:gd name="connsiteY247" fmla="*/ 485 h 10000"/>
              <a:gd name="connsiteX248" fmla="*/ 6420 w 10000"/>
              <a:gd name="connsiteY248" fmla="*/ 387 h 10000"/>
              <a:gd name="connsiteX249" fmla="*/ 6324 w 10000"/>
              <a:gd name="connsiteY249" fmla="*/ 395 h 10000"/>
              <a:gd name="connsiteX250" fmla="*/ 6267 w 10000"/>
              <a:gd name="connsiteY250" fmla="*/ 414 h 10000"/>
              <a:gd name="connsiteX251" fmla="*/ 6211 w 10000"/>
              <a:gd name="connsiteY251" fmla="*/ 462 h 10000"/>
              <a:gd name="connsiteX252" fmla="*/ 6220 w 10000"/>
              <a:gd name="connsiteY252" fmla="*/ 581 h 10000"/>
              <a:gd name="connsiteX253" fmla="*/ 6132 w 10000"/>
              <a:gd name="connsiteY253" fmla="*/ 735 h 10000"/>
              <a:gd name="connsiteX254" fmla="*/ 6024 w 10000"/>
              <a:gd name="connsiteY254" fmla="*/ 815 h 10000"/>
              <a:gd name="connsiteX255" fmla="*/ 5980 w 10000"/>
              <a:gd name="connsiteY255" fmla="*/ 805 h 10000"/>
              <a:gd name="connsiteX256" fmla="*/ 5880 w 10000"/>
              <a:gd name="connsiteY256" fmla="*/ 739 h 10000"/>
              <a:gd name="connsiteX257" fmla="*/ 5753 w 10000"/>
              <a:gd name="connsiteY257" fmla="*/ 705 h 10000"/>
              <a:gd name="connsiteX258" fmla="*/ 5618 w 10000"/>
              <a:gd name="connsiteY258" fmla="*/ 715 h 10000"/>
              <a:gd name="connsiteX259" fmla="*/ 5301 w 10000"/>
              <a:gd name="connsiteY259" fmla="*/ 866 h 10000"/>
              <a:gd name="connsiteX260" fmla="*/ 5218 w 10000"/>
              <a:gd name="connsiteY260" fmla="*/ 1017 h 10000"/>
              <a:gd name="connsiteX261" fmla="*/ 4978 w 10000"/>
              <a:gd name="connsiteY261" fmla="*/ 1153 h 10000"/>
              <a:gd name="connsiteX262" fmla="*/ 4935 w 10000"/>
              <a:gd name="connsiteY262" fmla="*/ 1222 h 10000"/>
              <a:gd name="connsiteX263" fmla="*/ 5061 w 10000"/>
              <a:gd name="connsiteY263" fmla="*/ 1344 h 10000"/>
              <a:gd name="connsiteX264" fmla="*/ 5074 w 10000"/>
              <a:gd name="connsiteY264" fmla="*/ 1412 h 10000"/>
              <a:gd name="connsiteX265" fmla="*/ 4421 w 10000"/>
              <a:gd name="connsiteY265" fmla="*/ 1813 h 10000"/>
              <a:gd name="connsiteX266" fmla="*/ 4220 w 10000"/>
              <a:gd name="connsiteY266" fmla="*/ 2070 h 10000"/>
              <a:gd name="connsiteX267" fmla="*/ 4003 w 10000"/>
              <a:gd name="connsiteY267" fmla="*/ 2135 h 10000"/>
              <a:gd name="connsiteX268" fmla="*/ 3868 w 10000"/>
              <a:gd name="connsiteY268" fmla="*/ 2131 h 10000"/>
              <a:gd name="connsiteX269" fmla="*/ 3785 w 10000"/>
              <a:gd name="connsiteY269" fmla="*/ 2153 h 10000"/>
              <a:gd name="connsiteX270" fmla="*/ 3558 w 10000"/>
              <a:gd name="connsiteY270" fmla="*/ 2793 h 10000"/>
              <a:gd name="connsiteX271" fmla="*/ 3036 w 10000"/>
              <a:gd name="connsiteY271" fmla="*/ 3166 h 10000"/>
              <a:gd name="connsiteX272" fmla="*/ 3040 w 10000"/>
              <a:gd name="connsiteY272" fmla="*/ 3225 h 10000"/>
              <a:gd name="connsiteX273" fmla="*/ 3271 w 10000"/>
              <a:gd name="connsiteY273" fmla="*/ 3392 h 10000"/>
              <a:gd name="connsiteX274" fmla="*/ 3197 w 10000"/>
              <a:gd name="connsiteY274" fmla="*/ 3573 h 10000"/>
              <a:gd name="connsiteX275" fmla="*/ 3062 w 10000"/>
              <a:gd name="connsiteY275" fmla="*/ 3640 h 10000"/>
              <a:gd name="connsiteX276" fmla="*/ 2657 w 10000"/>
              <a:gd name="connsiteY276" fmla="*/ 3595 h 10000"/>
              <a:gd name="connsiteX277" fmla="*/ 2378 w 10000"/>
              <a:gd name="connsiteY277" fmla="*/ 3620 h 10000"/>
              <a:gd name="connsiteX278" fmla="*/ 2152 w 10000"/>
              <a:gd name="connsiteY278" fmla="*/ 3673 h 10000"/>
              <a:gd name="connsiteX279" fmla="*/ 1790 w 10000"/>
              <a:gd name="connsiteY279" fmla="*/ 3840 h 10000"/>
              <a:gd name="connsiteX280" fmla="*/ 1598 w 10000"/>
              <a:gd name="connsiteY280" fmla="*/ 4042 h 10000"/>
              <a:gd name="connsiteX281" fmla="*/ 1616 w 10000"/>
              <a:gd name="connsiteY281" fmla="*/ 4154 h 10000"/>
              <a:gd name="connsiteX282" fmla="*/ 1681 w 10000"/>
              <a:gd name="connsiteY282" fmla="*/ 4241 h 10000"/>
              <a:gd name="connsiteX283" fmla="*/ 1733 w 10000"/>
              <a:gd name="connsiteY283" fmla="*/ 4276 h 10000"/>
              <a:gd name="connsiteX284" fmla="*/ 1638 w 10000"/>
              <a:gd name="connsiteY284" fmla="*/ 4331 h 10000"/>
              <a:gd name="connsiteX285" fmla="*/ 1433 w 10000"/>
              <a:gd name="connsiteY285" fmla="*/ 4710 h 10000"/>
              <a:gd name="connsiteX286" fmla="*/ 1472 w 10000"/>
              <a:gd name="connsiteY286" fmla="*/ 4732 h 10000"/>
              <a:gd name="connsiteX287" fmla="*/ 1503 w 10000"/>
              <a:gd name="connsiteY287" fmla="*/ 4828 h 10000"/>
              <a:gd name="connsiteX288" fmla="*/ 1407 w 10000"/>
              <a:gd name="connsiteY288" fmla="*/ 5227 h 10000"/>
              <a:gd name="connsiteX289" fmla="*/ 1503 w 10000"/>
              <a:gd name="connsiteY289" fmla="*/ 5329 h 10000"/>
              <a:gd name="connsiteX290" fmla="*/ 1764 w 10000"/>
              <a:gd name="connsiteY290" fmla="*/ 5441 h 10000"/>
              <a:gd name="connsiteX291" fmla="*/ 1777 w 10000"/>
              <a:gd name="connsiteY291" fmla="*/ 5578 h 10000"/>
              <a:gd name="connsiteX292" fmla="*/ 1664 w 10000"/>
              <a:gd name="connsiteY292" fmla="*/ 5690 h 10000"/>
              <a:gd name="connsiteX293" fmla="*/ 1503 w 10000"/>
              <a:gd name="connsiteY293" fmla="*/ 5759 h 10000"/>
              <a:gd name="connsiteX294" fmla="*/ 1289 w 10000"/>
              <a:gd name="connsiteY294" fmla="*/ 5787 h 10000"/>
              <a:gd name="connsiteX295" fmla="*/ 1233 w 10000"/>
              <a:gd name="connsiteY295" fmla="*/ 5826 h 10000"/>
              <a:gd name="connsiteX296" fmla="*/ 1359 w 10000"/>
              <a:gd name="connsiteY296" fmla="*/ 5920 h 10000"/>
              <a:gd name="connsiteX297" fmla="*/ 1429 w 10000"/>
              <a:gd name="connsiteY297" fmla="*/ 6142 h 10000"/>
              <a:gd name="connsiteX298" fmla="*/ 1267 w 10000"/>
              <a:gd name="connsiteY298" fmla="*/ 6333 h 10000"/>
              <a:gd name="connsiteX299" fmla="*/ 1324 w 10000"/>
              <a:gd name="connsiteY299" fmla="*/ 6392 h 10000"/>
              <a:gd name="connsiteX300" fmla="*/ 1272 w 10000"/>
              <a:gd name="connsiteY300" fmla="*/ 6492 h 10000"/>
              <a:gd name="connsiteX301" fmla="*/ 1167 w 10000"/>
              <a:gd name="connsiteY301" fmla="*/ 6561 h 10000"/>
              <a:gd name="connsiteX302" fmla="*/ 758 w 10000"/>
              <a:gd name="connsiteY302" fmla="*/ 6614 h 10000"/>
              <a:gd name="connsiteX303" fmla="*/ 732 w 10000"/>
              <a:gd name="connsiteY303" fmla="*/ 6706 h 10000"/>
              <a:gd name="connsiteX304" fmla="*/ 510 w 10000"/>
              <a:gd name="connsiteY304" fmla="*/ 6843 h 10000"/>
              <a:gd name="connsiteX305" fmla="*/ 540 w 10000"/>
              <a:gd name="connsiteY305" fmla="*/ 7040 h 10000"/>
              <a:gd name="connsiteX306" fmla="*/ 353 w 10000"/>
              <a:gd name="connsiteY306" fmla="*/ 7293 h 10000"/>
              <a:gd name="connsiteX307" fmla="*/ 226 w 10000"/>
              <a:gd name="connsiteY307" fmla="*/ 7323 h 10000"/>
              <a:gd name="connsiteX308" fmla="*/ 174 w 10000"/>
              <a:gd name="connsiteY308" fmla="*/ 7262 h 10000"/>
              <a:gd name="connsiteX309" fmla="*/ 109 w 10000"/>
              <a:gd name="connsiteY309" fmla="*/ 7354 h 10000"/>
              <a:gd name="connsiteX310" fmla="*/ 152 w 10000"/>
              <a:gd name="connsiteY310" fmla="*/ 7197 h 10000"/>
              <a:gd name="connsiteX311" fmla="*/ 126 w 10000"/>
              <a:gd name="connsiteY31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9094 w 10000"/>
              <a:gd name="connsiteY210" fmla="*/ 2324 h 10000"/>
              <a:gd name="connsiteX211" fmla="*/ 9355 w 10000"/>
              <a:gd name="connsiteY211" fmla="*/ 2428 h 10000"/>
              <a:gd name="connsiteX212" fmla="*/ 9408 w 10000"/>
              <a:gd name="connsiteY212" fmla="*/ 2359 h 10000"/>
              <a:gd name="connsiteX213" fmla="*/ 9717 w 10000"/>
              <a:gd name="connsiteY213" fmla="*/ 2343 h 10000"/>
              <a:gd name="connsiteX214" fmla="*/ 9830 w 10000"/>
              <a:gd name="connsiteY214" fmla="*/ 2369 h 10000"/>
              <a:gd name="connsiteX215" fmla="*/ 9909 w 10000"/>
              <a:gd name="connsiteY215" fmla="*/ 2410 h 10000"/>
              <a:gd name="connsiteX216" fmla="*/ 9948 w 10000"/>
              <a:gd name="connsiteY216" fmla="*/ 2365 h 10000"/>
              <a:gd name="connsiteX217" fmla="*/ 10000 w 10000"/>
              <a:gd name="connsiteY217" fmla="*/ 2349 h 10000"/>
              <a:gd name="connsiteX218" fmla="*/ 9704 w 10000"/>
              <a:gd name="connsiteY218" fmla="*/ 1992 h 10000"/>
              <a:gd name="connsiteX219" fmla="*/ 9743 w 10000"/>
              <a:gd name="connsiteY219" fmla="*/ 1897 h 10000"/>
              <a:gd name="connsiteX220" fmla="*/ 9830 w 10000"/>
              <a:gd name="connsiteY220" fmla="*/ 1819 h 10000"/>
              <a:gd name="connsiteX221" fmla="*/ 9830 w 10000"/>
              <a:gd name="connsiteY221" fmla="*/ 1699 h 10000"/>
              <a:gd name="connsiteX222" fmla="*/ 9556 w 10000"/>
              <a:gd name="connsiteY222" fmla="*/ 1465 h 10000"/>
              <a:gd name="connsiteX223" fmla="*/ 9512 w 10000"/>
              <a:gd name="connsiteY223" fmla="*/ 1379 h 10000"/>
              <a:gd name="connsiteX224" fmla="*/ 9573 w 10000"/>
              <a:gd name="connsiteY224" fmla="*/ 1271 h 10000"/>
              <a:gd name="connsiteX225" fmla="*/ 9543 w 10000"/>
              <a:gd name="connsiteY225" fmla="*/ 1194 h 10000"/>
              <a:gd name="connsiteX226" fmla="*/ 9486 w 10000"/>
              <a:gd name="connsiteY226" fmla="*/ 1159 h 10000"/>
              <a:gd name="connsiteX227" fmla="*/ 9438 w 10000"/>
              <a:gd name="connsiteY227" fmla="*/ 978 h 10000"/>
              <a:gd name="connsiteX228" fmla="*/ 9495 w 10000"/>
              <a:gd name="connsiteY228" fmla="*/ 831 h 10000"/>
              <a:gd name="connsiteX229" fmla="*/ 9077 w 10000"/>
              <a:gd name="connsiteY229" fmla="*/ 517 h 10000"/>
              <a:gd name="connsiteX230" fmla="*/ 8872 w 10000"/>
              <a:gd name="connsiteY230" fmla="*/ 440 h 10000"/>
              <a:gd name="connsiteX231" fmla="*/ 8493 w 10000"/>
              <a:gd name="connsiteY231" fmla="*/ 389 h 10000"/>
              <a:gd name="connsiteX232" fmla="*/ 7709 w 10000"/>
              <a:gd name="connsiteY232" fmla="*/ 26 h 10000"/>
              <a:gd name="connsiteX233" fmla="*/ 7683 w 10000"/>
              <a:gd name="connsiteY233" fmla="*/ 2 h 10000"/>
              <a:gd name="connsiteX234" fmla="*/ 7417 w 10000"/>
              <a:gd name="connsiteY234" fmla="*/ 0 h 10000"/>
              <a:gd name="connsiteX235" fmla="*/ 7356 w 10000"/>
              <a:gd name="connsiteY235" fmla="*/ 14 h 10000"/>
              <a:gd name="connsiteX236" fmla="*/ 7369 w 10000"/>
              <a:gd name="connsiteY236" fmla="*/ 61 h 10000"/>
              <a:gd name="connsiteX237" fmla="*/ 7422 w 10000"/>
              <a:gd name="connsiteY237" fmla="*/ 86 h 10000"/>
              <a:gd name="connsiteX238" fmla="*/ 7435 w 10000"/>
              <a:gd name="connsiteY238" fmla="*/ 139 h 10000"/>
              <a:gd name="connsiteX239" fmla="*/ 7417 w 10000"/>
              <a:gd name="connsiteY239" fmla="*/ 181 h 10000"/>
              <a:gd name="connsiteX240" fmla="*/ 7369 w 10000"/>
              <a:gd name="connsiteY240" fmla="*/ 208 h 10000"/>
              <a:gd name="connsiteX241" fmla="*/ 7334 w 10000"/>
              <a:gd name="connsiteY241" fmla="*/ 283 h 10000"/>
              <a:gd name="connsiteX242" fmla="*/ 7269 w 10000"/>
              <a:gd name="connsiteY242" fmla="*/ 336 h 10000"/>
              <a:gd name="connsiteX243" fmla="*/ 7282 w 10000"/>
              <a:gd name="connsiteY243" fmla="*/ 387 h 10000"/>
              <a:gd name="connsiteX244" fmla="*/ 7382 w 10000"/>
              <a:gd name="connsiteY244" fmla="*/ 434 h 10000"/>
              <a:gd name="connsiteX245" fmla="*/ 7317 w 10000"/>
              <a:gd name="connsiteY245" fmla="*/ 475 h 10000"/>
              <a:gd name="connsiteX246" fmla="*/ 7221 w 10000"/>
              <a:gd name="connsiteY246" fmla="*/ 485 h 10000"/>
              <a:gd name="connsiteX247" fmla="*/ 6420 w 10000"/>
              <a:gd name="connsiteY247" fmla="*/ 387 h 10000"/>
              <a:gd name="connsiteX248" fmla="*/ 6324 w 10000"/>
              <a:gd name="connsiteY248" fmla="*/ 395 h 10000"/>
              <a:gd name="connsiteX249" fmla="*/ 6267 w 10000"/>
              <a:gd name="connsiteY249" fmla="*/ 414 h 10000"/>
              <a:gd name="connsiteX250" fmla="*/ 6211 w 10000"/>
              <a:gd name="connsiteY250" fmla="*/ 462 h 10000"/>
              <a:gd name="connsiteX251" fmla="*/ 6220 w 10000"/>
              <a:gd name="connsiteY251" fmla="*/ 581 h 10000"/>
              <a:gd name="connsiteX252" fmla="*/ 6132 w 10000"/>
              <a:gd name="connsiteY252" fmla="*/ 735 h 10000"/>
              <a:gd name="connsiteX253" fmla="*/ 6024 w 10000"/>
              <a:gd name="connsiteY253" fmla="*/ 815 h 10000"/>
              <a:gd name="connsiteX254" fmla="*/ 5980 w 10000"/>
              <a:gd name="connsiteY254" fmla="*/ 805 h 10000"/>
              <a:gd name="connsiteX255" fmla="*/ 5880 w 10000"/>
              <a:gd name="connsiteY255" fmla="*/ 739 h 10000"/>
              <a:gd name="connsiteX256" fmla="*/ 5753 w 10000"/>
              <a:gd name="connsiteY256" fmla="*/ 705 h 10000"/>
              <a:gd name="connsiteX257" fmla="*/ 5618 w 10000"/>
              <a:gd name="connsiteY257" fmla="*/ 715 h 10000"/>
              <a:gd name="connsiteX258" fmla="*/ 5301 w 10000"/>
              <a:gd name="connsiteY258" fmla="*/ 866 h 10000"/>
              <a:gd name="connsiteX259" fmla="*/ 5218 w 10000"/>
              <a:gd name="connsiteY259" fmla="*/ 1017 h 10000"/>
              <a:gd name="connsiteX260" fmla="*/ 4978 w 10000"/>
              <a:gd name="connsiteY260" fmla="*/ 1153 h 10000"/>
              <a:gd name="connsiteX261" fmla="*/ 4935 w 10000"/>
              <a:gd name="connsiteY261" fmla="*/ 1222 h 10000"/>
              <a:gd name="connsiteX262" fmla="*/ 5061 w 10000"/>
              <a:gd name="connsiteY262" fmla="*/ 1344 h 10000"/>
              <a:gd name="connsiteX263" fmla="*/ 5074 w 10000"/>
              <a:gd name="connsiteY263" fmla="*/ 1412 h 10000"/>
              <a:gd name="connsiteX264" fmla="*/ 4421 w 10000"/>
              <a:gd name="connsiteY264" fmla="*/ 1813 h 10000"/>
              <a:gd name="connsiteX265" fmla="*/ 4220 w 10000"/>
              <a:gd name="connsiteY265" fmla="*/ 2070 h 10000"/>
              <a:gd name="connsiteX266" fmla="*/ 4003 w 10000"/>
              <a:gd name="connsiteY266" fmla="*/ 2135 h 10000"/>
              <a:gd name="connsiteX267" fmla="*/ 3868 w 10000"/>
              <a:gd name="connsiteY267" fmla="*/ 2131 h 10000"/>
              <a:gd name="connsiteX268" fmla="*/ 3785 w 10000"/>
              <a:gd name="connsiteY268" fmla="*/ 2153 h 10000"/>
              <a:gd name="connsiteX269" fmla="*/ 3558 w 10000"/>
              <a:gd name="connsiteY269" fmla="*/ 2793 h 10000"/>
              <a:gd name="connsiteX270" fmla="*/ 3036 w 10000"/>
              <a:gd name="connsiteY270" fmla="*/ 3166 h 10000"/>
              <a:gd name="connsiteX271" fmla="*/ 3040 w 10000"/>
              <a:gd name="connsiteY271" fmla="*/ 3225 h 10000"/>
              <a:gd name="connsiteX272" fmla="*/ 3271 w 10000"/>
              <a:gd name="connsiteY272" fmla="*/ 3392 h 10000"/>
              <a:gd name="connsiteX273" fmla="*/ 3197 w 10000"/>
              <a:gd name="connsiteY273" fmla="*/ 3573 h 10000"/>
              <a:gd name="connsiteX274" fmla="*/ 3062 w 10000"/>
              <a:gd name="connsiteY274" fmla="*/ 3640 h 10000"/>
              <a:gd name="connsiteX275" fmla="*/ 2657 w 10000"/>
              <a:gd name="connsiteY275" fmla="*/ 3595 h 10000"/>
              <a:gd name="connsiteX276" fmla="*/ 2378 w 10000"/>
              <a:gd name="connsiteY276" fmla="*/ 3620 h 10000"/>
              <a:gd name="connsiteX277" fmla="*/ 2152 w 10000"/>
              <a:gd name="connsiteY277" fmla="*/ 3673 h 10000"/>
              <a:gd name="connsiteX278" fmla="*/ 1790 w 10000"/>
              <a:gd name="connsiteY278" fmla="*/ 3840 h 10000"/>
              <a:gd name="connsiteX279" fmla="*/ 1598 w 10000"/>
              <a:gd name="connsiteY279" fmla="*/ 4042 h 10000"/>
              <a:gd name="connsiteX280" fmla="*/ 1616 w 10000"/>
              <a:gd name="connsiteY280" fmla="*/ 4154 h 10000"/>
              <a:gd name="connsiteX281" fmla="*/ 1681 w 10000"/>
              <a:gd name="connsiteY281" fmla="*/ 4241 h 10000"/>
              <a:gd name="connsiteX282" fmla="*/ 1733 w 10000"/>
              <a:gd name="connsiteY282" fmla="*/ 4276 h 10000"/>
              <a:gd name="connsiteX283" fmla="*/ 1638 w 10000"/>
              <a:gd name="connsiteY283" fmla="*/ 4331 h 10000"/>
              <a:gd name="connsiteX284" fmla="*/ 1433 w 10000"/>
              <a:gd name="connsiteY284" fmla="*/ 4710 h 10000"/>
              <a:gd name="connsiteX285" fmla="*/ 1472 w 10000"/>
              <a:gd name="connsiteY285" fmla="*/ 4732 h 10000"/>
              <a:gd name="connsiteX286" fmla="*/ 1503 w 10000"/>
              <a:gd name="connsiteY286" fmla="*/ 4828 h 10000"/>
              <a:gd name="connsiteX287" fmla="*/ 1407 w 10000"/>
              <a:gd name="connsiteY287" fmla="*/ 5227 h 10000"/>
              <a:gd name="connsiteX288" fmla="*/ 1503 w 10000"/>
              <a:gd name="connsiteY288" fmla="*/ 5329 h 10000"/>
              <a:gd name="connsiteX289" fmla="*/ 1764 w 10000"/>
              <a:gd name="connsiteY289" fmla="*/ 5441 h 10000"/>
              <a:gd name="connsiteX290" fmla="*/ 1777 w 10000"/>
              <a:gd name="connsiteY290" fmla="*/ 5578 h 10000"/>
              <a:gd name="connsiteX291" fmla="*/ 1664 w 10000"/>
              <a:gd name="connsiteY291" fmla="*/ 5690 h 10000"/>
              <a:gd name="connsiteX292" fmla="*/ 1503 w 10000"/>
              <a:gd name="connsiteY292" fmla="*/ 5759 h 10000"/>
              <a:gd name="connsiteX293" fmla="*/ 1289 w 10000"/>
              <a:gd name="connsiteY293" fmla="*/ 5787 h 10000"/>
              <a:gd name="connsiteX294" fmla="*/ 1233 w 10000"/>
              <a:gd name="connsiteY294" fmla="*/ 5826 h 10000"/>
              <a:gd name="connsiteX295" fmla="*/ 1359 w 10000"/>
              <a:gd name="connsiteY295" fmla="*/ 5920 h 10000"/>
              <a:gd name="connsiteX296" fmla="*/ 1429 w 10000"/>
              <a:gd name="connsiteY296" fmla="*/ 6142 h 10000"/>
              <a:gd name="connsiteX297" fmla="*/ 1267 w 10000"/>
              <a:gd name="connsiteY297" fmla="*/ 6333 h 10000"/>
              <a:gd name="connsiteX298" fmla="*/ 1324 w 10000"/>
              <a:gd name="connsiteY298" fmla="*/ 6392 h 10000"/>
              <a:gd name="connsiteX299" fmla="*/ 1272 w 10000"/>
              <a:gd name="connsiteY299" fmla="*/ 6492 h 10000"/>
              <a:gd name="connsiteX300" fmla="*/ 1167 w 10000"/>
              <a:gd name="connsiteY300" fmla="*/ 6561 h 10000"/>
              <a:gd name="connsiteX301" fmla="*/ 758 w 10000"/>
              <a:gd name="connsiteY301" fmla="*/ 6614 h 10000"/>
              <a:gd name="connsiteX302" fmla="*/ 732 w 10000"/>
              <a:gd name="connsiteY302" fmla="*/ 6706 h 10000"/>
              <a:gd name="connsiteX303" fmla="*/ 510 w 10000"/>
              <a:gd name="connsiteY303" fmla="*/ 6843 h 10000"/>
              <a:gd name="connsiteX304" fmla="*/ 540 w 10000"/>
              <a:gd name="connsiteY304" fmla="*/ 7040 h 10000"/>
              <a:gd name="connsiteX305" fmla="*/ 353 w 10000"/>
              <a:gd name="connsiteY305" fmla="*/ 7293 h 10000"/>
              <a:gd name="connsiteX306" fmla="*/ 226 w 10000"/>
              <a:gd name="connsiteY306" fmla="*/ 7323 h 10000"/>
              <a:gd name="connsiteX307" fmla="*/ 174 w 10000"/>
              <a:gd name="connsiteY307" fmla="*/ 7262 h 10000"/>
              <a:gd name="connsiteX308" fmla="*/ 109 w 10000"/>
              <a:gd name="connsiteY308" fmla="*/ 7354 h 10000"/>
              <a:gd name="connsiteX309" fmla="*/ 152 w 10000"/>
              <a:gd name="connsiteY309" fmla="*/ 7197 h 10000"/>
              <a:gd name="connsiteX310" fmla="*/ 126 w 10000"/>
              <a:gd name="connsiteY31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9094 w 10000"/>
              <a:gd name="connsiteY209" fmla="*/ 2324 h 10000"/>
              <a:gd name="connsiteX210" fmla="*/ 9355 w 10000"/>
              <a:gd name="connsiteY210" fmla="*/ 2428 h 10000"/>
              <a:gd name="connsiteX211" fmla="*/ 9408 w 10000"/>
              <a:gd name="connsiteY211" fmla="*/ 2359 h 10000"/>
              <a:gd name="connsiteX212" fmla="*/ 9717 w 10000"/>
              <a:gd name="connsiteY212" fmla="*/ 2343 h 10000"/>
              <a:gd name="connsiteX213" fmla="*/ 9830 w 10000"/>
              <a:gd name="connsiteY213" fmla="*/ 2369 h 10000"/>
              <a:gd name="connsiteX214" fmla="*/ 9909 w 10000"/>
              <a:gd name="connsiteY214" fmla="*/ 2410 h 10000"/>
              <a:gd name="connsiteX215" fmla="*/ 9948 w 10000"/>
              <a:gd name="connsiteY215" fmla="*/ 2365 h 10000"/>
              <a:gd name="connsiteX216" fmla="*/ 10000 w 10000"/>
              <a:gd name="connsiteY216" fmla="*/ 2349 h 10000"/>
              <a:gd name="connsiteX217" fmla="*/ 9704 w 10000"/>
              <a:gd name="connsiteY217" fmla="*/ 1992 h 10000"/>
              <a:gd name="connsiteX218" fmla="*/ 9743 w 10000"/>
              <a:gd name="connsiteY218" fmla="*/ 1897 h 10000"/>
              <a:gd name="connsiteX219" fmla="*/ 9830 w 10000"/>
              <a:gd name="connsiteY219" fmla="*/ 1819 h 10000"/>
              <a:gd name="connsiteX220" fmla="*/ 9830 w 10000"/>
              <a:gd name="connsiteY220" fmla="*/ 1699 h 10000"/>
              <a:gd name="connsiteX221" fmla="*/ 9556 w 10000"/>
              <a:gd name="connsiteY221" fmla="*/ 1465 h 10000"/>
              <a:gd name="connsiteX222" fmla="*/ 9512 w 10000"/>
              <a:gd name="connsiteY222" fmla="*/ 1379 h 10000"/>
              <a:gd name="connsiteX223" fmla="*/ 9573 w 10000"/>
              <a:gd name="connsiteY223" fmla="*/ 1271 h 10000"/>
              <a:gd name="connsiteX224" fmla="*/ 9543 w 10000"/>
              <a:gd name="connsiteY224" fmla="*/ 1194 h 10000"/>
              <a:gd name="connsiteX225" fmla="*/ 9486 w 10000"/>
              <a:gd name="connsiteY225" fmla="*/ 1159 h 10000"/>
              <a:gd name="connsiteX226" fmla="*/ 9438 w 10000"/>
              <a:gd name="connsiteY226" fmla="*/ 978 h 10000"/>
              <a:gd name="connsiteX227" fmla="*/ 9495 w 10000"/>
              <a:gd name="connsiteY227" fmla="*/ 831 h 10000"/>
              <a:gd name="connsiteX228" fmla="*/ 9077 w 10000"/>
              <a:gd name="connsiteY228" fmla="*/ 517 h 10000"/>
              <a:gd name="connsiteX229" fmla="*/ 8872 w 10000"/>
              <a:gd name="connsiteY229" fmla="*/ 440 h 10000"/>
              <a:gd name="connsiteX230" fmla="*/ 8493 w 10000"/>
              <a:gd name="connsiteY230" fmla="*/ 389 h 10000"/>
              <a:gd name="connsiteX231" fmla="*/ 7709 w 10000"/>
              <a:gd name="connsiteY231" fmla="*/ 26 h 10000"/>
              <a:gd name="connsiteX232" fmla="*/ 7683 w 10000"/>
              <a:gd name="connsiteY232" fmla="*/ 2 h 10000"/>
              <a:gd name="connsiteX233" fmla="*/ 7417 w 10000"/>
              <a:gd name="connsiteY233" fmla="*/ 0 h 10000"/>
              <a:gd name="connsiteX234" fmla="*/ 7356 w 10000"/>
              <a:gd name="connsiteY234" fmla="*/ 14 h 10000"/>
              <a:gd name="connsiteX235" fmla="*/ 7369 w 10000"/>
              <a:gd name="connsiteY235" fmla="*/ 61 h 10000"/>
              <a:gd name="connsiteX236" fmla="*/ 7422 w 10000"/>
              <a:gd name="connsiteY236" fmla="*/ 86 h 10000"/>
              <a:gd name="connsiteX237" fmla="*/ 7435 w 10000"/>
              <a:gd name="connsiteY237" fmla="*/ 139 h 10000"/>
              <a:gd name="connsiteX238" fmla="*/ 7417 w 10000"/>
              <a:gd name="connsiteY238" fmla="*/ 181 h 10000"/>
              <a:gd name="connsiteX239" fmla="*/ 7369 w 10000"/>
              <a:gd name="connsiteY239" fmla="*/ 208 h 10000"/>
              <a:gd name="connsiteX240" fmla="*/ 7334 w 10000"/>
              <a:gd name="connsiteY240" fmla="*/ 283 h 10000"/>
              <a:gd name="connsiteX241" fmla="*/ 7269 w 10000"/>
              <a:gd name="connsiteY241" fmla="*/ 336 h 10000"/>
              <a:gd name="connsiteX242" fmla="*/ 7282 w 10000"/>
              <a:gd name="connsiteY242" fmla="*/ 387 h 10000"/>
              <a:gd name="connsiteX243" fmla="*/ 7382 w 10000"/>
              <a:gd name="connsiteY243" fmla="*/ 434 h 10000"/>
              <a:gd name="connsiteX244" fmla="*/ 7317 w 10000"/>
              <a:gd name="connsiteY244" fmla="*/ 475 h 10000"/>
              <a:gd name="connsiteX245" fmla="*/ 7221 w 10000"/>
              <a:gd name="connsiteY245" fmla="*/ 485 h 10000"/>
              <a:gd name="connsiteX246" fmla="*/ 6420 w 10000"/>
              <a:gd name="connsiteY246" fmla="*/ 387 h 10000"/>
              <a:gd name="connsiteX247" fmla="*/ 6324 w 10000"/>
              <a:gd name="connsiteY247" fmla="*/ 395 h 10000"/>
              <a:gd name="connsiteX248" fmla="*/ 6267 w 10000"/>
              <a:gd name="connsiteY248" fmla="*/ 414 h 10000"/>
              <a:gd name="connsiteX249" fmla="*/ 6211 w 10000"/>
              <a:gd name="connsiteY249" fmla="*/ 462 h 10000"/>
              <a:gd name="connsiteX250" fmla="*/ 6220 w 10000"/>
              <a:gd name="connsiteY250" fmla="*/ 581 h 10000"/>
              <a:gd name="connsiteX251" fmla="*/ 6132 w 10000"/>
              <a:gd name="connsiteY251" fmla="*/ 735 h 10000"/>
              <a:gd name="connsiteX252" fmla="*/ 6024 w 10000"/>
              <a:gd name="connsiteY252" fmla="*/ 815 h 10000"/>
              <a:gd name="connsiteX253" fmla="*/ 5980 w 10000"/>
              <a:gd name="connsiteY253" fmla="*/ 805 h 10000"/>
              <a:gd name="connsiteX254" fmla="*/ 5880 w 10000"/>
              <a:gd name="connsiteY254" fmla="*/ 739 h 10000"/>
              <a:gd name="connsiteX255" fmla="*/ 5753 w 10000"/>
              <a:gd name="connsiteY255" fmla="*/ 705 h 10000"/>
              <a:gd name="connsiteX256" fmla="*/ 5618 w 10000"/>
              <a:gd name="connsiteY256" fmla="*/ 715 h 10000"/>
              <a:gd name="connsiteX257" fmla="*/ 5301 w 10000"/>
              <a:gd name="connsiteY257" fmla="*/ 866 h 10000"/>
              <a:gd name="connsiteX258" fmla="*/ 5218 w 10000"/>
              <a:gd name="connsiteY258" fmla="*/ 1017 h 10000"/>
              <a:gd name="connsiteX259" fmla="*/ 4978 w 10000"/>
              <a:gd name="connsiteY259" fmla="*/ 1153 h 10000"/>
              <a:gd name="connsiteX260" fmla="*/ 4935 w 10000"/>
              <a:gd name="connsiteY260" fmla="*/ 1222 h 10000"/>
              <a:gd name="connsiteX261" fmla="*/ 5061 w 10000"/>
              <a:gd name="connsiteY261" fmla="*/ 1344 h 10000"/>
              <a:gd name="connsiteX262" fmla="*/ 5074 w 10000"/>
              <a:gd name="connsiteY262" fmla="*/ 1412 h 10000"/>
              <a:gd name="connsiteX263" fmla="*/ 4421 w 10000"/>
              <a:gd name="connsiteY263" fmla="*/ 1813 h 10000"/>
              <a:gd name="connsiteX264" fmla="*/ 4220 w 10000"/>
              <a:gd name="connsiteY264" fmla="*/ 2070 h 10000"/>
              <a:gd name="connsiteX265" fmla="*/ 4003 w 10000"/>
              <a:gd name="connsiteY265" fmla="*/ 2135 h 10000"/>
              <a:gd name="connsiteX266" fmla="*/ 3868 w 10000"/>
              <a:gd name="connsiteY266" fmla="*/ 2131 h 10000"/>
              <a:gd name="connsiteX267" fmla="*/ 3785 w 10000"/>
              <a:gd name="connsiteY267" fmla="*/ 2153 h 10000"/>
              <a:gd name="connsiteX268" fmla="*/ 3558 w 10000"/>
              <a:gd name="connsiteY268" fmla="*/ 2793 h 10000"/>
              <a:gd name="connsiteX269" fmla="*/ 3036 w 10000"/>
              <a:gd name="connsiteY269" fmla="*/ 3166 h 10000"/>
              <a:gd name="connsiteX270" fmla="*/ 3040 w 10000"/>
              <a:gd name="connsiteY270" fmla="*/ 3225 h 10000"/>
              <a:gd name="connsiteX271" fmla="*/ 3271 w 10000"/>
              <a:gd name="connsiteY271" fmla="*/ 3392 h 10000"/>
              <a:gd name="connsiteX272" fmla="*/ 3197 w 10000"/>
              <a:gd name="connsiteY272" fmla="*/ 3573 h 10000"/>
              <a:gd name="connsiteX273" fmla="*/ 3062 w 10000"/>
              <a:gd name="connsiteY273" fmla="*/ 3640 h 10000"/>
              <a:gd name="connsiteX274" fmla="*/ 2657 w 10000"/>
              <a:gd name="connsiteY274" fmla="*/ 3595 h 10000"/>
              <a:gd name="connsiteX275" fmla="*/ 2378 w 10000"/>
              <a:gd name="connsiteY275" fmla="*/ 3620 h 10000"/>
              <a:gd name="connsiteX276" fmla="*/ 2152 w 10000"/>
              <a:gd name="connsiteY276" fmla="*/ 3673 h 10000"/>
              <a:gd name="connsiteX277" fmla="*/ 1790 w 10000"/>
              <a:gd name="connsiteY277" fmla="*/ 3840 h 10000"/>
              <a:gd name="connsiteX278" fmla="*/ 1598 w 10000"/>
              <a:gd name="connsiteY278" fmla="*/ 4042 h 10000"/>
              <a:gd name="connsiteX279" fmla="*/ 1616 w 10000"/>
              <a:gd name="connsiteY279" fmla="*/ 4154 h 10000"/>
              <a:gd name="connsiteX280" fmla="*/ 1681 w 10000"/>
              <a:gd name="connsiteY280" fmla="*/ 4241 h 10000"/>
              <a:gd name="connsiteX281" fmla="*/ 1733 w 10000"/>
              <a:gd name="connsiteY281" fmla="*/ 4276 h 10000"/>
              <a:gd name="connsiteX282" fmla="*/ 1638 w 10000"/>
              <a:gd name="connsiteY282" fmla="*/ 4331 h 10000"/>
              <a:gd name="connsiteX283" fmla="*/ 1433 w 10000"/>
              <a:gd name="connsiteY283" fmla="*/ 4710 h 10000"/>
              <a:gd name="connsiteX284" fmla="*/ 1472 w 10000"/>
              <a:gd name="connsiteY284" fmla="*/ 4732 h 10000"/>
              <a:gd name="connsiteX285" fmla="*/ 1503 w 10000"/>
              <a:gd name="connsiteY285" fmla="*/ 4828 h 10000"/>
              <a:gd name="connsiteX286" fmla="*/ 1407 w 10000"/>
              <a:gd name="connsiteY286" fmla="*/ 5227 h 10000"/>
              <a:gd name="connsiteX287" fmla="*/ 1503 w 10000"/>
              <a:gd name="connsiteY287" fmla="*/ 5329 h 10000"/>
              <a:gd name="connsiteX288" fmla="*/ 1764 w 10000"/>
              <a:gd name="connsiteY288" fmla="*/ 5441 h 10000"/>
              <a:gd name="connsiteX289" fmla="*/ 1777 w 10000"/>
              <a:gd name="connsiteY289" fmla="*/ 5578 h 10000"/>
              <a:gd name="connsiteX290" fmla="*/ 1664 w 10000"/>
              <a:gd name="connsiteY290" fmla="*/ 5690 h 10000"/>
              <a:gd name="connsiteX291" fmla="*/ 1503 w 10000"/>
              <a:gd name="connsiteY291" fmla="*/ 5759 h 10000"/>
              <a:gd name="connsiteX292" fmla="*/ 1289 w 10000"/>
              <a:gd name="connsiteY292" fmla="*/ 5787 h 10000"/>
              <a:gd name="connsiteX293" fmla="*/ 1233 w 10000"/>
              <a:gd name="connsiteY293" fmla="*/ 5826 h 10000"/>
              <a:gd name="connsiteX294" fmla="*/ 1359 w 10000"/>
              <a:gd name="connsiteY294" fmla="*/ 5920 h 10000"/>
              <a:gd name="connsiteX295" fmla="*/ 1429 w 10000"/>
              <a:gd name="connsiteY295" fmla="*/ 6142 h 10000"/>
              <a:gd name="connsiteX296" fmla="*/ 1267 w 10000"/>
              <a:gd name="connsiteY296" fmla="*/ 6333 h 10000"/>
              <a:gd name="connsiteX297" fmla="*/ 1324 w 10000"/>
              <a:gd name="connsiteY297" fmla="*/ 6392 h 10000"/>
              <a:gd name="connsiteX298" fmla="*/ 1272 w 10000"/>
              <a:gd name="connsiteY298" fmla="*/ 6492 h 10000"/>
              <a:gd name="connsiteX299" fmla="*/ 1167 w 10000"/>
              <a:gd name="connsiteY299" fmla="*/ 6561 h 10000"/>
              <a:gd name="connsiteX300" fmla="*/ 758 w 10000"/>
              <a:gd name="connsiteY300" fmla="*/ 6614 h 10000"/>
              <a:gd name="connsiteX301" fmla="*/ 732 w 10000"/>
              <a:gd name="connsiteY301" fmla="*/ 6706 h 10000"/>
              <a:gd name="connsiteX302" fmla="*/ 510 w 10000"/>
              <a:gd name="connsiteY302" fmla="*/ 6843 h 10000"/>
              <a:gd name="connsiteX303" fmla="*/ 540 w 10000"/>
              <a:gd name="connsiteY303" fmla="*/ 7040 h 10000"/>
              <a:gd name="connsiteX304" fmla="*/ 353 w 10000"/>
              <a:gd name="connsiteY304" fmla="*/ 7293 h 10000"/>
              <a:gd name="connsiteX305" fmla="*/ 226 w 10000"/>
              <a:gd name="connsiteY305" fmla="*/ 7323 h 10000"/>
              <a:gd name="connsiteX306" fmla="*/ 174 w 10000"/>
              <a:gd name="connsiteY306" fmla="*/ 7262 h 10000"/>
              <a:gd name="connsiteX307" fmla="*/ 109 w 10000"/>
              <a:gd name="connsiteY307" fmla="*/ 7354 h 10000"/>
              <a:gd name="connsiteX308" fmla="*/ 152 w 10000"/>
              <a:gd name="connsiteY308" fmla="*/ 7197 h 10000"/>
              <a:gd name="connsiteX309" fmla="*/ 126 w 10000"/>
              <a:gd name="connsiteY30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9355 w 10000"/>
              <a:gd name="connsiteY209" fmla="*/ 2428 h 10000"/>
              <a:gd name="connsiteX210" fmla="*/ 9408 w 10000"/>
              <a:gd name="connsiteY210" fmla="*/ 2359 h 10000"/>
              <a:gd name="connsiteX211" fmla="*/ 9717 w 10000"/>
              <a:gd name="connsiteY211" fmla="*/ 2343 h 10000"/>
              <a:gd name="connsiteX212" fmla="*/ 9830 w 10000"/>
              <a:gd name="connsiteY212" fmla="*/ 2369 h 10000"/>
              <a:gd name="connsiteX213" fmla="*/ 9909 w 10000"/>
              <a:gd name="connsiteY213" fmla="*/ 2410 h 10000"/>
              <a:gd name="connsiteX214" fmla="*/ 9948 w 10000"/>
              <a:gd name="connsiteY214" fmla="*/ 2365 h 10000"/>
              <a:gd name="connsiteX215" fmla="*/ 10000 w 10000"/>
              <a:gd name="connsiteY215" fmla="*/ 2349 h 10000"/>
              <a:gd name="connsiteX216" fmla="*/ 9704 w 10000"/>
              <a:gd name="connsiteY216" fmla="*/ 1992 h 10000"/>
              <a:gd name="connsiteX217" fmla="*/ 9743 w 10000"/>
              <a:gd name="connsiteY217" fmla="*/ 1897 h 10000"/>
              <a:gd name="connsiteX218" fmla="*/ 9830 w 10000"/>
              <a:gd name="connsiteY218" fmla="*/ 1819 h 10000"/>
              <a:gd name="connsiteX219" fmla="*/ 9830 w 10000"/>
              <a:gd name="connsiteY219" fmla="*/ 1699 h 10000"/>
              <a:gd name="connsiteX220" fmla="*/ 9556 w 10000"/>
              <a:gd name="connsiteY220" fmla="*/ 1465 h 10000"/>
              <a:gd name="connsiteX221" fmla="*/ 9512 w 10000"/>
              <a:gd name="connsiteY221" fmla="*/ 1379 h 10000"/>
              <a:gd name="connsiteX222" fmla="*/ 9573 w 10000"/>
              <a:gd name="connsiteY222" fmla="*/ 1271 h 10000"/>
              <a:gd name="connsiteX223" fmla="*/ 9543 w 10000"/>
              <a:gd name="connsiteY223" fmla="*/ 1194 h 10000"/>
              <a:gd name="connsiteX224" fmla="*/ 9486 w 10000"/>
              <a:gd name="connsiteY224" fmla="*/ 1159 h 10000"/>
              <a:gd name="connsiteX225" fmla="*/ 9438 w 10000"/>
              <a:gd name="connsiteY225" fmla="*/ 978 h 10000"/>
              <a:gd name="connsiteX226" fmla="*/ 9495 w 10000"/>
              <a:gd name="connsiteY226" fmla="*/ 831 h 10000"/>
              <a:gd name="connsiteX227" fmla="*/ 9077 w 10000"/>
              <a:gd name="connsiteY227" fmla="*/ 517 h 10000"/>
              <a:gd name="connsiteX228" fmla="*/ 8872 w 10000"/>
              <a:gd name="connsiteY228" fmla="*/ 440 h 10000"/>
              <a:gd name="connsiteX229" fmla="*/ 8493 w 10000"/>
              <a:gd name="connsiteY229" fmla="*/ 389 h 10000"/>
              <a:gd name="connsiteX230" fmla="*/ 7709 w 10000"/>
              <a:gd name="connsiteY230" fmla="*/ 26 h 10000"/>
              <a:gd name="connsiteX231" fmla="*/ 7683 w 10000"/>
              <a:gd name="connsiteY231" fmla="*/ 2 h 10000"/>
              <a:gd name="connsiteX232" fmla="*/ 7417 w 10000"/>
              <a:gd name="connsiteY232" fmla="*/ 0 h 10000"/>
              <a:gd name="connsiteX233" fmla="*/ 7356 w 10000"/>
              <a:gd name="connsiteY233" fmla="*/ 14 h 10000"/>
              <a:gd name="connsiteX234" fmla="*/ 7369 w 10000"/>
              <a:gd name="connsiteY234" fmla="*/ 61 h 10000"/>
              <a:gd name="connsiteX235" fmla="*/ 7422 w 10000"/>
              <a:gd name="connsiteY235" fmla="*/ 86 h 10000"/>
              <a:gd name="connsiteX236" fmla="*/ 7435 w 10000"/>
              <a:gd name="connsiteY236" fmla="*/ 139 h 10000"/>
              <a:gd name="connsiteX237" fmla="*/ 7417 w 10000"/>
              <a:gd name="connsiteY237" fmla="*/ 181 h 10000"/>
              <a:gd name="connsiteX238" fmla="*/ 7369 w 10000"/>
              <a:gd name="connsiteY238" fmla="*/ 208 h 10000"/>
              <a:gd name="connsiteX239" fmla="*/ 7334 w 10000"/>
              <a:gd name="connsiteY239" fmla="*/ 283 h 10000"/>
              <a:gd name="connsiteX240" fmla="*/ 7269 w 10000"/>
              <a:gd name="connsiteY240" fmla="*/ 336 h 10000"/>
              <a:gd name="connsiteX241" fmla="*/ 7282 w 10000"/>
              <a:gd name="connsiteY241" fmla="*/ 387 h 10000"/>
              <a:gd name="connsiteX242" fmla="*/ 7382 w 10000"/>
              <a:gd name="connsiteY242" fmla="*/ 434 h 10000"/>
              <a:gd name="connsiteX243" fmla="*/ 7317 w 10000"/>
              <a:gd name="connsiteY243" fmla="*/ 475 h 10000"/>
              <a:gd name="connsiteX244" fmla="*/ 7221 w 10000"/>
              <a:gd name="connsiteY244" fmla="*/ 485 h 10000"/>
              <a:gd name="connsiteX245" fmla="*/ 6420 w 10000"/>
              <a:gd name="connsiteY245" fmla="*/ 387 h 10000"/>
              <a:gd name="connsiteX246" fmla="*/ 6324 w 10000"/>
              <a:gd name="connsiteY246" fmla="*/ 395 h 10000"/>
              <a:gd name="connsiteX247" fmla="*/ 6267 w 10000"/>
              <a:gd name="connsiteY247" fmla="*/ 414 h 10000"/>
              <a:gd name="connsiteX248" fmla="*/ 6211 w 10000"/>
              <a:gd name="connsiteY248" fmla="*/ 462 h 10000"/>
              <a:gd name="connsiteX249" fmla="*/ 6220 w 10000"/>
              <a:gd name="connsiteY249" fmla="*/ 581 h 10000"/>
              <a:gd name="connsiteX250" fmla="*/ 6132 w 10000"/>
              <a:gd name="connsiteY250" fmla="*/ 735 h 10000"/>
              <a:gd name="connsiteX251" fmla="*/ 6024 w 10000"/>
              <a:gd name="connsiteY251" fmla="*/ 815 h 10000"/>
              <a:gd name="connsiteX252" fmla="*/ 5980 w 10000"/>
              <a:gd name="connsiteY252" fmla="*/ 805 h 10000"/>
              <a:gd name="connsiteX253" fmla="*/ 5880 w 10000"/>
              <a:gd name="connsiteY253" fmla="*/ 739 h 10000"/>
              <a:gd name="connsiteX254" fmla="*/ 5753 w 10000"/>
              <a:gd name="connsiteY254" fmla="*/ 705 h 10000"/>
              <a:gd name="connsiteX255" fmla="*/ 5618 w 10000"/>
              <a:gd name="connsiteY255" fmla="*/ 715 h 10000"/>
              <a:gd name="connsiteX256" fmla="*/ 5301 w 10000"/>
              <a:gd name="connsiteY256" fmla="*/ 866 h 10000"/>
              <a:gd name="connsiteX257" fmla="*/ 5218 w 10000"/>
              <a:gd name="connsiteY257" fmla="*/ 1017 h 10000"/>
              <a:gd name="connsiteX258" fmla="*/ 4978 w 10000"/>
              <a:gd name="connsiteY258" fmla="*/ 1153 h 10000"/>
              <a:gd name="connsiteX259" fmla="*/ 4935 w 10000"/>
              <a:gd name="connsiteY259" fmla="*/ 1222 h 10000"/>
              <a:gd name="connsiteX260" fmla="*/ 5061 w 10000"/>
              <a:gd name="connsiteY260" fmla="*/ 1344 h 10000"/>
              <a:gd name="connsiteX261" fmla="*/ 5074 w 10000"/>
              <a:gd name="connsiteY261" fmla="*/ 1412 h 10000"/>
              <a:gd name="connsiteX262" fmla="*/ 4421 w 10000"/>
              <a:gd name="connsiteY262" fmla="*/ 1813 h 10000"/>
              <a:gd name="connsiteX263" fmla="*/ 4220 w 10000"/>
              <a:gd name="connsiteY263" fmla="*/ 2070 h 10000"/>
              <a:gd name="connsiteX264" fmla="*/ 4003 w 10000"/>
              <a:gd name="connsiteY264" fmla="*/ 2135 h 10000"/>
              <a:gd name="connsiteX265" fmla="*/ 3868 w 10000"/>
              <a:gd name="connsiteY265" fmla="*/ 2131 h 10000"/>
              <a:gd name="connsiteX266" fmla="*/ 3785 w 10000"/>
              <a:gd name="connsiteY266" fmla="*/ 2153 h 10000"/>
              <a:gd name="connsiteX267" fmla="*/ 3558 w 10000"/>
              <a:gd name="connsiteY267" fmla="*/ 2793 h 10000"/>
              <a:gd name="connsiteX268" fmla="*/ 3036 w 10000"/>
              <a:gd name="connsiteY268" fmla="*/ 3166 h 10000"/>
              <a:gd name="connsiteX269" fmla="*/ 3040 w 10000"/>
              <a:gd name="connsiteY269" fmla="*/ 3225 h 10000"/>
              <a:gd name="connsiteX270" fmla="*/ 3271 w 10000"/>
              <a:gd name="connsiteY270" fmla="*/ 3392 h 10000"/>
              <a:gd name="connsiteX271" fmla="*/ 3197 w 10000"/>
              <a:gd name="connsiteY271" fmla="*/ 3573 h 10000"/>
              <a:gd name="connsiteX272" fmla="*/ 3062 w 10000"/>
              <a:gd name="connsiteY272" fmla="*/ 3640 h 10000"/>
              <a:gd name="connsiteX273" fmla="*/ 2657 w 10000"/>
              <a:gd name="connsiteY273" fmla="*/ 3595 h 10000"/>
              <a:gd name="connsiteX274" fmla="*/ 2378 w 10000"/>
              <a:gd name="connsiteY274" fmla="*/ 3620 h 10000"/>
              <a:gd name="connsiteX275" fmla="*/ 2152 w 10000"/>
              <a:gd name="connsiteY275" fmla="*/ 3673 h 10000"/>
              <a:gd name="connsiteX276" fmla="*/ 1790 w 10000"/>
              <a:gd name="connsiteY276" fmla="*/ 3840 h 10000"/>
              <a:gd name="connsiteX277" fmla="*/ 1598 w 10000"/>
              <a:gd name="connsiteY277" fmla="*/ 4042 h 10000"/>
              <a:gd name="connsiteX278" fmla="*/ 1616 w 10000"/>
              <a:gd name="connsiteY278" fmla="*/ 4154 h 10000"/>
              <a:gd name="connsiteX279" fmla="*/ 1681 w 10000"/>
              <a:gd name="connsiteY279" fmla="*/ 4241 h 10000"/>
              <a:gd name="connsiteX280" fmla="*/ 1733 w 10000"/>
              <a:gd name="connsiteY280" fmla="*/ 4276 h 10000"/>
              <a:gd name="connsiteX281" fmla="*/ 1638 w 10000"/>
              <a:gd name="connsiteY281" fmla="*/ 4331 h 10000"/>
              <a:gd name="connsiteX282" fmla="*/ 1433 w 10000"/>
              <a:gd name="connsiteY282" fmla="*/ 4710 h 10000"/>
              <a:gd name="connsiteX283" fmla="*/ 1472 w 10000"/>
              <a:gd name="connsiteY283" fmla="*/ 4732 h 10000"/>
              <a:gd name="connsiteX284" fmla="*/ 1503 w 10000"/>
              <a:gd name="connsiteY284" fmla="*/ 4828 h 10000"/>
              <a:gd name="connsiteX285" fmla="*/ 1407 w 10000"/>
              <a:gd name="connsiteY285" fmla="*/ 5227 h 10000"/>
              <a:gd name="connsiteX286" fmla="*/ 1503 w 10000"/>
              <a:gd name="connsiteY286" fmla="*/ 5329 h 10000"/>
              <a:gd name="connsiteX287" fmla="*/ 1764 w 10000"/>
              <a:gd name="connsiteY287" fmla="*/ 5441 h 10000"/>
              <a:gd name="connsiteX288" fmla="*/ 1777 w 10000"/>
              <a:gd name="connsiteY288" fmla="*/ 5578 h 10000"/>
              <a:gd name="connsiteX289" fmla="*/ 1664 w 10000"/>
              <a:gd name="connsiteY289" fmla="*/ 5690 h 10000"/>
              <a:gd name="connsiteX290" fmla="*/ 1503 w 10000"/>
              <a:gd name="connsiteY290" fmla="*/ 5759 h 10000"/>
              <a:gd name="connsiteX291" fmla="*/ 1289 w 10000"/>
              <a:gd name="connsiteY291" fmla="*/ 5787 h 10000"/>
              <a:gd name="connsiteX292" fmla="*/ 1233 w 10000"/>
              <a:gd name="connsiteY292" fmla="*/ 5826 h 10000"/>
              <a:gd name="connsiteX293" fmla="*/ 1359 w 10000"/>
              <a:gd name="connsiteY293" fmla="*/ 5920 h 10000"/>
              <a:gd name="connsiteX294" fmla="*/ 1429 w 10000"/>
              <a:gd name="connsiteY294" fmla="*/ 6142 h 10000"/>
              <a:gd name="connsiteX295" fmla="*/ 1267 w 10000"/>
              <a:gd name="connsiteY295" fmla="*/ 6333 h 10000"/>
              <a:gd name="connsiteX296" fmla="*/ 1324 w 10000"/>
              <a:gd name="connsiteY296" fmla="*/ 6392 h 10000"/>
              <a:gd name="connsiteX297" fmla="*/ 1272 w 10000"/>
              <a:gd name="connsiteY297" fmla="*/ 6492 h 10000"/>
              <a:gd name="connsiteX298" fmla="*/ 1167 w 10000"/>
              <a:gd name="connsiteY298" fmla="*/ 6561 h 10000"/>
              <a:gd name="connsiteX299" fmla="*/ 758 w 10000"/>
              <a:gd name="connsiteY299" fmla="*/ 6614 h 10000"/>
              <a:gd name="connsiteX300" fmla="*/ 732 w 10000"/>
              <a:gd name="connsiteY300" fmla="*/ 6706 h 10000"/>
              <a:gd name="connsiteX301" fmla="*/ 510 w 10000"/>
              <a:gd name="connsiteY301" fmla="*/ 6843 h 10000"/>
              <a:gd name="connsiteX302" fmla="*/ 540 w 10000"/>
              <a:gd name="connsiteY302" fmla="*/ 7040 h 10000"/>
              <a:gd name="connsiteX303" fmla="*/ 353 w 10000"/>
              <a:gd name="connsiteY303" fmla="*/ 7293 h 10000"/>
              <a:gd name="connsiteX304" fmla="*/ 226 w 10000"/>
              <a:gd name="connsiteY304" fmla="*/ 7323 h 10000"/>
              <a:gd name="connsiteX305" fmla="*/ 174 w 10000"/>
              <a:gd name="connsiteY305" fmla="*/ 7262 h 10000"/>
              <a:gd name="connsiteX306" fmla="*/ 109 w 10000"/>
              <a:gd name="connsiteY306" fmla="*/ 7354 h 10000"/>
              <a:gd name="connsiteX307" fmla="*/ 152 w 10000"/>
              <a:gd name="connsiteY307" fmla="*/ 7197 h 10000"/>
              <a:gd name="connsiteX308" fmla="*/ 126 w 10000"/>
              <a:gd name="connsiteY30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9355 w 10000"/>
              <a:gd name="connsiteY208" fmla="*/ 2428 h 10000"/>
              <a:gd name="connsiteX209" fmla="*/ 9408 w 10000"/>
              <a:gd name="connsiteY209" fmla="*/ 2359 h 10000"/>
              <a:gd name="connsiteX210" fmla="*/ 9717 w 10000"/>
              <a:gd name="connsiteY210" fmla="*/ 2343 h 10000"/>
              <a:gd name="connsiteX211" fmla="*/ 9830 w 10000"/>
              <a:gd name="connsiteY211" fmla="*/ 2369 h 10000"/>
              <a:gd name="connsiteX212" fmla="*/ 9909 w 10000"/>
              <a:gd name="connsiteY212" fmla="*/ 2410 h 10000"/>
              <a:gd name="connsiteX213" fmla="*/ 9948 w 10000"/>
              <a:gd name="connsiteY213" fmla="*/ 2365 h 10000"/>
              <a:gd name="connsiteX214" fmla="*/ 10000 w 10000"/>
              <a:gd name="connsiteY214" fmla="*/ 2349 h 10000"/>
              <a:gd name="connsiteX215" fmla="*/ 9704 w 10000"/>
              <a:gd name="connsiteY215" fmla="*/ 1992 h 10000"/>
              <a:gd name="connsiteX216" fmla="*/ 9743 w 10000"/>
              <a:gd name="connsiteY216" fmla="*/ 1897 h 10000"/>
              <a:gd name="connsiteX217" fmla="*/ 9830 w 10000"/>
              <a:gd name="connsiteY217" fmla="*/ 1819 h 10000"/>
              <a:gd name="connsiteX218" fmla="*/ 9830 w 10000"/>
              <a:gd name="connsiteY218" fmla="*/ 1699 h 10000"/>
              <a:gd name="connsiteX219" fmla="*/ 9556 w 10000"/>
              <a:gd name="connsiteY219" fmla="*/ 1465 h 10000"/>
              <a:gd name="connsiteX220" fmla="*/ 9512 w 10000"/>
              <a:gd name="connsiteY220" fmla="*/ 1379 h 10000"/>
              <a:gd name="connsiteX221" fmla="*/ 9573 w 10000"/>
              <a:gd name="connsiteY221" fmla="*/ 1271 h 10000"/>
              <a:gd name="connsiteX222" fmla="*/ 9543 w 10000"/>
              <a:gd name="connsiteY222" fmla="*/ 1194 h 10000"/>
              <a:gd name="connsiteX223" fmla="*/ 9486 w 10000"/>
              <a:gd name="connsiteY223" fmla="*/ 1159 h 10000"/>
              <a:gd name="connsiteX224" fmla="*/ 9438 w 10000"/>
              <a:gd name="connsiteY224" fmla="*/ 978 h 10000"/>
              <a:gd name="connsiteX225" fmla="*/ 9495 w 10000"/>
              <a:gd name="connsiteY225" fmla="*/ 831 h 10000"/>
              <a:gd name="connsiteX226" fmla="*/ 9077 w 10000"/>
              <a:gd name="connsiteY226" fmla="*/ 517 h 10000"/>
              <a:gd name="connsiteX227" fmla="*/ 8872 w 10000"/>
              <a:gd name="connsiteY227" fmla="*/ 440 h 10000"/>
              <a:gd name="connsiteX228" fmla="*/ 8493 w 10000"/>
              <a:gd name="connsiteY228" fmla="*/ 389 h 10000"/>
              <a:gd name="connsiteX229" fmla="*/ 7709 w 10000"/>
              <a:gd name="connsiteY229" fmla="*/ 26 h 10000"/>
              <a:gd name="connsiteX230" fmla="*/ 7683 w 10000"/>
              <a:gd name="connsiteY230" fmla="*/ 2 h 10000"/>
              <a:gd name="connsiteX231" fmla="*/ 7417 w 10000"/>
              <a:gd name="connsiteY231" fmla="*/ 0 h 10000"/>
              <a:gd name="connsiteX232" fmla="*/ 7356 w 10000"/>
              <a:gd name="connsiteY232" fmla="*/ 14 h 10000"/>
              <a:gd name="connsiteX233" fmla="*/ 7369 w 10000"/>
              <a:gd name="connsiteY233" fmla="*/ 61 h 10000"/>
              <a:gd name="connsiteX234" fmla="*/ 7422 w 10000"/>
              <a:gd name="connsiteY234" fmla="*/ 86 h 10000"/>
              <a:gd name="connsiteX235" fmla="*/ 7435 w 10000"/>
              <a:gd name="connsiteY235" fmla="*/ 139 h 10000"/>
              <a:gd name="connsiteX236" fmla="*/ 7417 w 10000"/>
              <a:gd name="connsiteY236" fmla="*/ 181 h 10000"/>
              <a:gd name="connsiteX237" fmla="*/ 7369 w 10000"/>
              <a:gd name="connsiteY237" fmla="*/ 208 h 10000"/>
              <a:gd name="connsiteX238" fmla="*/ 7334 w 10000"/>
              <a:gd name="connsiteY238" fmla="*/ 283 h 10000"/>
              <a:gd name="connsiteX239" fmla="*/ 7269 w 10000"/>
              <a:gd name="connsiteY239" fmla="*/ 336 h 10000"/>
              <a:gd name="connsiteX240" fmla="*/ 7282 w 10000"/>
              <a:gd name="connsiteY240" fmla="*/ 387 h 10000"/>
              <a:gd name="connsiteX241" fmla="*/ 7382 w 10000"/>
              <a:gd name="connsiteY241" fmla="*/ 434 h 10000"/>
              <a:gd name="connsiteX242" fmla="*/ 7317 w 10000"/>
              <a:gd name="connsiteY242" fmla="*/ 475 h 10000"/>
              <a:gd name="connsiteX243" fmla="*/ 7221 w 10000"/>
              <a:gd name="connsiteY243" fmla="*/ 485 h 10000"/>
              <a:gd name="connsiteX244" fmla="*/ 6420 w 10000"/>
              <a:gd name="connsiteY244" fmla="*/ 387 h 10000"/>
              <a:gd name="connsiteX245" fmla="*/ 6324 w 10000"/>
              <a:gd name="connsiteY245" fmla="*/ 395 h 10000"/>
              <a:gd name="connsiteX246" fmla="*/ 6267 w 10000"/>
              <a:gd name="connsiteY246" fmla="*/ 414 h 10000"/>
              <a:gd name="connsiteX247" fmla="*/ 6211 w 10000"/>
              <a:gd name="connsiteY247" fmla="*/ 462 h 10000"/>
              <a:gd name="connsiteX248" fmla="*/ 6220 w 10000"/>
              <a:gd name="connsiteY248" fmla="*/ 581 h 10000"/>
              <a:gd name="connsiteX249" fmla="*/ 6132 w 10000"/>
              <a:gd name="connsiteY249" fmla="*/ 735 h 10000"/>
              <a:gd name="connsiteX250" fmla="*/ 6024 w 10000"/>
              <a:gd name="connsiteY250" fmla="*/ 815 h 10000"/>
              <a:gd name="connsiteX251" fmla="*/ 5980 w 10000"/>
              <a:gd name="connsiteY251" fmla="*/ 805 h 10000"/>
              <a:gd name="connsiteX252" fmla="*/ 5880 w 10000"/>
              <a:gd name="connsiteY252" fmla="*/ 739 h 10000"/>
              <a:gd name="connsiteX253" fmla="*/ 5753 w 10000"/>
              <a:gd name="connsiteY253" fmla="*/ 705 h 10000"/>
              <a:gd name="connsiteX254" fmla="*/ 5618 w 10000"/>
              <a:gd name="connsiteY254" fmla="*/ 715 h 10000"/>
              <a:gd name="connsiteX255" fmla="*/ 5301 w 10000"/>
              <a:gd name="connsiteY255" fmla="*/ 866 h 10000"/>
              <a:gd name="connsiteX256" fmla="*/ 5218 w 10000"/>
              <a:gd name="connsiteY256" fmla="*/ 1017 h 10000"/>
              <a:gd name="connsiteX257" fmla="*/ 4978 w 10000"/>
              <a:gd name="connsiteY257" fmla="*/ 1153 h 10000"/>
              <a:gd name="connsiteX258" fmla="*/ 4935 w 10000"/>
              <a:gd name="connsiteY258" fmla="*/ 1222 h 10000"/>
              <a:gd name="connsiteX259" fmla="*/ 5061 w 10000"/>
              <a:gd name="connsiteY259" fmla="*/ 1344 h 10000"/>
              <a:gd name="connsiteX260" fmla="*/ 5074 w 10000"/>
              <a:gd name="connsiteY260" fmla="*/ 1412 h 10000"/>
              <a:gd name="connsiteX261" fmla="*/ 4421 w 10000"/>
              <a:gd name="connsiteY261" fmla="*/ 1813 h 10000"/>
              <a:gd name="connsiteX262" fmla="*/ 4220 w 10000"/>
              <a:gd name="connsiteY262" fmla="*/ 2070 h 10000"/>
              <a:gd name="connsiteX263" fmla="*/ 4003 w 10000"/>
              <a:gd name="connsiteY263" fmla="*/ 2135 h 10000"/>
              <a:gd name="connsiteX264" fmla="*/ 3868 w 10000"/>
              <a:gd name="connsiteY264" fmla="*/ 2131 h 10000"/>
              <a:gd name="connsiteX265" fmla="*/ 3785 w 10000"/>
              <a:gd name="connsiteY265" fmla="*/ 2153 h 10000"/>
              <a:gd name="connsiteX266" fmla="*/ 3558 w 10000"/>
              <a:gd name="connsiteY266" fmla="*/ 2793 h 10000"/>
              <a:gd name="connsiteX267" fmla="*/ 3036 w 10000"/>
              <a:gd name="connsiteY267" fmla="*/ 3166 h 10000"/>
              <a:gd name="connsiteX268" fmla="*/ 3040 w 10000"/>
              <a:gd name="connsiteY268" fmla="*/ 3225 h 10000"/>
              <a:gd name="connsiteX269" fmla="*/ 3271 w 10000"/>
              <a:gd name="connsiteY269" fmla="*/ 3392 h 10000"/>
              <a:gd name="connsiteX270" fmla="*/ 3197 w 10000"/>
              <a:gd name="connsiteY270" fmla="*/ 3573 h 10000"/>
              <a:gd name="connsiteX271" fmla="*/ 3062 w 10000"/>
              <a:gd name="connsiteY271" fmla="*/ 3640 h 10000"/>
              <a:gd name="connsiteX272" fmla="*/ 2657 w 10000"/>
              <a:gd name="connsiteY272" fmla="*/ 3595 h 10000"/>
              <a:gd name="connsiteX273" fmla="*/ 2378 w 10000"/>
              <a:gd name="connsiteY273" fmla="*/ 3620 h 10000"/>
              <a:gd name="connsiteX274" fmla="*/ 2152 w 10000"/>
              <a:gd name="connsiteY274" fmla="*/ 3673 h 10000"/>
              <a:gd name="connsiteX275" fmla="*/ 1790 w 10000"/>
              <a:gd name="connsiteY275" fmla="*/ 3840 h 10000"/>
              <a:gd name="connsiteX276" fmla="*/ 1598 w 10000"/>
              <a:gd name="connsiteY276" fmla="*/ 4042 h 10000"/>
              <a:gd name="connsiteX277" fmla="*/ 1616 w 10000"/>
              <a:gd name="connsiteY277" fmla="*/ 4154 h 10000"/>
              <a:gd name="connsiteX278" fmla="*/ 1681 w 10000"/>
              <a:gd name="connsiteY278" fmla="*/ 4241 h 10000"/>
              <a:gd name="connsiteX279" fmla="*/ 1733 w 10000"/>
              <a:gd name="connsiteY279" fmla="*/ 4276 h 10000"/>
              <a:gd name="connsiteX280" fmla="*/ 1638 w 10000"/>
              <a:gd name="connsiteY280" fmla="*/ 4331 h 10000"/>
              <a:gd name="connsiteX281" fmla="*/ 1433 w 10000"/>
              <a:gd name="connsiteY281" fmla="*/ 4710 h 10000"/>
              <a:gd name="connsiteX282" fmla="*/ 1472 w 10000"/>
              <a:gd name="connsiteY282" fmla="*/ 4732 h 10000"/>
              <a:gd name="connsiteX283" fmla="*/ 1503 w 10000"/>
              <a:gd name="connsiteY283" fmla="*/ 4828 h 10000"/>
              <a:gd name="connsiteX284" fmla="*/ 1407 w 10000"/>
              <a:gd name="connsiteY284" fmla="*/ 5227 h 10000"/>
              <a:gd name="connsiteX285" fmla="*/ 1503 w 10000"/>
              <a:gd name="connsiteY285" fmla="*/ 5329 h 10000"/>
              <a:gd name="connsiteX286" fmla="*/ 1764 w 10000"/>
              <a:gd name="connsiteY286" fmla="*/ 5441 h 10000"/>
              <a:gd name="connsiteX287" fmla="*/ 1777 w 10000"/>
              <a:gd name="connsiteY287" fmla="*/ 5578 h 10000"/>
              <a:gd name="connsiteX288" fmla="*/ 1664 w 10000"/>
              <a:gd name="connsiteY288" fmla="*/ 5690 h 10000"/>
              <a:gd name="connsiteX289" fmla="*/ 1503 w 10000"/>
              <a:gd name="connsiteY289" fmla="*/ 5759 h 10000"/>
              <a:gd name="connsiteX290" fmla="*/ 1289 w 10000"/>
              <a:gd name="connsiteY290" fmla="*/ 5787 h 10000"/>
              <a:gd name="connsiteX291" fmla="*/ 1233 w 10000"/>
              <a:gd name="connsiteY291" fmla="*/ 5826 h 10000"/>
              <a:gd name="connsiteX292" fmla="*/ 1359 w 10000"/>
              <a:gd name="connsiteY292" fmla="*/ 5920 h 10000"/>
              <a:gd name="connsiteX293" fmla="*/ 1429 w 10000"/>
              <a:gd name="connsiteY293" fmla="*/ 6142 h 10000"/>
              <a:gd name="connsiteX294" fmla="*/ 1267 w 10000"/>
              <a:gd name="connsiteY294" fmla="*/ 6333 h 10000"/>
              <a:gd name="connsiteX295" fmla="*/ 1324 w 10000"/>
              <a:gd name="connsiteY295" fmla="*/ 6392 h 10000"/>
              <a:gd name="connsiteX296" fmla="*/ 1272 w 10000"/>
              <a:gd name="connsiteY296" fmla="*/ 6492 h 10000"/>
              <a:gd name="connsiteX297" fmla="*/ 1167 w 10000"/>
              <a:gd name="connsiteY297" fmla="*/ 6561 h 10000"/>
              <a:gd name="connsiteX298" fmla="*/ 758 w 10000"/>
              <a:gd name="connsiteY298" fmla="*/ 6614 h 10000"/>
              <a:gd name="connsiteX299" fmla="*/ 732 w 10000"/>
              <a:gd name="connsiteY299" fmla="*/ 6706 h 10000"/>
              <a:gd name="connsiteX300" fmla="*/ 510 w 10000"/>
              <a:gd name="connsiteY300" fmla="*/ 6843 h 10000"/>
              <a:gd name="connsiteX301" fmla="*/ 540 w 10000"/>
              <a:gd name="connsiteY301" fmla="*/ 7040 h 10000"/>
              <a:gd name="connsiteX302" fmla="*/ 353 w 10000"/>
              <a:gd name="connsiteY302" fmla="*/ 7293 h 10000"/>
              <a:gd name="connsiteX303" fmla="*/ 226 w 10000"/>
              <a:gd name="connsiteY303" fmla="*/ 7323 h 10000"/>
              <a:gd name="connsiteX304" fmla="*/ 174 w 10000"/>
              <a:gd name="connsiteY304" fmla="*/ 7262 h 10000"/>
              <a:gd name="connsiteX305" fmla="*/ 109 w 10000"/>
              <a:gd name="connsiteY305" fmla="*/ 7354 h 10000"/>
              <a:gd name="connsiteX306" fmla="*/ 152 w 10000"/>
              <a:gd name="connsiteY306" fmla="*/ 7197 h 10000"/>
              <a:gd name="connsiteX307" fmla="*/ 126 w 10000"/>
              <a:gd name="connsiteY30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355 w 10000"/>
              <a:gd name="connsiteY207" fmla="*/ 2428 h 10000"/>
              <a:gd name="connsiteX208" fmla="*/ 9408 w 10000"/>
              <a:gd name="connsiteY208" fmla="*/ 2359 h 10000"/>
              <a:gd name="connsiteX209" fmla="*/ 9717 w 10000"/>
              <a:gd name="connsiteY209" fmla="*/ 2343 h 10000"/>
              <a:gd name="connsiteX210" fmla="*/ 9830 w 10000"/>
              <a:gd name="connsiteY210" fmla="*/ 2369 h 10000"/>
              <a:gd name="connsiteX211" fmla="*/ 9909 w 10000"/>
              <a:gd name="connsiteY211" fmla="*/ 2410 h 10000"/>
              <a:gd name="connsiteX212" fmla="*/ 9948 w 10000"/>
              <a:gd name="connsiteY212" fmla="*/ 2365 h 10000"/>
              <a:gd name="connsiteX213" fmla="*/ 10000 w 10000"/>
              <a:gd name="connsiteY213" fmla="*/ 2349 h 10000"/>
              <a:gd name="connsiteX214" fmla="*/ 9704 w 10000"/>
              <a:gd name="connsiteY214" fmla="*/ 1992 h 10000"/>
              <a:gd name="connsiteX215" fmla="*/ 9743 w 10000"/>
              <a:gd name="connsiteY215" fmla="*/ 1897 h 10000"/>
              <a:gd name="connsiteX216" fmla="*/ 9830 w 10000"/>
              <a:gd name="connsiteY216" fmla="*/ 1819 h 10000"/>
              <a:gd name="connsiteX217" fmla="*/ 9830 w 10000"/>
              <a:gd name="connsiteY217" fmla="*/ 1699 h 10000"/>
              <a:gd name="connsiteX218" fmla="*/ 9556 w 10000"/>
              <a:gd name="connsiteY218" fmla="*/ 1465 h 10000"/>
              <a:gd name="connsiteX219" fmla="*/ 9512 w 10000"/>
              <a:gd name="connsiteY219" fmla="*/ 1379 h 10000"/>
              <a:gd name="connsiteX220" fmla="*/ 9573 w 10000"/>
              <a:gd name="connsiteY220" fmla="*/ 1271 h 10000"/>
              <a:gd name="connsiteX221" fmla="*/ 9543 w 10000"/>
              <a:gd name="connsiteY221" fmla="*/ 1194 h 10000"/>
              <a:gd name="connsiteX222" fmla="*/ 9486 w 10000"/>
              <a:gd name="connsiteY222" fmla="*/ 1159 h 10000"/>
              <a:gd name="connsiteX223" fmla="*/ 9438 w 10000"/>
              <a:gd name="connsiteY223" fmla="*/ 978 h 10000"/>
              <a:gd name="connsiteX224" fmla="*/ 9495 w 10000"/>
              <a:gd name="connsiteY224" fmla="*/ 831 h 10000"/>
              <a:gd name="connsiteX225" fmla="*/ 9077 w 10000"/>
              <a:gd name="connsiteY225" fmla="*/ 517 h 10000"/>
              <a:gd name="connsiteX226" fmla="*/ 8872 w 10000"/>
              <a:gd name="connsiteY226" fmla="*/ 440 h 10000"/>
              <a:gd name="connsiteX227" fmla="*/ 8493 w 10000"/>
              <a:gd name="connsiteY227" fmla="*/ 389 h 10000"/>
              <a:gd name="connsiteX228" fmla="*/ 7709 w 10000"/>
              <a:gd name="connsiteY228" fmla="*/ 26 h 10000"/>
              <a:gd name="connsiteX229" fmla="*/ 7683 w 10000"/>
              <a:gd name="connsiteY229" fmla="*/ 2 h 10000"/>
              <a:gd name="connsiteX230" fmla="*/ 7417 w 10000"/>
              <a:gd name="connsiteY230" fmla="*/ 0 h 10000"/>
              <a:gd name="connsiteX231" fmla="*/ 7356 w 10000"/>
              <a:gd name="connsiteY231" fmla="*/ 14 h 10000"/>
              <a:gd name="connsiteX232" fmla="*/ 7369 w 10000"/>
              <a:gd name="connsiteY232" fmla="*/ 61 h 10000"/>
              <a:gd name="connsiteX233" fmla="*/ 7422 w 10000"/>
              <a:gd name="connsiteY233" fmla="*/ 86 h 10000"/>
              <a:gd name="connsiteX234" fmla="*/ 7435 w 10000"/>
              <a:gd name="connsiteY234" fmla="*/ 139 h 10000"/>
              <a:gd name="connsiteX235" fmla="*/ 7417 w 10000"/>
              <a:gd name="connsiteY235" fmla="*/ 181 h 10000"/>
              <a:gd name="connsiteX236" fmla="*/ 7369 w 10000"/>
              <a:gd name="connsiteY236" fmla="*/ 208 h 10000"/>
              <a:gd name="connsiteX237" fmla="*/ 7334 w 10000"/>
              <a:gd name="connsiteY237" fmla="*/ 283 h 10000"/>
              <a:gd name="connsiteX238" fmla="*/ 7269 w 10000"/>
              <a:gd name="connsiteY238" fmla="*/ 336 h 10000"/>
              <a:gd name="connsiteX239" fmla="*/ 7282 w 10000"/>
              <a:gd name="connsiteY239" fmla="*/ 387 h 10000"/>
              <a:gd name="connsiteX240" fmla="*/ 7382 w 10000"/>
              <a:gd name="connsiteY240" fmla="*/ 434 h 10000"/>
              <a:gd name="connsiteX241" fmla="*/ 7317 w 10000"/>
              <a:gd name="connsiteY241" fmla="*/ 475 h 10000"/>
              <a:gd name="connsiteX242" fmla="*/ 7221 w 10000"/>
              <a:gd name="connsiteY242" fmla="*/ 485 h 10000"/>
              <a:gd name="connsiteX243" fmla="*/ 6420 w 10000"/>
              <a:gd name="connsiteY243" fmla="*/ 387 h 10000"/>
              <a:gd name="connsiteX244" fmla="*/ 6324 w 10000"/>
              <a:gd name="connsiteY244" fmla="*/ 395 h 10000"/>
              <a:gd name="connsiteX245" fmla="*/ 6267 w 10000"/>
              <a:gd name="connsiteY245" fmla="*/ 414 h 10000"/>
              <a:gd name="connsiteX246" fmla="*/ 6211 w 10000"/>
              <a:gd name="connsiteY246" fmla="*/ 462 h 10000"/>
              <a:gd name="connsiteX247" fmla="*/ 6220 w 10000"/>
              <a:gd name="connsiteY247" fmla="*/ 581 h 10000"/>
              <a:gd name="connsiteX248" fmla="*/ 6132 w 10000"/>
              <a:gd name="connsiteY248" fmla="*/ 735 h 10000"/>
              <a:gd name="connsiteX249" fmla="*/ 6024 w 10000"/>
              <a:gd name="connsiteY249" fmla="*/ 815 h 10000"/>
              <a:gd name="connsiteX250" fmla="*/ 5980 w 10000"/>
              <a:gd name="connsiteY250" fmla="*/ 805 h 10000"/>
              <a:gd name="connsiteX251" fmla="*/ 5880 w 10000"/>
              <a:gd name="connsiteY251" fmla="*/ 739 h 10000"/>
              <a:gd name="connsiteX252" fmla="*/ 5753 w 10000"/>
              <a:gd name="connsiteY252" fmla="*/ 705 h 10000"/>
              <a:gd name="connsiteX253" fmla="*/ 5618 w 10000"/>
              <a:gd name="connsiteY253" fmla="*/ 715 h 10000"/>
              <a:gd name="connsiteX254" fmla="*/ 5301 w 10000"/>
              <a:gd name="connsiteY254" fmla="*/ 866 h 10000"/>
              <a:gd name="connsiteX255" fmla="*/ 5218 w 10000"/>
              <a:gd name="connsiteY255" fmla="*/ 1017 h 10000"/>
              <a:gd name="connsiteX256" fmla="*/ 4978 w 10000"/>
              <a:gd name="connsiteY256" fmla="*/ 1153 h 10000"/>
              <a:gd name="connsiteX257" fmla="*/ 4935 w 10000"/>
              <a:gd name="connsiteY257" fmla="*/ 1222 h 10000"/>
              <a:gd name="connsiteX258" fmla="*/ 5061 w 10000"/>
              <a:gd name="connsiteY258" fmla="*/ 1344 h 10000"/>
              <a:gd name="connsiteX259" fmla="*/ 5074 w 10000"/>
              <a:gd name="connsiteY259" fmla="*/ 1412 h 10000"/>
              <a:gd name="connsiteX260" fmla="*/ 4421 w 10000"/>
              <a:gd name="connsiteY260" fmla="*/ 1813 h 10000"/>
              <a:gd name="connsiteX261" fmla="*/ 4220 w 10000"/>
              <a:gd name="connsiteY261" fmla="*/ 2070 h 10000"/>
              <a:gd name="connsiteX262" fmla="*/ 4003 w 10000"/>
              <a:gd name="connsiteY262" fmla="*/ 2135 h 10000"/>
              <a:gd name="connsiteX263" fmla="*/ 3868 w 10000"/>
              <a:gd name="connsiteY263" fmla="*/ 2131 h 10000"/>
              <a:gd name="connsiteX264" fmla="*/ 3785 w 10000"/>
              <a:gd name="connsiteY264" fmla="*/ 2153 h 10000"/>
              <a:gd name="connsiteX265" fmla="*/ 3558 w 10000"/>
              <a:gd name="connsiteY265" fmla="*/ 2793 h 10000"/>
              <a:gd name="connsiteX266" fmla="*/ 3036 w 10000"/>
              <a:gd name="connsiteY266" fmla="*/ 3166 h 10000"/>
              <a:gd name="connsiteX267" fmla="*/ 3040 w 10000"/>
              <a:gd name="connsiteY267" fmla="*/ 3225 h 10000"/>
              <a:gd name="connsiteX268" fmla="*/ 3271 w 10000"/>
              <a:gd name="connsiteY268" fmla="*/ 3392 h 10000"/>
              <a:gd name="connsiteX269" fmla="*/ 3197 w 10000"/>
              <a:gd name="connsiteY269" fmla="*/ 3573 h 10000"/>
              <a:gd name="connsiteX270" fmla="*/ 3062 w 10000"/>
              <a:gd name="connsiteY270" fmla="*/ 3640 h 10000"/>
              <a:gd name="connsiteX271" fmla="*/ 2657 w 10000"/>
              <a:gd name="connsiteY271" fmla="*/ 3595 h 10000"/>
              <a:gd name="connsiteX272" fmla="*/ 2378 w 10000"/>
              <a:gd name="connsiteY272" fmla="*/ 3620 h 10000"/>
              <a:gd name="connsiteX273" fmla="*/ 2152 w 10000"/>
              <a:gd name="connsiteY273" fmla="*/ 3673 h 10000"/>
              <a:gd name="connsiteX274" fmla="*/ 1790 w 10000"/>
              <a:gd name="connsiteY274" fmla="*/ 3840 h 10000"/>
              <a:gd name="connsiteX275" fmla="*/ 1598 w 10000"/>
              <a:gd name="connsiteY275" fmla="*/ 4042 h 10000"/>
              <a:gd name="connsiteX276" fmla="*/ 1616 w 10000"/>
              <a:gd name="connsiteY276" fmla="*/ 4154 h 10000"/>
              <a:gd name="connsiteX277" fmla="*/ 1681 w 10000"/>
              <a:gd name="connsiteY277" fmla="*/ 4241 h 10000"/>
              <a:gd name="connsiteX278" fmla="*/ 1733 w 10000"/>
              <a:gd name="connsiteY278" fmla="*/ 4276 h 10000"/>
              <a:gd name="connsiteX279" fmla="*/ 1638 w 10000"/>
              <a:gd name="connsiteY279" fmla="*/ 4331 h 10000"/>
              <a:gd name="connsiteX280" fmla="*/ 1433 w 10000"/>
              <a:gd name="connsiteY280" fmla="*/ 4710 h 10000"/>
              <a:gd name="connsiteX281" fmla="*/ 1472 w 10000"/>
              <a:gd name="connsiteY281" fmla="*/ 4732 h 10000"/>
              <a:gd name="connsiteX282" fmla="*/ 1503 w 10000"/>
              <a:gd name="connsiteY282" fmla="*/ 4828 h 10000"/>
              <a:gd name="connsiteX283" fmla="*/ 1407 w 10000"/>
              <a:gd name="connsiteY283" fmla="*/ 5227 h 10000"/>
              <a:gd name="connsiteX284" fmla="*/ 1503 w 10000"/>
              <a:gd name="connsiteY284" fmla="*/ 5329 h 10000"/>
              <a:gd name="connsiteX285" fmla="*/ 1764 w 10000"/>
              <a:gd name="connsiteY285" fmla="*/ 5441 h 10000"/>
              <a:gd name="connsiteX286" fmla="*/ 1777 w 10000"/>
              <a:gd name="connsiteY286" fmla="*/ 5578 h 10000"/>
              <a:gd name="connsiteX287" fmla="*/ 1664 w 10000"/>
              <a:gd name="connsiteY287" fmla="*/ 5690 h 10000"/>
              <a:gd name="connsiteX288" fmla="*/ 1503 w 10000"/>
              <a:gd name="connsiteY288" fmla="*/ 5759 h 10000"/>
              <a:gd name="connsiteX289" fmla="*/ 1289 w 10000"/>
              <a:gd name="connsiteY289" fmla="*/ 5787 h 10000"/>
              <a:gd name="connsiteX290" fmla="*/ 1233 w 10000"/>
              <a:gd name="connsiteY290" fmla="*/ 5826 h 10000"/>
              <a:gd name="connsiteX291" fmla="*/ 1359 w 10000"/>
              <a:gd name="connsiteY291" fmla="*/ 5920 h 10000"/>
              <a:gd name="connsiteX292" fmla="*/ 1429 w 10000"/>
              <a:gd name="connsiteY292" fmla="*/ 6142 h 10000"/>
              <a:gd name="connsiteX293" fmla="*/ 1267 w 10000"/>
              <a:gd name="connsiteY293" fmla="*/ 6333 h 10000"/>
              <a:gd name="connsiteX294" fmla="*/ 1324 w 10000"/>
              <a:gd name="connsiteY294" fmla="*/ 6392 h 10000"/>
              <a:gd name="connsiteX295" fmla="*/ 1272 w 10000"/>
              <a:gd name="connsiteY295" fmla="*/ 6492 h 10000"/>
              <a:gd name="connsiteX296" fmla="*/ 1167 w 10000"/>
              <a:gd name="connsiteY296" fmla="*/ 6561 h 10000"/>
              <a:gd name="connsiteX297" fmla="*/ 758 w 10000"/>
              <a:gd name="connsiteY297" fmla="*/ 6614 h 10000"/>
              <a:gd name="connsiteX298" fmla="*/ 732 w 10000"/>
              <a:gd name="connsiteY298" fmla="*/ 6706 h 10000"/>
              <a:gd name="connsiteX299" fmla="*/ 510 w 10000"/>
              <a:gd name="connsiteY299" fmla="*/ 6843 h 10000"/>
              <a:gd name="connsiteX300" fmla="*/ 540 w 10000"/>
              <a:gd name="connsiteY300" fmla="*/ 7040 h 10000"/>
              <a:gd name="connsiteX301" fmla="*/ 353 w 10000"/>
              <a:gd name="connsiteY301" fmla="*/ 7293 h 10000"/>
              <a:gd name="connsiteX302" fmla="*/ 226 w 10000"/>
              <a:gd name="connsiteY302" fmla="*/ 7323 h 10000"/>
              <a:gd name="connsiteX303" fmla="*/ 174 w 10000"/>
              <a:gd name="connsiteY303" fmla="*/ 7262 h 10000"/>
              <a:gd name="connsiteX304" fmla="*/ 109 w 10000"/>
              <a:gd name="connsiteY304" fmla="*/ 7354 h 10000"/>
              <a:gd name="connsiteX305" fmla="*/ 152 w 10000"/>
              <a:gd name="connsiteY305" fmla="*/ 7197 h 10000"/>
              <a:gd name="connsiteX306" fmla="*/ 126 w 10000"/>
              <a:gd name="connsiteY30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355 w 10000"/>
              <a:gd name="connsiteY207" fmla="*/ 2428 h 10000"/>
              <a:gd name="connsiteX208" fmla="*/ 9717 w 10000"/>
              <a:gd name="connsiteY208" fmla="*/ 2343 h 10000"/>
              <a:gd name="connsiteX209" fmla="*/ 9830 w 10000"/>
              <a:gd name="connsiteY209" fmla="*/ 2369 h 10000"/>
              <a:gd name="connsiteX210" fmla="*/ 9909 w 10000"/>
              <a:gd name="connsiteY210" fmla="*/ 2410 h 10000"/>
              <a:gd name="connsiteX211" fmla="*/ 9948 w 10000"/>
              <a:gd name="connsiteY211" fmla="*/ 2365 h 10000"/>
              <a:gd name="connsiteX212" fmla="*/ 10000 w 10000"/>
              <a:gd name="connsiteY212" fmla="*/ 2349 h 10000"/>
              <a:gd name="connsiteX213" fmla="*/ 9704 w 10000"/>
              <a:gd name="connsiteY213" fmla="*/ 1992 h 10000"/>
              <a:gd name="connsiteX214" fmla="*/ 9743 w 10000"/>
              <a:gd name="connsiteY214" fmla="*/ 1897 h 10000"/>
              <a:gd name="connsiteX215" fmla="*/ 9830 w 10000"/>
              <a:gd name="connsiteY215" fmla="*/ 1819 h 10000"/>
              <a:gd name="connsiteX216" fmla="*/ 9830 w 10000"/>
              <a:gd name="connsiteY216" fmla="*/ 1699 h 10000"/>
              <a:gd name="connsiteX217" fmla="*/ 9556 w 10000"/>
              <a:gd name="connsiteY217" fmla="*/ 1465 h 10000"/>
              <a:gd name="connsiteX218" fmla="*/ 9512 w 10000"/>
              <a:gd name="connsiteY218" fmla="*/ 1379 h 10000"/>
              <a:gd name="connsiteX219" fmla="*/ 9573 w 10000"/>
              <a:gd name="connsiteY219" fmla="*/ 1271 h 10000"/>
              <a:gd name="connsiteX220" fmla="*/ 9543 w 10000"/>
              <a:gd name="connsiteY220" fmla="*/ 1194 h 10000"/>
              <a:gd name="connsiteX221" fmla="*/ 9486 w 10000"/>
              <a:gd name="connsiteY221" fmla="*/ 1159 h 10000"/>
              <a:gd name="connsiteX222" fmla="*/ 9438 w 10000"/>
              <a:gd name="connsiteY222" fmla="*/ 978 h 10000"/>
              <a:gd name="connsiteX223" fmla="*/ 9495 w 10000"/>
              <a:gd name="connsiteY223" fmla="*/ 831 h 10000"/>
              <a:gd name="connsiteX224" fmla="*/ 9077 w 10000"/>
              <a:gd name="connsiteY224" fmla="*/ 517 h 10000"/>
              <a:gd name="connsiteX225" fmla="*/ 8872 w 10000"/>
              <a:gd name="connsiteY225" fmla="*/ 440 h 10000"/>
              <a:gd name="connsiteX226" fmla="*/ 8493 w 10000"/>
              <a:gd name="connsiteY226" fmla="*/ 389 h 10000"/>
              <a:gd name="connsiteX227" fmla="*/ 7709 w 10000"/>
              <a:gd name="connsiteY227" fmla="*/ 26 h 10000"/>
              <a:gd name="connsiteX228" fmla="*/ 7683 w 10000"/>
              <a:gd name="connsiteY228" fmla="*/ 2 h 10000"/>
              <a:gd name="connsiteX229" fmla="*/ 7417 w 10000"/>
              <a:gd name="connsiteY229" fmla="*/ 0 h 10000"/>
              <a:gd name="connsiteX230" fmla="*/ 7356 w 10000"/>
              <a:gd name="connsiteY230" fmla="*/ 14 h 10000"/>
              <a:gd name="connsiteX231" fmla="*/ 7369 w 10000"/>
              <a:gd name="connsiteY231" fmla="*/ 61 h 10000"/>
              <a:gd name="connsiteX232" fmla="*/ 7422 w 10000"/>
              <a:gd name="connsiteY232" fmla="*/ 86 h 10000"/>
              <a:gd name="connsiteX233" fmla="*/ 7435 w 10000"/>
              <a:gd name="connsiteY233" fmla="*/ 139 h 10000"/>
              <a:gd name="connsiteX234" fmla="*/ 7417 w 10000"/>
              <a:gd name="connsiteY234" fmla="*/ 181 h 10000"/>
              <a:gd name="connsiteX235" fmla="*/ 7369 w 10000"/>
              <a:gd name="connsiteY235" fmla="*/ 208 h 10000"/>
              <a:gd name="connsiteX236" fmla="*/ 7334 w 10000"/>
              <a:gd name="connsiteY236" fmla="*/ 283 h 10000"/>
              <a:gd name="connsiteX237" fmla="*/ 7269 w 10000"/>
              <a:gd name="connsiteY237" fmla="*/ 336 h 10000"/>
              <a:gd name="connsiteX238" fmla="*/ 7282 w 10000"/>
              <a:gd name="connsiteY238" fmla="*/ 387 h 10000"/>
              <a:gd name="connsiteX239" fmla="*/ 7382 w 10000"/>
              <a:gd name="connsiteY239" fmla="*/ 434 h 10000"/>
              <a:gd name="connsiteX240" fmla="*/ 7317 w 10000"/>
              <a:gd name="connsiteY240" fmla="*/ 475 h 10000"/>
              <a:gd name="connsiteX241" fmla="*/ 7221 w 10000"/>
              <a:gd name="connsiteY241" fmla="*/ 485 h 10000"/>
              <a:gd name="connsiteX242" fmla="*/ 6420 w 10000"/>
              <a:gd name="connsiteY242" fmla="*/ 387 h 10000"/>
              <a:gd name="connsiteX243" fmla="*/ 6324 w 10000"/>
              <a:gd name="connsiteY243" fmla="*/ 395 h 10000"/>
              <a:gd name="connsiteX244" fmla="*/ 6267 w 10000"/>
              <a:gd name="connsiteY244" fmla="*/ 414 h 10000"/>
              <a:gd name="connsiteX245" fmla="*/ 6211 w 10000"/>
              <a:gd name="connsiteY245" fmla="*/ 462 h 10000"/>
              <a:gd name="connsiteX246" fmla="*/ 6220 w 10000"/>
              <a:gd name="connsiteY246" fmla="*/ 581 h 10000"/>
              <a:gd name="connsiteX247" fmla="*/ 6132 w 10000"/>
              <a:gd name="connsiteY247" fmla="*/ 735 h 10000"/>
              <a:gd name="connsiteX248" fmla="*/ 6024 w 10000"/>
              <a:gd name="connsiteY248" fmla="*/ 815 h 10000"/>
              <a:gd name="connsiteX249" fmla="*/ 5980 w 10000"/>
              <a:gd name="connsiteY249" fmla="*/ 805 h 10000"/>
              <a:gd name="connsiteX250" fmla="*/ 5880 w 10000"/>
              <a:gd name="connsiteY250" fmla="*/ 739 h 10000"/>
              <a:gd name="connsiteX251" fmla="*/ 5753 w 10000"/>
              <a:gd name="connsiteY251" fmla="*/ 705 h 10000"/>
              <a:gd name="connsiteX252" fmla="*/ 5618 w 10000"/>
              <a:gd name="connsiteY252" fmla="*/ 715 h 10000"/>
              <a:gd name="connsiteX253" fmla="*/ 5301 w 10000"/>
              <a:gd name="connsiteY253" fmla="*/ 866 h 10000"/>
              <a:gd name="connsiteX254" fmla="*/ 5218 w 10000"/>
              <a:gd name="connsiteY254" fmla="*/ 1017 h 10000"/>
              <a:gd name="connsiteX255" fmla="*/ 4978 w 10000"/>
              <a:gd name="connsiteY255" fmla="*/ 1153 h 10000"/>
              <a:gd name="connsiteX256" fmla="*/ 4935 w 10000"/>
              <a:gd name="connsiteY256" fmla="*/ 1222 h 10000"/>
              <a:gd name="connsiteX257" fmla="*/ 5061 w 10000"/>
              <a:gd name="connsiteY257" fmla="*/ 1344 h 10000"/>
              <a:gd name="connsiteX258" fmla="*/ 5074 w 10000"/>
              <a:gd name="connsiteY258" fmla="*/ 1412 h 10000"/>
              <a:gd name="connsiteX259" fmla="*/ 4421 w 10000"/>
              <a:gd name="connsiteY259" fmla="*/ 1813 h 10000"/>
              <a:gd name="connsiteX260" fmla="*/ 4220 w 10000"/>
              <a:gd name="connsiteY260" fmla="*/ 2070 h 10000"/>
              <a:gd name="connsiteX261" fmla="*/ 4003 w 10000"/>
              <a:gd name="connsiteY261" fmla="*/ 2135 h 10000"/>
              <a:gd name="connsiteX262" fmla="*/ 3868 w 10000"/>
              <a:gd name="connsiteY262" fmla="*/ 2131 h 10000"/>
              <a:gd name="connsiteX263" fmla="*/ 3785 w 10000"/>
              <a:gd name="connsiteY263" fmla="*/ 2153 h 10000"/>
              <a:gd name="connsiteX264" fmla="*/ 3558 w 10000"/>
              <a:gd name="connsiteY264" fmla="*/ 2793 h 10000"/>
              <a:gd name="connsiteX265" fmla="*/ 3036 w 10000"/>
              <a:gd name="connsiteY265" fmla="*/ 3166 h 10000"/>
              <a:gd name="connsiteX266" fmla="*/ 3040 w 10000"/>
              <a:gd name="connsiteY266" fmla="*/ 3225 h 10000"/>
              <a:gd name="connsiteX267" fmla="*/ 3271 w 10000"/>
              <a:gd name="connsiteY267" fmla="*/ 3392 h 10000"/>
              <a:gd name="connsiteX268" fmla="*/ 3197 w 10000"/>
              <a:gd name="connsiteY268" fmla="*/ 3573 h 10000"/>
              <a:gd name="connsiteX269" fmla="*/ 3062 w 10000"/>
              <a:gd name="connsiteY269" fmla="*/ 3640 h 10000"/>
              <a:gd name="connsiteX270" fmla="*/ 2657 w 10000"/>
              <a:gd name="connsiteY270" fmla="*/ 3595 h 10000"/>
              <a:gd name="connsiteX271" fmla="*/ 2378 w 10000"/>
              <a:gd name="connsiteY271" fmla="*/ 3620 h 10000"/>
              <a:gd name="connsiteX272" fmla="*/ 2152 w 10000"/>
              <a:gd name="connsiteY272" fmla="*/ 3673 h 10000"/>
              <a:gd name="connsiteX273" fmla="*/ 1790 w 10000"/>
              <a:gd name="connsiteY273" fmla="*/ 3840 h 10000"/>
              <a:gd name="connsiteX274" fmla="*/ 1598 w 10000"/>
              <a:gd name="connsiteY274" fmla="*/ 4042 h 10000"/>
              <a:gd name="connsiteX275" fmla="*/ 1616 w 10000"/>
              <a:gd name="connsiteY275" fmla="*/ 4154 h 10000"/>
              <a:gd name="connsiteX276" fmla="*/ 1681 w 10000"/>
              <a:gd name="connsiteY276" fmla="*/ 4241 h 10000"/>
              <a:gd name="connsiteX277" fmla="*/ 1733 w 10000"/>
              <a:gd name="connsiteY277" fmla="*/ 4276 h 10000"/>
              <a:gd name="connsiteX278" fmla="*/ 1638 w 10000"/>
              <a:gd name="connsiteY278" fmla="*/ 4331 h 10000"/>
              <a:gd name="connsiteX279" fmla="*/ 1433 w 10000"/>
              <a:gd name="connsiteY279" fmla="*/ 4710 h 10000"/>
              <a:gd name="connsiteX280" fmla="*/ 1472 w 10000"/>
              <a:gd name="connsiteY280" fmla="*/ 4732 h 10000"/>
              <a:gd name="connsiteX281" fmla="*/ 1503 w 10000"/>
              <a:gd name="connsiteY281" fmla="*/ 4828 h 10000"/>
              <a:gd name="connsiteX282" fmla="*/ 1407 w 10000"/>
              <a:gd name="connsiteY282" fmla="*/ 5227 h 10000"/>
              <a:gd name="connsiteX283" fmla="*/ 1503 w 10000"/>
              <a:gd name="connsiteY283" fmla="*/ 5329 h 10000"/>
              <a:gd name="connsiteX284" fmla="*/ 1764 w 10000"/>
              <a:gd name="connsiteY284" fmla="*/ 5441 h 10000"/>
              <a:gd name="connsiteX285" fmla="*/ 1777 w 10000"/>
              <a:gd name="connsiteY285" fmla="*/ 5578 h 10000"/>
              <a:gd name="connsiteX286" fmla="*/ 1664 w 10000"/>
              <a:gd name="connsiteY286" fmla="*/ 5690 h 10000"/>
              <a:gd name="connsiteX287" fmla="*/ 1503 w 10000"/>
              <a:gd name="connsiteY287" fmla="*/ 5759 h 10000"/>
              <a:gd name="connsiteX288" fmla="*/ 1289 w 10000"/>
              <a:gd name="connsiteY288" fmla="*/ 5787 h 10000"/>
              <a:gd name="connsiteX289" fmla="*/ 1233 w 10000"/>
              <a:gd name="connsiteY289" fmla="*/ 5826 h 10000"/>
              <a:gd name="connsiteX290" fmla="*/ 1359 w 10000"/>
              <a:gd name="connsiteY290" fmla="*/ 5920 h 10000"/>
              <a:gd name="connsiteX291" fmla="*/ 1429 w 10000"/>
              <a:gd name="connsiteY291" fmla="*/ 6142 h 10000"/>
              <a:gd name="connsiteX292" fmla="*/ 1267 w 10000"/>
              <a:gd name="connsiteY292" fmla="*/ 6333 h 10000"/>
              <a:gd name="connsiteX293" fmla="*/ 1324 w 10000"/>
              <a:gd name="connsiteY293" fmla="*/ 6392 h 10000"/>
              <a:gd name="connsiteX294" fmla="*/ 1272 w 10000"/>
              <a:gd name="connsiteY294" fmla="*/ 6492 h 10000"/>
              <a:gd name="connsiteX295" fmla="*/ 1167 w 10000"/>
              <a:gd name="connsiteY295" fmla="*/ 6561 h 10000"/>
              <a:gd name="connsiteX296" fmla="*/ 758 w 10000"/>
              <a:gd name="connsiteY296" fmla="*/ 6614 h 10000"/>
              <a:gd name="connsiteX297" fmla="*/ 732 w 10000"/>
              <a:gd name="connsiteY297" fmla="*/ 6706 h 10000"/>
              <a:gd name="connsiteX298" fmla="*/ 510 w 10000"/>
              <a:gd name="connsiteY298" fmla="*/ 6843 h 10000"/>
              <a:gd name="connsiteX299" fmla="*/ 540 w 10000"/>
              <a:gd name="connsiteY299" fmla="*/ 7040 h 10000"/>
              <a:gd name="connsiteX300" fmla="*/ 353 w 10000"/>
              <a:gd name="connsiteY300" fmla="*/ 7293 h 10000"/>
              <a:gd name="connsiteX301" fmla="*/ 226 w 10000"/>
              <a:gd name="connsiteY301" fmla="*/ 7323 h 10000"/>
              <a:gd name="connsiteX302" fmla="*/ 174 w 10000"/>
              <a:gd name="connsiteY302" fmla="*/ 7262 h 10000"/>
              <a:gd name="connsiteX303" fmla="*/ 109 w 10000"/>
              <a:gd name="connsiteY303" fmla="*/ 7354 h 10000"/>
              <a:gd name="connsiteX304" fmla="*/ 152 w 10000"/>
              <a:gd name="connsiteY304" fmla="*/ 7197 h 10000"/>
              <a:gd name="connsiteX305" fmla="*/ 126 w 10000"/>
              <a:gd name="connsiteY30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717 w 10000"/>
              <a:gd name="connsiteY207" fmla="*/ 2343 h 10000"/>
              <a:gd name="connsiteX208" fmla="*/ 9830 w 10000"/>
              <a:gd name="connsiteY208" fmla="*/ 2369 h 10000"/>
              <a:gd name="connsiteX209" fmla="*/ 9909 w 10000"/>
              <a:gd name="connsiteY209" fmla="*/ 2410 h 10000"/>
              <a:gd name="connsiteX210" fmla="*/ 9948 w 10000"/>
              <a:gd name="connsiteY210" fmla="*/ 2365 h 10000"/>
              <a:gd name="connsiteX211" fmla="*/ 10000 w 10000"/>
              <a:gd name="connsiteY211" fmla="*/ 2349 h 10000"/>
              <a:gd name="connsiteX212" fmla="*/ 9704 w 10000"/>
              <a:gd name="connsiteY212" fmla="*/ 1992 h 10000"/>
              <a:gd name="connsiteX213" fmla="*/ 9743 w 10000"/>
              <a:gd name="connsiteY213" fmla="*/ 1897 h 10000"/>
              <a:gd name="connsiteX214" fmla="*/ 9830 w 10000"/>
              <a:gd name="connsiteY214" fmla="*/ 1819 h 10000"/>
              <a:gd name="connsiteX215" fmla="*/ 9830 w 10000"/>
              <a:gd name="connsiteY215" fmla="*/ 1699 h 10000"/>
              <a:gd name="connsiteX216" fmla="*/ 9556 w 10000"/>
              <a:gd name="connsiteY216" fmla="*/ 1465 h 10000"/>
              <a:gd name="connsiteX217" fmla="*/ 9512 w 10000"/>
              <a:gd name="connsiteY217" fmla="*/ 1379 h 10000"/>
              <a:gd name="connsiteX218" fmla="*/ 9573 w 10000"/>
              <a:gd name="connsiteY218" fmla="*/ 1271 h 10000"/>
              <a:gd name="connsiteX219" fmla="*/ 9543 w 10000"/>
              <a:gd name="connsiteY219" fmla="*/ 1194 h 10000"/>
              <a:gd name="connsiteX220" fmla="*/ 9486 w 10000"/>
              <a:gd name="connsiteY220" fmla="*/ 1159 h 10000"/>
              <a:gd name="connsiteX221" fmla="*/ 9438 w 10000"/>
              <a:gd name="connsiteY221" fmla="*/ 978 h 10000"/>
              <a:gd name="connsiteX222" fmla="*/ 9495 w 10000"/>
              <a:gd name="connsiteY222" fmla="*/ 831 h 10000"/>
              <a:gd name="connsiteX223" fmla="*/ 9077 w 10000"/>
              <a:gd name="connsiteY223" fmla="*/ 517 h 10000"/>
              <a:gd name="connsiteX224" fmla="*/ 8872 w 10000"/>
              <a:gd name="connsiteY224" fmla="*/ 440 h 10000"/>
              <a:gd name="connsiteX225" fmla="*/ 8493 w 10000"/>
              <a:gd name="connsiteY225" fmla="*/ 389 h 10000"/>
              <a:gd name="connsiteX226" fmla="*/ 7709 w 10000"/>
              <a:gd name="connsiteY226" fmla="*/ 26 h 10000"/>
              <a:gd name="connsiteX227" fmla="*/ 7683 w 10000"/>
              <a:gd name="connsiteY227" fmla="*/ 2 h 10000"/>
              <a:gd name="connsiteX228" fmla="*/ 7417 w 10000"/>
              <a:gd name="connsiteY228" fmla="*/ 0 h 10000"/>
              <a:gd name="connsiteX229" fmla="*/ 7356 w 10000"/>
              <a:gd name="connsiteY229" fmla="*/ 14 h 10000"/>
              <a:gd name="connsiteX230" fmla="*/ 7369 w 10000"/>
              <a:gd name="connsiteY230" fmla="*/ 61 h 10000"/>
              <a:gd name="connsiteX231" fmla="*/ 7422 w 10000"/>
              <a:gd name="connsiteY231" fmla="*/ 86 h 10000"/>
              <a:gd name="connsiteX232" fmla="*/ 7435 w 10000"/>
              <a:gd name="connsiteY232" fmla="*/ 139 h 10000"/>
              <a:gd name="connsiteX233" fmla="*/ 7417 w 10000"/>
              <a:gd name="connsiteY233" fmla="*/ 181 h 10000"/>
              <a:gd name="connsiteX234" fmla="*/ 7369 w 10000"/>
              <a:gd name="connsiteY234" fmla="*/ 208 h 10000"/>
              <a:gd name="connsiteX235" fmla="*/ 7334 w 10000"/>
              <a:gd name="connsiteY235" fmla="*/ 283 h 10000"/>
              <a:gd name="connsiteX236" fmla="*/ 7269 w 10000"/>
              <a:gd name="connsiteY236" fmla="*/ 336 h 10000"/>
              <a:gd name="connsiteX237" fmla="*/ 7282 w 10000"/>
              <a:gd name="connsiteY237" fmla="*/ 387 h 10000"/>
              <a:gd name="connsiteX238" fmla="*/ 7382 w 10000"/>
              <a:gd name="connsiteY238" fmla="*/ 434 h 10000"/>
              <a:gd name="connsiteX239" fmla="*/ 7317 w 10000"/>
              <a:gd name="connsiteY239" fmla="*/ 475 h 10000"/>
              <a:gd name="connsiteX240" fmla="*/ 7221 w 10000"/>
              <a:gd name="connsiteY240" fmla="*/ 485 h 10000"/>
              <a:gd name="connsiteX241" fmla="*/ 6420 w 10000"/>
              <a:gd name="connsiteY241" fmla="*/ 387 h 10000"/>
              <a:gd name="connsiteX242" fmla="*/ 6324 w 10000"/>
              <a:gd name="connsiteY242" fmla="*/ 395 h 10000"/>
              <a:gd name="connsiteX243" fmla="*/ 6267 w 10000"/>
              <a:gd name="connsiteY243" fmla="*/ 414 h 10000"/>
              <a:gd name="connsiteX244" fmla="*/ 6211 w 10000"/>
              <a:gd name="connsiteY244" fmla="*/ 462 h 10000"/>
              <a:gd name="connsiteX245" fmla="*/ 6220 w 10000"/>
              <a:gd name="connsiteY245" fmla="*/ 581 h 10000"/>
              <a:gd name="connsiteX246" fmla="*/ 6132 w 10000"/>
              <a:gd name="connsiteY246" fmla="*/ 735 h 10000"/>
              <a:gd name="connsiteX247" fmla="*/ 6024 w 10000"/>
              <a:gd name="connsiteY247" fmla="*/ 815 h 10000"/>
              <a:gd name="connsiteX248" fmla="*/ 5980 w 10000"/>
              <a:gd name="connsiteY248" fmla="*/ 805 h 10000"/>
              <a:gd name="connsiteX249" fmla="*/ 5880 w 10000"/>
              <a:gd name="connsiteY249" fmla="*/ 739 h 10000"/>
              <a:gd name="connsiteX250" fmla="*/ 5753 w 10000"/>
              <a:gd name="connsiteY250" fmla="*/ 705 h 10000"/>
              <a:gd name="connsiteX251" fmla="*/ 5618 w 10000"/>
              <a:gd name="connsiteY251" fmla="*/ 715 h 10000"/>
              <a:gd name="connsiteX252" fmla="*/ 5301 w 10000"/>
              <a:gd name="connsiteY252" fmla="*/ 866 h 10000"/>
              <a:gd name="connsiteX253" fmla="*/ 5218 w 10000"/>
              <a:gd name="connsiteY253" fmla="*/ 1017 h 10000"/>
              <a:gd name="connsiteX254" fmla="*/ 4978 w 10000"/>
              <a:gd name="connsiteY254" fmla="*/ 1153 h 10000"/>
              <a:gd name="connsiteX255" fmla="*/ 4935 w 10000"/>
              <a:gd name="connsiteY255" fmla="*/ 1222 h 10000"/>
              <a:gd name="connsiteX256" fmla="*/ 5061 w 10000"/>
              <a:gd name="connsiteY256" fmla="*/ 1344 h 10000"/>
              <a:gd name="connsiteX257" fmla="*/ 5074 w 10000"/>
              <a:gd name="connsiteY257" fmla="*/ 1412 h 10000"/>
              <a:gd name="connsiteX258" fmla="*/ 4421 w 10000"/>
              <a:gd name="connsiteY258" fmla="*/ 1813 h 10000"/>
              <a:gd name="connsiteX259" fmla="*/ 4220 w 10000"/>
              <a:gd name="connsiteY259" fmla="*/ 2070 h 10000"/>
              <a:gd name="connsiteX260" fmla="*/ 4003 w 10000"/>
              <a:gd name="connsiteY260" fmla="*/ 2135 h 10000"/>
              <a:gd name="connsiteX261" fmla="*/ 3868 w 10000"/>
              <a:gd name="connsiteY261" fmla="*/ 2131 h 10000"/>
              <a:gd name="connsiteX262" fmla="*/ 3785 w 10000"/>
              <a:gd name="connsiteY262" fmla="*/ 2153 h 10000"/>
              <a:gd name="connsiteX263" fmla="*/ 3558 w 10000"/>
              <a:gd name="connsiteY263" fmla="*/ 2793 h 10000"/>
              <a:gd name="connsiteX264" fmla="*/ 3036 w 10000"/>
              <a:gd name="connsiteY264" fmla="*/ 3166 h 10000"/>
              <a:gd name="connsiteX265" fmla="*/ 3040 w 10000"/>
              <a:gd name="connsiteY265" fmla="*/ 3225 h 10000"/>
              <a:gd name="connsiteX266" fmla="*/ 3271 w 10000"/>
              <a:gd name="connsiteY266" fmla="*/ 3392 h 10000"/>
              <a:gd name="connsiteX267" fmla="*/ 3197 w 10000"/>
              <a:gd name="connsiteY267" fmla="*/ 3573 h 10000"/>
              <a:gd name="connsiteX268" fmla="*/ 3062 w 10000"/>
              <a:gd name="connsiteY268" fmla="*/ 3640 h 10000"/>
              <a:gd name="connsiteX269" fmla="*/ 2657 w 10000"/>
              <a:gd name="connsiteY269" fmla="*/ 3595 h 10000"/>
              <a:gd name="connsiteX270" fmla="*/ 2378 w 10000"/>
              <a:gd name="connsiteY270" fmla="*/ 3620 h 10000"/>
              <a:gd name="connsiteX271" fmla="*/ 2152 w 10000"/>
              <a:gd name="connsiteY271" fmla="*/ 3673 h 10000"/>
              <a:gd name="connsiteX272" fmla="*/ 1790 w 10000"/>
              <a:gd name="connsiteY272" fmla="*/ 3840 h 10000"/>
              <a:gd name="connsiteX273" fmla="*/ 1598 w 10000"/>
              <a:gd name="connsiteY273" fmla="*/ 4042 h 10000"/>
              <a:gd name="connsiteX274" fmla="*/ 1616 w 10000"/>
              <a:gd name="connsiteY274" fmla="*/ 4154 h 10000"/>
              <a:gd name="connsiteX275" fmla="*/ 1681 w 10000"/>
              <a:gd name="connsiteY275" fmla="*/ 4241 h 10000"/>
              <a:gd name="connsiteX276" fmla="*/ 1733 w 10000"/>
              <a:gd name="connsiteY276" fmla="*/ 4276 h 10000"/>
              <a:gd name="connsiteX277" fmla="*/ 1638 w 10000"/>
              <a:gd name="connsiteY277" fmla="*/ 4331 h 10000"/>
              <a:gd name="connsiteX278" fmla="*/ 1433 w 10000"/>
              <a:gd name="connsiteY278" fmla="*/ 4710 h 10000"/>
              <a:gd name="connsiteX279" fmla="*/ 1472 w 10000"/>
              <a:gd name="connsiteY279" fmla="*/ 4732 h 10000"/>
              <a:gd name="connsiteX280" fmla="*/ 1503 w 10000"/>
              <a:gd name="connsiteY280" fmla="*/ 4828 h 10000"/>
              <a:gd name="connsiteX281" fmla="*/ 1407 w 10000"/>
              <a:gd name="connsiteY281" fmla="*/ 5227 h 10000"/>
              <a:gd name="connsiteX282" fmla="*/ 1503 w 10000"/>
              <a:gd name="connsiteY282" fmla="*/ 5329 h 10000"/>
              <a:gd name="connsiteX283" fmla="*/ 1764 w 10000"/>
              <a:gd name="connsiteY283" fmla="*/ 5441 h 10000"/>
              <a:gd name="connsiteX284" fmla="*/ 1777 w 10000"/>
              <a:gd name="connsiteY284" fmla="*/ 5578 h 10000"/>
              <a:gd name="connsiteX285" fmla="*/ 1664 w 10000"/>
              <a:gd name="connsiteY285" fmla="*/ 5690 h 10000"/>
              <a:gd name="connsiteX286" fmla="*/ 1503 w 10000"/>
              <a:gd name="connsiteY286" fmla="*/ 5759 h 10000"/>
              <a:gd name="connsiteX287" fmla="*/ 1289 w 10000"/>
              <a:gd name="connsiteY287" fmla="*/ 5787 h 10000"/>
              <a:gd name="connsiteX288" fmla="*/ 1233 w 10000"/>
              <a:gd name="connsiteY288" fmla="*/ 5826 h 10000"/>
              <a:gd name="connsiteX289" fmla="*/ 1359 w 10000"/>
              <a:gd name="connsiteY289" fmla="*/ 5920 h 10000"/>
              <a:gd name="connsiteX290" fmla="*/ 1429 w 10000"/>
              <a:gd name="connsiteY290" fmla="*/ 6142 h 10000"/>
              <a:gd name="connsiteX291" fmla="*/ 1267 w 10000"/>
              <a:gd name="connsiteY291" fmla="*/ 6333 h 10000"/>
              <a:gd name="connsiteX292" fmla="*/ 1324 w 10000"/>
              <a:gd name="connsiteY292" fmla="*/ 6392 h 10000"/>
              <a:gd name="connsiteX293" fmla="*/ 1272 w 10000"/>
              <a:gd name="connsiteY293" fmla="*/ 6492 h 10000"/>
              <a:gd name="connsiteX294" fmla="*/ 1167 w 10000"/>
              <a:gd name="connsiteY294" fmla="*/ 6561 h 10000"/>
              <a:gd name="connsiteX295" fmla="*/ 758 w 10000"/>
              <a:gd name="connsiteY295" fmla="*/ 6614 h 10000"/>
              <a:gd name="connsiteX296" fmla="*/ 732 w 10000"/>
              <a:gd name="connsiteY296" fmla="*/ 6706 h 10000"/>
              <a:gd name="connsiteX297" fmla="*/ 510 w 10000"/>
              <a:gd name="connsiteY297" fmla="*/ 6843 h 10000"/>
              <a:gd name="connsiteX298" fmla="*/ 540 w 10000"/>
              <a:gd name="connsiteY298" fmla="*/ 7040 h 10000"/>
              <a:gd name="connsiteX299" fmla="*/ 353 w 10000"/>
              <a:gd name="connsiteY299" fmla="*/ 7293 h 10000"/>
              <a:gd name="connsiteX300" fmla="*/ 226 w 10000"/>
              <a:gd name="connsiteY300" fmla="*/ 7323 h 10000"/>
              <a:gd name="connsiteX301" fmla="*/ 174 w 10000"/>
              <a:gd name="connsiteY301" fmla="*/ 7262 h 10000"/>
              <a:gd name="connsiteX302" fmla="*/ 109 w 10000"/>
              <a:gd name="connsiteY302" fmla="*/ 7354 h 10000"/>
              <a:gd name="connsiteX303" fmla="*/ 152 w 10000"/>
              <a:gd name="connsiteY303" fmla="*/ 7197 h 10000"/>
              <a:gd name="connsiteX304" fmla="*/ 126 w 10000"/>
              <a:gd name="connsiteY304" fmla="*/ 7166 h 10000"/>
              <a:gd name="connsiteX0" fmla="*/ 126 w 9948"/>
              <a:gd name="connsiteY0" fmla="*/ 7166 h 10000"/>
              <a:gd name="connsiteX1" fmla="*/ 0 w 9948"/>
              <a:gd name="connsiteY1" fmla="*/ 7248 h 10000"/>
              <a:gd name="connsiteX2" fmla="*/ 0 w 9948"/>
              <a:gd name="connsiteY2" fmla="*/ 7651 h 10000"/>
              <a:gd name="connsiteX3" fmla="*/ 70 w 9948"/>
              <a:gd name="connsiteY3" fmla="*/ 7663 h 10000"/>
              <a:gd name="connsiteX4" fmla="*/ 87 w 9948"/>
              <a:gd name="connsiteY4" fmla="*/ 7694 h 10000"/>
              <a:gd name="connsiteX5" fmla="*/ 83 w 9948"/>
              <a:gd name="connsiteY5" fmla="*/ 7749 h 10000"/>
              <a:gd name="connsiteX6" fmla="*/ 57 w 9948"/>
              <a:gd name="connsiteY6" fmla="*/ 7773 h 10000"/>
              <a:gd name="connsiteX7" fmla="*/ 161 w 9948"/>
              <a:gd name="connsiteY7" fmla="*/ 7727 h 10000"/>
              <a:gd name="connsiteX8" fmla="*/ 205 w 9948"/>
              <a:gd name="connsiteY8" fmla="*/ 7680 h 10000"/>
              <a:gd name="connsiteX9" fmla="*/ 261 w 9948"/>
              <a:gd name="connsiteY9" fmla="*/ 7712 h 10000"/>
              <a:gd name="connsiteX10" fmla="*/ 200 w 9948"/>
              <a:gd name="connsiteY10" fmla="*/ 7778 h 10000"/>
              <a:gd name="connsiteX11" fmla="*/ 266 w 9948"/>
              <a:gd name="connsiteY11" fmla="*/ 7780 h 10000"/>
              <a:gd name="connsiteX12" fmla="*/ 296 w 9948"/>
              <a:gd name="connsiteY12" fmla="*/ 7796 h 10000"/>
              <a:gd name="connsiteX13" fmla="*/ 213 w 9948"/>
              <a:gd name="connsiteY13" fmla="*/ 7818 h 10000"/>
              <a:gd name="connsiteX14" fmla="*/ 83 w 9948"/>
              <a:gd name="connsiteY14" fmla="*/ 7886 h 10000"/>
              <a:gd name="connsiteX15" fmla="*/ 314 w 9948"/>
              <a:gd name="connsiteY15" fmla="*/ 7938 h 10000"/>
              <a:gd name="connsiteX16" fmla="*/ 344 w 9948"/>
              <a:gd name="connsiteY16" fmla="*/ 8014 h 10000"/>
              <a:gd name="connsiteX17" fmla="*/ 266 w 9948"/>
              <a:gd name="connsiteY17" fmla="*/ 8126 h 10000"/>
              <a:gd name="connsiteX18" fmla="*/ 436 w 9948"/>
              <a:gd name="connsiteY18" fmla="*/ 8118 h 10000"/>
              <a:gd name="connsiteX19" fmla="*/ 449 w 9948"/>
              <a:gd name="connsiteY19" fmla="*/ 8203 h 10000"/>
              <a:gd name="connsiteX20" fmla="*/ 335 w 9948"/>
              <a:gd name="connsiteY20" fmla="*/ 8260 h 10000"/>
              <a:gd name="connsiteX21" fmla="*/ 353 w 9948"/>
              <a:gd name="connsiteY21" fmla="*/ 8370 h 10000"/>
              <a:gd name="connsiteX22" fmla="*/ 309 w 9948"/>
              <a:gd name="connsiteY22" fmla="*/ 8456 h 10000"/>
              <a:gd name="connsiteX23" fmla="*/ 444 w 9948"/>
              <a:gd name="connsiteY23" fmla="*/ 8464 h 10000"/>
              <a:gd name="connsiteX24" fmla="*/ 575 w 9948"/>
              <a:gd name="connsiteY24" fmla="*/ 8792 h 10000"/>
              <a:gd name="connsiteX25" fmla="*/ 727 w 9948"/>
              <a:gd name="connsiteY25" fmla="*/ 8876 h 10000"/>
              <a:gd name="connsiteX26" fmla="*/ 793 w 9948"/>
              <a:gd name="connsiteY26" fmla="*/ 8965 h 10000"/>
              <a:gd name="connsiteX27" fmla="*/ 958 w 9948"/>
              <a:gd name="connsiteY27" fmla="*/ 9030 h 10000"/>
              <a:gd name="connsiteX28" fmla="*/ 1063 w 9948"/>
              <a:gd name="connsiteY28" fmla="*/ 9112 h 10000"/>
              <a:gd name="connsiteX29" fmla="*/ 1050 w 9948"/>
              <a:gd name="connsiteY29" fmla="*/ 9171 h 10000"/>
              <a:gd name="connsiteX30" fmla="*/ 945 w 9948"/>
              <a:gd name="connsiteY30" fmla="*/ 9193 h 10000"/>
              <a:gd name="connsiteX31" fmla="*/ 832 w 9948"/>
              <a:gd name="connsiteY31" fmla="*/ 9179 h 10000"/>
              <a:gd name="connsiteX32" fmla="*/ 797 w 9948"/>
              <a:gd name="connsiteY32" fmla="*/ 9204 h 10000"/>
              <a:gd name="connsiteX33" fmla="*/ 884 w 9948"/>
              <a:gd name="connsiteY33" fmla="*/ 9332 h 10000"/>
              <a:gd name="connsiteX34" fmla="*/ 762 w 9948"/>
              <a:gd name="connsiteY34" fmla="*/ 9322 h 10000"/>
              <a:gd name="connsiteX35" fmla="*/ 658 w 9948"/>
              <a:gd name="connsiteY35" fmla="*/ 9291 h 10000"/>
              <a:gd name="connsiteX36" fmla="*/ 640 w 9948"/>
              <a:gd name="connsiteY36" fmla="*/ 9338 h 10000"/>
              <a:gd name="connsiteX37" fmla="*/ 984 w 9948"/>
              <a:gd name="connsiteY37" fmla="*/ 9776 h 10000"/>
              <a:gd name="connsiteX38" fmla="*/ 928 w 9948"/>
              <a:gd name="connsiteY38" fmla="*/ 9817 h 10000"/>
              <a:gd name="connsiteX39" fmla="*/ 889 w 9948"/>
              <a:gd name="connsiteY39" fmla="*/ 9902 h 10000"/>
              <a:gd name="connsiteX40" fmla="*/ 841 w 9948"/>
              <a:gd name="connsiteY40" fmla="*/ 9908 h 10000"/>
              <a:gd name="connsiteX41" fmla="*/ 810 w 9948"/>
              <a:gd name="connsiteY41" fmla="*/ 9945 h 10000"/>
              <a:gd name="connsiteX42" fmla="*/ 1019 w 9948"/>
              <a:gd name="connsiteY42" fmla="*/ 9949 h 10000"/>
              <a:gd name="connsiteX43" fmla="*/ 1202 w 9948"/>
              <a:gd name="connsiteY43" fmla="*/ 9986 h 10000"/>
              <a:gd name="connsiteX44" fmla="*/ 1507 w 9948"/>
              <a:gd name="connsiteY44" fmla="*/ 9947 h 10000"/>
              <a:gd name="connsiteX45" fmla="*/ 1781 w 9948"/>
              <a:gd name="connsiteY45" fmla="*/ 9953 h 10000"/>
              <a:gd name="connsiteX46" fmla="*/ 1943 w 9948"/>
              <a:gd name="connsiteY46" fmla="*/ 10000 h 10000"/>
              <a:gd name="connsiteX47" fmla="*/ 2030 w 9948"/>
              <a:gd name="connsiteY47" fmla="*/ 9969 h 10000"/>
              <a:gd name="connsiteX48" fmla="*/ 2117 w 9948"/>
              <a:gd name="connsiteY48" fmla="*/ 9868 h 10000"/>
              <a:gd name="connsiteX49" fmla="*/ 2095 w 9948"/>
              <a:gd name="connsiteY49" fmla="*/ 9703 h 10000"/>
              <a:gd name="connsiteX50" fmla="*/ 2304 w 9948"/>
              <a:gd name="connsiteY50" fmla="*/ 9517 h 10000"/>
              <a:gd name="connsiteX51" fmla="*/ 2456 w 9948"/>
              <a:gd name="connsiteY51" fmla="*/ 9546 h 10000"/>
              <a:gd name="connsiteX52" fmla="*/ 2544 w 9948"/>
              <a:gd name="connsiteY52" fmla="*/ 9472 h 10000"/>
              <a:gd name="connsiteX53" fmla="*/ 2713 w 9948"/>
              <a:gd name="connsiteY53" fmla="*/ 9430 h 10000"/>
              <a:gd name="connsiteX54" fmla="*/ 2944 w 9948"/>
              <a:gd name="connsiteY54" fmla="*/ 9440 h 10000"/>
              <a:gd name="connsiteX55" fmla="*/ 3084 w 9948"/>
              <a:gd name="connsiteY55" fmla="*/ 9470 h 10000"/>
              <a:gd name="connsiteX56" fmla="*/ 3267 w 9948"/>
              <a:gd name="connsiteY56" fmla="*/ 9456 h 10000"/>
              <a:gd name="connsiteX57" fmla="*/ 3454 w 9948"/>
              <a:gd name="connsiteY57" fmla="*/ 9489 h 10000"/>
              <a:gd name="connsiteX58" fmla="*/ 3641 w 9948"/>
              <a:gd name="connsiteY58" fmla="*/ 9493 h 10000"/>
              <a:gd name="connsiteX59" fmla="*/ 4059 w 9948"/>
              <a:gd name="connsiteY59" fmla="*/ 9061 h 10000"/>
              <a:gd name="connsiteX60" fmla="*/ 4164 w 9948"/>
              <a:gd name="connsiteY60" fmla="*/ 8711 h 10000"/>
              <a:gd name="connsiteX61" fmla="*/ 4334 w 9948"/>
              <a:gd name="connsiteY61" fmla="*/ 8554 h 10000"/>
              <a:gd name="connsiteX62" fmla="*/ 4334 w 9948"/>
              <a:gd name="connsiteY62" fmla="*/ 8472 h 10000"/>
              <a:gd name="connsiteX63" fmla="*/ 4273 w 9948"/>
              <a:gd name="connsiteY63" fmla="*/ 8425 h 10000"/>
              <a:gd name="connsiteX64" fmla="*/ 4373 w 9948"/>
              <a:gd name="connsiteY64" fmla="*/ 8352 h 10000"/>
              <a:gd name="connsiteX65" fmla="*/ 4355 w 9948"/>
              <a:gd name="connsiteY65" fmla="*/ 8289 h 10000"/>
              <a:gd name="connsiteX66" fmla="*/ 4286 w 9948"/>
              <a:gd name="connsiteY66" fmla="*/ 8236 h 10000"/>
              <a:gd name="connsiteX67" fmla="*/ 4273 w 9948"/>
              <a:gd name="connsiteY67" fmla="*/ 8199 h 10000"/>
              <a:gd name="connsiteX68" fmla="*/ 4290 w 9948"/>
              <a:gd name="connsiteY68" fmla="*/ 8169 h 10000"/>
              <a:gd name="connsiteX69" fmla="*/ 4382 w 9948"/>
              <a:gd name="connsiteY69" fmla="*/ 8193 h 10000"/>
              <a:gd name="connsiteX70" fmla="*/ 4456 w 9948"/>
              <a:gd name="connsiteY70" fmla="*/ 8191 h 10000"/>
              <a:gd name="connsiteX71" fmla="*/ 4416 w 9948"/>
              <a:gd name="connsiteY71" fmla="*/ 8140 h 10000"/>
              <a:gd name="connsiteX72" fmla="*/ 4429 w 9948"/>
              <a:gd name="connsiteY72" fmla="*/ 8112 h 10000"/>
              <a:gd name="connsiteX73" fmla="*/ 4482 w 9948"/>
              <a:gd name="connsiteY73" fmla="*/ 8069 h 10000"/>
              <a:gd name="connsiteX74" fmla="*/ 4473 w 9948"/>
              <a:gd name="connsiteY74" fmla="*/ 8034 h 10000"/>
              <a:gd name="connsiteX75" fmla="*/ 4521 w 9948"/>
              <a:gd name="connsiteY75" fmla="*/ 7916 h 10000"/>
              <a:gd name="connsiteX76" fmla="*/ 4508 w 9948"/>
              <a:gd name="connsiteY76" fmla="*/ 7881 h 10000"/>
              <a:gd name="connsiteX77" fmla="*/ 4255 w 9948"/>
              <a:gd name="connsiteY77" fmla="*/ 7792 h 10000"/>
              <a:gd name="connsiteX78" fmla="*/ 4290 w 9948"/>
              <a:gd name="connsiteY78" fmla="*/ 7788 h 10000"/>
              <a:gd name="connsiteX79" fmla="*/ 4425 w 9948"/>
              <a:gd name="connsiteY79" fmla="*/ 7812 h 10000"/>
              <a:gd name="connsiteX80" fmla="*/ 4569 w 9948"/>
              <a:gd name="connsiteY80" fmla="*/ 7804 h 10000"/>
              <a:gd name="connsiteX81" fmla="*/ 4612 w 9948"/>
              <a:gd name="connsiteY81" fmla="*/ 7771 h 10000"/>
              <a:gd name="connsiteX82" fmla="*/ 4473 w 9948"/>
              <a:gd name="connsiteY82" fmla="*/ 7710 h 10000"/>
              <a:gd name="connsiteX83" fmla="*/ 4055 w 9948"/>
              <a:gd name="connsiteY83" fmla="*/ 7670 h 10000"/>
              <a:gd name="connsiteX84" fmla="*/ 4085 w 9948"/>
              <a:gd name="connsiteY84" fmla="*/ 7651 h 10000"/>
              <a:gd name="connsiteX85" fmla="*/ 4425 w 9948"/>
              <a:gd name="connsiteY85" fmla="*/ 7639 h 10000"/>
              <a:gd name="connsiteX86" fmla="*/ 4612 w 9948"/>
              <a:gd name="connsiteY86" fmla="*/ 7676 h 10000"/>
              <a:gd name="connsiteX87" fmla="*/ 4721 w 9948"/>
              <a:gd name="connsiteY87" fmla="*/ 7651 h 10000"/>
              <a:gd name="connsiteX88" fmla="*/ 4760 w 9948"/>
              <a:gd name="connsiteY88" fmla="*/ 7588 h 10000"/>
              <a:gd name="connsiteX89" fmla="*/ 4956 w 9948"/>
              <a:gd name="connsiteY89" fmla="*/ 7588 h 10000"/>
              <a:gd name="connsiteX90" fmla="*/ 5222 w 9948"/>
              <a:gd name="connsiteY90" fmla="*/ 7462 h 10000"/>
              <a:gd name="connsiteX91" fmla="*/ 5231 w 9948"/>
              <a:gd name="connsiteY91" fmla="*/ 7378 h 10000"/>
              <a:gd name="connsiteX92" fmla="*/ 5344 w 9948"/>
              <a:gd name="connsiteY92" fmla="*/ 7397 h 10000"/>
              <a:gd name="connsiteX93" fmla="*/ 5340 w 9948"/>
              <a:gd name="connsiteY93" fmla="*/ 7482 h 10000"/>
              <a:gd name="connsiteX94" fmla="*/ 5518 w 9948"/>
              <a:gd name="connsiteY94" fmla="*/ 7476 h 10000"/>
              <a:gd name="connsiteX95" fmla="*/ 5636 w 9948"/>
              <a:gd name="connsiteY95" fmla="*/ 7388 h 10000"/>
              <a:gd name="connsiteX96" fmla="*/ 5854 w 9948"/>
              <a:gd name="connsiteY96" fmla="*/ 7309 h 10000"/>
              <a:gd name="connsiteX97" fmla="*/ 5819 w 9948"/>
              <a:gd name="connsiteY97" fmla="*/ 7219 h 10000"/>
              <a:gd name="connsiteX98" fmla="*/ 5884 w 9948"/>
              <a:gd name="connsiteY98" fmla="*/ 7254 h 10000"/>
              <a:gd name="connsiteX99" fmla="*/ 5984 w 9948"/>
              <a:gd name="connsiteY99" fmla="*/ 7254 h 10000"/>
              <a:gd name="connsiteX100" fmla="*/ 5984 w 9948"/>
              <a:gd name="connsiteY100" fmla="*/ 7213 h 10000"/>
              <a:gd name="connsiteX101" fmla="*/ 6076 w 9948"/>
              <a:gd name="connsiteY101" fmla="*/ 7181 h 10000"/>
              <a:gd name="connsiteX102" fmla="*/ 6063 w 9948"/>
              <a:gd name="connsiteY102" fmla="*/ 7148 h 10000"/>
              <a:gd name="connsiteX103" fmla="*/ 5279 w 9948"/>
              <a:gd name="connsiteY103" fmla="*/ 7215 h 10000"/>
              <a:gd name="connsiteX104" fmla="*/ 5096 w 9948"/>
              <a:gd name="connsiteY104" fmla="*/ 7195 h 10000"/>
              <a:gd name="connsiteX105" fmla="*/ 5022 w 9948"/>
              <a:gd name="connsiteY105" fmla="*/ 7219 h 10000"/>
              <a:gd name="connsiteX106" fmla="*/ 4996 w 9948"/>
              <a:gd name="connsiteY106" fmla="*/ 7173 h 10000"/>
              <a:gd name="connsiteX107" fmla="*/ 4909 w 9948"/>
              <a:gd name="connsiteY107" fmla="*/ 7132 h 10000"/>
              <a:gd name="connsiteX108" fmla="*/ 4560 w 9948"/>
              <a:gd name="connsiteY108" fmla="*/ 7052 h 10000"/>
              <a:gd name="connsiteX109" fmla="*/ 4355 w 9948"/>
              <a:gd name="connsiteY109" fmla="*/ 7065 h 10000"/>
              <a:gd name="connsiteX110" fmla="*/ 4273 w 9948"/>
              <a:gd name="connsiteY110" fmla="*/ 7042 h 10000"/>
              <a:gd name="connsiteX111" fmla="*/ 4360 w 9948"/>
              <a:gd name="connsiteY111" fmla="*/ 7022 h 10000"/>
              <a:gd name="connsiteX112" fmla="*/ 4425 w 9948"/>
              <a:gd name="connsiteY112" fmla="*/ 6979 h 10000"/>
              <a:gd name="connsiteX113" fmla="*/ 4521 w 9948"/>
              <a:gd name="connsiteY113" fmla="*/ 6993 h 10000"/>
              <a:gd name="connsiteX114" fmla="*/ 4639 w 9948"/>
              <a:gd name="connsiteY114" fmla="*/ 6981 h 10000"/>
              <a:gd name="connsiteX115" fmla="*/ 4813 w 9948"/>
              <a:gd name="connsiteY115" fmla="*/ 6995 h 10000"/>
              <a:gd name="connsiteX116" fmla="*/ 4834 w 9948"/>
              <a:gd name="connsiteY116" fmla="*/ 6989 h 10000"/>
              <a:gd name="connsiteX117" fmla="*/ 4970 w 9948"/>
              <a:gd name="connsiteY117" fmla="*/ 7056 h 10000"/>
              <a:gd name="connsiteX118" fmla="*/ 5070 w 9948"/>
              <a:gd name="connsiteY118" fmla="*/ 7032 h 10000"/>
              <a:gd name="connsiteX119" fmla="*/ 5078 w 9948"/>
              <a:gd name="connsiteY119" fmla="*/ 7010 h 10000"/>
              <a:gd name="connsiteX120" fmla="*/ 5170 w 9948"/>
              <a:gd name="connsiteY120" fmla="*/ 7048 h 10000"/>
              <a:gd name="connsiteX121" fmla="*/ 5292 w 9948"/>
              <a:gd name="connsiteY121" fmla="*/ 7069 h 10000"/>
              <a:gd name="connsiteX122" fmla="*/ 5340 w 9948"/>
              <a:gd name="connsiteY122" fmla="*/ 7030 h 10000"/>
              <a:gd name="connsiteX123" fmla="*/ 5379 w 9948"/>
              <a:gd name="connsiteY123" fmla="*/ 7052 h 10000"/>
              <a:gd name="connsiteX124" fmla="*/ 5436 w 9948"/>
              <a:gd name="connsiteY124" fmla="*/ 7126 h 10000"/>
              <a:gd name="connsiteX125" fmla="*/ 5553 w 9948"/>
              <a:gd name="connsiteY125" fmla="*/ 7144 h 10000"/>
              <a:gd name="connsiteX126" fmla="*/ 6032 w 9948"/>
              <a:gd name="connsiteY126" fmla="*/ 7034 h 10000"/>
              <a:gd name="connsiteX127" fmla="*/ 6267 w 9948"/>
              <a:gd name="connsiteY127" fmla="*/ 6879 h 10000"/>
              <a:gd name="connsiteX128" fmla="*/ 6324 w 9948"/>
              <a:gd name="connsiteY128" fmla="*/ 6765 h 10000"/>
              <a:gd name="connsiteX129" fmla="*/ 6237 w 9948"/>
              <a:gd name="connsiteY129" fmla="*/ 6663 h 10000"/>
              <a:gd name="connsiteX130" fmla="*/ 6058 w 9948"/>
              <a:gd name="connsiteY130" fmla="*/ 6602 h 10000"/>
              <a:gd name="connsiteX131" fmla="*/ 5932 w 9948"/>
              <a:gd name="connsiteY131" fmla="*/ 6502 h 10000"/>
              <a:gd name="connsiteX132" fmla="*/ 6050 w 9948"/>
              <a:gd name="connsiteY132" fmla="*/ 6498 h 10000"/>
              <a:gd name="connsiteX133" fmla="*/ 6041 w 9948"/>
              <a:gd name="connsiteY133" fmla="*/ 6474 h 10000"/>
              <a:gd name="connsiteX134" fmla="*/ 5732 w 9948"/>
              <a:gd name="connsiteY134" fmla="*/ 6403 h 10000"/>
              <a:gd name="connsiteX135" fmla="*/ 5719 w 9948"/>
              <a:gd name="connsiteY135" fmla="*/ 6339 h 10000"/>
              <a:gd name="connsiteX136" fmla="*/ 5662 w 9948"/>
              <a:gd name="connsiteY136" fmla="*/ 6272 h 10000"/>
              <a:gd name="connsiteX137" fmla="*/ 5418 w 9948"/>
              <a:gd name="connsiteY137" fmla="*/ 6284 h 10000"/>
              <a:gd name="connsiteX138" fmla="*/ 5331 w 9948"/>
              <a:gd name="connsiteY138" fmla="*/ 6213 h 10000"/>
              <a:gd name="connsiteX139" fmla="*/ 5279 w 9948"/>
              <a:gd name="connsiteY139" fmla="*/ 6209 h 10000"/>
              <a:gd name="connsiteX140" fmla="*/ 5279 w 9948"/>
              <a:gd name="connsiteY140" fmla="*/ 6238 h 10000"/>
              <a:gd name="connsiteX141" fmla="*/ 5170 w 9948"/>
              <a:gd name="connsiteY141" fmla="*/ 6358 h 10000"/>
              <a:gd name="connsiteX142" fmla="*/ 5052 w 9948"/>
              <a:gd name="connsiteY142" fmla="*/ 6429 h 10000"/>
              <a:gd name="connsiteX143" fmla="*/ 4682 w 9948"/>
              <a:gd name="connsiteY143" fmla="*/ 6551 h 10000"/>
              <a:gd name="connsiteX144" fmla="*/ 4551 w 9948"/>
              <a:gd name="connsiteY144" fmla="*/ 6547 h 10000"/>
              <a:gd name="connsiteX145" fmla="*/ 4373 w 9948"/>
              <a:gd name="connsiteY145" fmla="*/ 6565 h 10000"/>
              <a:gd name="connsiteX146" fmla="*/ 4273 w 9948"/>
              <a:gd name="connsiteY146" fmla="*/ 6547 h 10000"/>
              <a:gd name="connsiteX147" fmla="*/ 4403 w 9948"/>
              <a:gd name="connsiteY147" fmla="*/ 6513 h 10000"/>
              <a:gd name="connsiteX148" fmla="*/ 4573 w 9948"/>
              <a:gd name="connsiteY148" fmla="*/ 6498 h 10000"/>
              <a:gd name="connsiteX149" fmla="*/ 4713 w 9948"/>
              <a:gd name="connsiteY149" fmla="*/ 6441 h 10000"/>
              <a:gd name="connsiteX150" fmla="*/ 4852 w 9948"/>
              <a:gd name="connsiteY150" fmla="*/ 6415 h 10000"/>
              <a:gd name="connsiteX151" fmla="*/ 5109 w 9948"/>
              <a:gd name="connsiteY151" fmla="*/ 6317 h 10000"/>
              <a:gd name="connsiteX152" fmla="*/ 5157 w 9948"/>
              <a:gd name="connsiteY152" fmla="*/ 6252 h 10000"/>
              <a:gd name="connsiteX153" fmla="*/ 5161 w 9948"/>
              <a:gd name="connsiteY153" fmla="*/ 6168 h 10000"/>
              <a:gd name="connsiteX154" fmla="*/ 5044 w 9948"/>
              <a:gd name="connsiteY154" fmla="*/ 6154 h 10000"/>
              <a:gd name="connsiteX155" fmla="*/ 5096 w 9948"/>
              <a:gd name="connsiteY155" fmla="*/ 6103 h 10000"/>
              <a:gd name="connsiteX156" fmla="*/ 5113 w 9948"/>
              <a:gd name="connsiteY156" fmla="*/ 6038 h 10000"/>
              <a:gd name="connsiteX157" fmla="*/ 5065 w 9948"/>
              <a:gd name="connsiteY157" fmla="*/ 5977 h 10000"/>
              <a:gd name="connsiteX158" fmla="*/ 5035 w 9948"/>
              <a:gd name="connsiteY158" fmla="*/ 5533 h 10000"/>
              <a:gd name="connsiteX159" fmla="*/ 5105 w 9948"/>
              <a:gd name="connsiteY159" fmla="*/ 5437 h 10000"/>
              <a:gd name="connsiteX160" fmla="*/ 5087 w 9948"/>
              <a:gd name="connsiteY160" fmla="*/ 5398 h 10000"/>
              <a:gd name="connsiteX161" fmla="*/ 5292 w 9948"/>
              <a:gd name="connsiteY161" fmla="*/ 5455 h 10000"/>
              <a:gd name="connsiteX162" fmla="*/ 5305 w 9948"/>
              <a:gd name="connsiteY162" fmla="*/ 5402 h 10000"/>
              <a:gd name="connsiteX163" fmla="*/ 5261 w 9948"/>
              <a:gd name="connsiteY163" fmla="*/ 5264 h 10000"/>
              <a:gd name="connsiteX164" fmla="*/ 5409 w 9948"/>
              <a:gd name="connsiteY164" fmla="*/ 5019 h 10000"/>
              <a:gd name="connsiteX165" fmla="*/ 5318 w 9948"/>
              <a:gd name="connsiteY165" fmla="*/ 4960 h 10000"/>
              <a:gd name="connsiteX166" fmla="*/ 5283 w 9948"/>
              <a:gd name="connsiteY166" fmla="*/ 4905 h 10000"/>
              <a:gd name="connsiteX167" fmla="*/ 5296 w 9948"/>
              <a:gd name="connsiteY167" fmla="*/ 4816 h 10000"/>
              <a:gd name="connsiteX168" fmla="*/ 5510 w 9948"/>
              <a:gd name="connsiteY168" fmla="*/ 4875 h 10000"/>
              <a:gd name="connsiteX169" fmla="*/ 5518 w 9948"/>
              <a:gd name="connsiteY169" fmla="*/ 4858 h 10000"/>
              <a:gd name="connsiteX170" fmla="*/ 5579 w 9948"/>
              <a:gd name="connsiteY170" fmla="*/ 4842 h 10000"/>
              <a:gd name="connsiteX171" fmla="*/ 5662 w 9948"/>
              <a:gd name="connsiteY171" fmla="*/ 4785 h 10000"/>
              <a:gd name="connsiteX172" fmla="*/ 5675 w 9948"/>
              <a:gd name="connsiteY172" fmla="*/ 4769 h 10000"/>
              <a:gd name="connsiteX173" fmla="*/ 5658 w 9948"/>
              <a:gd name="connsiteY173" fmla="*/ 4748 h 10000"/>
              <a:gd name="connsiteX174" fmla="*/ 5701 w 9948"/>
              <a:gd name="connsiteY174" fmla="*/ 4647 h 10000"/>
              <a:gd name="connsiteX175" fmla="*/ 5649 w 9948"/>
              <a:gd name="connsiteY175" fmla="*/ 4581 h 10000"/>
              <a:gd name="connsiteX176" fmla="*/ 5658 w 9948"/>
              <a:gd name="connsiteY176" fmla="*/ 4528 h 10000"/>
              <a:gd name="connsiteX177" fmla="*/ 5688 w 9948"/>
              <a:gd name="connsiteY177" fmla="*/ 4590 h 10000"/>
              <a:gd name="connsiteX178" fmla="*/ 5806 w 9948"/>
              <a:gd name="connsiteY178" fmla="*/ 4636 h 10000"/>
              <a:gd name="connsiteX179" fmla="*/ 5854 w 9948"/>
              <a:gd name="connsiteY179" fmla="*/ 4630 h 10000"/>
              <a:gd name="connsiteX180" fmla="*/ 5932 w 9948"/>
              <a:gd name="connsiteY180" fmla="*/ 4569 h 10000"/>
              <a:gd name="connsiteX181" fmla="*/ 6015 w 9948"/>
              <a:gd name="connsiteY181" fmla="*/ 4594 h 10000"/>
              <a:gd name="connsiteX182" fmla="*/ 6037 w 9948"/>
              <a:gd name="connsiteY182" fmla="*/ 4545 h 10000"/>
              <a:gd name="connsiteX183" fmla="*/ 6093 w 9948"/>
              <a:gd name="connsiteY183" fmla="*/ 4512 h 10000"/>
              <a:gd name="connsiteX184" fmla="*/ 5941 w 9948"/>
              <a:gd name="connsiteY184" fmla="*/ 4477 h 10000"/>
              <a:gd name="connsiteX185" fmla="*/ 6050 w 9948"/>
              <a:gd name="connsiteY185" fmla="*/ 4484 h 10000"/>
              <a:gd name="connsiteX186" fmla="*/ 6163 w 9948"/>
              <a:gd name="connsiteY186" fmla="*/ 4447 h 10000"/>
              <a:gd name="connsiteX187" fmla="*/ 6159 w 9948"/>
              <a:gd name="connsiteY187" fmla="*/ 4422 h 10000"/>
              <a:gd name="connsiteX188" fmla="*/ 6263 w 9948"/>
              <a:gd name="connsiteY188" fmla="*/ 4398 h 10000"/>
              <a:gd name="connsiteX189" fmla="*/ 6272 w 9948"/>
              <a:gd name="connsiteY189" fmla="*/ 4337 h 10000"/>
              <a:gd name="connsiteX190" fmla="*/ 6355 w 9948"/>
              <a:gd name="connsiteY190" fmla="*/ 4325 h 10000"/>
              <a:gd name="connsiteX191" fmla="*/ 6363 w 9948"/>
              <a:gd name="connsiteY191" fmla="*/ 4253 h 10000"/>
              <a:gd name="connsiteX192" fmla="*/ 6450 w 9948"/>
              <a:gd name="connsiteY192" fmla="*/ 4245 h 10000"/>
              <a:gd name="connsiteX193" fmla="*/ 6585 w 9948"/>
              <a:gd name="connsiteY193" fmla="*/ 4260 h 10000"/>
              <a:gd name="connsiteX194" fmla="*/ 6733 w 9948"/>
              <a:gd name="connsiteY194" fmla="*/ 4202 h 10000"/>
              <a:gd name="connsiteX195" fmla="*/ 6786 w 9948"/>
              <a:gd name="connsiteY195" fmla="*/ 4137 h 10000"/>
              <a:gd name="connsiteX196" fmla="*/ 6969 w 9948"/>
              <a:gd name="connsiteY196" fmla="*/ 4070 h 10000"/>
              <a:gd name="connsiteX197" fmla="*/ 7060 w 9948"/>
              <a:gd name="connsiteY197" fmla="*/ 4111 h 10000"/>
              <a:gd name="connsiteX198" fmla="*/ 7199 w 9948"/>
              <a:gd name="connsiteY198" fmla="*/ 4066 h 10000"/>
              <a:gd name="connsiteX199" fmla="*/ 7234 w 9948"/>
              <a:gd name="connsiteY199" fmla="*/ 4009 h 10000"/>
              <a:gd name="connsiteX200" fmla="*/ 7339 w 9948"/>
              <a:gd name="connsiteY200" fmla="*/ 3970 h 10000"/>
              <a:gd name="connsiteX201" fmla="*/ 7430 w 9948"/>
              <a:gd name="connsiteY201" fmla="*/ 3987 h 10000"/>
              <a:gd name="connsiteX202" fmla="*/ 7487 w 9948"/>
              <a:gd name="connsiteY202" fmla="*/ 3958 h 10000"/>
              <a:gd name="connsiteX203" fmla="*/ 7644 w 9948"/>
              <a:gd name="connsiteY203" fmla="*/ 3917 h 10000"/>
              <a:gd name="connsiteX204" fmla="*/ 7709 w 9948"/>
              <a:gd name="connsiteY204" fmla="*/ 3864 h 10000"/>
              <a:gd name="connsiteX205" fmla="*/ 7796 w 9948"/>
              <a:gd name="connsiteY205" fmla="*/ 3842 h 10000"/>
              <a:gd name="connsiteX206" fmla="*/ 8280 w 9948"/>
              <a:gd name="connsiteY206" fmla="*/ 3522 h 10000"/>
              <a:gd name="connsiteX207" fmla="*/ 9717 w 9948"/>
              <a:gd name="connsiteY207" fmla="*/ 2343 h 10000"/>
              <a:gd name="connsiteX208" fmla="*/ 9830 w 9948"/>
              <a:gd name="connsiteY208" fmla="*/ 2369 h 10000"/>
              <a:gd name="connsiteX209" fmla="*/ 9909 w 9948"/>
              <a:gd name="connsiteY209" fmla="*/ 2410 h 10000"/>
              <a:gd name="connsiteX210" fmla="*/ 9948 w 9948"/>
              <a:gd name="connsiteY210" fmla="*/ 2365 h 10000"/>
              <a:gd name="connsiteX211" fmla="*/ 9704 w 9948"/>
              <a:gd name="connsiteY211" fmla="*/ 1992 h 10000"/>
              <a:gd name="connsiteX212" fmla="*/ 9743 w 9948"/>
              <a:gd name="connsiteY212" fmla="*/ 1897 h 10000"/>
              <a:gd name="connsiteX213" fmla="*/ 9830 w 9948"/>
              <a:gd name="connsiteY213" fmla="*/ 1819 h 10000"/>
              <a:gd name="connsiteX214" fmla="*/ 9830 w 9948"/>
              <a:gd name="connsiteY214" fmla="*/ 1699 h 10000"/>
              <a:gd name="connsiteX215" fmla="*/ 9556 w 9948"/>
              <a:gd name="connsiteY215" fmla="*/ 1465 h 10000"/>
              <a:gd name="connsiteX216" fmla="*/ 9512 w 9948"/>
              <a:gd name="connsiteY216" fmla="*/ 1379 h 10000"/>
              <a:gd name="connsiteX217" fmla="*/ 9573 w 9948"/>
              <a:gd name="connsiteY217" fmla="*/ 1271 h 10000"/>
              <a:gd name="connsiteX218" fmla="*/ 9543 w 9948"/>
              <a:gd name="connsiteY218" fmla="*/ 1194 h 10000"/>
              <a:gd name="connsiteX219" fmla="*/ 9486 w 9948"/>
              <a:gd name="connsiteY219" fmla="*/ 1159 h 10000"/>
              <a:gd name="connsiteX220" fmla="*/ 9438 w 9948"/>
              <a:gd name="connsiteY220" fmla="*/ 978 h 10000"/>
              <a:gd name="connsiteX221" fmla="*/ 9495 w 9948"/>
              <a:gd name="connsiteY221" fmla="*/ 831 h 10000"/>
              <a:gd name="connsiteX222" fmla="*/ 9077 w 9948"/>
              <a:gd name="connsiteY222" fmla="*/ 517 h 10000"/>
              <a:gd name="connsiteX223" fmla="*/ 8872 w 9948"/>
              <a:gd name="connsiteY223" fmla="*/ 440 h 10000"/>
              <a:gd name="connsiteX224" fmla="*/ 8493 w 9948"/>
              <a:gd name="connsiteY224" fmla="*/ 389 h 10000"/>
              <a:gd name="connsiteX225" fmla="*/ 7709 w 9948"/>
              <a:gd name="connsiteY225" fmla="*/ 26 h 10000"/>
              <a:gd name="connsiteX226" fmla="*/ 7683 w 9948"/>
              <a:gd name="connsiteY226" fmla="*/ 2 h 10000"/>
              <a:gd name="connsiteX227" fmla="*/ 7417 w 9948"/>
              <a:gd name="connsiteY227" fmla="*/ 0 h 10000"/>
              <a:gd name="connsiteX228" fmla="*/ 7356 w 9948"/>
              <a:gd name="connsiteY228" fmla="*/ 14 h 10000"/>
              <a:gd name="connsiteX229" fmla="*/ 7369 w 9948"/>
              <a:gd name="connsiteY229" fmla="*/ 61 h 10000"/>
              <a:gd name="connsiteX230" fmla="*/ 7422 w 9948"/>
              <a:gd name="connsiteY230" fmla="*/ 86 h 10000"/>
              <a:gd name="connsiteX231" fmla="*/ 7435 w 9948"/>
              <a:gd name="connsiteY231" fmla="*/ 139 h 10000"/>
              <a:gd name="connsiteX232" fmla="*/ 7417 w 9948"/>
              <a:gd name="connsiteY232" fmla="*/ 181 h 10000"/>
              <a:gd name="connsiteX233" fmla="*/ 7369 w 9948"/>
              <a:gd name="connsiteY233" fmla="*/ 208 h 10000"/>
              <a:gd name="connsiteX234" fmla="*/ 7334 w 9948"/>
              <a:gd name="connsiteY234" fmla="*/ 283 h 10000"/>
              <a:gd name="connsiteX235" fmla="*/ 7269 w 9948"/>
              <a:gd name="connsiteY235" fmla="*/ 336 h 10000"/>
              <a:gd name="connsiteX236" fmla="*/ 7282 w 9948"/>
              <a:gd name="connsiteY236" fmla="*/ 387 h 10000"/>
              <a:gd name="connsiteX237" fmla="*/ 7382 w 9948"/>
              <a:gd name="connsiteY237" fmla="*/ 434 h 10000"/>
              <a:gd name="connsiteX238" fmla="*/ 7317 w 9948"/>
              <a:gd name="connsiteY238" fmla="*/ 475 h 10000"/>
              <a:gd name="connsiteX239" fmla="*/ 7221 w 9948"/>
              <a:gd name="connsiteY239" fmla="*/ 485 h 10000"/>
              <a:gd name="connsiteX240" fmla="*/ 6420 w 9948"/>
              <a:gd name="connsiteY240" fmla="*/ 387 h 10000"/>
              <a:gd name="connsiteX241" fmla="*/ 6324 w 9948"/>
              <a:gd name="connsiteY241" fmla="*/ 395 h 10000"/>
              <a:gd name="connsiteX242" fmla="*/ 6267 w 9948"/>
              <a:gd name="connsiteY242" fmla="*/ 414 h 10000"/>
              <a:gd name="connsiteX243" fmla="*/ 6211 w 9948"/>
              <a:gd name="connsiteY243" fmla="*/ 462 h 10000"/>
              <a:gd name="connsiteX244" fmla="*/ 6220 w 9948"/>
              <a:gd name="connsiteY244" fmla="*/ 581 h 10000"/>
              <a:gd name="connsiteX245" fmla="*/ 6132 w 9948"/>
              <a:gd name="connsiteY245" fmla="*/ 735 h 10000"/>
              <a:gd name="connsiteX246" fmla="*/ 6024 w 9948"/>
              <a:gd name="connsiteY246" fmla="*/ 815 h 10000"/>
              <a:gd name="connsiteX247" fmla="*/ 5980 w 9948"/>
              <a:gd name="connsiteY247" fmla="*/ 805 h 10000"/>
              <a:gd name="connsiteX248" fmla="*/ 5880 w 9948"/>
              <a:gd name="connsiteY248" fmla="*/ 739 h 10000"/>
              <a:gd name="connsiteX249" fmla="*/ 5753 w 9948"/>
              <a:gd name="connsiteY249" fmla="*/ 705 h 10000"/>
              <a:gd name="connsiteX250" fmla="*/ 5618 w 9948"/>
              <a:gd name="connsiteY250" fmla="*/ 715 h 10000"/>
              <a:gd name="connsiteX251" fmla="*/ 5301 w 9948"/>
              <a:gd name="connsiteY251" fmla="*/ 866 h 10000"/>
              <a:gd name="connsiteX252" fmla="*/ 5218 w 9948"/>
              <a:gd name="connsiteY252" fmla="*/ 1017 h 10000"/>
              <a:gd name="connsiteX253" fmla="*/ 4978 w 9948"/>
              <a:gd name="connsiteY253" fmla="*/ 1153 h 10000"/>
              <a:gd name="connsiteX254" fmla="*/ 4935 w 9948"/>
              <a:gd name="connsiteY254" fmla="*/ 1222 h 10000"/>
              <a:gd name="connsiteX255" fmla="*/ 5061 w 9948"/>
              <a:gd name="connsiteY255" fmla="*/ 1344 h 10000"/>
              <a:gd name="connsiteX256" fmla="*/ 5074 w 9948"/>
              <a:gd name="connsiteY256" fmla="*/ 1412 h 10000"/>
              <a:gd name="connsiteX257" fmla="*/ 4421 w 9948"/>
              <a:gd name="connsiteY257" fmla="*/ 1813 h 10000"/>
              <a:gd name="connsiteX258" fmla="*/ 4220 w 9948"/>
              <a:gd name="connsiteY258" fmla="*/ 2070 h 10000"/>
              <a:gd name="connsiteX259" fmla="*/ 4003 w 9948"/>
              <a:gd name="connsiteY259" fmla="*/ 2135 h 10000"/>
              <a:gd name="connsiteX260" fmla="*/ 3868 w 9948"/>
              <a:gd name="connsiteY260" fmla="*/ 2131 h 10000"/>
              <a:gd name="connsiteX261" fmla="*/ 3785 w 9948"/>
              <a:gd name="connsiteY261" fmla="*/ 2153 h 10000"/>
              <a:gd name="connsiteX262" fmla="*/ 3558 w 9948"/>
              <a:gd name="connsiteY262" fmla="*/ 2793 h 10000"/>
              <a:gd name="connsiteX263" fmla="*/ 3036 w 9948"/>
              <a:gd name="connsiteY263" fmla="*/ 3166 h 10000"/>
              <a:gd name="connsiteX264" fmla="*/ 3040 w 9948"/>
              <a:gd name="connsiteY264" fmla="*/ 3225 h 10000"/>
              <a:gd name="connsiteX265" fmla="*/ 3271 w 9948"/>
              <a:gd name="connsiteY265" fmla="*/ 3392 h 10000"/>
              <a:gd name="connsiteX266" fmla="*/ 3197 w 9948"/>
              <a:gd name="connsiteY266" fmla="*/ 3573 h 10000"/>
              <a:gd name="connsiteX267" fmla="*/ 3062 w 9948"/>
              <a:gd name="connsiteY267" fmla="*/ 3640 h 10000"/>
              <a:gd name="connsiteX268" fmla="*/ 2657 w 9948"/>
              <a:gd name="connsiteY268" fmla="*/ 3595 h 10000"/>
              <a:gd name="connsiteX269" fmla="*/ 2378 w 9948"/>
              <a:gd name="connsiteY269" fmla="*/ 3620 h 10000"/>
              <a:gd name="connsiteX270" fmla="*/ 2152 w 9948"/>
              <a:gd name="connsiteY270" fmla="*/ 3673 h 10000"/>
              <a:gd name="connsiteX271" fmla="*/ 1790 w 9948"/>
              <a:gd name="connsiteY271" fmla="*/ 3840 h 10000"/>
              <a:gd name="connsiteX272" fmla="*/ 1598 w 9948"/>
              <a:gd name="connsiteY272" fmla="*/ 4042 h 10000"/>
              <a:gd name="connsiteX273" fmla="*/ 1616 w 9948"/>
              <a:gd name="connsiteY273" fmla="*/ 4154 h 10000"/>
              <a:gd name="connsiteX274" fmla="*/ 1681 w 9948"/>
              <a:gd name="connsiteY274" fmla="*/ 4241 h 10000"/>
              <a:gd name="connsiteX275" fmla="*/ 1733 w 9948"/>
              <a:gd name="connsiteY275" fmla="*/ 4276 h 10000"/>
              <a:gd name="connsiteX276" fmla="*/ 1638 w 9948"/>
              <a:gd name="connsiteY276" fmla="*/ 4331 h 10000"/>
              <a:gd name="connsiteX277" fmla="*/ 1433 w 9948"/>
              <a:gd name="connsiteY277" fmla="*/ 4710 h 10000"/>
              <a:gd name="connsiteX278" fmla="*/ 1472 w 9948"/>
              <a:gd name="connsiteY278" fmla="*/ 4732 h 10000"/>
              <a:gd name="connsiteX279" fmla="*/ 1503 w 9948"/>
              <a:gd name="connsiteY279" fmla="*/ 4828 h 10000"/>
              <a:gd name="connsiteX280" fmla="*/ 1407 w 9948"/>
              <a:gd name="connsiteY280" fmla="*/ 5227 h 10000"/>
              <a:gd name="connsiteX281" fmla="*/ 1503 w 9948"/>
              <a:gd name="connsiteY281" fmla="*/ 5329 h 10000"/>
              <a:gd name="connsiteX282" fmla="*/ 1764 w 9948"/>
              <a:gd name="connsiteY282" fmla="*/ 5441 h 10000"/>
              <a:gd name="connsiteX283" fmla="*/ 1777 w 9948"/>
              <a:gd name="connsiteY283" fmla="*/ 5578 h 10000"/>
              <a:gd name="connsiteX284" fmla="*/ 1664 w 9948"/>
              <a:gd name="connsiteY284" fmla="*/ 5690 h 10000"/>
              <a:gd name="connsiteX285" fmla="*/ 1503 w 9948"/>
              <a:gd name="connsiteY285" fmla="*/ 5759 h 10000"/>
              <a:gd name="connsiteX286" fmla="*/ 1289 w 9948"/>
              <a:gd name="connsiteY286" fmla="*/ 5787 h 10000"/>
              <a:gd name="connsiteX287" fmla="*/ 1233 w 9948"/>
              <a:gd name="connsiteY287" fmla="*/ 5826 h 10000"/>
              <a:gd name="connsiteX288" fmla="*/ 1359 w 9948"/>
              <a:gd name="connsiteY288" fmla="*/ 5920 h 10000"/>
              <a:gd name="connsiteX289" fmla="*/ 1429 w 9948"/>
              <a:gd name="connsiteY289" fmla="*/ 6142 h 10000"/>
              <a:gd name="connsiteX290" fmla="*/ 1267 w 9948"/>
              <a:gd name="connsiteY290" fmla="*/ 6333 h 10000"/>
              <a:gd name="connsiteX291" fmla="*/ 1324 w 9948"/>
              <a:gd name="connsiteY291" fmla="*/ 6392 h 10000"/>
              <a:gd name="connsiteX292" fmla="*/ 1272 w 9948"/>
              <a:gd name="connsiteY292" fmla="*/ 6492 h 10000"/>
              <a:gd name="connsiteX293" fmla="*/ 1167 w 9948"/>
              <a:gd name="connsiteY293" fmla="*/ 6561 h 10000"/>
              <a:gd name="connsiteX294" fmla="*/ 758 w 9948"/>
              <a:gd name="connsiteY294" fmla="*/ 6614 h 10000"/>
              <a:gd name="connsiteX295" fmla="*/ 732 w 9948"/>
              <a:gd name="connsiteY295" fmla="*/ 6706 h 10000"/>
              <a:gd name="connsiteX296" fmla="*/ 510 w 9948"/>
              <a:gd name="connsiteY296" fmla="*/ 6843 h 10000"/>
              <a:gd name="connsiteX297" fmla="*/ 540 w 9948"/>
              <a:gd name="connsiteY297" fmla="*/ 7040 h 10000"/>
              <a:gd name="connsiteX298" fmla="*/ 353 w 9948"/>
              <a:gd name="connsiteY298" fmla="*/ 7293 h 10000"/>
              <a:gd name="connsiteX299" fmla="*/ 226 w 9948"/>
              <a:gd name="connsiteY299" fmla="*/ 7323 h 10000"/>
              <a:gd name="connsiteX300" fmla="*/ 174 w 9948"/>
              <a:gd name="connsiteY300" fmla="*/ 7262 h 10000"/>
              <a:gd name="connsiteX301" fmla="*/ 109 w 9948"/>
              <a:gd name="connsiteY301" fmla="*/ 7354 h 10000"/>
              <a:gd name="connsiteX302" fmla="*/ 152 w 9948"/>
              <a:gd name="connsiteY302" fmla="*/ 7197 h 10000"/>
              <a:gd name="connsiteX303" fmla="*/ 126 w 9948"/>
              <a:gd name="connsiteY303" fmla="*/ 7166 h 10000"/>
              <a:gd name="connsiteX0" fmla="*/ 127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2 w 10000"/>
              <a:gd name="connsiteY7" fmla="*/ 7727 h 10000"/>
              <a:gd name="connsiteX8" fmla="*/ 206 w 10000"/>
              <a:gd name="connsiteY8" fmla="*/ 7680 h 10000"/>
              <a:gd name="connsiteX9" fmla="*/ 262 w 10000"/>
              <a:gd name="connsiteY9" fmla="*/ 7712 h 10000"/>
              <a:gd name="connsiteX10" fmla="*/ 201 w 10000"/>
              <a:gd name="connsiteY10" fmla="*/ 7778 h 10000"/>
              <a:gd name="connsiteX11" fmla="*/ 267 w 10000"/>
              <a:gd name="connsiteY11" fmla="*/ 7780 h 10000"/>
              <a:gd name="connsiteX12" fmla="*/ 298 w 10000"/>
              <a:gd name="connsiteY12" fmla="*/ 7796 h 10000"/>
              <a:gd name="connsiteX13" fmla="*/ 214 w 10000"/>
              <a:gd name="connsiteY13" fmla="*/ 7818 h 10000"/>
              <a:gd name="connsiteX14" fmla="*/ 83 w 10000"/>
              <a:gd name="connsiteY14" fmla="*/ 7886 h 10000"/>
              <a:gd name="connsiteX15" fmla="*/ 316 w 10000"/>
              <a:gd name="connsiteY15" fmla="*/ 7938 h 10000"/>
              <a:gd name="connsiteX16" fmla="*/ 346 w 10000"/>
              <a:gd name="connsiteY16" fmla="*/ 8014 h 10000"/>
              <a:gd name="connsiteX17" fmla="*/ 267 w 10000"/>
              <a:gd name="connsiteY17" fmla="*/ 8126 h 10000"/>
              <a:gd name="connsiteX18" fmla="*/ 438 w 10000"/>
              <a:gd name="connsiteY18" fmla="*/ 8118 h 10000"/>
              <a:gd name="connsiteX19" fmla="*/ 451 w 10000"/>
              <a:gd name="connsiteY19" fmla="*/ 8203 h 10000"/>
              <a:gd name="connsiteX20" fmla="*/ 337 w 10000"/>
              <a:gd name="connsiteY20" fmla="*/ 8260 h 10000"/>
              <a:gd name="connsiteX21" fmla="*/ 355 w 10000"/>
              <a:gd name="connsiteY21" fmla="*/ 8370 h 10000"/>
              <a:gd name="connsiteX22" fmla="*/ 311 w 10000"/>
              <a:gd name="connsiteY22" fmla="*/ 8456 h 10000"/>
              <a:gd name="connsiteX23" fmla="*/ 446 w 10000"/>
              <a:gd name="connsiteY23" fmla="*/ 8464 h 10000"/>
              <a:gd name="connsiteX24" fmla="*/ 578 w 10000"/>
              <a:gd name="connsiteY24" fmla="*/ 8792 h 10000"/>
              <a:gd name="connsiteX25" fmla="*/ 731 w 10000"/>
              <a:gd name="connsiteY25" fmla="*/ 8876 h 10000"/>
              <a:gd name="connsiteX26" fmla="*/ 797 w 10000"/>
              <a:gd name="connsiteY26" fmla="*/ 8965 h 10000"/>
              <a:gd name="connsiteX27" fmla="*/ 963 w 10000"/>
              <a:gd name="connsiteY27" fmla="*/ 9030 h 10000"/>
              <a:gd name="connsiteX28" fmla="*/ 1069 w 10000"/>
              <a:gd name="connsiteY28" fmla="*/ 9112 h 10000"/>
              <a:gd name="connsiteX29" fmla="*/ 1055 w 10000"/>
              <a:gd name="connsiteY29" fmla="*/ 9171 h 10000"/>
              <a:gd name="connsiteX30" fmla="*/ 950 w 10000"/>
              <a:gd name="connsiteY30" fmla="*/ 9193 h 10000"/>
              <a:gd name="connsiteX31" fmla="*/ 836 w 10000"/>
              <a:gd name="connsiteY31" fmla="*/ 9179 h 10000"/>
              <a:gd name="connsiteX32" fmla="*/ 801 w 10000"/>
              <a:gd name="connsiteY32" fmla="*/ 9204 h 10000"/>
              <a:gd name="connsiteX33" fmla="*/ 889 w 10000"/>
              <a:gd name="connsiteY33" fmla="*/ 9332 h 10000"/>
              <a:gd name="connsiteX34" fmla="*/ 766 w 10000"/>
              <a:gd name="connsiteY34" fmla="*/ 9322 h 10000"/>
              <a:gd name="connsiteX35" fmla="*/ 661 w 10000"/>
              <a:gd name="connsiteY35" fmla="*/ 9291 h 10000"/>
              <a:gd name="connsiteX36" fmla="*/ 643 w 10000"/>
              <a:gd name="connsiteY36" fmla="*/ 9338 h 10000"/>
              <a:gd name="connsiteX37" fmla="*/ 989 w 10000"/>
              <a:gd name="connsiteY37" fmla="*/ 9776 h 10000"/>
              <a:gd name="connsiteX38" fmla="*/ 933 w 10000"/>
              <a:gd name="connsiteY38" fmla="*/ 9817 h 10000"/>
              <a:gd name="connsiteX39" fmla="*/ 894 w 10000"/>
              <a:gd name="connsiteY39" fmla="*/ 9902 h 10000"/>
              <a:gd name="connsiteX40" fmla="*/ 845 w 10000"/>
              <a:gd name="connsiteY40" fmla="*/ 9908 h 10000"/>
              <a:gd name="connsiteX41" fmla="*/ 814 w 10000"/>
              <a:gd name="connsiteY41" fmla="*/ 9945 h 10000"/>
              <a:gd name="connsiteX42" fmla="*/ 1024 w 10000"/>
              <a:gd name="connsiteY42" fmla="*/ 9949 h 10000"/>
              <a:gd name="connsiteX43" fmla="*/ 1208 w 10000"/>
              <a:gd name="connsiteY43" fmla="*/ 9986 h 10000"/>
              <a:gd name="connsiteX44" fmla="*/ 1515 w 10000"/>
              <a:gd name="connsiteY44" fmla="*/ 9947 h 10000"/>
              <a:gd name="connsiteX45" fmla="*/ 1790 w 10000"/>
              <a:gd name="connsiteY45" fmla="*/ 9953 h 10000"/>
              <a:gd name="connsiteX46" fmla="*/ 1953 w 10000"/>
              <a:gd name="connsiteY46" fmla="*/ 10000 h 10000"/>
              <a:gd name="connsiteX47" fmla="*/ 2041 w 10000"/>
              <a:gd name="connsiteY47" fmla="*/ 9969 h 10000"/>
              <a:gd name="connsiteX48" fmla="*/ 2128 w 10000"/>
              <a:gd name="connsiteY48" fmla="*/ 9868 h 10000"/>
              <a:gd name="connsiteX49" fmla="*/ 2106 w 10000"/>
              <a:gd name="connsiteY49" fmla="*/ 9703 h 10000"/>
              <a:gd name="connsiteX50" fmla="*/ 2316 w 10000"/>
              <a:gd name="connsiteY50" fmla="*/ 9517 h 10000"/>
              <a:gd name="connsiteX51" fmla="*/ 2469 w 10000"/>
              <a:gd name="connsiteY51" fmla="*/ 9546 h 10000"/>
              <a:gd name="connsiteX52" fmla="*/ 2557 w 10000"/>
              <a:gd name="connsiteY52" fmla="*/ 9472 h 10000"/>
              <a:gd name="connsiteX53" fmla="*/ 2727 w 10000"/>
              <a:gd name="connsiteY53" fmla="*/ 9430 h 10000"/>
              <a:gd name="connsiteX54" fmla="*/ 2959 w 10000"/>
              <a:gd name="connsiteY54" fmla="*/ 9440 h 10000"/>
              <a:gd name="connsiteX55" fmla="*/ 3100 w 10000"/>
              <a:gd name="connsiteY55" fmla="*/ 9470 h 10000"/>
              <a:gd name="connsiteX56" fmla="*/ 3284 w 10000"/>
              <a:gd name="connsiteY56" fmla="*/ 9456 h 10000"/>
              <a:gd name="connsiteX57" fmla="*/ 3472 w 10000"/>
              <a:gd name="connsiteY57" fmla="*/ 9489 h 10000"/>
              <a:gd name="connsiteX58" fmla="*/ 3660 w 10000"/>
              <a:gd name="connsiteY58" fmla="*/ 9493 h 10000"/>
              <a:gd name="connsiteX59" fmla="*/ 4080 w 10000"/>
              <a:gd name="connsiteY59" fmla="*/ 9061 h 10000"/>
              <a:gd name="connsiteX60" fmla="*/ 4186 w 10000"/>
              <a:gd name="connsiteY60" fmla="*/ 8711 h 10000"/>
              <a:gd name="connsiteX61" fmla="*/ 4357 w 10000"/>
              <a:gd name="connsiteY61" fmla="*/ 8554 h 10000"/>
              <a:gd name="connsiteX62" fmla="*/ 4357 w 10000"/>
              <a:gd name="connsiteY62" fmla="*/ 8472 h 10000"/>
              <a:gd name="connsiteX63" fmla="*/ 4295 w 10000"/>
              <a:gd name="connsiteY63" fmla="*/ 8425 h 10000"/>
              <a:gd name="connsiteX64" fmla="*/ 4396 w 10000"/>
              <a:gd name="connsiteY64" fmla="*/ 8352 h 10000"/>
              <a:gd name="connsiteX65" fmla="*/ 4378 w 10000"/>
              <a:gd name="connsiteY65" fmla="*/ 8289 h 10000"/>
              <a:gd name="connsiteX66" fmla="*/ 4308 w 10000"/>
              <a:gd name="connsiteY66" fmla="*/ 8236 h 10000"/>
              <a:gd name="connsiteX67" fmla="*/ 4295 w 10000"/>
              <a:gd name="connsiteY67" fmla="*/ 8199 h 10000"/>
              <a:gd name="connsiteX68" fmla="*/ 4312 w 10000"/>
              <a:gd name="connsiteY68" fmla="*/ 8169 h 10000"/>
              <a:gd name="connsiteX69" fmla="*/ 4405 w 10000"/>
              <a:gd name="connsiteY69" fmla="*/ 8193 h 10000"/>
              <a:gd name="connsiteX70" fmla="*/ 4479 w 10000"/>
              <a:gd name="connsiteY70" fmla="*/ 8191 h 10000"/>
              <a:gd name="connsiteX71" fmla="*/ 4439 w 10000"/>
              <a:gd name="connsiteY71" fmla="*/ 8140 h 10000"/>
              <a:gd name="connsiteX72" fmla="*/ 4452 w 10000"/>
              <a:gd name="connsiteY72" fmla="*/ 8112 h 10000"/>
              <a:gd name="connsiteX73" fmla="*/ 4505 w 10000"/>
              <a:gd name="connsiteY73" fmla="*/ 8069 h 10000"/>
              <a:gd name="connsiteX74" fmla="*/ 4496 w 10000"/>
              <a:gd name="connsiteY74" fmla="*/ 8034 h 10000"/>
              <a:gd name="connsiteX75" fmla="*/ 4545 w 10000"/>
              <a:gd name="connsiteY75" fmla="*/ 7916 h 10000"/>
              <a:gd name="connsiteX76" fmla="*/ 4532 w 10000"/>
              <a:gd name="connsiteY76" fmla="*/ 7881 h 10000"/>
              <a:gd name="connsiteX77" fmla="*/ 4277 w 10000"/>
              <a:gd name="connsiteY77" fmla="*/ 7792 h 10000"/>
              <a:gd name="connsiteX78" fmla="*/ 4312 w 10000"/>
              <a:gd name="connsiteY78" fmla="*/ 7788 h 10000"/>
              <a:gd name="connsiteX79" fmla="*/ 4448 w 10000"/>
              <a:gd name="connsiteY79" fmla="*/ 7812 h 10000"/>
              <a:gd name="connsiteX80" fmla="*/ 4593 w 10000"/>
              <a:gd name="connsiteY80" fmla="*/ 7804 h 10000"/>
              <a:gd name="connsiteX81" fmla="*/ 4636 w 10000"/>
              <a:gd name="connsiteY81" fmla="*/ 7771 h 10000"/>
              <a:gd name="connsiteX82" fmla="*/ 4496 w 10000"/>
              <a:gd name="connsiteY82" fmla="*/ 7710 h 10000"/>
              <a:gd name="connsiteX83" fmla="*/ 4076 w 10000"/>
              <a:gd name="connsiteY83" fmla="*/ 7670 h 10000"/>
              <a:gd name="connsiteX84" fmla="*/ 4106 w 10000"/>
              <a:gd name="connsiteY84" fmla="*/ 7651 h 10000"/>
              <a:gd name="connsiteX85" fmla="*/ 4448 w 10000"/>
              <a:gd name="connsiteY85" fmla="*/ 7639 h 10000"/>
              <a:gd name="connsiteX86" fmla="*/ 4636 w 10000"/>
              <a:gd name="connsiteY86" fmla="*/ 7676 h 10000"/>
              <a:gd name="connsiteX87" fmla="*/ 4746 w 10000"/>
              <a:gd name="connsiteY87" fmla="*/ 7651 h 10000"/>
              <a:gd name="connsiteX88" fmla="*/ 4785 w 10000"/>
              <a:gd name="connsiteY88" fmla="*/ 7588 h 10000"/>
              <a:gd name="connsiteX89" fmla="*/ 4982 w 10000"/>
              <a:gd name="connsiteY89" fmla="*/ 7588 h 10000"/>
              <a:gd name="connsiteX90" fmla="*/ 5249 w 10000"/>
              <a:gd name="connsiteY90" fmla="*/ 7462 h 10000"/>
              <a:gd name="connsiteX91" fmla="*/ 5258 w 10000"/>
              <a:gd name="connsiteY91" fmla="*/ 7378 h 10000"/>
              <a:gd name="connsiteX92" fmla="*/ 5372 w 10000"/>
              <a:gd name="connsiteY92" fmla="*/ 7397 h 10000"/>
              <a:gd name="connsiteX93" fmla="*/ 5368 w 10000"/>
              <a:gd name="connsiteY93" fmla="*/ 7482 h 10000"/>
              <a:gd name="connsiteX94" fmla="*/ 5547 w 10000"/>
              <a:gd name="connsiteY94" fmla="*/ 7476 h 10000"/>
              <a:gd name="connsiteX95" fmla="*/ 5665 w 10000"/>
              <a:gd name="connsiteY95" fmla="*/ 7388 h 10000"/>
              <a:gd name="connsiteX96" fmla="*/ 5885 w 10000"/>
              <a:gd name="connsiteY96" fmla="*/ 7309 h 10000"/>
              <a:gd name="connsiteX97" fmla="*/ 5849 w 10000"/>
              <a:gd name="connsiteY97" fmla="*/ 7219 h 10000"/>
              <a:gd name="connsiteX98" fmla="*/ 5915 w 10000"/>
              <a:gd name="connsiteY98" fmla="*/ 7254 h 10000"/>
              <a:gd name="connsiteX99" fmla="*/ 6015 w 10000"/>
              <a:gd name="connsiteY99" fmla="*/ 7254 h 10000"/>
              <a:gd name="connsiteX100" fmla="*/ 6015 w 10000"/>
              <a:gd name="connsiteY100" fmla="*/ 7213 h 10000"/>
              <a:gd name="connsiteX101" fmla="*/ 6108 w 10000"/>
              <a:gd name="connsiteY101" fmla="*/ 7181 h 10000"/>
              <a:gd name="connsiteX102" fmla="*/ 6095 w 10000"/>
              <a:gd name="connsiteY102" fmla="*/ 7148 h 10000"/>
              <a:gd name="connsiteX103" fmla="*/ 5307 w 10000"/>
              <a:gd name="connsiteY103" fmla="*/ 7215 h 10000"/>
              <a:gd name="connsiteX104" fmla="*/ 5123 w 10000"/>
              <a:gd name="connsiteY104" fmla="*/ 7195 h 10000"/>
              <a:gd name="connsiteX105" fmla="*/ 5048 w 10000"/>
              <a:gd name="connsiteY105" fmla="*/ 7219 h 10000"/>
              <a:gd name="connsiteX106" fmla="*/ 5022 w 10000"/>
              <a:gd name="connsiteY106" fmla="*/ 7173 h 10000"/>
              <a:gd name="connsiteX107" fmla="*/ 4935 w 10000"/>
              <a:gd name="connsiteY107" fmla="*/ 7132 h 10000"/>
              <a:gd name="connsiteX108" fmla="*/ 4584 w 10000"/>
              <a:gd name="connsiteY108" fmla="*/ 7052 h 10000"/>
              <a:gd name="connsiteX109" fmla="*/ 4378 w 10000"/>
              <a:gd name="connsiteY109" fmla="*/ 7065 h 10000"/>
              <a:gd name="connsiteX110" fmla="*/ 4295 w 10000"/>
              <a:gd name="connsiteY110" fmla="*/ 7042 h 10000"/>
              <a:gd name="connsiteX111" fmla="*/ 4383 w 10000"/>
              <a:gd name="connsiteY111" fmla="*/ 7022 h 10000"/>
              <a:gd name="connsiteX112" fmla="*/ 4448 w 10000"/>
              <a:gd name="connsiteY112" fmla="*/ 6979 h 10000"/>
              <a:gd name="connsiteX113" fmla="*/ 4545 w 10000"/>
              <a:gd name="connsiteY113" fmla="*/ 6993 h 10000"/>
              <a:gd name="connsiteX114" fmla="*/ 4663 w 10000"/>
              <a:gd name="connsiteY114" fmla="*/ 6981 h 10000"/>
              <a:gd name="connsiteX115" fmla="*/ 4838 w 10000"/>
              <a:gd name="connsiteY115" fmla="*/ 6995 h 10000"/>
              <a:gd name="connsiteX116" fmla="*/ 4859 w 10000"/>
              <a:gd name="connsiteY116" fmla="*/ 6989 h 10000"/>
              <a:gd name="connsiteX117" fmla="*/ 4996 w 10000"/>
              <a:gd name="connsiteY117" fmla="*/ 7056 h 10000"/>
              <a:gd name="connsiteX118" fmla="*/ 5097 w 10000"/>
              <a:gd name="connsiteY118" fmla="*/ 7032 h 10000"/>
              <a:gd name="connsiteX119" fmla="*/ 5105 w 10000"/>
              <a:gd name="connsiteY119" fmla="*/ 7010 h 10000"/>
              <a:gd name="connsiteX120" fmla="*/ 5197 w 10000"/>
              <a:gd name="connsiteY120" fmla="*/ 7048 h 10000"/>
              <a:gd name="connsiteX121" fmla="*/ 5320 w 10000"/>
              <a:gd name="connsiteY121" fmla="*/ 7069 h 10000"/>
              <a:gd name="connsiteX122" fmla="*/ 5368 w 10000"/>
              <a:gd name="connsiteY122" fmla="*/ 7030 h 10000"/>
              <a:gd name="connsiteX123" fmla="*/ 5407 w 10000"/>
              <a:gd name="connsiteY123" fmla="*/ 7052 h 10000"/>
              <a:gd name="connsiteX124" fmla="*/ 5464 w 10000"/>
              <a:gd name="connsiteY124" fmla="*/ 7126 h 10000"/>
              <a:gd name="connsiteX125" fmla="*/ 5582 w 10000"/>
              <a:gd name="connsiteY125" fmla="*/ 7144 h 10000"/>
              <a:gd name="connsiteX126" fmla="*/ 6064 w 10000"/>
              <a:gd name="connsiteY126" fmla="*/ 7034 h 10000"/>
              <a:gd name="connsiteX127" fmla="*/ 6300 w 10000"/>
              <a:gd name="connsiteY127" fmla="*/ 6879 h 10000"/>
              <a:gd name="connsiteX128" fmla="*/ 6357 w 10000"/>
              <a:gd name="connsiteY128" fmla="*/ 6765 h 10000"/>
              <a:gd name="connsiteX129" fmla="*/ 6270 w 10000"/>
              <a:gd name="connsiteY129" fmla="*/ 6663 h 10000"/>
              <a:gd name="connsiteX130" fmla="*/ 6090 w 10000"/>
              <a:gd name="connsiteY130" fmla="*/ 6602 h 10000"/>
              <a:gd name="connsiteX131" fmla="*/ 5963 w 10000"/>
              <a:gd name="connsiteY131" fmla="*/ 6502 h 10000"/>
              <a:gd name="connsiteX132" fmla="*/ 6082 w 10000"/>
              <a:gd name="connsiteY132" fmla="*/ 6498 h 10000"/>
              <a:gd name="connsiteX133" fmla="*/ 6073 w 10000"/>
              <a:gd name="connsiteY133" fmla="*/ 6474 h 10000"/>
              <a:gd name="connsiteX134" fmla="*/ 5762 w 10000"/>
              <a:gd name="connsiteY134" fmla="*/ 6403 h 10000"/>
              <a:gd name="connsiteX135" fmla="*/ 5749 w 10000"/>
              <a:gd name="connsiteY135" fmla="*/ 6339 h 10000"/>
              <a:gd name="connsiteX136" fmla="*/ 5692 w 10000"/>
              <a:gd name="connsiteY136" fmla="*/ 6272 h 10000"/>
              <a:gd name="connsiteX137" fmla="*/ 5446 w 10000"/>
              <a:gd name="connsiteY137" fmla="*/ 6284 h 10000"/>
              <a:gd name="connsiteX138" fmla="*/ 5359 w 10000"/>
              <a:gd name="connsiteY138" fmla="*/ 6213 h 10000"/>
              <a:gd name="connsiteX139" fmla="*/ 5307 w 10000"/>
              <a:gd name="connsiteY139" fmla="*/ 6209 h 10000"/>
              <a:gd name="connsiteX140" fmla="*/ 5307 w 10000"/>
              <a:gd name="connsiteY140" fmla="*/ 6238 h 10000"/>
              <a:gd name="connsiteX141" fmla="*/ 5197 w 10000"/>
              <a:gd name="connsiteY141" fmla="*/ 6358 h 10000"/>
              <a:gd name="connsiteX142" fmla="*/ 5078 w 10000"/>
              <a:gd name="connsiteY142" fmla="*/ 6429 h 10000"/>
              <a:gd name="connsiteX143" fmla="*/ 4706 w 10000"/>
              <a:gd name="connsiteY143" fmla="*/ 6551 h 10000"/>
              <a:gd name="connsiteX144" fmla="*/ 4575 w 10000"/>
              <a:gd name="connsiteY144" fmla="*/ 6547 h 10000"/>
              <a:gd name="connsiteX145" fmla="*/ 4396 w 10000"/>
              <a:gd name="connsiteY145" fmla="*/ 6565 h 10000"/>
              <a:gd name="connsiteX146" fmla="*/ 4295 w 10000"/>
              <a:gd name="connsiteY146" fmla="*/ 6547 h 10000"/>
              <a:gd name="connsiteX147" fmla="*/ 4426 w 10000"/>
              <a:gd name="connsiteY147" fmla="*/ 6513 h 10000"/>
              <a:gd name="connsiteX148" fmla="*/ 4597 w 10000"/>
              <a:gd name="connsiteY148" fmla="*/ 6498 h 10000"/>
              <a:gd name="connsiteX149" fmla="*/ 4738 w 10000"/>
              <a:gd name="connsiteY149" fmla="*/ 6441 h 10000"/>
              <a:gd name="connsiteX150" fmla="*/ 4877 w 10000"/>
              <a:gd name="connsiteY150" fmla="*/ 6415 h 10000"/>
              <a:gd name="connsiteX151" fmla="*/ 5136 w 10000"/>
              <a:gd name="connsiteY151" fmla="*/ 6317 h 10000"/>
              <a:gd name="connsiteX152" fmla="*/ 5184 w 10000"/>
              <a:gd name="connsiteY152" fmla="*/ 6252 h 10000"/>
              <a:gd name="connsiteX153" fmla="*/ 5188 w 10000"/>
              <a:gd name="connsiteY153" fmla="*/ 6168 h 10000"/>
              <a:gd name="connsiteX154" fmla="*/ 5070 w 10000"/>
              <a:gd name="connsiteY154" fmla="*/ 6154 h 10000"/>
              <a:gd name="connsiteX155" fmla="*/ 5123 w 10000"/>
              <a:gd name="connsiteY155" fmla="*/ 6103 h 10000"/>
              <a:gd name="connsiteX156" fmla="*/ 5140 w 10000"/>
              <a:gd name="connsiteY156" fmla="*/ 6038 h 10000"/>
              <a:gd name="connsiteX157" fmla="*/ 5091 w 10000"/>
              <a:gd name="connsiteY157" fmla="*/ 5977 h 10000"/>
              <a:gd name="connsiteX158" fmla="*/ 5061 w 10000"/>
              <a:gd name="connsiteY158" fmla="*/ 5533 h 10000"/>
              <a:gd name="connsiteX159" fmla="*/ 5132 w 10000"/>
              <a:gd name="connsiteY159" fmla="*/ 5437 h 10000"/>
              <a:gd name="connsiteX160" fmla="*/ 5114 w 10000"/>
              <a:gd name="connsiteY160" fmla="*/ 5398 h 10000"/>
              <a:gd name="connsiteX161" fmla="*/ 5320 w 10000"/>
              <a:gd name="connsiteY161" fmla="*/ 5455 h 10000"/>
              <a:gd name="connsiteX162" fmla="*/ 5333 w 10000"/>
              <a:gd name="connsiteY162" fmla="*/ 5402 h 10000"/>
              <a:gd name="connsiteX163" fmla="*/ 5289 w 10000"/>
              <a:gd name="connsiteY163" fmla="*/ 5264 h 10000"/>
              <a:gd name="connsiteX164" fmla="*/ 5437 w 10000"/>
              <a:gd name="connsiteY164" fmla="*/ 5019 h 10000"/>
              <a:gd name="connsiteX165" fmla="*/ 5346 w 10000"/>
              <a:gd name="connsiteY165" fmla="*/ 4960 h 10000"/>
              <a:gd name="connsiteX166" fmla="*/ 5311 w 10000"/>
              <a:gd name="connsiteY166" fmla="*/ 4905 h 10000"/>
              <a:gd name="connsiteX167" fmla="*/ 5324 w 10000"/>
              <a:gd name="connsiteY167" fmla="*/ 4816 h 10000"/>
              <a:gd name="connsiteX168" fmla="*/ 5539 w 10000"/>
              <a:gd name="connsiteY168" fmla="*/ 4875 h 10000"/>
              <a:gd name="connsiteX169" fmla="*/ 5547 w 10000"/>
              <a:gd name="connsiteY169" fmla="*/ 4858 h 10000"/>
              <a:gd name="connsiteX170" fmla="*/ 5608 w 10000"/>
              <a:gd name="connsiteY170" fmla="*/ 4842 h 10000"/>
              <a:gd name="connsiteX171" fmla="*/ 5692 w 10000"/>
              <a:gd name="connsiteY171" fmla="*/ 4785 h 10000"/>
              <a:gd name="connsiteX172" fmla="*/ 5705 w 10000"/>
              <a:gd name="connsiteY172" fmla="*/ 4769 h 10000"/>
              <a:gd name="connsiteX173" fmla="*/ 5688 w 10000"/>
              <a:gd name="connsiteY173" fmla="*/ 4748 h 10000"/>
              <a:gd name="connsiteX174" fmla="*/ 5731 w 10000"/>
              <a:gd name="connsiteY174" fmla="*/ 4647 h 10000"/>
              <a:gd name="connsiteX175" fmla="*/ 5679 w 10000"/>
              <a:gd name="connsiteY175" fmla="*/ 4581 h 10000"/>
              <a:gd name="connsiteX176" fmla="*/ 5688 w 10000"/>
              <a:gd name="connsiteY176" fmla="*/ 4528 h 10000"/>
              <a:gd name="connsiteX177" fmla="*/ 5718 w 10000"/>
              <a:gd name="connsiteY177" fmla="*/ 4590 h 10000"/>
              <a:gd name="connsiteX178" fmla="*/ 5836 w 10000"/>
              <a:gd name="connsiteY178" fmla="*/ 4636 h 10000"/>
              <a:gd name="connsiteX179" fmla="*/ 5885 w 10000"/>
              <a:gd name="connsiteY179" fmla="*/ 4630 h 10000"/>
              <a:gd name="connsiteX180" fmla="*/ 5963 w 10000"/>
              <a:gd name="connsiteY180" fmla="*/ 4569 h 10000"/>
              <a:gd name="connsiteX181" fmla="*/ 6046 w 10000"/>
              <a:gd name="connsiteY181" fmla="*/ 4594 h 10000"/>
              <a:gd name="connsiteX182" fmla="*/ 6069 w 10000"/>
              <a:gd name="connsiteY182" fmla="*/ 4545 h 10000"/>
              <a:gd name="connsiteX183" fmla="*/ 6125 w 10000"/>
              <a:gd name="connsiteY183" fmla="*/ 4512 h 10000"/>
              <a:gd name="connsiteX184" fmla="*/ 5972 w 10000"/>
              <a:gd name="connsiteY184" fmla="*/ 4477 h 10000"/>
              <a:gd name="connsiteX185" fmla="*/ 6082 w 10000"/>
              <a:gd name="connsiteY185" fmla="*/ 4484 h 10000"/>
              <a:gd name="connsiteX186" fmla="*/ 6195 w 10000"/>
              <a:gd name="connsiteY186" fmla="*/ 4447 h 10000"/>
              <a:gd name="connsiteX187" fmla="*/ 6191 w 10000"/>
              <a:gd name="connsiteY187" fmla="*/ 4422 h 10000"/>
              <a:gd name="connsiteX188" fmla="*/ 6296 w 10000"/>
              <a:gd name="connsiteY188" fmla="*/ 4398 h 10000"/>
              <a:gd name="connsiteX189" fmla="*/ 6305 w 10000"/>
              <a:gd name="connsiteY189" fmla="*/ 4337 h 10000"/>
              <a:gd name="connsiteX190" fmla="*/ 6388 w 10000"/>
              <a:gd name="connsiteY190" fmla="*/ 4325 h 10000"/>
              <a:gd name="connsiteX191" fmla="*/ 6396 w 10000"/>
              <a:gd name="connsiteY191" fmla="*/ 4253 h 10000"/>
              <a:gd name="connsiteX192" fmla="*/ 6484 w 10000"/>
              <a:gd name="connsiteY192" fmla="*/ 4245 h 10000"/>
              <a:gd name="connsiteX193" fmla="*/ 6619 w 10000"/>
              <a:gd name="connsiteY193" fmla="*/ 4260 h 10000"/>
              <a:gd name="connsiteX194" fmla="*/ 6768 w 10000"/>
              <a:gd name="connsiteY194" fmla="*/ 4202 h 10000"/>
              <a:gd name="connsiteX195" fmla="*/ 6821 w 10000"/>
              <a:gd name="connsiteY195" fmla="*/ 4137 h 10000"/>
              <a:gd name="connsiteX196" fmla="*/ 7005 w 10000"/>
              <a:gd name="connsiteY196" fmla="*/ 4070 h 10000"/>
              <a:gd name="connsiteX197" fmla="*/ 7097 w 10000"/>
              <a:gd name="connsiteY197" fmla="*/ 4111 h 10000"/>
              <a:gd name="connsiteX198" fmla="*/ 7237 w 10000"/>
              <a:gd name="connsiteY198" fmla="*/ 4066 h 10000"/>
              <a:gd name="connsiteX199" fmla="*/ 7272 w 10000"/>
              <a:gd name="connsiteY199" fmla="*/ 4009 h 10000"/>
              <a:gd name="connsiteX200" fmla="*/ 7377 w 10000"/>
              <a:gd name="connsiteY200" fmla="*/ 3970 h 10000"/>
              <a:gd name="connsiteX201" fmla="*/ 7469 w 10000"/>
              <a:gd name="connsiteY201" fmla="*/ 3987 h 10000"/>
              <a:gd name="connsiteX202" fmla="*/ 7526 w 10000"/>
              <a:gd name="connsiteY202" fmla="*/ 3958 h 10000"/>
              <a:gd name="connsiteX203" fmla="*/ 7684 w 10000"/>
              <a:gd name="connsiteY203" fmla="*/ 3917 h 10000"/>
              <a:gd name="connsiteX204" fmla="*/ 7749 w 10000"/>
              <a:gd name="connsiteY204" fmla="*/ 3864 h 10000"/>
              <a:gd name="connsiteX205" fmla="*/ 7837 w 10000"/>
              <a:gd name="connsiteY205" fmla="*/ 3842 h 10000"/>
              <a:gd name="connsiteX206" fmla="*/ 8323 w 10000"/>
              <a:gd name="connsiteY206" fmla="*/ 3522 h 10000"/>
              <a:gd name="connsiteX207" fmla="*/ 9768 w 10000"/>
              <a:gd name="connsiteY207" fmla="*/ 2343 h 10000"/>
              <a:gd name="connsiteX208" fmla="*/ 9961 w 10000"/>
              <a:gd name="connsiteY208" fmla="*/ 2410 h 10000"/>
              <a:gd name="connsiteX209" fmla="*/ 10000 w 10000"/>
              <a:gd name="connsiteY209" fmla="*/ 2365 h 10000"/>
              <a:gd name="connsiteX210" fmla="*/ 9755 w 10000"/>
              <a:gd name="connsiteY210" fmla="*/ 1992 h 10000"/>
              <a:gd name="connsiteX211" fmla="*/ 9794 w 10000"/>
              <a:gd name="connsiteY211" fmla="*/ 1897 h 10000"/>
              <a:gd name="connsiteX212" fmla="*/ 9881 w 10000"/>
              <a:gd name="connsiteY212" fmla="*/ 1819 h 10000"/>
              <a:gd name="connsiteX213" fmla="*/ 9881 w 10000"/>
              <a:gd name="connsiteY213" fmla="*/ 1699 h 10000"/>
              <a:gd name="connsiteX214" fmla="*/ 9606 w 10000"/>
              <a:gd name="connsiteY214" fmla="*/ 1465 h 10000"/>
              <a:gd name="connsiteX215" fmla="*/ 9562 w 10000"/>
              <a:gd name="connsiteY215" fmla="*/ 1379 h 10000"/>
              <a:gd name="connsiteX216" fmla="*/ 9623 w 10000"/>
              <a:gd name="connsiteY216" fmla="*/ 1271 h 10000"/>
              <a:gd name="connsiteX217" fmla="*/ 9593 w 10000"/>
              <a:gd name="connsiteY217" fmla="*/ 1194 h 10000"/>
              <a:gd name="connsiteX218" fmla="*/ 9536 w 10000"/>
              <a:gd name="connsiteY218" fmla="*/ 1159 h 10000"/>
              <a:gd name="connsiteX219" fmla="*/ 9487 w 10000"/>
              <a:gd name="connsiteY219" fmla="*/ 978 h 10000"/>
              <a:gd name="connsiteX220" fmla="*/ 9545 w 10000"/>
              <a:gd name="connsiteY220" fmla="*/ 831 h 10000"/>
              <a:gd name="connsiteX221" fmla="*/ 9124 w 10000"/>
              <a:gd name="connsiteY221" fmla="*/ 517 h 10000"/>
              <a:gd name="connsiteX222" fmla="*/ 8918 w 10000"/>
              <a:gd name="connsiteY222" fmla="*/ 440 h 10000"/>
              <a:gd name="connsiteX223" fmla="*/ 8537 w 10000"/>
              <a:gd name="connsiteY223" fmla="*/ 389 h 10000"/>
              <a:gd name="connsiteX224" fmla="*/ 7749 w 10000"/>
              <a:gd name="connsiteY224" fmla="*/ 26 h 10000"/>
              <a:gd name="connsiteX225" fmla="*/ 7723 w 10000"/>
              <a:gd name="connsiteY225" fmla="*/ 2 h 10000"/>
              <a:gd name="connsiteX226" fmla="*/ 7456 w 10000"/>
              <a:gd name="connsiteY226" fmla="*/ 0 h 10000"/>
              <a:gd name="connsiteX227" fmla="*/ 7394 w 10000"/>
              <a:gd name="connsiteY227" fmla="*/ 14 h 10000"/>
              <a:gd name="connsiteX228" fmla="*/ 7408 w 10000"/>
              <a:gd name="connsiteY228" fmla="*/ 61 h 10000"/>
              <a:gd name="connsiteX229" fmla="*/ 7461 w 10000"/>
              <a:gd name="connsiteY229" fmla="*/ 86 h 10000"/>
              <a:gd name="connsiteX230" fmla="*/ 7474 w 10000"/>
              <a:gd name="connsiteY230" fmla="*/ 139 h 10000"/>
              <a:gd name="connsiteX231" fmla="*/ 7456 w 10000"/>
              <a:gd name="connsiteY231" fmla="*/ 181 h 10000"/>
              <a:gd name="connsiteX232" fmla="*/ 7408 w 10000"/>
              <a:gd name="connsiteY232" fmla="*/ 208 h 10000"/>
              <a:gd name="connsiteX233" fmla="*/ 7372 w 10000"/>
              <a:gd name="connsiteY233" fmla="*/ 283 h 10000"/>
              <a:gd name="connsiteX234" fmla="*/ 7307 w 10000"/>
              <a:gd name="connsiteY234" fmla="*/ 336 h 10000"/>
              <a:gd name="connsiteX235" fmla="*/ 7320 w 10000"/>
              <a:gd name="connsiteY235" fmla="*/ 387 h 10000"/>
              <a:gd name="connsiteX236" fmla="*/ 7421 w 10000"/>
              <a:gd name="connsiteY236" fmla="*/ 434 h 10000"/>
              <a:gd name="connsiteX237" fmla="*/ 7355 w 10000"/>
              <a:gd name="connsiteY237" fmla="*/ 475 h 10000"/>
              <a:gd name="connsiteX238" fmla="*/ 7259 w 10000"/>
              <a:gd name="connsiteY238" fmla="*/ 485 h 10000"/>
              <a:gd name="connsiteX239" fmla="*/ 6454 w 10000"/>
              <a:gd name="connsiteY239" fmla="*/ 387 h 10000"/>
              <a:gd name="connsiteX240" fmla="*/ 6357 w 10000"/>
              <a:gd name="connsiteY240" fmla="*/ 395 h 10000"/>
              <a:gd name="connsiteX241" fmla="*/ 6300 w 10000"/>
              <a:gd name="connsiteY241" fmla="*/ 414 h 10000"/>
              <a:gd name="connsiteX242" fmla="*/ 6243 w 10000"/>
              <a:gd name="connsiteY242" fmla="*/ 462 h 10000"/>
              <a:gd name="connsiteX243" fmla="*/ 6253 w 10000"/>
              <a:gd name="connsiteY243" fmla="*/ 581 h 10000"/>
              <a:gd name="connsiteX244" fmla="*/ 6164 w 10000"/>
              <a:gd name="connsiteY244" fmla="*/ 735 h 10000"/>
              <a:gd name="connsiteX245" fmla="*/ 6055 w 10000"/>
              <a:gd name="connsiteY245" fmla="*/ 815 h 10000"/>
              <a:gd name="connsiteX246" fmla="*/ 6011 w 10000"/>
              <a:gd name="connsiteY246" fmla="*/ 805 h 10000"/>
              <a:gd name="connsiteX247" fmla="*/ 5911 w 10000"/>
              <a:gd name="connsiteY247" fmla="*/ 739 h 10000"/>
              <a:gd name="connsiteX248" fmla="*/ 5783 w 10000"/>
              <a:gd name="connsiteY248" fmla="*/ 705 h 10000"/>
              <a:gd name="connsiteX249" fmla="*/ 5647 w 10000"/>
              <a:gd name="connsiteY249" fmla="*/ 715 h 10000"/>
              <a:gd name="connsiteX250" fmla="*/ 5329 w 10000"/>
              <a:gd name="connsiteY250" fmla="*/ 866 h 10000"/>
              <a:gd name="connsiteX251" fmla="*/ 5245 w 10000"/>
              <a:gd name="connsiteY251" fmla="*/ 1017 h 10000"/>
              <a:gd name="connsiteX252" fmla="*/ 5004 w 10000"/>
              <a:gd name="connsiteY252" fmla="*/ 1153 h 10000"/>
              <a:gd name="connsiteX253" fmla="*/ 4961 w 10000"/>
              <a:gd name="connsiteY253" fmla="*/ 1222 h 10000"/>
              <a:gd name="connsiteX254" fmla="*/ 5087 w 10000"/>
              <a:gd name="connsiteY254" fmla="*/ 1344 h 10000"/>
              <a:gd name="connsiteX255" fmla="*/ 5101 w 10000"/>
              <a:gd name="connsiteY255" fmla="*/ 1412 h 10000"/>
              <a:gd name="connsiteX256" fmla="*/ 4444 w 10000"/>
              <a:gd name="connsiteY256" fmla="*/ 1813 h 10000"/>
              <a:gd name="connsiteX257" fmla="*/ 4242 w 10000"/>
              <a:gd name="connsiteY257" fmla="*/ 2070 h 10000"/>
              <a:gd name="connsiteX258" fmla="*/ 4024 w 10000"/>
              <a:gd name="connsiteY258" fmla="*/ 2135 h 10000"/>
              <a:gd name="connsiteX259" fmla="*/ 3888 w 10000"/>
              <a:gd name="connsiteY259" fmla="*/ 2131 h 10000"/>
              <a:gd name="connsiteX260" fmla="*/ 3805 w 10000"/>
              <a:gd name="connsiteY260" fmla="*/ 2153 h 10000"/>
              <a:gd name="connsiteX261" fmla="*/ 3577 w 10000"/>
              <a:gd name="connsiteY261" fmla="*/ 2793 h 10000"/>
              <a:gd name="connsiteX262" fmla="*/ 3052 w 10000"/>
              <a:gd name="connsiteY262" fmla="*/ 3166 h 10000"/>
              <a:gd name="connsiteX263" fmla="*/ 3056 w 10000"/>
              <a:gd name="connsiteY263" fmla="*/ 3225 h 10000"/>
              <a:gd name="connsiteX264" fmla="*/ 3288 w 10000"/>
              <a:gd name="connsiteY264" fmla="*/ 3392 h 10000"/>
              <a:gd name="connsiteX265" fmla="*/ 3214 w 10000"/>
              <a:gd name="connsiteY265" fmla="*/ 3573 h 10000"/>
              <a:gd name="connsiteX266" fmla="*/ 3078 w 10000"/>
              <a:gd name="connsiteY266" fmla="*/ 3640 h 10000"/>
              <a:gd name="connsiteX267" fmla="*/ 2671 w 10000"/>
              <a:gd name="connsiteY267" fmla="*/ 3595 h 10000"/>
              <a:gd name="connsiteX268" fmla="*/ 2390 w 10000"/>
              <a:gd name="connsiteY268" fmla="*/ 3620 h 10000"/>
              <a:gd name="connsiteX269" fmla="*/ 2163 w 10000"/>
              <a:gd name="connsiteY269" fmla="*/ 3673 h 10000"/>
              <a:gd name="connsiteX270" fmla="*/ 1799 w 10000"/>
              <a:gd name="connsiteY270" fmla="*/ 3840 h 10000"/>
              <a:gd name="connsiteX271" fmla="*/ 1606 w 10000"/>
              <a:gd name="connsiteY271" fmla="*/ 4042 h 10000"/>
              <a:gd name="connsiteX272" fmla="*/ 1624 w 10000"/>
              <a:gd name="connsiteY272" fmla="*/ 4154 h 10000"/>
              <a:gd name="connsiteX273" fmla="*/ 1690 w 10000"/>
              <a:gd name="connsiteY273" fmla="*/ 4241 h 10000"/>
              <a:gd name="connsiteX274" fmla="*/ 1742 w 10000"/>
              <a:gd name="connsiteY274" fmla="*/ 4276 h 10000"/>
              <a:gd name="connsiteX275" fmla="*/ 1647 w 10000"/>
              <a:gd name="connsiteY275" fmla="*/ 4331 h 10000"/>
              <a:gd name="connsiteX276" fmla="*/ 1440 w 10000"/>
              <a:gd name="connsiteY276" fmla="*/ 4710 h 10000"/>
              <a:gd name="connsiteX277" fmla="*/ 1480 w 10000"/>
              <a:gd name="connsiteY277" fmla="*/ 4732 h 10000"/>
              <a:gd name="connsiteX278" fmla="*/ 1511 w 10000"/>
              <a:gd name="connsiteY278" fmla="*/ 4828 h 10000"/>
              <a:gd name="connsiteX279" fmla="*/ 1414 w 10000"/>
              <a:gd name="connsiteY279" fmla="*/ 5227 h 10000"/>
              <a:gd name="connsiteX280" fmla="*/ 1511 w 10000"/>
              <a:gd name="connsiteY280" fmla="*/ 5329 h 10000"/>
              <a:gd name="connsiteX281" fmla="*/ 1773 w 10000"/>
              <a:gd name="connsiteY281" fmla="*/ 5441 h 10000"/>
              <a:gd name="connsiteX282" fmla="*/ 1786 w 10000"/>
              <a:gd name="connsiteY282" fmla="*/ 5578 h 10000"/>
              <a:gd name="connsiteX283" fmla="*/ 1673 w 10000"/>
              <a:gd name="connsiteY283" fmla="*/ 5690 h 10000"/>
              <a:gd name="connsiteX284" fmla="*/ 1511 w 10000"/>
              <a:gd name="connsiteY284" fmla="*/ 5759 h 10000"/>
              <a:gd name="connsiteX285" fmla="*/ 1296 w 10000"/>
              <a:gd name="connsiteY285" fmla="*/ 5787 h 10000"/>
              <a:gd name="connsiteX286" fmla="*/ 1239 w 10000"/>
              <a:gd name="connsiteY286" fmla="*/ 5826 h 10000"/>
              <a:gd name="connsiteX287" fmla="*/ 1366 w 10000"/>
              <a:gd name="connsiteY287" fmla="*/ 5920 h 10000"/>
              <a:gd name="connsiteX288" fmla="*/ 1436 w 10000"/>
              <a:gd name="connsiteY288" fmla="*/ 6142 h 10000"/>
              <a:gd name="connsiteX289" fmla="*/ 1274 w 10000"/>
              <a:gd name="connsiteY289" fmla="*/ 6333 h 10000"/>
              <a:gd name="connsiteX290" fmla="*/ 1331 w 10000"/>
              <a:gd name="connsiteY290" fmla="*/ 6392 h 10000"/>
              <a:gd name="connsiteX291" fmla="*/ 1279 w 10000"/>
              <a:gd name="connsiteY291" fmla="*/ 6492 h 10000"/>
              <a:gd name="connsiteX292" fmla="*/ 1173 w 10000"/>
              <a:gd name="connsiteY292" fmla="*/ 6561 h 10000"/>
              <a:gd name="connsiteX293" fmla="*/ 762 w 10000"/>
              <a:gd name="connsiteY293" fmla="*/ 6614 h 10000"/>
              <a:gd name="connsiteX294" fmla="*/ 736 w 10000"/>
              <a:gd name="connsiteY294" fmla="*/ 6706 h 10000"/>
              <a:gd name="connsiteX295" fmla="*/ 513 w 10000"/>
              <a:gd name="connsiteY295" fmla="*/ 6843 h 10000"/>
              <a:gd name="connsiteX296" fmla="*/ 543 w 10000"/>
              <a:gd name="connsiteY296" fmla="*/ 7040 h 10000"/>
              <a:gd name="connsiteX297" fmla="*/ 355 w 10000"/>
              <a:gd name="connsiteY297" fmla="*/ 7293 h 10000"/>
              <a:gd name="connsiteX298" fmla="*/ 227 w 10000"/>
              <a:gd name="connsiteY298" fmla="*/ 7323 h 10000"/>
              <a:gd name="connsiteX299" fmla="*/ 175 w 10000"/>
              <a:gd name="connsiteY299" fmla="*/ 7262 h 10000"/>
              <a:gd name="connsiteX300" fmla="*/ 110 w 10000"/>
              <a:gd name="connsiteY300" fmla="*/ 7354 h 10000"/>
              <a:gd name="connsiteX301" fmla="*/ 153 w 10000"/>
              <a:gd name="connsiteY301" fmla="*/ 7197 h 10000"/>
              <a:gd name="connsiteX302" fmla="*/ 127 w 10000"/>
              <a:gd name="connsiteY302" fmla="*/ 7166 h 10000"/>
              <a:gd name="connsiteX0" fmla="*/ 127 w 9961"/>
              <a:gd name="connsiteY0" fmla="*/ 7166 h 10000"/>
              <a:gd name="connsiteX1" fmla="*/ 0 w 9961"/>
              <a:gd name="connsiteY1" fmla="*/ 7248 h 10000"/>
              <a:gd name="connsiteX2" fmla="*/ 0 w 9961"/>
              <a:gd name="connsiteY2" fmla="*/ 7651 h 10000"/>
              <a:gd name="connsiteX3" fmla="*/ 70 w 9961"/>
              <a:gd name="connsiteY3" fmla="*/ 7663 h 10000"/>
              <a:gd name="connsiteX4" fmla="*/ 87 w 9961"/>
              <a:gd name="connsiteY4" fmla="*/ 7694 h 10000"/>
              <a:gd name="connsiteX5" fmla="*/ 83 w 9961"/>
              <a:gd name="connsiteY5" fmla="*/ 7749 h 10000"/>
              <a:gd name="connsiteX6" fmla="*/ 57 w 9961"/>
              <a:gd name="connsiteY6" fmla="*/ 7773 h 10000"/>
              <a:gd name="connsiteX7" fmla="*/ 162 w 9961"/>
              <a:gd name="connsiteY7" fmla="*/ 7727 h 10000"/>
              <a:gd name="connsiteX8" fmla="*/ 206 w 9961"/>
              <a:gd name="connsiteY8" fmla="*/ 7680 h 10000"/>
              <a:gd name="connsiteX9" fmla="*/ 262 w 9961"/>
              <a:gd name="connsiteY9" fmla="*/ 7712 h 10000"/>
              <a:gd name="connsiteX10" fmla="*/ 201 w 9961"/>
              <a:gd name="connsiteY10" fmla="*/ 7778 h 10000"/>
              <a:gd name="connsiteX11" fmla="*/ 267 w 9961"/>
              <a:gd name="connsiteY11" fmla="*/ 7780 h 10000"/>
              <a:gd name="connsiteX12" fmla="*/ 298 w 9961"/>
              <a:gd name="connsiteY12" fmla="*/ 7796 h 10000"/>
              <a:gd name="connsiteX13" fmla="*/ 214 w 9961"/>
              <a:gd name="connsiteY13" fmla="*/ 7818 h 10000"/>
              <a:gd name="connsiteX14" fmla="*/ 83 w 9961"/>
              <a:gd name="connsiteY14" fmla="*/ 7886 h 10000"/>
              <a:gd name="connsiteX15" fmla="*/ 316 w 9961"/>
              <a:gd name="connsiteY15" fmla="*/ 7938 h 10000"/>
              <a:gd name="connsiteX16" fmla="*/ 346 w 9961"/>
              <a:gd name="connsiteY16" fmla="*/ 8014 h 10000"/>
              <a:gd name="connsiteX17" fmla="*/ 267 w 9961"/>
              <a:gd name="connsiteY17" fmla="*/ 8126 h 10000"/>
              <a:gd name="connsiteX18" fmla="*/ 438 w 9961"/>
              <a:gd name="connsiteY18" fmla="*/ 8118 h 10000"/>
              <a:gd name="connsiteX19" fmla="*/ 451 w 9961"/>
              <a:gd name="connsiteY19" fmla="*/ 8203 h 10000"/>
              <a:gd name="connsiteX20" fmla="*/ 337 w 9961"/>
              <a:gd name="connsiteY20" fmla="*/ 8260 h 10000"/>
              <a:gd name="connsiteX21" fmla="*/ 355 w 9961"/>
              <a:gd name="connsiteY21" fmla="*/ 8370 h 10000"/>
              <a:gd name="connsiteX22" fmla="*/ 311 w 9961"/>
              <a:gd name="connsiteY22" fmla="*/ 8456 h 10000"/>
              <a:gd name="connsiteX23" fmla="*/ 446 w 9961"/>
              <a:gd name="connsiteY23" fmla="*/ 8464 h 10000"/>
              <a:gd name="connsiteX24" fmla="*/ 578 w 9961"/>
              <a:gd name="connsiteY24" fmla="*/ 8792 h 10000"/>
              <a:gd name="connsiteX25" fmla="*/ 731 w 9961"/>
              <a:gd name="connsiteY25" fmla="*/ 8876 h 10000"/>
              <a:gd name="connsiteX26" fmla="*/ 797 w 9961"/>
              <a:gd name="connsiteY26" fmla="*/ 8965 h 10000"/>
              <a:gd name="connsiteX27" fmla="*/ 963 w 9961"/>
              <a:gd name="connsiteY27" fmla="*/ 9030 h 10000"/>
              <a:gd name="connsiteX28" fmla="*/ 1069 w 9961"/>
              <a:gd name="connsiteY28" fmla="*/ 9112 h 10000"/>
              <a:gd name="connsiteX29" fmla="*/ 1055 w 9961"/>
              <a:gd name="connsiteY29" fmla="*/ 9171 h 10000"/>
              <a:gd name="connsiteX30" fmla="*/ 950 w 9961"/>
              <a:gd name="connsiteY30" fmla="*/ 9193 h 10000"/>
              <a:gd name="connsiteX31" fmla="*/ 836 w 9961"/>
              <a:gd name="connsiteY31" fmla="*/ 9179 h 10000"/>
              <a:gd name="connsiteX32" fmla="*/ 801 w 9961"/>
              <a:gd name="connsiteY32" fmla="*/ 9204 h 10000"/>
              <a:gd name="connsiteX33" fmla="*/ 889 w 9961"/>
              <a:gd name="connsiteY33" fmla="*/ 9332 h 10000"/>
              <a:gd name="connsiteX34" fmla="*/ 766 w 9961"/>
              <a:gd name="connsiteY34" fmla="*/ 9322 h 10000"/>
              <a:gd name="connsiteX35" fmla="*/ 661 w 9961"/>
              <a:gd name="connsiteY35" fmla="*/ 9291 h 10000"/>
              <a:gd name="connsiteX36" fmla="*/ 643 w 9961"/>
              <a:gd name="connsiteY36" fmla="*/ 9338 h 10000"/>
              <a:gd name="connsiteX37" fmla="*/ 989 w 9961"/>
              <a:gd name="connsiteY37" fmla="*/ 9776 h 10000"/>
              <a:gd name="connsiteX38" fmla="*/ 933 w 9961"/>
              <a:gd name="connsiteY38" fmla="*/ 9817 h 10000"/>
              <a:gd name="connsiteX39" fmla="*/ 894 w 9961"/>
              <a:gd name="connsiteY39" fmla="*/ 9902 h 10000"/>
              <a:gd name="connsiteX40" fmla="*/ 845 w 9961"/>
              <a:gd name="connsiteY40" fmla="*/ 9908 h 10000"/>
              <a:gd name="connsiteX41" fmla="*/ 814 w 9961"/>
              <a:gd name="connsiteY41" fmla="*/ 9945 h 10000"/>
              <a:gd name="connsiteX42" fmla="*/ 1024 w 9961"/>
              <a:gd name="connsiteY42" fmla="*/ 9949 h 10000"/>
              <a:gd name="connsiteX43" fmla="*/ 1208 w 9961"/>
              <a:gd name="connsiteY43" fmla="*/ 9986 h 10000"/>
              <a:gd name="connsiteX44" fmla="*/ 1515 w 9961"/>
              <a:gd name="connsiteY44" fmla="*/ 9947 h 10000"/>
              <a:gd name="connsiteX45" fmla="*/ 1790 w 9961"/>
              <a:gd name="connsiteY45" fmla="*/ 9953 h 10000"/>
              <a:gd name="connsiteX46" fmla="*/ 1953 w 9961"/>
              <a:gd name="connsiteY46" fmla="*/ 10000 h 10000"/>
              <a:gd name="connsiteX47" fmla="*/ 2041 w 9961"/>
              <a:gd name="connsiteY47" fmla="*/ 9969 h 10000"/>
              <a:gd name="connsiteX48" fmla="*/ 2128 w 9961"/>
              <a:gd name="connsiteY48" fmla="*/ 9868 h 10000"/>
              <a:gd name="connsiteX49" fmla="*/ 2106 w 9961"/>
              <a:gd name="connsiteY49" fmla="*/ 9703 h 10000"/>
              <a:gd name="connsiteX50" fmla="*/ 2316 w 9961"/>
              <a:gd name="connsiteY50" fmla="*/ 9517 h 10000"/>
              <a:gd name="connsiteX51" fmla="*/ 2469 w 9961"/>
              <a:gd name="connsiteY51" fmla="*/ 9546 h 10000"/>
              <a:gd name="connsiteX52" fmla="*/ 2557 w 9961"/>
              <a:gd name="connsiteY52" fmla="*/ 9472 h 10000"/>
              <a:gd name="connsiteX53" fmla="*/ 2727 w 9961"/>
              <a:gd name="connsiteY53" fmla="*/ 9430 h 10000"/>
              <a:gd name="connsiteX54" fmla="*/ 2959 w 9961"/>
              <a:gd name="connsiteY54" fmla="*/ 9440 h 10000"/>
              <a:gd name="connsiteX55" fmla="*/ 3100 w 9961"/>
              <a:gd name="connsiteY55" fmla="*/ 9470 h 10000"/>
              <a:gd name="connsiteX56" fmla="*/ 3284 w 9961"/>
              <a:gd name="connsiteY56" fmla="*/ 9456 h 10000"/>
              <a:gd name="connsiteX57" fmla="*/ 3472 w 9961"/>
              <a:gd name="connsiteY57" fmla="*/ 9489 h 10000"/>
              <a:gd name="connsiteX58" fmla="*/ 3660 w 9961"/>
              <a:gd name="connsiteY58" fmla="*/ 9493 h 10000"/>
              <a:gd name="connsiteX59" fmla="*/ 4080 w 9961"/>
              <a:gd name="connsiteY59" fmla="*/ 9061 h 10000"/>
              <a:gd name="connsiteX60" fmla="*/ 4186 w 9961"/>
              <a:gd name="connsiteY60" fmla="*/ 8711 h 10000"/>
              <a:gd name="connsiteX61" fmla="*/ 4357 w 9961"/>
              <a:gd name="connsiteY61" fmla="*/ 8554 h 10000"/>
              <a:gd name="connsiteX62" fmla="*/ 4357 w 9961"/>
              <a:gd name="connsiteY62" fmla="*/ 8472 h 10000"/>
              <a:gd name="connsiteX63" fmla="*/ 4295 w 9961"/>
              <a:gd name="connsiteY63" fmla="*/ 8425 h 10000"/>
              <a:gd name="connsiteX64" fmla="*/ 4396 w 9961"/>
              <a:gd name="connsiteY64" fmla="*/ 8352 h 10000"/>
              <a:gd name="connsiteX65" fmla="*/ 4378 w 9961"/>
              <a:gd name="connsiteY65" fmla="*/ 8289 h 10000"/>
              <a:gd name="connsiteX66" fmla="*/ 4308 w 9961"/>
              <a:gd name="connsiteY66" fmla="*/ 8236 h 10000"/>
              <a:gd name="connsiteX67" fmla="*/ 4295 w 9961"/>
              <a:gd name="connsiteY67" fmla="*/ 8199 h 10000"/>
              <a:gd name="connsiteX68" fmla="*/ 4312 w 9961"/>
              <a:gd name="connsiteY68" fmla="*/ 8169 h 10000"/>
              <a:gd name="connsiteX69" fmla="*/ 4405 w 9961"/>
              <a:gd name="connsiteY69" fmla="*/ 8193 h 10000"/>
              <a:gd name="connsiteX70" fmla="*/ 4479 w 9961"/>
              <a:gd name="connsiteY70" fmla="*/ 8191 h 10000"/>
              <a:gd name="connsiteX71" fmla="*/ 4439 w 9961"/>
              <a:gd name="connsiteY71" fmla="*/ 8140 h 10000"/>
              <a:gd name="connsiteX72" fmla="*/ 4452 w 9961"/>
              <a:gd name="connsiteY72" fmla="*/ 8112 h 10000"/>
              <a:gd name="connsiteX73" fmla="*/ 4505 w 9961"/>
              <a:gd name="connsiteY73" fmla="*/ 8069 h 10000"/>
              <a:gd name="connsiteX74" fmla="*/ 4496 w 9961"/>
              <a:gd name="connsiteY74" fmla="*/ 8034 h 10000"/>
              <a:gd name="connsiteX75" fmla="*/ 4545 w 9961"/>
              <a:gd name="connsiteY75" fmla="*/ 7916 h 10000"/>
              <a:gd name="connsiteX76" fmla="*/ 4532 w 9961"/>
              <a:gd name="connsiteY76" fmla="*/ 7881 h 10000"/>
              <a:gd name="connsiteX77" fmla="*/ 4277 w 9961"/>
              <a:gd name="connsiteY77" fmla="*/ 7792 h 10000"/>
              <a:gd name="connsiteX78" fmla="*/ 4312 w 9961"/>
              <a:gd name="connsiteY78" fmla="*/ 7788 h 10000"/>
              <a:gd name="connsiteX79" fmla="*/ 4448 w 9961"/>
              <a:gd name="connsiteY79" fmla="*/ 7812 h 10000"/>
              <a:gd name="connsiteX80" fmla="*/ 4593 w 9961"/>
              <a:gd name="connsiteY80" fmla="*/ 7804 h 10000"/>
              <a:gd name="connsiteX81" fmla="*/ 4636 w 9961"/>
              <a:gd name="connsiteY81" fmla="*/ 7771 h 10000"/>
              <a:gd name="connsiteX82" fmla="*/ 4496 w 9961"/>
              <a:gd name="connsiteY82" fmla="*/ 7710 h 10000"/>
              <a:gd name="connsiteX83" fmla="*/ 4076 w 9961"/>
              <a:gd name="connsiteY83" fmla="*/ 7670 h 10000"/>
              <a:gd name="connsiteX84" fmla="*/ 4106 w 9961"/>
              <a:gd name="connsiteY84" fmla="*/ 7651 h 10000"/>
              <a:gd name="connsiteX85" fmla="*/ 4448 w 9961"/>
              <a:gd name="connsiteY85" fmla="*/ 7639 h 10000"/>
              <a:gd name="connsiteX86" fmla="*/ 4636 w 9961"/>
              <a:gd name="connsiteY86" fmla="*/ 7676 h 10000"/>
              <a:gd name="connsiteX87" fmla="*/ 4746 w 9961"/>
              <a:gd name="connsiteY87" fmla="*/ 7651 h 10000"/>
              <a:gd name="connsiteX88" fmla="*/ 4785 w 9961"/>
              <a:gd name="connsiteY88" fmla="*/ 7588 h 10000"/>
              <a:gd name="connsiteX89" fmla="*/ 4982 w 9961"/>
              <a:gd name="connsiteY89" fmla="*/ 7588 h 10000"/>
              <a:gd name="connsiteX90" fmla="*/ 5249 w 9961"/>
              <a:gd name="connsiteY90" fmla="*/ 7462 h 10000"/>
              <a:gd name="connsiteX91" fmla="*/ 5258 w 9961"/>
              <a:gd name="connsiteY91" fmla="*/ 7378 h 10000"/>
              <a:gd name="connsiteX92" fmla="*/ 5372 w 9961"/>
              <a:gd name="connsiteY92" fmla="*/ 7397 h 10000"/>
              <a:gd name="connsiteX93" fmla="*/ 5368 w 9961"/>
              <a:gd name="connsiteY93" fmla="*/ 7482 h 10000"/>
              <a:gd name="connsiteX94" fmla="*/ 5547 w 9961"/>
              <a:gd name="connsiteY94" fmla="*/ 7476 h 10000"/>
              <a:gd name="connsiteX95" fmla="*/ 5665 w 9961"/>
              <a:gd name="connsiteY95" fmla="*/ 7388 h 10000"/>
              <a:gd name="connsiteX96" fmla="*/ 5885 w 9961"/>
              <a:gd name="connsiteY96" fmla="*/ 7309 h 10000"/>
              <a:gd name="connsiteX97" fmla="*/ 5849 w 9961"/>
              <a:gd name="connsiteY97" fmla="*/ 7219 h 10000"/>
              <a:gd name="connsiteX98" fmla="*/ 5915 w 9961"/>
              <a:gd name="connsiteY98" fmla="*/ 7254 h 10000"/>
              <a:gd name="connsiteX99" fmla="*/ 6015 w 9961"/>
              <a:gd name="connsiteY99" fmla="*/ 7254 h 10000"/>
              <a:gd name="connsiteX100" fmla="*/ 6015 w 9961"/>
              <a:gd name="connsiteY100" fmla="*/ 7213 h 10000"/>
              <a:gd name="connsiteX101" fmla="*/ 6108 w 9961"/>
              <a:gd name="connsiteY101" fmla="*/ 7181 h 10000"/>
              <a:gd name="connsiteX102" fmla="*/ 6095 w 9961"/>
              <a:gd name="connsiteY102" fmla="*/ 7148 h 10000"/>
              <a:gd name="connsiteX103" fmla="*/ 5307 w 9961"/>
              <a:gd name="connsiteY103" fmla="*/ 7215 h 10000"/>
              <a:gd name="connsiteX104" fmla="*/ 5123 w 9961"/>
              <a:gd name="connsiteY104" fmla="*/ 7195 h 10000"/>
              <a:gd name="connsiteX105" fmla="*/ 5048 w 9961"/>
              <a:gd name="connsiteY105" fmla="*/ 7219 h 10000"/>
              <a:gd name="connsiteX106" fmla="*/ 5022 w 9961"/>
              <a:gd name="connsiteY106" fmla="*/ 7173 h 10000"/>
              <a:gd name="connsiteX107" fmla="*/ 4935 w 9961"/>
              <a:gd name="connsiteY107" fmla="*/ 7132 h 10000"/>
              <a:gd name="connsiteX108" fmla="*/ 4584 w 9961"/>
              <a:gd name="connsiteY108" fmla="*/ 7052 h 10000"/>
              <a:gd name="connsiteX109" fmla="*/ 4378 w 9961"/>
              <a:gd name="connsiteY109" fmla="*/ 7065 h 10000"/>
              <a:gd name="connsiteX110" fmla="*/ 4295 w 9961"/>
              <a:gd name="connsiteY110" fmla="*/ 7042 h 10000"/>
              <a:gd name="connsiteX111" fmla="*/ 4383 w 9961"/>
              <a:gd name="connsiteY111" fmla="*/ 7022 h 10000"/>
              <a:gd name="connsiteX112" fmla="*/ 4448 w 9961"/>
              <a:gd name="connsiteY112" fmla="*/ 6979 h 10000"/>
              <a:gd name="connsiteX113" fmla="*/ 4545 w 9961"/>
              <a:gd name="connsiteY113" fmla="*/ 6993 h 10000"/>
              <a:gd name="connsiteX114" fmla="*/ 4663 w 9961"/>
              <a:gd name="connsiteY114" fmla="*/ 6981 h 10000"/>
              <a:gd name="connsiteX115" fmla="*/ 4838 w 9961"/>
              <a:gd name="connsiteY115" fmla="*/ 6995 h 10000"/>
              <a:gd name="connsiteX116" fmla="*/ 4859 w 9961"/>
              <a:gd name="connsiteY116" fmla="*/ 6989 h 10000"/>
              <a:gd name="connsiteX117" fmla="*/ 4996 w 9961"/>
              <a:gd name="connsiteY117" fmla="*/ 7056 h 10000"/>
              <a:gd name="connsiteX118" fmla="*/ 5097 w 9961"/>
              <a:gd name="connsiteY118" fmla="*/ 7032 h 10000"/>
              <a:gd name="connsiteX119" fmla="*/ 5105 w 9961"/>
              <a:gd name="connsiteY119" fmla="*/ 7010 h 10000"/>
              <a:gd name="connsiteX120" fmla="*/ 5197 w 9961"/>
              <a:gd name="connsiteY120" fmla="*/ 7048 h 10000"/>
              <a:gd name="connsiteX121" fmla="*/ 5320 w 9961"/>
              <a:gd name="connsiteY121" fmla="*/ 7069 h 10000"/>
              <a:gd name="connsiteX122" fmla="*/ 5368 w 9961"/>
              <a:gd name="connsiteY122" fmla="*/ 7030 h 10000"/>
              <a:gd name="connsiteX123" fmla="*/ 5407 w 9961"/>
              <a:gd name="connsiteY123" fmla="*/ 7052 h 10000"/>
              <a:gd name="connsiteX124" fmla="*/ 5464 w 9961"/>
              <a:gd name="connsiteY124" fmla="*/ 7126 h 10000"/>
              <a:gd name="connsiteX125" fmla="*/ 5582 w 9961"/>
              <a:gd name="connsiteY125" fmla="*/ 7144 h 10000"/>
              <a:gd name="connsiteX126" fmla="*/ 6064 w 9961"/>
              <a:gd name="connsiteY126" fmla="*/ 7034 h 10000"/>
              <a:gd name="connsiteX127" fmla="*/ 6300 w 9961"/>
              <a:gd name="connsiteY127" fmla="*/ 6879 h 10000"/>
              <a:gd name="connsiteX128" fmla="*/ 6357 w 9961"/>
              <a:gd name="connsiteY128" fmla="*/ 6765 h 10000"/>
              <a:gd name="connsiteX129" fmla="*/ 6270 w 9961"/>
              <a:gd name="connsiteY129" fmla="*/ 6663 h 10000"/>
              <a:gd name="connsiteX130" fmla="*/ 6090 w 9961"/>
              <a:gd name="connsiteY130" fmla="*/ 6602 h 10000"/>
              <a:gd name="connsiteX131" fmla="*/ 5963 w 9961"/>
              <a:gd name="connsiteY131" fmla="*/ 6502 h 10000"/>
              <a:gd name="connsiteX132" fmla="*/ 6082 w 9961"/>
              <a:gd name="connsiteY132" fmla="*/ 6498 h 10000"/>
              <a:gd name="connsiteX133" fmla="*/ 6073 w 9961"/>
              <a:gd name="connsiteY133" fmla="*/ 6474 h 10000"/>
              <a:gd name="connsiteX134" fmla="*/ 5762 w 9961"/>
              <a:gd name="connsiteY134" fmla="*/ 6403 h 10000"/>
              <a:gd name="connsiteX135" fmla="*/ 5749 w 9961"/>
              <a:gd name="connsiteY135" fmla="*/ 6339 h 10000"/>
              <a:gd name="connsiteX136" fmla="*/ 5692 w 9961"/>
              <a:gd name="connsiteY136" fmla="*/ 6272 h 10000"/>
              <a:gd name="connsiteX137" fmla="*/ 5446 w 9961"/>
              <a:gd name="connsiteY137" fmla="*/ 6284 h 10000"/>
              <a:gd name="connsiteX138" fmla="*/ 5359 w 9961"/>
              <a:gd name="connsiteY138" fmla="*/ 6213 h 10000"/>
              <a:gd name="connsiteX139" fmla="*/ 5307 w 9961"/>
              <a:gd name="connsiteY139" fmla="*/ 6209 h 10000"/>
              <a:gd name="connsiteX140" fmla="*/ 5307 w 9961"/>
              <a:gd name="connsiteY140" fmla="*/ 6238 h 10000"/>
              <a:gd name="connsiteX141" fmla="*/ 5197 w 9961"/>
              <a:gd name="connsiteY141" fmla="*/ 6358 h 10000"/>
              <a:gd name="connsiteX142" fmla="*/ 5078 w 9961"/>
              <a:gd name="connsiteY142" fmla="*/ 6429 h 10000"/>
              <a:gd name="connsiteX143" fmla="*/ 4706 w 9961"/>
              <a:gd name="connsiteY143" fmla="*/ 6551 h 10000"/>
              <a:gd name="connsiteX144" fmla="*/ 4575 w 9961"/>
              <a:gd name="connsiteY144" fmla="*/ 6547 h 10000"/>
              <a:gd name="connsiteX145" fmla="*/ 4396 w 9961"/>
              <a:gd name="connsiteY145" fmla="*/ 6565 h 10000"/>
              <a:gd name="connsiteX146" fmla="*/ 4295 w 9961"/>
              <a:gd name="connsiteY146" fmla="*/ 6547 h 10000"/>
              <a:gd name="connsiteX147" fmla="*/ 4426 w 9961"/>
              <a:gd name="connsiteY147" fmla="*/ 6513 h 10000"/>
              <a:gd name="connsiteX148" fmla="*/ 4597 w 9961"/>
              <a:gd name="connsiteY148" fmla="*/ 6498 h 10000"/>
              <a:gd name="connsiteX149" fmla="*/ 4738 w 9961"/>
              <a:gd name="connsiteY149" fmla="*/ 6441 h 10000"/>
              <a:gd name="connsiteX150" fmla="*/ 4877 w 9961"/>
              <a:gd name="connsiteY150" fmla="*/ 6415 h 10000"/>
              <a:gd name="connsiteX151" fmla="*/ 5136 w 9961"/>
              <a:gd name="connsiteY151" fmla="*/ 6317 h 10000"/>
              <a:gd name="connsiteX152" fmla="*/ 5184 w 9961"/>
              <a:gd name="connsiteY152" fmla="*/ 6252 h 10000"/>
              <a:gd name="connsiteX153" fmla="*/ 5188 w 9961"/>
              <a:gd name="connsiteY153" fmla="*/ 6168 h 10000"/>
              <a:gd name="connsiteX154" fmla="*/ 5070 w 9961"/>
              <a:gd name="connsiteY154" fmla="*/ 6154 h 10000"/>
              <a:gd name="connsiteX155" fmla="*/ 5123 w 9961"/>
              <a:gd name="connsiteY155" fmla="*/ 6103 h 10000"/>
              <a:gd name="connsiteX156" fmla="*/ 5140 w 9961"/>
              <a:gd name="connsiteY156" fmla="*/ 6038 h 10000"/>
              <a:gd name="connsiteX157" fmla="*/ 5091 w 9961"/>
              <a:gd name="connsiteY157" fmla="*/ 5977 h 10000"/>
              <a:gd name="connsiteX158" fmla="*/ 5061 w 9961"/>
              <a:gd name="connsiteY158" fmla="*/ 5533 h 10000"/>
              <a:gd name="connsiteX159" fmla="*/ 5132 w 9961"/>
              <a:gd name="connsiteY159" fmla="*/ 5437 h 10000"/>
              <a:gd name="connsiteX160" fmla="*/ 5114 w 9961"/>
              <a:gd name="connsiteY160" fmla="*/ 5398 h 10000"/>
              <a:gd name="connsiteX161" fmla="*/ 5320 w 9961"/>
              <a:gd name="connsiteY161" fmla="*/ 5455 h 10000"/>
              <a:gd name="connsiteX162" fmla="*/ 5333 w 9961"/>
              <a:gd name="connsiteY162" fmla="*/ 5402 h 10000"/>
              <a:gd name="connsiteX163" fmla="*/ 5289 w 9961"/>
              <a:gd name="connsiteY163" fmla="*/ 5264 h 10000"/>
              <a:gd name="connsiteX164" fmla="*/ 5437 w 9961"/>
              <a:gd name="connsiteY164" fmla="*/ 5019 h 10000"/>
              <a:gd name="connsiteX165" fmla="*/ 5346 w 9961"/>
              <a:gd name="connsiteY165" fmla="*/ 4960 h 10000"/>
              <a:gd name="connsiteX166" fmla="*/ 5311 w 9961"/>
              <a:gd name="connsiteY166" fmla="*/ 4905 h 10000"/>
              <a:gd name="connsiteX167" fmla="*/ 5324 w 9961"/>
              <a:gd name="connsiteY167" fmla="*/ 4816 h 10000"/>
              <a:gd name="connsiteX168" fmla="*/ 5539 w 9961"/>
              <a:gd name="connsiteY168" fmla="*/ 4875 h 10000"/>
              <a:gd name="connsiteX169" fmla="*/ 5547 w 9961"/>
              <a:gd name="connsiteY169" fmla="*/ 4858 h 10000"/>
              <a:gd name="connsiteX170" fmla="*/ 5608 w 9961"/>
              <a:gd name="connsiteY170" fmla="*/ 4842 h 10000"/>
              <a:gd name="connsiteX171" fmla="*/ 5692 w 9961"/>
              <a:gd name="connsiteY171" fmla="*/ 4785 h 10000"/>
              <a:gd name="connsiteX172" fmla="*/ 5705 w 9961"/>
              <a:gd name="connsiteY172" fmla="*/ 4769 h 10000"/>
              <a:gd name="connsiteX173" fmla="*/ 5688 w 9961"/>
              <a:gd name="connsiteY173" fmla="*/ 4748 h 10000"/>
              <a:gd name="connsiteX174" fmla="*/ 5731 w 9961"/>
              <a:gd name="connsiteY174" fmla="*/ 4647 h 10000"/>
              <a:gd name="connsiteX175" fmla="*/ 5679 w 9961"/>
              <a:gd name="connsiteY175" fmla="*/ 4581 h 10000"/>
              <a:gd name="connsiteX176" fmla="*/ 5688 w 9961"/>
              <a:gd name="connsiteY176" fmla="*/ 4528 h 10000"/>
              <a:gd name="connsiteX177" fmla="*/ 5718 w 9961"/>
              <a:gd name="connsiteY177" fmla="*/ 4590 h 10000"/>
              <a:gd name="connsiteX178" fmla="*/ 5836 w 9961"/>
              <a:gd name="connsiteY178" fmla="*/ 4636 h 10000"/>
              <a:gd name="connsiteX179" fmla="*/ 5885 w 9961"/>
              <a:gd name="connsiteY179" fmla="*/ 4630 h 10000"/>
              <a:gd name="connsiteX180" fmla="*/ 5963 w 9961"/>
              <a:gd name="connsiteY180" fmla="*/ 4569 h 10000"/>
              <a:gd name="connsiteX181" fmla="*/ 6046 w 9961"/>
              <a:gd name="connsiteY181" fmla="*/ 4594 h 10000"/>
              <a:gd name="connsiteX182" fmla="*/ 6069 w 9961"/>
              <a:gd name="connsiteY182" fmla="*/ 4545 h 10000"/>
              <a:gd name="connsiteX183" fmla="*/ 6125 w 9961"/>
              <a:gd name="connsiteY183" fmla="*/ 4512 h 10000"/>
              <a:gd name="connsiteX184" fmla="*/ 5972 w 9961"/>
              <a:gd name="connsiteY184" fmla="*/ 4477 h 10000"/>
              <a:gd name="connsiteX185" fmla="*/ 6082 w 9961"/>
              <a:gd name="connsiteY185" fmla="*/ 4484 h 10000"/>
              <a:gd name="connsiteX186" fmla="*/ 6195 w 9961"/>
              <a:gd name="connsiteY186" fmla="*/ 4447 h 10000"/>
              <a:gd name="connsiteX187" fmla="*/ 6191 w 9961"/>
              <a:gd name="connsiteY187" fmla="*/ 4422 h 10000"/>
              <a:gd name="connsiteX188" fmla="*/ 6296 w 9961"/>
              <a:gd name="connsiteY188" fmla="*/ 4398 h 10000"/>
              <a:gd name="connsiteX189" fmla="*/ 6305 w 9961"/>
              <a:gd name="connsiteY189" fmla="*/ 4337 h 10000"/>
              <a:gd name="connsiteX190" fmla="*/ 6388 w 9961"/>
              <a:gd name="connsiteY190" fmla="*/ 4325 h 10000"/>
              <a:gd name="connsiteX191" fmla="*/ 6396 w 9961"/>
              <a:gd name="connsiteY191" fmla="*/ 4253 h 10000"/>
              <a:gd name="connsiteX192" fmla="*/ 6484 w 9961"/>
              <a:gd name="connsiteY192" fmla="*/ 4245 h 10000"/>
              <a:gd name="connsiteX193" fmla="*/ 6619 w 9961"/>
              <a:gd name="connsiteY193" fmla="*/ 4260 h 10000"/>
              <a:gd name="connsiteX194" fmla="*/ 6768 w 9961"/>
              <a:gd name="connsiteY194" fmla="*/ 4202 h 10000"/>
              <a:gd name="connsiteX195" fmla="*/ 6821 w 9961"/>
              <a:gd name="connsiteY195" fmla="*/ 4137 h 10000"/>
              <a:gd name="connsiteX196" fmla="*/ 7005 w 9961"/>
              <a:gd name="connsiteY196" fmla="*/ 4070 h 10000"/>
              <a:gd name="connsiteX197" fmla="*/ 7097 w 9961"/>
              <a:gd name="connsiteY197" fmla="*/ 4111 h 10000"/>
              <a:gd name="connsiteX198" fmla="*/ 7237 w 9961"/>
              <a:gd name="connsiteY198" fmla="*/ 4066 h 10000"/>
              <a:gd name="connsiteX199" fmla="*/ 7272 w 9961"/>
              <a:gd name="connsiteY199" fmla="*/ 4009 h 10000"/>
              <a:gd name="connsiteX200" fmla="*/ 7377 w 9961"/>
              <a:gd name="connsiteY200" fmla="*/ 3970 h 10000"/>
              <a:gd name="connsiteX201" fmla="*/ 7469 w 9961"/>
              <a:gd name="connsiteY201" fmla="*/ 3987 h 10000"/>
              <a:gd name="connsiteX202" fmla="*/ 7526 w 9961"/>
              <a:gd name="connsiteY202" fmla="*/ 3958 h 10000"/>
              <a:gd name="connsiteX203" fmla="*/ 7684 w 9961"/>
              <a:gd name="connsiteY203" fmla="*/ 3917 h 10000"/>
              <a:gd name="connsiteX204" fmla="*/ 7749 w 9961"/>
              <a:gd name="connsiteY204" fmla="*/ 3864 h 10000"/>
              <a:gd name="connsiteX205" fmla="*/ 7837 w 9961"/>
              <a:gd name="connsiteY205" fmla="*/ 3842 h 10000"/>
              <a:gd name="connsiteX206" fmla="*/ 8323 w 9961"/>
              <a:gd name="connsiteY206" fmla="*/ 3522 h 10000"/>
              <a:gd name="connsiteX207" fmla="*/ 9768 w 9961"/>
              <a:gd name="connsiteY207" fmla="*/ 2343 h 10000"/>
              <a:gd name="connsiteX208" fmla="*/ 9961 w 9961"/>
              <a:gd name="connsiteY208" fmla="*/ 2410 h 10000"/>
              <a:gd name="connsiteX209" fmla="*/ 9755 w 9961"/>
              <a:gd name="connsiteY209" fmla="*/ 1992 h 10000"/>
              <a:gd name="connsiteX210" fmla="*/ 9794 w 9961"/>
              <a:gd name="connsiteY210" fmla="*/ 1897 h 10000"/>
              <a:gd name="connsiteX211" fmla="*/ 9881 w 9961"/>
              <a:gd name="connsiteY211" fmla="*/ 1819 h 10000"/>
              <a:gd name="connsiteX212" fmla="*/ 9881 w 9961"/>
              <a:gd name="connsiteY212" fmla="*/ 1699 h 10000"/>
              <a:gd name="connsiteX213" fmla="*/ 9606 w 9961"/>
              <a:gd name="connsiteY213" fmla="*/ 1465 h 10000"/>
              <a:gd name="connsiteX214" fmla="*/ 9562 w 9961"/>
              <a:gd name="connsiteY214" fmla="*/ 1379 h 10000"/>
              <a:gd name="connsiteX215" fmla="*/ 9623 w 9961"/>
              <a:gd name="connsiteY215" fmla="*/ 1271 h 10000"/>
              <a:gd name="connsiteX216" fmla="*/ 9593 w 9961"/>
              <a:gd name="connsiteY216" fmla="*/ 1194 h 10000"/>
              <a:gd name="connsiteX217" fmla="*/ 9536 w 9961"/>
              <a:gd name="connsiteY217" fmla="*/ 1159 h 10000"/>
              <a:gd name="connsiteX218" fmla="*/ 9487 w 9961"/>
              <a:gd name="connsiteY218" fmla="*/ 978 h 10000"/>
              <a:gd name="connsiteX219" fmla="*/ 9545 w 9961"/>
              <a:gd name="connsiteY219" fmla="*/ 831 h 10000"/>
              <a:gd name="connsiteX220" fmla="*/ 9124 w 9961"/>
              <a:gd name="connsiteY220" fmla="*/ 517 h 10000"/>
              <a:gd name="connsiteX221" fmla="*/ 8918 w 9961"/>
              <a:gd name="connsiteY221" fmla="*/ 440 h 10000"/>
              <a:gd name="connsiteX222" fmla="*/ 8537 w 9961"/>
              <a:gd name="connsiteY222" fmla="*/ 389 h 10000"/>
              <a:gd name="connsiteX223" fmla="*/ 7749 w 9961"/>
              <a:gd name="connsiteY223" fmla="*/ 26 h 10000"/>
              <a:gd name="connsiteX224" fmla="*/ 7723 w 9961"/>
              <a:gd name="connsiteY224" fmla="*/ 2 h 10000"/>
              <a:gd name="connsiteX225" fmla="*/ 7456 w 9961"/>
              <a:gd name="connsiteY225" fmla="*/ 0 h 10000"/>
              <a:gd name="connsiteX226" fmla="*/ 7394 w 9961"/>
              <a:gd name="connsiteY226" fmla="*/ 14 h 10000"/>
              <a:gd name="connsiteX227" fmla="*/ 7408 w 9961"/>
              <a:gd name="connsiteY227" fmla="*/ 61 h 10000"/>
              <a:gd name="connsiteX228" fmla="*/ 7461 w 9961"/>
              <a:gd name="connsiteY228" fmla="*/ 86 h 10000"/>
              <a:gd name="connsiteX229" fmla="*/ 7474 w 9961"/>
              <a:gd name="connsiteY229" fmla="*/ 139 h 10000"/>
              <a:gd name="connsiteX230" fmla="*/ 7456 w 9961"/>
              <a:gd name="connsiteY230" fmla="*/ 181 h 10000"/>
              <a:gd name="connsiteX231" fmla="*/ 7408 w 9961"/>
              <a:gd name="connsiteY231" fmla="*/ 208 h 10000"/>
              <a:gd name="connsiteX232" fmla="*/ 7372 w 9961"/>
              <a:gd name="connsiteY232" fmla="*/ 283 h 10000"/>
              <a:gd name="connsiteX233" fmla="*/ 7307 w 9961"/>
              <a:gd name="connsiteY233" fmla="*/ 336 h 10000"/>
              <a:gd name="connsiteX234" fmla="*/ 7320 w 9961"/>
              <a:gd name="connsiteY234" fmla="*/ 387 h 10000"/>
              <a:gd name="connsiteX235" fmla="*/ 7421 w 9961"/>
              <a:gd name="connsiteY235" fmla="*/ 434 h 10000"/>
              <a:gd name="connsiteX236" fmla="*/ 7355 w 9961"/>
              <a:gd name="connsiteY236" fmla="*/ 475 h 10000"/>
              <a:gd name="connsiteX237" fmla="*/ 7259 w 9961"/>
              <a:gd name="connsiteY237" fmla="*/ 485 h 10000"/>
              <a:gd name="connsiteX238" fmla="*/ 6454 w 9961"/>
              <a:gd name="connsiteY238" fmla="*/ 387 h 10000"/>
              <a:gd name="connsiteX239" fmla="*/ 6357 w 9961"/>
              <a:gd name="connsiteY239" fmla="*/ 395 h 10000"/>
              <a:gd name="connsiteX240" fmla="*/ 6300 w 9961"/>
              <a:gd name="connsiteY240" fmla="*/ 414 h 10000"/>
              <a:gd name="connsiteX241" fmla="*/ 6243 w 9961"/>
              <a:gd name="connsiteY241" fmla="*/ 462 h 10000"/>
              <a:gd name="connsiteX242" fmla="*/ 6253 w 9961"/>
              <a:gd name="connsiteY242" fmla="*/ 581 h 10000"/>
              <a:gd name="connsiteX243" fmla="*/ 6164 w 9961"/>
              <a:gd name="connsiteY243" fmla="*/ 735 h 10000"/>
              <a:gd name="connsiteX244" fmla="*/ 6055 w 9961"/>
              <a:gd name="connsiteY244" fmla="*/ 815 h 10000"/>
              <a:gd name="connsiteX245" fmla="*/ 6011 w 9961"/>
              <a:gd name="connsiteY245" fmla="*/ 805 h 10000"/>
              <a:gd name="connsiteX246" fmla="*/ 5911 w 9961"/>
              <a:gd name="connsiteY246" fmla="*/ 739 h 10000"/>
              <a:gd name="connsiteX247" fmla="*/ 5783 w 9961"/>
              <a:gd name="connsiteY247" fmla="*/ 705 h 10000"/>
              <a:gd name="connsiteX248" fmla="*/ 5647 w 9961"/>
              <a:gd name="connsiteY248" fmla="*/ 715 h 10000"/>
              <a:gd name="connsiteX249" fmla="*/ 5329 w 9961"/>
              <a:gd name="connsiteY249" fmla="*/ 866 h 10000"/>
              <a:gd name="connsiteX250" fmla="*/ 5245 w 9961"/>
              <a:gd name="connsiteY250" fmla="*/ 1017 h 10000"/>
              <a:gd name="connsiteX251" fmla="*/ 5004 w 9961"/>
              <a:gd name="connsiteY251" fmla="*/ 1153 h 10000"/>
              <a:gd name="connsiteX252" fmla="*/ 4961 w 9961"/>
              <a:gd name="connsiteY252" fmla="*/ 1222 h 10000"/>
              <a:gd name="connsiteX253" fmla="*/ 5087 w 9961"/>
              <a:gd name="connsiteY253" fmla="*/ 1344 h 10000"/>
              <a:gd name="connsiteX254" fmla="*/ 5101 w 9961"/>
              <a:gd name="connsiteY254" fmla="*/ 1412 h 10000"/>
              <a:gd name="connsiteX255" fmla="*/ 4444 w 9961"/>
              <a:gd name="connsiteY255" fmla="*/ 1813 h 10000"/>
              <a:gd name="connsiteX256" fmla="*/ 4242 w 9961"/>
              <a:gd name="connsiteY256" fmla="*/ 2070 h 10000"/>
              <a:gd name="connsiteX257" fmla="*/ 4024 w 9961"/>
              <a:gd name="connsiteY257" fmla="*/ 2135 h 10000"/>
              <a:gd name="connsiteX258" fmla="*/ 3888 w 9961"/>
              <a:gd name="connsiteY258" fmla="*/ 2131 h 10000"/>
              <a:gd name="connsiteX259" fmla="*/ 3805 w 9961"/>
              <a:gd name="connsiteY259" fmla="*/ 2153 h 10000"/>
              <a:gd name="connsiteX260" fmla="*/ 3577 w 9961"/>
              <a:gd name="connsiteY260" fmla="*/ 2793 h 10000"/>
              <a:gd name="connsiteX261" fmla="*/ 3052 w 9961"/>
              <a:gd name="connsiteY261" fmla="*/ 3166 h 10000"/>
              <a:gd name="connsiteX262" fmla="*/ 3056 w 9961"/>
              <a:gd name="connsiteY262" fmla="*/ 3225 h 10000"/>
              <a:gd name="connsiteX263" fmla="*/ 3288 w 9961"/>
              <a:gd name="connsiteY263" fmla="*/ 3392 h 10000"/>
              <a:gd name="connsiteX264" fmla="*/ 3214 w 9961"/>
              <a:gd name="connsiteY264" fmla="*/ 3573 h 10000"/>
              <a:gd name="connsiteX265" fmla="*/ 3078 w 9961"/>
              <a:gd name="connsiteY265" fmla="*/ 3640 h 10000"/>
              <a:gd name="connsiteX266" fmla="*/ 2671 w 9961"/>
              <a:gd name="connsiteY266" fmla="*/ 3595 h 10000"/>
              <a:gd name="connsiteX267" fmla="*/ 2390 w 9961"/>
              <a:gd name="connsiteY267" fmla="*/ 3620 h 10000"/>
              <a:gd name="connsiteX268" fmla="*/ 2163 w 9961"/>
              <a:gd name="connsiteY268" fmla="*/ 3673 h 10000"/>
              <a:gd name="connsiteX269" fmla="*/ 1799 w 9961"/>
              <a:gd name="connsiteY269" fmla="*/ 3840 h 10000"/>
              <a:gd name="connsiteX270" fmla="*/ 1606 w 9961"/>
              <a:gd name="connsiteY270" fmla="*/ 4042 h 10000"/>
              <a:gd name="connsiteX271" fmla="*/ 1624 w 9961"/>
              <a:gd name="connsiteY271" fmla="*/ 4154 h 10000"/>
              <a:gd name="connsiteX272" fmla="*/ 1690 w 9961"/>
              <a:gd name="connsiteY272" fmla="*/ 4241 h 10000"/>
              <a:gd name="connsiteX273" fmla="*/ 1742 w 9961"/>
              <a:gd name="connsiteY273" fmla="*/ 4276 h 10000"/>
              <a:gd name="connsiteX274" fmla="*/ 1647 w 9961"/>
              <a:gd name="connsiteY274" fmla="*/ 4331 h 10000"/>
              <a:gd name="connsiteX275" fmla="*/ 1440 w 9961"/>
              <a:gd name="connsiteY275" fmla="*/ 4710 h 10000"/>
              <a:gd name="connsiteX276" fmla="*/ 1480 w 9961"/>
              <a:gd name="connsiteY276" fmla="*/ 4732 h 10000"/>
              <a:gd name="connsiteX277" fmla="*/ 1511 w 9961"/>
              <a:gd name="connsiteY277" fmla="*/ 4828 h 10000"/>
              <a:gd name="connsiteX278" fmla="*/ 1414 w 9961"/>
              <a:gd name="connsiteY278" fmla="*/ 5227 h 10000"/>
              <a:gd name="connsiteX279" fmla="*/ 1511 w 9961"/>
              <a:gd name="connsiteY279" fmla="*/ 5329 h 10000"/>
              <a:gd name="connsiteX280" fmla="*/ 1773 w 9961"/>
              <a:gd name="connsiteY280" fmla="*/ 5441 h 10000"/>
              <a:gd name="connsiteX281" fmla="*/ 1786 w 9961"/>
              <a:gd name="connsiteY281" fmla="*/ 5578 h 10000"/>
              <a:gd name="connsiteX282" fmla="*/ 1673 w 9961"/>
              <a:gd name="connsiteY282" fmla="*/ 5690 h 10000"/>
              <a:gd name="connsiteX283" fmla="*/ 1511 w 9961"/>
              <a:gd name="connsiteY283" fmla="*/ 5759 h 10000"/>
              <a:gd name="connsiteX284" fmla="*/ 1296 w 9961"/>
              <a:gd name="connsiteY284" fmla="*/ 5787 h 10000"/>
              <a:gd name="connsiteX285" fmla="*/ 1239 w 9961"/>
              <a:gd name="connsiteY285" fmla="*/ 5826 h 10000"/>
              <a:gd name="connsiteX286" fmla="*/ 1366 w 9961"/>
              <a:gd name="connsiteY286" fmla="*/ 5920 h 10000"/>
              <a:gd name="connsiteX287" fmla="*/ 1436 w 9961"/>
              <a:gd name="connsiteY287" fmla="*/ 6142 h 10000"/>
              <a:gd name="connsiteX288" fmla="*/ 1274 w 9961"/>
              <a:gd name="connsiteY288" fmla="*/ 6333 h 10000"/>
              <a:gd name="connsiteX289" fmla="*/ 1331 w 9961"/>
              <a:gd name="connsiteY289" fmla="*/ 6392 h 10000"/>
              <a:gd name="connsiteX290" fmla="*/ 1279 w 9961"/>
              <a:gd name="connsiteY290" fmla="*/ 6492 h 10000"/>
              <a:gd name="connsiteX291" fmla="*/ 1173 w 9961"/>
              <a:gd name="connsiteY291" fmla="*/ 6561 h 10000"/>
              <a:gd name="connsiteX292" fmla="*/ 762 w 9961"/>
              <a:gd name="connsiteY292" fmla="*/ 6614 h 10000"/>
              <a:gd name="connsiteX293" fmla="*/ 736 w 9961"/>
              <a:gd name="connsiteY293" fmla="*/ 6706 h 10000"/>
              <a:gd name="connsiteX294" fmla="*/ 513 w 9961"/>
              <a:gd name="connsiteY294" fmla="*/ 6843 h 10000"/>
              <a:gd name="connsiteX295" fmla="*/ 543 w 9961"/>
              <a:gd name="connsiteY295" fmla="*/ 7040 h 10000"/>
              <a:gd name="connsiteX296" fmla="*/ 355 w 9961"/>
              <a:gd name="connsiteY296" fmla="*/ 7293 h 10000"/>
              <a:gd name="connsiteX297" fmla="*/ 227 w 9961"/>
              <a:gd name="connsiteY297" fmla="*/ 7323 h 10000"/>
              <a:gd name="connsiteX298" fmla="*/ 175 w 9961"/>
              <a:gd name="connsiteY298" fmla="*/ 7262 h 10000"/>
              <a:gd name="connsiteX299" fmla="*/ 110 w 9961"/>
              <a:gd name="connsiteY299" fmla="*/ 7354 h 10000"/>
              <a:gd name="connsiteX300" fmla="*/ 153 w 9961"/>
              <a:gd name="connsiteY300" fmla="*/ 7197 h 10000"/>
              <a:gd name="connsiteX301" fmla="*/ 127 w 9961"/>
              <a:gd name="connsiteY301" fmla="*/ 7166 h 10000"/>
              <a:gd name="connsiteX0" fmla="*/ 127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3 w 10000"/>
              <a:gd name="connsiteY7" fmla="*/ 7727 h 10000"/>
              <a:gd name="connsiteX8" fmla="*/ 207 w 10000"/>
              <a:gd name="connsiteY8" fmla="*/ 7680 h 10000"/>
              <a:gd name="connsiteX9" fmla="*/ 263 w 10000"/>
              <a:gd name="connsiteY9" fmla="*/ 7712 h 10000"/>
              <a:gd name="connsiteX10" fmla="*/ 202 w 10000"/>
              <a:gd name="connsiteY10" fmla="*/ 7778 h 10000"/>
              <a:gd name="connsiteX11" fmla="*/ 268 w 10000"/>
              <a:gd name="connsiteY11" fmla="*/ 7780 h 10000"/>
              <a:gd name="connsiteX12" fmla="*/ 299 w 10000"/>
              <a:gd name="connsiteY12" fmla="*/ 7796 h 10000"/>
              <a:gd name="connsiteX13" fmla="*/ 215 w 10000"/>
              <a:gd name="connsiteY13" fmla="*/ 7818 h 10000"/>
              <a:gd name="connsiteX14" fmla="*/ 83 w 10000"/>
              <a:gd name="connsiteY14" fmla="*/ 7886 h 10000"/>
              <a:gd name="connsiteX15" fmla="*/ 317 w 10000"/>
              <a:gd name="connsiteY15" fmla="*/ 7938 h 10000"/>
              <a:gd name="connsiteX16" fmla="*/ 347 w 10000"/>
              <a:gd name="connsiteY16" fmla="*/ 8014 h 10000"/>
              <a:gd name="connsiteX17" fmla="*/ 268 w 10000"/>
              <a:gd name="connsiteY17" fmla="*/ 8126 h 10000"/>
              <a:gd name="connsiteX18" fmla="*/ 440 w 10000"/>
              <a:gd name="connsiteY18" fmla="*/ 8118 h 10000"/>
              <a:gd name="connsiteX19" fmla="*/ 453 w 10000"/>
              <a:gd name="connsiteY19" fmla="*/ 8203 h 10000"/>
              <a:gd name="connsiteX20" fmla="*/ 338 w 10000"/>
              <a:gd name="connsiteY20" fmla="*/ 8260 h 10000"/>
              <a:gd name="connsiteX21" fmla="*/ 356 w 10000"/>
              <a:gd name="connsiteY21" fmla="*/ 8370 h 10000"/>
              <a:gd name="connsiteX22" fmla="*/ 312 w 10000"/>
              <a:gd name="connsiteY22" fmla="*/ 8456 h 10000"/>
              <a:gd name="connsiteX23" fmla="*/ 448 w 10000"/>
              <a:gd name="connsiteY23" fmla="*/ 8464 h 10000"/>
              <a:gd name="connsiteX24" fmla="*/ 580 w 10000"/>
              <a:gd name="connsiteY24" fmla="*/ 8792 h 10000"/>
              <a:gd name="connsiteX25" fmla="*/ 734 w 10000"/>
              <a:gd name="connsiteY25" fmla="*/ 8876 h 10000"/>
              <a:gd name="connsiteX26" fmla="*/ 800 w 10000"/>
              <a:gd name="connsiteY26" fmla="*/ 8965 h 10000"/>
              <a:gd name="connsiteX27" fmla="*/ 967 w 10000"/>
              <a:gd name="connsiteY27" fmla="*/ 9030 h 10000"/>
              <a:gd name="connsiteX28" fmla="*/ 1073 w 10000"/>
              <a:gd name="connsiteY28" fmla="*/ 9112 h 10000"/>
              <a:gd name="connsiteX29" fmla="*/ 1059 w 10000"/>
              <a:gd name="connsiteY29" fmla="*/ 9171 h 10000"/>
              <a:gd name="connsiteX30" fmla="*/ 954 w 10000"/>
              <a:gd name="connsiteY30" fmla="*/ 9193 h 10000"/>
              <a:gd name="connsiteX31" fmla="*/ 839 w 10000"/>
              <a:gd name="connsiteY31" fmla="*/ 9179 h 10000"/>
              <a:gd name="connsiteX32" fmla="*/ 804 w 10000"/>
              <a:gd name="connsiteY32" fmla="*/ 9204 h 10000"/>
              <a:gd name="connsiteX33" fmla="*/ 892 w 10000"/>
              <a:gd name="connsiteY33" fmla="*/ 9332 h 10000"/>
              <a:gd name="connsiteX34" fmla="*/ 769 w 10000"/>
              <a:gd name="connsiteY34" fmla="*/ 9322 h 10000"/>
              <a:gd name="connsiteX35" fmla="*/ 664 w 10000"/>
              <a:gd name="connsiteY35" fmla="*/ 9291 h 10000"/>
              <a:gd name="connsiteX36" fmla="*/ 646 w 10000"/>
              <a:gd name="connsiteY36" fmla="*/ 9338 h 10000"/>
              <a:gd name="connsiteX37" fmla="*/ 993 w 10000"/>
              <a:gd name="connsiteY37" fmla="*/ 9776 h 10000"/>
              <a:gd name="connsiteX38" fmla="*/ 937 w 10000"/>
              <a:gd name="connsiteY38" fmla="*/ 9817 h 10000"/>
              <a:gd name="connsiteX39" fmla="*/ 898 w 10000"/>
              <a:gd name="connsiteY39" fmla="*/ 9902 h 10000"/>
              <a:gd name="connsiteX40" fmla="*/ 848 w 10000"/>
              <a:gd name="connsiteY40" fmla="*/ 9908 h 10000"/>
              <a:gd name="connsiteX41" fmla="*/ 817 w 10000"/>
              <a:gd name="connsiteY41" fmla="*/ 9945 h 10000"/>
              <a:gd name="connsiteX42" fmla="*/ 1028 w 10000"/>
              <a:gd name="connsiteY42" fmla="*/ 9949 h 10000"/>
              <a:gd name="connsiteX43" fmla="*/ 1213 w 10000"/>
              <a:gd name="connsiteY43" fmla="*/ 9986 h 10000"/>
              <a:gd name="connsiteX44" fmla="*/ 1521 w 10000"/>
              <a:gd name="connsiteY44" fmla="*/ 9947 h 10000"/>
              <a:gd name="connsiteX45" fmla="*/ 1797 w 10000"/>
              <a:gd name="connsiteY45" fmla="*/ 9953 h 10000"/>
              <a:gd name="connsiteX46" fmla="*/ 1961 w 10000"/>
              <a:gd name="connsiteY46" fmla="*/ 10000 h 10000"/>
              <a:gd name="connsiteX47" fmla="*/ 2049 w 10000"/>
              <a:gd name="connsiteY47" fmla="*/ 9969 h 10000"/>
              <a:gd name="connsiteX48" fmla="*/ 2136 w 10000"/>
              <a:gd name="connsiteY48" fmla="*/ 9868 h 10000"/>
              <a:gd name="connsiteX49" fmla="*/ 2114 w 10000"/>
              <a:gd name="connsiteY49" fmla="*/ 9703 h 10000"/>
              <a:gd name="connsiteX50" fmla="*/ 2325 w 10000"/>
              <a:gd name="connsiteY50" fmla="*/ 9517 h 10000"/>
              <a:gd name="connsiteX51" fmla="*/ 2479 w 10000"/>
              <a:gd name="connsiteY51" fmla="*/ 9546 h 10000"/>
              <a:gd name="connsiteX52" fmla="*/ 2567 w 10000"/>
              <a:gd name="connsiteY52" fmla="*/ 9472 h 10000"/>
              <a:gd name="connsiteX53" fmla="*/ 2738 w 10000"/>
              <a:gd name="connsiteY53" fmla="*/ 9430 h 10000"/>
              <a:gd name="connsiteX54" fmla="*/ 2971 w 10000"/>
              <a:gd name="connsiteY54" fmla="*/ 9440 h 10000"/>
              <a:gd name="connsiteX55" fmla="*/ 3112 w 10000"/>
              <a:gd name="connsiteY55" fmla="*/ 9470 h 10000"/>
              <a:gd name="connsiteX56" fmla="*/ 3297 w 10000"/>
              <a:gd name="connsiteY56" fmla="*/ 9456 h 10000"/>
              <a:gd name="connsiteX57" fmla="*/ 3486 w 10000"/>
              <a:gd name="connsiteY57" fmla="*/ 9489 h 10000"/>
              <a:gd name="connsiteX58" fmla="*/ 3674 w 10000"/>
              <a:gd name="connsiteY58" fmla="*/ 9493 h 10000"/>
              <a:gd name="connsiteX59" fmla="*/ 4096 w 10000"/>
              <a:gd name="connsiteY59" fmla="*/ 9061 h 10000"/>
              <a:gd name="connsiteX60" fmla="*/ 4202 w 10000"/>
              <a:gd name="connsiteY60" fmla="*/ 8711 h 10000"/>
              <a:gd name="connsiteX61" fmla="*/ 4374 w 10000"/>
              <a:gd name="connsiteY61" fmla="*/ 8554 h 10000"/>
              <a:gd name="connsiteX62" fmla="*/ 4374 w 10000"/>
              <a:gd name="connsiteY62" fmla="*/ 8472 h 10000"/>
              <a:gd name="connsiteX63" fmla="*/ 4312 w 10000"/>
              <a:gd name="connsiteY63" fmla="*/ 8425 h 10000"/>
              <a:gd name="connsiteX64" fmla="*/ 4413 w 10000"/>
              <a:gd name="connsiteY64" fmla="*/ 8352 h 10000"/>
              <a:gd name="connsiteX65" fmla="*/ 4395 w 10000"/>
              <a:gd name="connsiteY65" fmla="*/ 8289 h 10000"/>
              <a:gd name="connsiteX66" fmla="*/ 4325 w 10000"/>
              <a:gd name="connsiteY66" fmla="*/ 8236 h 10000"/>
              <a:gd name="connsiteX67" fmla="*/ 4312 w 10000"/>
              <a:gd name="connsiteY67" fmla="*/ 8199 h 10000"/>
              <a:gd name="connsiteX68" fmla="*/ 4329 w 10000"/>
              <a:gd name="connsiteY68" fmla="*/ 8169 h 10000"/>
              <a:gd name="connsiteX69" fmla="*/ 4422 w 10000"/>
              <a:gd name="connsiteY69" fmla="*/ 8193 h 10000"/>
              <a:gd name="connsiteX70" fmla="*/ 4497 w 10000"/>
              <a:gd name="connsiteY70" fmla="*/ 8191 h 10000"/>
              <a:gd name="connsiteX71" fmla="*/ 4456 w 10000"/>
              <a:gd name="connsiteY71" fmla="*/ 8140 h 10000"/>
              <a:gd name="connsiteX72" fmla="*/ 4469 w 10000"/>
              <a:gd name="connsiteY72" fmla="*/ 8112 h 10000"/>
              <a:gd name="connsiteX73" fmla="*/ 4523 w 10000"/>
              <a:gd name="connsiteY73" fmla="*/ 8069 h 10000"/>
              <a:gd name="connsiteX74" fmla="*/ 4514 w 10000"/>
              <a:gd name="connsiteY74" fmla="*/ 8034 h 10000"/>
              <a:gd name="connsiteX75" fmla="*/ 4563 w 10000"/>
              <a:gd name="connsiteY75" fmla="*/ 7916 h 10000"/>
              <a:gd name="connsiteX76" fmla="*/ 4550 w 10000"/>
              <a:gd name="connsiteY76" fmla="*/ 7881 h 10000"/>
              <a:gd name="connsiteX77" fmla="*/ 4294 w 10000"/>
              <a:gd name="connsiteY77" fmla="*/ 7792 h 10000"/>
              <a:gd name="connsiteX78" fmla="*/ 4329 w 10000"/>
              <a:gd name="connsiteY78" fmla="*/ 7788 h 10000"/>
              <a:gd name="connsiteX79" fmla="*/ 4465 w 10000"/>
              <a:gd name="connsiteY79" fmla="*/ 7812 h 10000"/>
              <a:gd name="connsiteX80" fmla="*/ 4611 w 10000"/>
              <a:gd name="connsiteY80" fmla="*/ 7804 h 10000"/>
              <a:gd name="connsiteX81" fmla="*/ 4654 w 10000"/>
              <a:gd name="connsiteY81" fmla="*/ 7771 h 10000"/>
              <a:gd name="connsiteX82" fmla="*/ 4514 w 10000"/>
              <a:gd name="connsiteY82" fmla="*/ 7710 h 10000"/>
              <a:gd name="connsiteX83" fmla="*/ 4092 w 10000"/>
              <a:gd name="connsiteY83" fmla="*/ 7670 h 10000"/>
              <a:gd name="connsiteX84" fmla="*/ 4122 w 10000"/>
              <a:gd name="connsiteY84" fmla="*/ 7651 h 10000"/>
              <a:gd name="connsiteX85" fmla="*/ 4465 w 10000"/>
              <a:gd name="connsiteY85" fmla="*/ 7639 h 10000"/>
              <a:gd name="connsiteX86" fmla="*/ 4654 w 10000"/>
              <a:gd name="connsiteY86" fmla="*/ 7676 h 10000"/>
              <a:gd name="connsiteX87" fmla="*/ 4765 w 10000"/>
              <a:gd name="connsiteY87" fmla="*/ 7651 h 10000"/>
              <a:gd name="connsiteX88" fmla="*/ 4804 w 10000"/>
              <a:gd name="connsiteY88" fmla="*/ 7588 h 10000"/>
              <a:gd name="connsiteX89" fmla="*/ 5002 w 10000"/>
              <a:gd name="connsiteY89" fmla="*/ 7588 h 10000"/>
              <a:gd name="connsiteX90" fmla="*/ 5270 w 10000"/>
              <a:gd name="connsiteY90" fmla="*/ 7462 h 10000"/>
              <a:gd name="connsiteX91" fmla="*/ 5279 w 10000"/>
              <a:gd name="connsiteY91" fmla="*/ 7378 h 10000"/>
              <a:gd name="connsiteX92" fmla="*/ 5393 w 10000"/>
              <a:gd name="connsiteY92" fmla="*/ 7397 h 10000"/>
              <a:gd name="connsiteX93" fmla="*/ 5389 w 10000"/>
              <a:gd name="connsiteY93" fmla="*/ 7482 h 10000"/>
              <a:gd name="connsiteX94" fmla="*/ 5569 w 10000"/>
              <a:gd name="connsiteY94" fmla="*/ 7476 h 10000"/>
              <a:gd name="connsiteX95" fmla="*/ 5687 w 10000"/>
              <a:gd name="connsiteY95" fmla="*/ 7388 h 10000"/>
              <a:gd name="connsiteX96" fmla="*/ 5908 w 10000"/>
              <a:gd name="connsiteY96" fmla="*/ 7309 h 10000"/>
              <a:gd name="connsiteX97" fmla="*/ 5872 w 10000"/>
              <a:gd name="connsiteY97" fmla="*/ 7219 h 10000"/>
              <a:gd name="connsiteX98" fmla="*/ 5938 w 10000"/>
              <a:gd name="connsiteY98" fmla="*/ 7254 h 10000"/>
              <a:gd name="connsiteX99" fmla="*/ 6039 w 10000"/>
              <a:gd name="connsiteY99" fmla="*/ 7254 h 10000"/>
              <a:gd name="connsiteX100" fmla="*/ 6039 w 10000"/>
              <a:gd name="connsiteY100" fmla="*/ 7213 h 10000"/>
              <a:gd name="connsiteX101" fmla="*/ 6132 w 10000"/>
              <a:gd name="connsiteY101" fmla="*/ 7181 h 10000"/>
              <a:gd name="connsiteX102" fmla="*/ 6119 w 10000"/>
              <a:gd name="connsiteY102" fmla="*/ 7148 h 10000"/>
              <a:gd name="connsiteX103" fmla="*/ 5328 w 10000"/>
              <a:gd name="connsiteY103" fmla="*/ 7215 h 10000"/>
              <a:gd name="connsiteX104" fmla="*/ 5143 w 10000"/>
              <a:gd name="connsiteY104" fmla="*/ 7195 h 10000"/>
              <a:gd name="connsiteX105" fmla="*/ 5068 w 10000"/>
              <a:gd name="connsiteY105" fmla="*/ 7219 h 10000"/>
              <a:gd name="connsiteX106" fmla="*/ 5042 w 10000"/>
              <a:gd name="connsiteY106" fmla="*/ 7173 h 10000"/>
              <a:gd name="connsiteX107" fmla="*/ 4954 w 10000"/>
              <a:gd name="connsiteY107" fmla="*/ 7132 h 10000"/>
              <a:gd name="connsiteX108" fmla="*/ 4602 w 10000"/>
              <a:gd name="connsiteY108" fmla="*/ 7052 h 10000"/>
              <a:gd name="connsiteX109" fmla="*/ 4395 w 10000"/>
              <a:gd name="connsiteY109" fmla="*/ 7065 h 10000"/>
              <a:gd name="connsiteX110" fmla="*/ 4312 w 10000"/>
              <a:gd name="connsiteY110" fmla="*/ 7042 h 10000"/>
              <a:gd name="connsiteX111" fmla="*/ 4400 w 10000"/>
              <a:gd name="connsiteY111" fmla="*/ 7022 h 10000"/>
              <a:gd name="connsiteX112" fmla="*/ 4465 w 10000"/>
              <a:gd name="connsiteY112" fmla="*/ 6979 h 10000"/>
              <a:gd name="connsiteX113" fmla="*/ 4563 w 10000"/>
              <a:gd name="connsiteY113" fmla="*/ 6993 h 10000"/>
              <a:gd name="connsiteX114" fmla="*/ 4681 w 10000"/>
              <a:gd name="connsiteY114" fmla="*/ 6981 h 10000"/>
              <a:gd name="connsiteX115" fmla="*/ 4857 w 10000"/>
              <a:gd name="connsiteY115" fmla="*/ 6995 h 10000"/>
              <a:gd name="connsiteX116" fmla="*/ 4878 w 10000"/>
              <a:gd name="connsiteY116" fmla="*/ 6989 h 10000"/>
              <a:gd name="connsiteX117" fmla="*/ 5016 w 10000"/>
              <a:gd name="connsiteY117" fmla="*/ 7056 h 10000"/>
              <a:gd name="connsiteX118" fmla="*/ 5117 w 10000"/>
              <a:gd name="connsiteY118" fmla="*/ 7032 h 10000"/>
              <a:gd name="connsiteX119" fmla="*/ 5125 w 10000"/>
              <a:gd name="connsiteY119" fmla="*/ 7010 h 10000"/>
              <a:gd name="connsiteX120" fmla="*/ 5217 w 10000"/>
              <a:gd name="connsiteY120" fmla="*/ 7048 h 10000"/>
              <a:gd name="connsiteX121" fmla="*/ 5341 w 10000"/>
              <a:gd name="connsiteY121" fmla="*/ 7069 h 10000"/>
              <a:gd name="connsiteX122" fmla="*/ 5389 w 10000"/>
              <a:gd name="connsiteY122" fmla="*/ 7030 h 10000"/>
              <a:gd name="connsiteX123" fmla="*/ 5428 w 10000"/>
              <a:gd name="connsiteY123" fmla="*/ 7052 h 10000"/>
              <a:gd name="connsiteX124" fmla="*/ 5485 w 10000"/>
              <a:gd name="connsiteY124" fmla="*/ 7126 h 10000"/>
              <a:gd name="connsiteX125" fmla="*/ 5604 w 10000"/>
              <a:gd name="connsiteY125" fmla="*/ 7144 h 10000"/>
              <a:gd name="connsiteX126" fmla="*/ 6088 w 10000"/>
              <a:gd name="connsiteY126" fmla="*/ 7034 h 10000"/>
              <a:gd name="connsiteX127" fmla="*/ 6325 w 10000"/>
              <a:gd name="connsiteY127" fmla="*/ 6879 h 10000"/>
              <a:gd name="connsiteX128" fmla="*/ 6382 w 10000"/>
              <a:gd name="connsiteY128" fmla="*/ 6765 h 10000"/>
              <a:gd name="connsiteX129" fmla="*/ 6295 w 10000"/>
              <a:gd name="connsiteY129" fmla="*/ 6663 h 10000"/>
              <a:gd name="connsiteX130" fmla="*/ 6114 w 10000"/>
              <a:gd name="connsiteY130" fmla="*/ 6602 h 10000"/>
              <a:gd name="connsiteX131" fmla="*/ 5986 w 10000"/>
              <a:gd name="connsiteY131" fmla="*/ 6502 h 10000"/>
              <a:gd name="connsiteX132" fmla="*/ 6106 w 10000"/>
              <a:gd name="connsiteY132" fmla="*/ 6498 h 10000"/>
              <a:gd name="connsiteX133" fmla="*/ 6097 w 10000"/>
              <a:gd name="connsiteY133" fmla="*/ 6474 h 10000"/>
              <a:gd name="connsiteX134" fmla="*/ 5785 w 10000"/>
              <a:gd name="connsiteY134" fmla="*/ 6403 h 10000"/>
              <a:gd name="connsiteX135" fmla="*/ 5772 w 10000"/>
              <a:gd name="connsiteY135" fmla="*/ 6339 h 10000"/>
              <a:gd name="connsiteX136" fmla="*/ 5714 w 10000"/>
              <a:gd name="connsiteY136" fmla="*/ 6272 h 10000"/>
              <a:gd name="connsiteX137" fmla="*/ 5467 w 10000"/>
              <a:gd name="connsiteY137" fmla="*/ 6284 h 10000"/>
              <a:gd name="connsiteX138" fmla="*/ 5380 w 10000"/>
              <a:gd name="connsiteY138" fmla="*/ 6213 h 10000"/>
              <a:gd name="connsiteX139" fmla="*/ 5328 w 10000"/>
              <a:gd name="connsiteY139" fmla="*/ 6209 h 10000"/>
              <a:gd name="connsiteX140" fmla="*/ 5328 w 10000"/>
              <a:gd name="connsiteY140" fmla="*/ 6238 h 10000"/>
              <a:gd name="connsiteX141" fmla="*/ 5217 w 10000"/>
              <a:gd name="connsiteY141" fmla="*/ 6358 h 10000"/>
              <a:gd name="connsiteX142" fmla="*/ 5098 w 10000"/>
              <a:gd name="connsiteY142" fmla="*/ 6429 h 10000"/>
              <a:gd name="connsiteX143" fmla="*/ 4724 w 10000"/>
              <a:gd name="connsiteY143" fmla="*/ 6551 h 10000"/>
              <a:gd name="connsiteX144" fmla="*/ 4593 w 10000"/>
              <a:gd name="connsiteY144" fmla="*/ 6547 h 10000"/>
              <a:gd name="connsiteX145" fmla="*/ 4413 w 10000"/>
              <a:gd name="connsiteY145" fmla="*/ 6565 h 10000"/>
              <a:gd name="connsiteX146" fmla="*/ 4312 w 10000"/>
              <a:gd name="connsiteY146" fmla="*/ 6547 h 10000"/>
              <a:gd name="connsiteX147" fmla="*/ 4443 w 10000"/>
              <a:gd name="connsiteY147" fmla="*/ 6513 h 10000"/>
              <a:gd name="connsiteX148" fmla="*/ 4615 w 10000"/>
              <a:gd name="connsiteY148" fmla="*/ 6498 h 10000"/>
              <a:gd name="connsiteX149" fmla="*/ 4757 w 10000"/>
              <a:gd name="connsiteY149" fmla="*/ 6441 h 10000"/>
              <a:gd name="connsiteX150" fmla="*/ 4896 w 10000"/>
              <a:gd name="connsiteY150" fmla="*/ 6415 h 10000"/>
              <a:gd name="connsiteX151" fmla="*/ 5156 w 10000"/>
              <a:gd name="connsiteY151" fmla="*/ 6317 h 10000"/>
              <a:gd name="connsiteX152" fmla="*/ 5204 w 10000"/>
              <a:gd name="connsiteY152" fmla="*/ 6252 h 10000"/>
              <a:gd name="connsiteX153" fmla="*/ 5208 w 10000"/>
              <a:gd name="connsiteY153" fmla="*/ 6168 h 10000"/>
              <a:gd name="connsiteX154" fmla="*/ 5090 w 10000"/>
              <a:gd name="connsiteY154" fmla="*/ 6154 h 10000"/>
              <a:gd name="connsiteX155" fmla="*/ 5143 w 10000"/>
              <a:gd name="connsiteY155" fmla="*/ 6103 h 10000"/>
              <a:gd name="connsiteX156" fmla="*/ 5160 w 10000"/>
              <a:gd name="connsiteY156" fmla="*/ 6038 h 10000"/>
              <a:gd name="connsiteX157" fmla="*/ 5111 w 10000"/>
              <a:gd name="connsiteY157" fmla="*/ 5977 h 10000"/>
              <a:gd name="connsiteX158" fmla="*/ 5081 w 10000"/>
              <a:gd name="connsiteY158" fmla="*/ 5533 h 10000"/>
              <a:gd name="connsiteX159" fmla="*/ 5152 w 10000"/>
              <a:gd name="connsiteY159" fmla="*/ 5437 h 10000"/>
              <a:gd name="connsiteX160" fmla="*/ 5134 w 10000"/>
              <a:gd name="connsiteY160" fmla="*/ 5398 h 10000"/>
              <a:gd name="connsiteX161" fmla="*/ 5341 w 10000"/>
              <a:gd name="connsiteY161" fmla="*/ 5455 h 10000"/>
              <a:gd name="connsiteX162" fmla="*/ 5354 w 10000"/>
              <a:gd name="connsiteY162" fmla="*/ 5402 h 10000"/>
              <a:gd name="connsiteX163" fmla="*/ 5310 w 10000"/>
              <a:gd name="connsiteY163" fmla="*/ 5264 h 10000"/>
              <a:gd name="connsiteX164" fmla="*/ 5458 w 10000"/>
              <a:gd name="connsiteY164" fmla="*/ 5019 h 10000"/>
              <a:gd name="connsiteX165" fmla="*/ 5367 w 10000"/>
              <a:gd name="connsiteY165" fmla="*/ 4960 h 10000"/>
              <a:gd name="connsiteX166" fmla="*/ 5332 w 10000"/>
              <a:gd name="connsiteY166" fmla="*/ 4905 h 10000"/>
              <a:gd name="connsiteX167" fmla="*/ 5345 w 10000"/>
              <a:gd name="connsiteY167" fmla="*/ 4816 h 10000"/>
              <a:gd name="connsiteX168" fmla="*/ 5561 w 10000"/>
              <a:gd name="connsiteY168" fmla="*/ 4875 h 10000"/>
              <a:gd name="connsiteX169" fmla="*/ 5569 w 10000"/>
              <a:gd name="connsiteY169" fmla="*/ 4858 h 10000"/>
              <a:gd name="connsiteX170" fmla="*/ 5630 w 10000"/>
              <a:gd name="connsiteY170" fmla="*/ 4842 h 10000"/>
              <a:gd name="connsiteX171" fmla="*/ 5714 w 10000"/>
              <a:gd name="connsiteY171" fmla="*/ 4785 h 10000"/>
              <a:gd name="connsiteX172" fmla="*/ 5727 w 10000"/>
              <a:gd name="connsiteY172" fmla="*/ 4769 h 10000"/>
              <a:gd name="connsiteX173" fmla="*/ 5710 w 10000"/>
              <a:gd name="connsiteY173" fmla="*/ 4748 h 10000"/>
              <a:gd name="connsiteX174" fmla="*/ 5753 w 10000"/>
              <a:gd name="connsiteY174" fmla="*/ 4647 h 10000"/>
              <a:gd name="connsiteX175" fmla="*/ 5701 w 10000"/>
              <a:gd name="connsiteY175" fmla="*/ 4581 h 10000"/>
              <a:gd name="connsiteX176" fmla="*/ 5710 w 10000"/>
              <a:gd name="connsiteY176" fmla="*/ 4528 h 10000"/>
              <a:gd name="connsiteX177" fmla="*/ 5740 w 10000"/>
              <a:gd name="connsiteY177" fmla="*/ 4590 h 10000"/>
              <a:gd name="connsiteX178" fmla="*/ 5859 w 10000"/>
              <a:gd name="connsiteY178" fmla="*/ 4636 h 10000"/>
              <a:gd name="connsiteX179" fmla="*/ 5908 w 10000"/>
              <a:gd name="connsiteY179" fmla="*/ 4630 h 10000"/>
              <a:gd name="connsiteX180" fmla="*/ 5986 w 10000"/>
              <a:gd name="connsiteY180" fmla="*/ 4569 h 10000"/>
              <a:gd name="connsiteX181" fmla="*/ 6070 w 10000"/>
              <a:gd name="connsiteY181" fmla="*/ 4594 h 10000"/>
              <a:gd name="connsiteX182" fmla="*/ 6093 w 10000"/>
              <a:gd name="connsiteY182" fmla="*/ 4545 h 10000"/>
              <a:gd name="connsiteX183" fmla="*/ 6149 w 10000"/>
              <a:gd name="connsiteY183" fmla="*/ 4512 h 10000"/>
              <a:gd name="connsiteX184" fmla="*/ 5995 w 10000"/>
              <a:gd name="connsiteY184" fmla="*/ 4477 h 10000"/>
              <a:gd name="connsiteX185" fmla="*/ 6106 w 10000"/>
              <a:gd name="connsiteY185" fmla="*/ 4484 h 10000"/>
              <a:gd name="connsiteX186" fmla="*/ 6219 w 10000"/>
              <a:gd name="connsiteY186" fmla="*/ 4447 h 10000"/>
              <a:gd name="connsiteX187" fmla="*/ 6215 w 10000"/>
              <a:gd name="connsiteY187" fmla="*/ 4422 h 10000"/>
              <a:gd name="connsiteX188" fmla="*/ 6321 w 10000"/>
              <a:gd name="connsiteY188" fmla="*/ 4398 h 10000"/>
              <a:gd name="connsiteX189" fmla="*/ 6330 w 10000"/>
              <a:gd name="connsiteY189" fmla="*/ 4337 h 10000"/>
              <a:gd name="connsiteX190" fmla="*/ 6413 w 10000"/>
              <a:gd name="connsiteY190" fmla="*/ 4325 h 10000"/>
              <a:gd name="connsiteX191" fmla="*/ 6421 w 10000"/>
              <a:gd name="connsiteY191" fmla="*/ 4253 h 10000"/>
              <a:gd name="connsiteX192" fmla="*/ 6509 w 10000"/>
              <a:gd name="connsiteY192" fmla="*/ 4245 h 10000"/>
              <a:gd name="connsiteX193" fmla="*/ 6645 w 10000"/>
              <a:gd name="connsiteY193" fmla="*/ 4260 h 10000"/>
              <a:gd name="connsiteX194" fmla="*/ 6794 w 10000"/>
              <a:gd name="connsiteY194" fmla="*/ 4202 h 10000"/>
              <a:gd name="connsiteX195" fmla="*/ 6848 w 10000"/>
              <a:gd name="connsiteY195" fmla="*/ 4137 h 10000"/>
              <a:gd name="connsiteX196" fmla="*/ 7032 w 10000"/>
              <a:gd name="connsiteY196" fmla="*/ 4070 h 10000"/>
              <a:gd name="connsiteX197" fmla="*/ 7125 w 10000"/>
              <a:gd name="connsiteY197" fmla="*/ 4111 h 10000"/>
              <a:gd name="connsiteX198" fmla="*/ 7265 w 10000"/>
              <a:gd name="connsiteY198" fmla="*/ 4066 h 10000"/>
              <a:gd name="connsiteX199" fmla="*/ 7300 w 10000"/>
              <a:gd name="connsiteY199" fmla="*/ 4009 h 10000"/>
              <a:gd name="connsiteX200" fmla="*/ 7406 w 10000"/>
              <a:gd name="connsiteY200" fmla="*/ 3970 h 10000"/>
              <a:gd name="connsiteX201" fmla="*/ 7498 w 10000"/>
              <a:gd name="connsiteY201" fmla="*/ 3987 h 10000"/>
              <a:gd name="connsiteX202" fmla="*/ 7555 w 10000"/>
              <a:gd name="connsiteY202" fmla="*/ 3958 h 10000"/>
              <a:gd name="connsiteX203" fmla="*/ 7714 w 10000"/>
              <a:gd name="connsiteY203" fmla="*/ 3917 h 10000"/>
              <a:gd name="connsiteX204" fmla="*/ 7779 w 10000"/>
              <a:gd name="connsiteY204" fmla="*/ 3864 h 10000"/>
              <a:gd name="connsiteX205" fmla="*/ 7868 w 10000"/>
              <a:gd name="connsiteY205" fmla="*/ 3842 h 10000"/>
              <a:gd name="connsiteX206" fmla="*/ 8356 w 10000"/>
              <a:gd name="connsiteY206" fmla="*/ 3522 h 10000"/>
              <a:gd name="connsiteX207" fmla="*/ 10000 w 10000"/>
              <a:gd name="connsiteY207" fmla="*/ 2410 h 10000"/>
              <a:gd name="connsiteX208" fmla="*/ 9793 w 10000"/>
              <a:gd name="connsiteY208" fmla="*/ 1992 h 10000"/>
              <a:gd name="connsiteX209" fmla="*/ 9832 w 10000"/>
              <a:gd name="connsiteY209" fmla="*/ 1897 h 10000"/>
              <a:gd name="connsiteX210" fmla="*/ 9920 w 10000"/>
              <a:gd name="connsiteY210" fmla="*/ 1819 h 10000"/>
              <a:gd name="connsiteX211" fmla="*/ 9920 w 10000"/>
              <a:gd name="connsiteY211" fmla="*/ 1699 h 10000"/>
              <a:gd name="connsiteX212" fmla="*/ 9644 w 10000"/>
              <a:gd name="connsiteY212" fmla="*/ 1465 h 10000"/>
              <a:gd name="connsiteX213" fmla="*/ 9599 w 10000"/>
              <a:gd name="connsiteY213" fmla="*/ 1379 h 10000"/>
              <a:gd name="connsiteX214" fmla="*/ 9661 w 10000"/>
              <a:gd name="connsiteY214" fmla="*/ 1271 h 10000"/>
              <a:gd name="connsiteX215" fmla="*/ 9631 w 10000"/>
              <a:gd name="connsiteY215" fmla="*/ 1194 h 10000"/>
              <a:gd name="connsiteX216" fmla="*/ 9573 w 10000"/>
              <a:gd name="connsiteY216" fmla="*/ 1159 h 10000"/>
              <a:gd name="connsiteX217" fmla="*/ 9524 w 10000"/>
              <a:gd name="connsiteY217" fmla="*/ 978 h 10000"/>
              <a:gd name="connsiteX218" fmla="*/ 9582 w 10000"/>
              <a:gd name="connsiteY218" fmla="*/ 831 h 10000"/>
              <a:gd name="connsiteX219" fmla="*/ 9160 w 10000"/>
              <a:gd name="connsiteY219" fmla="*/ 517 h 10000"/>
              <a:gd name="connsiteX220" fmla="*/ 8953 w 10000"/>
              <a:gd name="connsiteY220" fmla="*/ 440 h 10000"/>
              <a:gd name="connsiteX221" fmla="*/ 8570 w 10000"/>
              <a:gd name="connsiteY221" fmla="*/ 389 h 10000"/>
              <a:gd name="connsiteX222" fmla="*/ 7779 w 10000"/>
              <a:gd name="connsiteY222" fmla="*/ 26 h 10000"/>
              <a:gd name="connsiteX223" fmla="*/ 7753 w 10000"/>
              <a:gd name="connsiteY223" fmla="*/ 2 h 10000"/>
              <a:gd name="connsiteX224" fmla="*/ 7485 w 10000"/>
              <a:gd name="connsiteY224" fmla="*/ 0 h 10000"/>
              <a:gd name="connsiteX225" fmla="*/ 7423 w 10000"/>
              <a:gd name="connsiteY225" fmla="*/ 14 h 10000"/>
              <a:gd name="connsiteX226" fmla="*/ 7437 w 10000"/>
              <a:gd name="connsiteY226" fmla="*/ 61 h 10000"/>
              <a:gd name="connsiteX227" fmla="*/ 7490 w 10000"/>
              <a:gd name="connsiteY227" fmla="*/ 86 h 10000"/>
              <a:gd name="connsiteX228" fmla="*/ 7503 w 10000"/>
              <a:gd name="connsiteY228" fmla="*/ 139 h 10000"/>
              <a:gd name="connsiteX229" fmla="*/ 7485 w 10000"/>
              <a:gd name="connsiteY229" fmla="*/ 181 h 10000"/>
              <a:gd name="connsiteX230" fmla="*/ 7437 w 10000"/>
              <a:gd name="connsiteY230" fmla="*/ 208 h 10000"/>
              <a:gd name="connsiteX231" fmla="*/ 7401 w 10000"/>
              <a:gd name="connsiteY231" fmla="*/ 283 h 10000"/>
              <a:gd name="connsiteX232" fmla="*/ 7336 w 10000"/>
              <a:gd name="connsiteY232" fmla="*/ 336 h 10000"/>
              <a:gd name="connsiteX233" fmla="*/ 7349 w 10000"/>
              <a:gd name="connsiteY233" fmla="*/ 387 h 10000"/>
              <a:gd name="connsiteX234" fmla="*/ 7450 w 10000"/>
              <a:gd name="connsiteY234" fmla="*/ 434 h 10000"/>
              <a:gd name="connsiteX235" fmla="*/ 7384 w 10000"/>
              <a:gd name="connsiteY235" fmla="*/ 475 h 10000"/>
              <a:gd name="connsiteX236" fmla="*/ 7287 w 10000"/>
              <a:gd name="connsiteY236" fmla="*/ 485 h 10000"/>
              <a:gd name="connsiteX237" fmla="*/ 6479 w 10000"/>
              <a:gd name="connsiteY237" fmla="*/ 387 h 10000"/>
              <a:gd name="connsiteX238" fmla="*/ 6382 w 10000"/>
              <a:gd name="connsiteY238" fmla="*/ 395 h 10000"/>
              <a:gd name="connsiteX239" fmla="*/ 6325 w 10000"/>
              <a:gd name="connsiteY239" fmla="*/ 414 h 10000"/>
              <a:gd name="connsiteX240" fmla="*/ 6267 w 10000"/>
              <a:gd name="connsiteY240" fmla="*/ 462 h 10000"/>
              <a:gd name="connsiteX241" fmla="*/ 6277 w 10000"/>
              <a:gd name="connsiteY241" fmla="*/ 581 h 10000"/>
              <a:gd name="connsiteX242" fmla="*/ 6188 w 10000"/>
              <a:gd name="connsiteY242" fmla="*/ 735 h 10000"/>
              <a:gd name="connsiteX243" fmla="*/ 6079 w 10000"/>
              <a:gd name="connsiteY243" fmla="*/ 815 h 10000"/>
              <a:gd name="connsiteX244" fmla="*/ 6035 w 10000"/>
              <a:gd name="connsiteY244" fmla="*/ 805 h 10000"/>
              <a:gd name="connsiteX245" fmla="*/ 5934 w 10000"/>
              <a:gd name="connsiteY245" fmla="*/ 739 h 10000"/>
              <a:gd name="connsiteX246" fmla="*/ 5806 w 10000"/>
              <a:gd name="connsiteY246" fmla="*/ 705 h 10000"/>
              <a:gd name="connsiteX247" fmla="*/ 5669 w 10000"/>
              <a:gd name="connsiteY247" fmla="*/ 715 h 10000"/>
              <a:gd name="connsiteX248" fmla="*/ 5350 w 10000"/>
              <a:gd name="connsiteY248" fmla="*/ 866 h 10000"/>
              <a:gd name="connsiteX249" fmla="*/ 5266 w 10000"/>
              <a:gd name="connsiteY249" fmla="*/ 1017 h 10000"/>
              <a:gd name="connsiteX250" fmla="*/ 5024 w 10000"/>
              <a:gd name="connsiteY250" fmla="*/ 1153 h 10000"/>
              <a:gd name="connsiteX251" fmla="*/ 4980 w 10000"/>
              <a:gd name="connsiteY251" fmla="*/ 1222 h 10000"/>
              <a:gd name="connsiteX252" fmla="*/ 5107 w 10000"/>
              <a:gd name="connsiteY252" fmla="*/ 1344 h 10000"/>
              <a:gd name="connsiteX253" fmla="*/ 5121 w 10000"/>
              <a:gd name="connsiteY253" fmla="*/ 1412 h 10000"/>
              <a:gd name="connsiteX254" fmla="*/ 4461 w 10000"/>
              <a:gd name="connsiteY254" fmla="*/ 1813 h 10000"/>
              <a:gd name="connsiteX255" fmla="*/ 4259 w 10000"/>
              <a:gd name="connsiteY255" fmla="*/ 2070 h 10000"/>
              <a:gd name="connsiteX256" fmla="*/ 4040 w 10000"/>
              <a:gd name="connsiteY256" fmla="*/ 2135 h 10000"/>
              <a:gd name="connsiteX257" fmla="*/ 3903 w 10000"/>
              <a:gd name="connsiteY257" fmla="*/ 2131 h 10000"/>
              <a:gd name="connsiteX258" fmla="*/ 3820 w 10000"/>
              <a:gd name="connsiteY258" fmla="*/ 2153 h 10000"/>
              <a:gd name="connsiteX259" fmla="*/ 3591 w 10000"/>
              <a:gd name="connsiteY259" fmla="*/ 2793 h 10000"/>
              <a:gd name="connsiteX260" fmla="*/ 3064 w 10000"/>
              <a:gd name="connsiteY260" fmla="*/ 3166 h 10000"/>
              <a:gd name="connsiteX261" fmla="*/ 3068 w 10000"/>
              <a:gd name="connsiteY261" fmla="*/ 3225 h 10000"/>
              <a:gd name="connsiteX262" fmla="*/ 3301 w 10000"/>
              <a:gd name="connsiteY262" fmla="*/ 3392 h 10000"/>
              <a:gd name="connsiteX263" fmla="*/ 3227 w 10000"/>
              <a:gd name="connsiteY263" fmla="*/ 3573 h 10000"/>
              <a:gd name="connsiteX264" fmla="*/ 3090 w 10000"/>
              <a:gd name="connsiteY264" fmla="*/ 3640 h 10000"/>
              <a:gd name="connsiteX265" fmla="*/ 2681 w 10000"/>
              <a:gd name="connsiteY265" fmla="*/ 3595 h 10000"/>
              <a:gd name="connsiteX266" fmla="*/ 2399 w 10000"/>
              <a:gd name="connsiteY266" fmla="*/ 3620 h 10000"/>
              <a:gd name="connsiteX267" fmla="*/ 2171 w 10000"/>
              <a:gd name="connsiteY267" fmla="*/ 3673 h 10000"/>
              <a:gd name="connsiteX268" fmla="*/ 1806 w 10000"/>
              <a:gd name="connsiteY268" fmla="*/ 3840 h 10000"/>
              <a:gd name="connsiteX269" fmla="*/ 1612 w 10000"/>
              <a:gd name="connsiteY269" fmla="*/ 4042 h 10000"/>
              <a:gd name="connsiteX270" fmla="*/ 1630 w 10000"/>
              <a:gd name="connsiteY270" fmla="*/ 4154 h 10000"/>
              <a:gd name="connsiteX271" fmla="*/ 1697 w 10000"/>
              <a:gd name="connsiteY271" fmla="*/ 4241 h 10000"/>
              <a:gd name="connsiteX272" fmla="*/ 1749 w 10000"/>
              <a:gd name="connsiteY272" fmla="*/ 4276 h 10000"/>
              <a:gd name="connsiteX273" fmla="*/ 1653 w 10000"/>
              <a:gd name="connsiteY273" fmla="*/ 4331 h 10000"/>
              <a:gd name="connsiteX274" fmla="*/ 1446 w 10000"/>
              <a:gd name="connsiteY274" fmla="*/ 4710 h 10000"/>
              <a:gd name="connsiteX275" fmla="*/ 1486 w 10000"/>
              <a:gd name="connsiteY275" fmla="*/ 4732 h 10000"/>
              <a:gd name="connsiteX276" fmla="*/ 1517 w 10000"/>
              <a:gd name="connsiteY276" fmla="*/ 4828 h 10000"/>
              <a:gd name="connsiteX277" fmla="*/ 1420 w 10000"/>
              <a:gd name="connsiteY277" fmla="*/ 5227 h 10000"/>
              <a:gd name="connsiteX278" fmla="*/ 1517 w 10000"/>
              <a:gd name="connsiteY278" fmla="*/ 5329 h 10000"/>
              <a:gd name="connsiteX279" fmla="*/ 1780 w 10000"/>
              <a:gd name="connsiteY279" fmla="*/ 5441 h 10000"/>
              <a:gd name="connsiteX280" fmla="*/ 1793 w 10000"/>
              <a:gd name="connsiteY280" fmla="*/ 5578 h 10000"/>
              <a:gd name="connsiteX281" fmla="*/ 1680 w 10000"/>
              <a:gd name="connsiteY281" fmla="*/ 5690 h 10000"/>
              <a:gd name="connsiteX282" fmla="*/ 1517 w 10000"/>
              <a:gd name="connsiteY282" fmla="*/ 5759 h 10000"/>
              <a:gd name="connsiteX283" fmla="*/ 1301 w 10000"/>
              <a:gd name="connsiteY283" fmla="*/ 5787 h 10000"/>
              <a:gd name="connsiteX284" fmla="*/ 1244 w 10000"/>
              <a:gd name="connsiteY284" fmla="*/ 5826 h 10000"/>
              <a:gd name="connsiteX285" fmla="*/ 1371 w 10000"/>
              <a:gd name="connsiteY285" fmla="*/ 5920 h 10000"/>
              <a:gd name="connsiteX286" fmla="*/ 1442 w 10000"/>
              <a:gd name="connsiteY286" fmla="*/ 6142 h 10000"/>
              <a:gd name="connsiteX287" fmla="*/ 1279 w 10000"/>
              <a:gd name="connsiteY287" fmla="*/ 6333 h 10000"/>
              <a:gd name="connsiteX288" fmla="*/ 1336 w 10000"/>
              <a:gd name="connsiteY288" fmla="*/ 6392 h 10000"/>
              <a:gd name="connsiteX289" fmla="*/ 1284 w 10000"/>
              <a:gd name="connsiteY289" fmla="*/ 6492 h 10000"/>
              <a:gd name="connsiteX290" fmla="*/ 1178 w 10000"/>
              <a:gd name="connsiteY290" fmla="*/ 6561 h 10000"/>
              <a:gd name="connsiteX291" fmla="*/ 765 w 10000"/>
              <a:gd name="connsiteY291" fmla="*/ 6614 h 10000"/>
              <a:gd name="connsiteX292" fmla="*/ 739 w 10000"/>
              <a:gd name="connsiteY292" fmla="*/ 6706 h 10000"/>
              <a:gd name="connsiteX293" fmla="*/ 515 w 10000"/>
              <a:gd name="connsiteY293" fmla="*/ 6843 h 10000"/>
              <a:gd name="connsiteX294" fmla="*/ 545 w 10000"/>
              <a:gd name="connsiteY294" fmla="*/ 7040 h 10000"/>
              <a:gd name="connsiteX295" fmla="*/ 356 w 10000"/>
              <a:gd name="connsiteY295" fmla="*/ 7293 h 10000"/>
              <a:gd name="connsiteX296" fmla="*/ 228 w 10000"/>
              <a:gd name="connsiteY296" fmla="*/ 7323 h 10000"/>
              <a:gd name="connsiteX297" fmla="*/ 176 w 10000"/>
              <a:gd name="connsiteY297" fmla="*/ 7262 h 10000"/>
              <a:gd name="connsiteX298" fmla="*/ 110 w 10000"/>
              <a:gd name="connsiteY298" fmla="*/ 7354 h 10000"/>
              <a:gd name="connsiteX299" fmla="*/ 154 w 10000"/>
              <a:gd name="connsiteY299" fmla="*/ 7197 h 10000"/>
              <a:gd name="connsiteX300" fmla="*/ 127 w 10000"/>
              <a:gd name="connsiteY300" fmla="*/ 7166 h 10000"/>
              <a:gd name="connsiteX0" fmla="*/ 127 w 9920"/>
              <a:gd name="connsiteY0" fmla="*/ 7166 h 10000"/>
              <a:gd name="connsiteX1" fmla="*/ 0 w 9920"/>
              <a:gd name="connsiteY1" fmla="*/ 7248 h 10000"/>
              <a:gd name="connsiteX2" fmla="*/ 0 w 9920"/>
              <a:gd name="connsiteY2" fmla="*/ 7651 h 10000"/>
              <a:gd name="connsiteX3" fmla="*/ 70 w 9920"/>
              <a:gd name="connsiteY3" fmla="*/ 7663 h 10000"/>
              <a:gd name="connsiteX4" fmla="*/ 87 w 9920"/>
              <a:gd name="connsiteY4" fmla="*/ 7694 h 10000"/>
              <a:gd name="connsiteX5" fmla="*/ 83 w 9920"/>
              <a:gd name="connsiteY5" fmla="*/ 7749 h 10000"/>
              <a:gd name="connsiteX6" fmla="*/ 57 w 9920"/>
              <a:gd name="connsiteY6" fmla="*/ 7773 h 10000"/>
              <a:gd name="connsiteX7" fmla="*/ 163 w 9920"/>
              <a:gd name="connsiteY7" fmla="*/ 7727 h 10000"/>
              <a:gd name="connsiteX8" fmla="*/ 207 w 9920"/>
              <a:gd name="connsiteY8" fmla="*/ 7680 h 10000"/>
              <a:gd name="connsiteX9" fmla="*/ 263 w 9920"/>
              <a:gd name="connsiteY9" fmla="*/ 7712 h 10000"/>
              <a:gd name="connsiteX10" fmla="*/ 202 w 9920"/>
              <a:gd name="connsiteY10" fmla="*/ 7778 h 10000"/>
              <a:gd name="connsiteX11" fmla="*/ 268 w 9920"/>
              <a:gd name="connsiteY11" fmla="*/ 7780 h 10000"/>
              <a:gd name="connsiteX12" fmla="*/ 299 w 9920"/>
              <a:gd name="connsiteY12" fmla="*/ 7796 h 10000"/>
              <a:gd name="connsiteX13" fmla="*/ 215 w 9920"/>
              <a:gd name="connsiteY13" fmla="*/ 7818 h 10000"/>
              <a:gd name="connsiteX14" fmla="*/ 83 w 9920"/>
              <a:gd name="connsiteY14" fmla="*/ 7886 h 10000"/>
              <a:gd name="connsiteX15" fmla="*/ 317 w 9920"/>
              <a:gd name="connsiteY15" fmla="*/ 7938 h 10000"/>
              <a:gd name="connsiteX16" fmla="*/ 347 w 9920"/>
              <a:gd name="connsiteY16" fmla="*/ 8014 h 10000"/>
              <a:gd name="connsiteX17" fmla="*/ 268 w 9920"/>
              <a:gd name="connsiteY17" fmla="*/ 8126 h 10000"/>
              <a:gd name="connsiteX18" fmla="*/ 440 w 9920"/>
              <a:gd name="connsiteY18" fmla="*/ 8118 h 10000"/>
              <a:gd name="connsiteX19" fmla="*/ 453 w 9920"/>
              <a:gd name="connsiteY19" fmla="*/ 8203 h 10000"/>
              <a:gd name="connsiteX20" fmla="*/ 338 w 9920"/>
              <a:gd name="connsiteY20" fmla="*/ 8260 h 10000"/>
              <a:gd name="connsiteX21" fmla="*/ 356 w 9920"/>
              <a:gd name="connsiteY21" fmla="*/ 8370 h 10000"/>
              <a:gd name="connsiteX22" fmla="*/ 312 w 9920"/>
              <a:gd name="connsiteY22" fmla="*/ 8456 h 10000"/>
              <a:gd name="connsiteX23" fmla="*/ 448 w 9920"/>
              <a:gd name="connsiteY23" fmla="*/ 8464 h 10000"/>
              <a:gd name="connsiteX24" fmla="*/ 580 w 9920"/>
              <a:gd name="connsiteY24" fmla="*/ 8792 h 10000"/>
              <a:gd name="connsiteX25" fmla="*/ 734 w 9920"/>
              <a:gd name="connsiteY25" fmla="*/ 8876 h 10000"/>
              <a:gd name="connsiteX26" fmla="*/ 800 w 9920"/>
              <a:gd name="connsiteY26" fmla="*/ 8965 h 10000"/>
              <a:gd name="connsiteX27" fmla="*/ 967 w 9920"/>
              <a:gd name="connsiteY27" fmla="*/ 9030 h 10000"/>
              <a:gd name="connsiteX28" fmla="*/ 1073 w 9920"/>
              <a:gd name="connsiteY28" fmla="*/ 9112 h 10000"/>
              <a:gd name="connsiteX29" fmla="*/ 1059 w 9920"/>
              <a:gd name="connsiteY29" fmla="*/ 9171 h 10000"/>
              <a:gd name="connsiteX30" fmla="*/ 954 w 9920"/>
              <a:gd name="connsiteY30" fmla="*/ 9193 h 10000"/>
              <a:gd name="connsiteX31" fmla="*/ 839 w 9920"/>
              <a:gd name="connsiteY31" fmla="*/ 9179 h 10000"/>
              <a:gd name="connsiteX32" fmla="*/ 804 w 9920"/>
              <a:gd name="connsiteY32" fmla="*/ 9204 h 10000"/>
              <a:gd name="connsiteX33" fmla="*/ 892 w 9920"/>
              <a:gd name="connsiteY33" fmla="*/ 9332 h 10000"/>
              <a:gd name="connsiteX34" fmla="*/ 769 w 9920"/>
              <a:gd name="connsiteY34" fmla="*/ 9322 h 10000"/>
              <a:gd name="connsiteX35" fmla="*/ 664 w 9920"/>
              <a:gd name="connsiteY35" fmla="*/ 9291 h 10000"/>
              <a:gd name="connsiteX36" fmla="*/ 646 w 9920"/>
              <a:gd name="connsiteY36" fmla="*/ 9338 h 10000"/>
              <a:gd name="connsiteX37" fmla="*/ 993 w 9920"/>
              <a:gd name="connsiteY37" fmla="*/ 9776 h 10000"/>
              <a:gd name="connsiteX38" fmla="*/ 937 w 9920"/>
              <a:gd name="connsiteY38" fmla="*/ 9817 h 10000"/>
              <a:gd name="connsiteX39" fmla="*/ 898 w 9920"/>
              <a:gd name="connsiteY39" fmla="*/ 9902 h 10000"/>
              <a:gd name="connsiteX40" fmla="*/ 848 w 9920"/>
              <a:gd name="connsiteY40" fmla="*/ 9908 h 10000"/>
              <a:gd name="connsiteX41" fmla="*/ 817 w 9920"/>
              <a:gd name="connsiteY41" fmla="*/ 9945 h 10000"/>
              <a:gd name="connsiteX42" fmla="*/ 1028 w 9920"/>
              <a:gd name="connsiteY42" fmla="*/ 9949 h 10000"/>
              <a:gd name="connsiteX43" fmla="*/ 1213 w 9920"/>
              <a:gd name="connsiteY43" fmla="*/ 9986 h 10000"/>
              <a:gd name="connsiteX44" fmla="*/ 1521 w 9920"/>
              <a:gd name="connsiteY44" fmla="*/ 9947 h 10000"/>
              <a:gd name="connsiteX45" fmla="*/ 1797 w 9920"/>
              <a:gd name="connsiteY45" fmla="*/ 9953 h 10000"/>
              <a:gd name="connsiteX46" fmla="*/ 1961 w 9920"/>
              <a:gd name="connsiteY46" fmla="*/ 10000 h 10000"/>
              <a:gd name="connsiteX47" fmla="*/ 2049 w 9920"/>
              <a:gd name="connsiteY47" fmla="*/ 9969 h 10000"/>
              <a:gd name="connsiteX48" fmla="*/ 2136 w 9920"/>
              <a:gd name="connsiteY48" fmla="*/ 9868 h 10000"/>
              <a:gd name="connsiteX49" fmla="*/ 2114 w 9920"/>
              <a:gd name="connsiteY49" fmla="*/ 9703 h 10000"/>
              <a:gd name="connsiteX50" fmla="*/ 2325 w 9920"/>
              <a:gd name="connsiteY50" fmla="*/ 9517 h 10000"/>
              <a:gd name="connsiteX51" fmla="*/ 2479 w 9920"/>
              <a:gd name="connsiteY51" fmla="*/ 9546 h 10000"/>
              <a:gd name="connsiteX52" fmla="*/ 2567 w 9920"/>
              <a:gd name="connsiteY52" fmla="*/ 9472 h 10000"/>
              <a:gd name="connsiteX53" fmla="*/ 2738 w 9920"/>
              <a:gd name="connsiteY53" fmla="*/ 9430 h 10000"/>
              <a:gd name="connsiteX54" fmla="*/ 2971 w 9920"/>
              <a:gd name="connsiteY54" fmla="*/ 9440 h 10000"/>
              <a:gd name="connsiteX55" fmla="*/ 3112 w 9920"/>
              <a:gd name="connsiteY55" fmla="*/ 9470 h 10000"/>
              <a:gd name="connsiteX56" fmla="*/ 3297 w 9920"/>
              <a:gd name="connsiteY56" fmla="*/ 9456 h 10000"/>
              <a:gd name="connsiteX57" fmla="*/ 3486 w 9920"/>
              <a:gd name="connsiteY57" fmla="*/ 9489 h 10000"/>
              <a:gd name="connsiteX58" fmla="*/ 3674 w 9920"/>
              <a:gd name="connsiteY58" fmla="*/ 9493 h 10000"/>
              <a:gd name="connsiteX59" fmla="*/ 4096 w 9920"/>
              <a:gd name="connsiteY59" fmla="*/ 9061 h 10000"/>
              <a:gd name="connsiteX60" fmla="*/ 4202 w 9920"/>
              <a:gd name="connsiteY60" fmla="*/ 8711 h 10000"/>
              <a:gd name="connsiteX61" fmla="*/ 4374 w 9920"/>
              <a:gd name="connsiteY61" fmla="*/ 8554 h 10000"/>
              <a:gd name="connsiteX62" fmla="*/ 4374 w 9920"/>
              <a:gd name="connsiteY62" fmla="*/ 8472 h 10000"/>
              <a:gd name="connsiteX63" fmla="*/ 4312 w 9920"/>
              <a:gd name="connsiteY63" fmla="*/ 8425 h 10000"/>
              <a:gd name="connsiteX64" fmla="*/ 4413 w 9920"/>
              <a:gd name="connsiteY64" fmla="*/ 8352 h 10000"/>
              <a:gd name="connsiteX65" fmla="*/ 4395 w 9920"/>
              <a:gd name="connsiteY65" fmla="*/ 8289 h 10000"/>
              <a:gd name="connsiteX66" fmla="*/ 4325 w 9920"/>
              <a:gd name="connsiteY66" fmla="*/ 8236 h 10000"/>
              <a:gd name="connsiteX67" fmla="*/ 4312 w 9920"/>
              <a:gd name="connsiteY67" fmla="*/ 8199 h 10000"/>
              <a:gd name="connsiteX68" fmla="*/ 4329 w 9920"/>
              <a:gd name="connsiteY68" fmla="*/ 8169 h 10000"/>
              <a:gd name="connsiteX69" fmla="*/ 4422 w 9920"/>
              <a:gd name="connsiteY69" fmla="*/ 8193 h 10000"/>
              <a:gd name="connsiteX70" fmla="*/ 4497 w 9920"/>
              <a:gd name="connsiteY70" fmla="*/ 8191 h 10000"/>
              <a:gd name="connsiteX71" fmla="*/ 4456 w 9920"/>
              <a:gd name="connsiteY71" fmla="*/ 8140 h 10000"/>
              <a:gd name="connsiteX72" fmla="*/ 4469 w 9920"/>
              <a:gd name="connsiteY72" fmla="*/ 8112 h 10000"/>
              <a:gd name="connsiteX73" fmla="*/ 4523 w 9920"/>
              <a:gd name="connsiteY73" fmla="*/ 8069 h 10000"/>
              <a:gd name="connsiteX74" fmla="*/ 4514 w 9920"/>
              <a:gd name="connsiteY74" fmla="*/ 8034 h 10000"/>
              <a:gd name="connsiteX75" fmla="*/ 4563 w 9920"/>
              <a:gd name="connsiteY75" fmla="*/ 7916 h 10000"/>
              <a:gd name="connsiteX76" fmla="*/ 4550 w 9920"/>
              <a:gd name="connsiteY76" fmla="*/ 7881 h 10000"/>
              <a:gd name="connsiteX77" fmla="*/ 4294 w 9920"/>
              <a:gd name="connsiteY77" fmla="*/ 7792 h 10000"/>
              <a:gd name="connsiteX78" fmla="*/ 4329 w 9920"/>
              <a:gd name="connsiteY78" fmla="*/ 7788 h 10000"/>
              <a:gd name="connsiteX79" fmla="*/ 4465 w 9920"/>
              <a:gd name="connsiteY79" fmla="*/ 7812 h 10000"/>
              <a:gd name="connsiteX80" fmla="*/ 4611 w 9920"/>
              <a:gd name="connsiteY80" fmla="*/ 7804 h 10000"/>
              <a:gd name="connsiteX81" fmla="*/ 4654 w 9920"/>
              <a:gd name="connsiteY81" fmla="*/ 7771 h 10000"/>
              <a:gd name="connsiteX82" fmla="*/ 4514 w 9920"/>
              <a:gd name="connsiteY82" fmla="*/ 7710 h 10000"/>
              <a:gd name="connsiteX83" fmla="*/ 4092 w 9920"/>
              <a:gd name="connsiteY83" fmla="*/ 7670 h 10000"/>
              <a:gd name="connsiteX84" fmla="*/ 4122 w 9920"/>
              <a:gd name="connsiteY84" fmla="*/ 7651 h 10000"/>
              <a:gd name="connsiteX85" fmla="*/ 4465 w 9920"/>
              <a:gd name="connsiteY85" fmla="*/ 7639 h 10000"/>
              <a:gd name="connsiteX86" fmla="*/ 4654 w 9920"/>
              <a:gd name="connsiteY86" fmla="*/ 7676 h 10000"/>
              <a:gd name="connsiteX87" fmla="*/ 4765 w 9920"/>
              <a:gd name="connsiteY87" fmla="*/ 7651 h 10000"/>
              <a:gd name="connsiteX88" fmla="*/ 4804 w 9920"/>
              <a:gd name="connsiteY88" fmla="*/ 7588 h 10000"/>
              <a:gd name="connsiteX89" fmla="*/ 5002 w 9920"/>
              <a:gd name="connsiteY89" fmla="*/ 7588 h 10000"/>
              <a:gd name="connsiteX90" fmla="*/ 5270 w 9920"/>
              <a:gd name="connsiteY90" fmla="*/ 7462 h 10000"/>
              <a:gd name="connsiteX91" fmla="*/ 5279 w 9920"/>
              <a:gd name="connsiteY91" fmla="*/ 7378 h 10000"/>
              <a:gd name="connsiteX92" fmla="*/ 5393 w 9920"/>
              <a:gd name="connsiteY92" fmla="*/ 7397 h 10000"/>
              <a:gd name="connsiteX93" fmla="*/ 5389 w 9920"/>
              <a:gd name="connsiteY93" fmla="*/ 7482 h 10000"/>
              <a:gd name="connsiteX94" fmla="*/ 5569 w 9920"/>
              <a:gd name="connsiteY94" fmla="*/ 7476 h 10000"/>
              <a:gd name="connsiteX95" fmla="*/ 5687 w 9920"/>
              <a:gd name="connsiteY95" fmla="*/ 7388 h 10000"/>
              <a:gd name="connsiteX96" fmla="*/ 5908 w 9920"/>
              <a:gd name="connsiteY96" fmla="*/ 7309 h 10000"/>
              <a:gd name="connsiteX97" fmla="*/ 5872 w 9920"/>
              <a:gd name="connsiteY97" fmla="*/ 7219 h 10000"/>
              <a:gd name="connsiteX98" fmla="*/ 5938 w 9920"/>
              <a:gd name="connsiteY98" fmla="*/ 7254 h 10000"/>
              <a:gd name="connsiteX99" fmla="*/ 6039 w 9920"/>
              <a:gd name="connsiteY99" fmla="*/ 7254 h 10000"/>
              <a:gd name="connsiteX100" fmla="*/ 6039 w 9920"/>
              <a:gd name="connsiteY100" fmla="*/ 7213 h 10000"/>
              <a:gd name="connsiteX101" fmla="*/ 6132 w 9920"/>
              <a:gd name="connsiteY101" fmla="*/ 7181 h 10000"/>
              <a:gd name="connsiteX102" fmla="*/ 6119 w 9920"/>
              <a:gd name="connsiteY102" fmla="*/ 7148 h 10000"/>
              <a:gd name="connsiteX103" fmla="*/ 5328 w 9920"/>
              <a:gd name="connsiteY103" fmla="*/ 7215 h 10000"/>
              <a:gd name="connsiteX104" fmla="*/ 5143 w 9920"/>
              <a:gd name="connsiteY104" fmla="*/ 7195 h 10000"/>
              <a:gd name="connsiteX105" fmla="*/ 5068 w 9920"/>
              <a:gd name="connsiteY105" fmla="*/ 7219 h 10000"/>
              <a:gd name="connsiteX106" fmla="*/ 5042 w 9920"/>
              <a:gd name="connsiteY106" fmla="*/ 7173 h 10000"/>
              <a:gd name="connsiteX107" fmla="*/ 4954 w 9920"/>
              <a:gd name="connsiteY107" fmla="*/ 7132 h 10000"/>
              <a:gd name="connsiteX108" fmla="*/ 4602 w 9920"/>
              <a:gd name="connsiteY108" fmla="*/ 7052 h 10000"/>
              <a:gd name="connsiteX109" fmla="*/ 4395 w 9920"/>
              <a:gd name="connsiteY109" fmla="*/ 7065 h 10000"/>
              <a:gd name="connsiteX110" fmla="*/ 4312 w 9920"/>
              <a:gd name="connsiteY110" fmla="*/ 7042 h 10000"/>
              <a:gd name="connsiteX111" fmla="*/ 4400 w 9920"/>
              <a:gd name="connsiteY111" fmla="*/ 7022 h 10000"/>
              <a:gd name="connsiteX112" fmla="*/ 4465 w 9920"/>
              <a:gd name="connsiteY112" fmla="*/ 6979 h 10000"/>
              <a:gd name="connsiteX113" fmla="*/ 4563 w 9920"/>
              <a:gd name="connsiteY113" fmla="*/ 6993 h 10000"/>
              <a:gd name="connsiteX114" fmla="*/ 4681 w 9920"/>
              <a:gd name="connsiteY114" fmla="*/ 6981 h 10000"/>
              <a:gd name="connsiteX115" fmla="*/ 4857 w 9920"/>
              <a:gd name="connsiteY115" fmla="*/ 6995 h 10000"/>
              <a:gd name="connsiteX116" fmla="*/ 4878 w 9920"/>
              <a:gd name="connsiteY116" fmla="*/ 6989 h 10000"/>
              <a:gd name="connsiteX117" fmla="*/ 5016 w 9920"/>
              <a:gd name="connsiteY117" fmla="*/ 7056 h 10000"/>
              <a:gd name="connsiteX118" fmla="*/ 5117 w 9920"/>
              <a:gd name="connsiteY118" fmla="*/ 7032 h 10000"/>
              <a:gd name="connsiteX119" fmla="*/ 5125 w 9920"/>
              <a:gd name="connsiteY119" fmla="*/ 7010 h 10000"/>
              <a:gd name="connsiteX120" fmla="*/ 5217 w 9920"/>
              <a:gd name="connsiteY120" fmla="*/ 7048 h 10000"/>
              <a:gd name="connsiteX121" fmla="*/ 5341 w 9920"/>
              <a:gd name="connsiteY121" fmla="*/ 7069 h 10000"/>
              <a:gd name="connsiteX122" fmla="*/ 5389 w 9920"/>
              <a:gd name="connsiteY122" fmla="*/ 7030 h 10000"/>
              <a:gd name="connsiteX123" fmla="*/ 5428 w 9920"/>
              <a:gd name="connsiteY123" fmla="*/ 7052 h 10000"/>
              <a:gd name="connsiteX124" fmla="*/ 5485 w 9920"/>
              <a:gd name="connsiteY124" fmla="*/ 7126 h 10000"/>
              <a:gd name="connsiteX125" fmla="*/ 5604 w 9920"/>
              <a:gd name="connsiteY125" fmla="*/ 7144 h 10000"/>
              <a:gd name="connsiteX126" fmla="*/ 6088 w 9920"/>
              <a:gd name="connsiteY126" fmla="*/ 7034 h 10000"/>
              <a:gd name="connsiteX127" fmla="*/ 6325 w 9920"/>
              <a:gd name="connsiteY127" fmla="*/ 6879 h 10000"/>
              <a:gd name="connsiteX128" fmla="*/ 6382 w 9920"/>
              <a:gd name="connsiteY128" fmla="*/ 6765 h 10000"/>
              <a:gd name="connsiteX129" fmla="*/ 6295 w 9920"/>
              <a:gd name="connsiteY129" fmla="*/ 6663 h 10000"/>
              <a:gd name="connsiteX130" fmla="*/ 6114 w 9920"/>
              <a:gd name="connsiteY130" fmla="*/ 6602 h 10000"/>
              <a:gd name="connsiteX131" fmla="*/ 5986 w 9920"/>
              <a:gd name="connsiteY131" fmla="*/ 6502 h 10000"/>
              <a:gd name="connsiteX132" fmla="*/ 6106 w 9920"/>
              <a:gd name="connsiteY132" fmla="*/ 6498 h 10000"/>
              <a:gd name="connsiteX133" fmla="*/ 6097 w 9920"/>
              <a:gd name="connsiteY133" fmla="*/ 6474 h 10000"/>
              <a:gd name="connsiteX134" fmla="*/ 5785 w 9920"/>
              <a:gd name="connsiteY134" fmla="*/ 6403 h 10000"/>
              <a:gd name="connsiteX135" fmla="*/ 5772 w 9920"/>
              <a:gd name="connsiteY135" fmla="*/ 6339 h 10000"/>
              <a:gd name="connsiteX136" fmla="*/ 5714 w 9920"/>
              <a:gd name="connsiteY136" fmla="*/ 6272 h 10000"/>
              <a:gd name="connsiteX137" fmla="*/ 5467 w 9920"/>
              <a:gd name="connsiteY137" fmla="*/ 6284 h 10000"/>
              <a:gd name="connsiteX138" fmla="*/ 5380 w 9920"/>
              <a:gd name="connsiteY138" fmla="*/ 6213 h 10000"/>
              <a:gd name="connsiteX139" fmla="*/ 5328 w 9920"/>
              <a:gd name="connsiteY139" fmla="*/ 6209 h 10000"/>
              <a:gd name="connsiteX140" fmla="*/ 5328 w 9920"/>
              <a:gd name="connsiteY140" fmla="*/ 6238 h 10000"/>
              <a:gd name="connsiteX141" fmla="*/ 5217 w 9920"/>
              <a:gd name="connsiteY141" fmla="*/ 6358 h 10000"/>
              <a:gd name="connsiteX142" fmla="*/ 5098 w 9920"/>
              <a:gd name="connsiteY142" fmla="*/ 6429 h 10000"/>
              <a:gd name="connsiteX143" fmla="*/ 4724 w 9920"/>
              <a:gd name="connsiteY143" fmla="*/ 6551 h 10000"/>
              <a:gd name="connsiteX144" fmla="*/ 4593 w 9920"/>
              <a:gd name="connsiteY144" fmla="*/ 6547 h 10000"/>
              <a:gd name="connsiteX145" fmla="*/ 4413 w 9920"/>
              <a:gd name="connsiteY145" fmla="*/ 6565 h 10000"/>
              <a:gd name="connsiteX146" fmla="*/ 4312 w 9920"/>
              <a:gd name="connsiteY146" fmla="*/ 6547 h 10000"/>
              <a:gd name="connsiteX147" fmla="*/ 4443 w 9920"/>
              <a:gd name="connsiteY147" fmla="*/ 6513 h 10000"/>
              <a:gd name="connsiteX148" fmla="*/ 4615 w 9920"/>
              <a:gd name="connsiteY148" fmla="*/ 6498 h 10000"/>
              <a:gd name="connsiteX149" fmla="*/ 4757 w 9920"/>
              <a:gd name="connsiteY149" fmla="*/ 6441 h 10000"/>
              <a:gd name="connsiteX150" fmla="*/ 4896 w 9920"/>
              <a:gd name="connsiteY150" fmla="*/ 6415 h 10000"/>
              <a:gd name="connsiteX151" fmla="*/ 5156 w 9920"/>
              <a:gd name="connsiteY151" fmla="*/ 6317 h 10000"/>
              <a:gd name="connsiteX152" fmla="*/ 5204 w 9920"/>
              <a:gd name="connsiteY152" fmla="*/ 6252 h 10000"/>
              <a:gd name="connsiteX153" fmla="*/ 5208 w 9920"/>
              <a:gd name="connsiteY153" fmla="*/ 6168 h 10000"/>
              <a:gd name="connsiteX154" fmla="*/ 5090 w 9920"/>
              <a:gd name="connsiteY154" fmla="*/ 6154 h 10000"/>
              <a:gd name="connsiteX155" fmla="*/ 5143 w 9920"/>
              <a:gd name="connsiteY155" fmla="*/ 6103 h 10000"/>
              <a:gd name="connsiteX156" fmla="*/ 5160 w 9920"/>
              <a:gd name="connsiteY156" fmla="*/ 6038 h 10000"/>
              <a:gd name="connsiteX157" fmla="*/ 5111 w 9920"/>
              <a:gd name="connsiteY157" fmla="*/ 5977 h 10000"/>
              <a:gd name="connsiteX158" fmla="*/ 5081 w 9920"/>
              <a:gd name="connsiteY158" fmla="*/ 5533 h 10000"/>
              <a:gd name="connsiteX159" fmla="*/ 5152 w 9920"/>
              <a:gd name="connsiteY159" fmla="*/ 5437 h 10000"/>
              <a:gd name="connsiteX160" fmla="*/ 5134 w 9920"/>
              <a:gd name="connsiteY160" fmla="*/ 5398 h 10000"/>
              <a:gd name="connsiteX161" fmla="*/ 5341 w 9920"/>
              <a:gd name="connsiteY161" fmla="*/ 5455 h 10000"/>
              <a:gd name="connsiteX162" fmla="*/ 5354 w 9920"/>
              <a:gd name="connsiteY162" fmla="*/ 5402 h 10000"/>
              <a:gd name="connsiteX163" fmla="*/ 5310 w 9920"/>
              <a:gd name="connsiteY163" fmla="*/ 5264 h 10000"/>
              <a:gd name="connsiteX164" fmla="*/ 5458 w 9920"/>
              <a:gd name="connsiteY164" fmla="*/ 5019 h 10000"/>
              <a:gd name="connsiteX165" fmla="*/ 5367 w 9920"/>
              <a:gd name="connsiteY165" fmla="*/ 4960 h 10000"/>
              <a:gd name="connsiteX166" fmla="*/ 5332 w 9920"/>
              <a:gd name="connsiteY166" fmla="*/ 4905 h 10000"/>
              <a:gd name="connsiteX167" fmla="*/ 5345 w 9920"/>
              <a:gd name="connsiteY167" fmla="*/ 4816 h 10000"/>
              <a:gd name="connsiteX168" fmla="*/ 5561 w 9920"/>
              <a:gd name="connsiteY168" fmla="*/ 4875 h 10000"/>
              <a:gd name="connsiteX169" fmla="*/ 5569 w 9920"/>
              <a:gd name="connsiteY169" fmla="*/ 4858 h 10000"/>
              <a:gd name="connsiteX170" fmla="*/ 5630 w 9920"/>
              <a:gd name="connsiteY170" fmla="*/ 4842 h 10000"/>
              <a:gd name="connsiteX171" fmla="*/ 5714 w 9920"/>
              <a:gd name="connsiteY171" fmla="*/ 4785 h 10000"/>
              <a:gd name="connsiteX172" fmla="*/ 5727 w 9920"/>
              <a:gd name="connsiteY172" fmla="*/ 4769 h 10000"/>
              <a:gd name="connsiteX173" fmla="*/ 5710 w 9920"/>
              <a:gd name="connsiteY173" fmla="*/ 4748 h 10000"/>
              <a:gd name="connsiteX174" fmla="*/ 5753 w 9920"/>
              <a:gd name="connsiteY174" fmla="*/ 4647 h 10000"/>
              <a:gd name="connsiteX175" fmla="*/ 5701 w 9920"/>
              <a:gd name="connsiteY175" fmla="*/ 4581 h 10000"/>
              <a:gd name="connsiteX176" fmla="*/ 5710 w 9920"/>
              <a:gd name="connsiteY176" fmla="*/ 4528 h 10000"/>
              <a:gd name="connsiteX177" fmla="*/ 5740 w 9920"/>
              <a:gd name="connsiteY177" fmla="*/ 4590 h 10000"/>
              <a:gd name="connsiteX178" fmla="*/ 5859 w 9920"/>
              <a:gd name="connsiteY178" fmla="*/ 4636 h 10000"/>
              <a:gd name="connsiteX179" fmla="*/ 5908 w 9920"/>
              <a:gd name="connsiteY179" fmla="*/ 4630 h 10000"/>
              <a:gd name="connsiteX180" fmla="*/ 5986 w 9920"/>
              <a:gd name="connsiteY180" fmla="*/ 4569 h 10000"/>
              <a:gd name="connsiteX181" fmla="*/ 6070 w 9920"/>
              <a:gd name="connsiteY181" fmla="*/ 4594 h 10000"/>
              <a:gd name="connsiteX182" fmla="*/ 6093 w 9920"/>
              <a:gd name="connsiteY182" fmla="*/ 4545 h 10000"/>
              <a:gd name="connsiteX183" fmla="*/ 6149 w 9920"/>
              <a:gd name="connsiteY183" fmla="*/ 4512 h 10000"/>
              <a:gd name="connsiteX184" fmla="*/ 5995 w 9920"/>
              <a:gd name="connsiteY184" fmla="*/ 4477 h 10000"/>
              <a:gd name="connsiteX185" fmla="*/ 6106 w 9920"/>
              <a:gd name="connsiteY185" fmla="*/ 4484 h 10000"/>
              <a:gd name="connsiteX186" fmla="*/ 6219 w 9920"/>
              <a:gd name="connsiteY186" fmla="*/ 4447 h 10000"/>
              <a:gd name="connsiteX187" fmla="*/ 6215 w 9920"/>
              <a:gd name="connsiteY187" fmla="*/ 4422 h 10000"/>
              <a:gd name="connsiteX188" fmla="*/ 6321 w 9920"/>
              <a:gd name="connsiteY188" fmla="*/ 4398 h 10000"/>
              <a:gd name="connsiteX189" fmla="*/ 6330 w 9920"/>
              <a:gd name="connsiteY189" fmla="*/ 4337 h 10000"/>
              <a:gd name="connsiteX190" fmla="*/ 6413 w 9920"/>
              <a:gd name="connsiteY190" fmla="*/ 4325 h 10000"/>
              <a:gd name="connsiteX191" fmla="*/ 6421 w 9920"/>
              <a:gd name="connsiteY191" fmla="*/ 4253 h 10000"/>
              <a:gd name="connsiteX192" fmla="*/ 6509 w 9920"/>
              <a:gd name="connsiteY192" fmla="*/ 4245 h 10000"/>
              <a:gd name="connsiteX193" fmla="*/ 6645 w 9920"/>
              <a:gd name="connsiteY193" fmla="*/ 4260 h 10000"/>
              <a:gd name="connsiteX194" fmla="*/ 6794 w 9920"/>
              <a:gd name="connsiteY194" fmla="*/ 4202 h 10000"/>
              <a:gd name="connsiteX195" fmla="*/ 6848 w 9920"/>
              <a:gd name="connsiteY195" fmla="*/ 4137 h 10000"/>
              <a:gd name="connsiteX196" fmla="*/ 7032 w 9920"/>
              <a:gd name="connsiteY196" fmla="*/ 4070 h 10000"/>
              <a:gd name="connsiteX197" fmla="*/ 7125 w 9920"/>
              <a:gd name="connsiteY197" fmla="*/ 4111 h 10000"/>
              <a:gd name="connsiteX198" fmla="*/ 7265 w 9920"/>
              <a:gd name="connsiteY198" fmla="*/ 4066 h 10000"/>
              <a:gd name="connsiteX199" fmla="*/ 7300 w 9920"/>
              <a:gd name="connsiteY199" fmla="*/ 4009 h 10000"/>
              <a:gd name="connsiteX200" fmla="*/ 7406 w 9920"/>
              <a:gd name="connsiteY200" fmla="*/ 3970 h 10000"/>
              <a:gd name="connsiteX201" fmla="*/ 7498 w 9920"/>
              <a:gd name="connsiteY201" fmla="*/ 3987 h 10000"/>
              <a:gd name="connsiteX202" fmla="*/ 7555 w 9920"/>
              <a:gd name="connsiteY202" fmla="*/ 3958 h 10000"/>
              <a:gd name="connsiteX203" fmla="*/ 7714 w 9920"/>
              <a:gd name="connsiteY203" fmla="*/ 3917 h 10000"/>
              <a:gd name="connsiteX204" fmla="*/ 7779 w 9920"/>
              <a:gd name="connsiteY204" fmla="*/ 3864 h 10000"/>
              <a:gd name="connsiteX205" fmla="*/ 7868 w 9920"/>
              <a:gd name="connsiteY205" fmla="*/ 3842 h 10000"/>
              <a:gd name="connsiteX206" fmla="*/ 8356 w 9920"/>
              <a:gd name="connsiteY206" fmla="*/ 3522 h 10000"/>
              <a:gd name="connsiteX207" fmla="*/ 9793 w 9920"/>
              <a:gd name="connsiteY207" fmla="*/ 1992 h 10000"/>
              <a:gd name="connsiteX208" fmla="*/ 9832 w 9920"/>
              <a:gd name="connsiteY208" fmla="*/ 1897 h 10000"/>
              <a:gd name="connsiteX209" fmla="*/ 9920 w 9920"/>
              <a:gd name="connsiteY209" fmla="*/ 1819 h 10000"/>
              <a:gd name="connsiteX210" fmla="*/ 9920 w 9920"/>
              <a:gd name="connsiteY210" fmla="*/ 1699 h 10000"/>
              <a:gd name="connsiteX211" fmla="*/ 9644 w 9920"/>
              <a:gd name="connsiteY211" fmla="*/ 1465 h 10000"/>
              <a:gd name="connsiteX212" fmla="*/ 9599 w 9920"/>
              <a:gd name="connsiteY212" fmla="*/ 1379 h 10000"/>
              <a:gd name="connsiteX213" fmla="*/ 9661 w 9920"/>
              <a:gd name="connsiteY213" fmla="*/ 1271 h 10000"/>
              <a:gd name="connsiteX214" fmla="*/ 9631 w 9920"/>
              <a:gd name="connsiteY214" fmla="*/ 1194 h 10000"/>
              <a:gd name="connsiteX215" fmla="*/ 9573 w 9920"/>
              <a:gd name="connsiteY215" fmla="*/ 1159 h 10000"/>
              <a:gd name="connsiteX216" fmla="*/ 9524 w 9920"/>
              <a:gd name="connsiteY216" fmla="*/ 978 h 10000"/>
              <a:gd name="connsiteX217" fmla="*/ 9582 w 9920"/>
              <a:gd name="connsiteY217" fmla="*/ 831 h 10000"/>
              <a:gd name="connsiteX218" fmla="*/ 9160 w 9920"/>
              <a:gd name="connsiteY218" fmla="*/ 517 h 10000"/>
              <a:gd name="connsiteX219" fmla="*/ 8953 w 9920"/>
              <a:gd name="connsiteY219" fmla="*/ 440 h 10000"/>
              <a:gd name="connsiteX220" fmla="*/ 8570 w 9920"/>
              <a:gd name="connsiteY220" fmla="*/ 389 h 10000"/>
              <a:gd name="connsiteX221" fmla="*/ 7779 w 9920"/>
              <a:gd name="connsiteY221" fmla="*/ 26 h 10000"/>
              <a:gd name="connsiteX222" fmla="*/ 7753 w 9920"/>
              <a:gd name="connsiteY222" fmla="*/ 2 h 10000"/>
              <a:gd name="connsiteX223" fmla="*/ 7485 w 9920"/>
              <a:gd name="connsiteY223" fmla="*/ 0 h 10000"/>
              <a:gd name="connsiteX224" fmla="*/ 7423 w 9920"/>
              <a:gd name="connsiteY224" fmla="*/ 14 h 10000"/>
              <a:gd name="connsiteX225" fmla="*/ 7437 w 9920"/>
              <a:gd name="connsiteY225" fmla="*/ 61 h 10000"/>
              <a:gd name="connsiteX226" fmla="*/ 7490 w 9920"/>
              <a:gd name="connsiteY226" fmla="*/ 86 h 10000"/>
              <a:gd name="connsiteX227" fmla="*/ 7503 w 9920"/>
              <a:gd name="connsiteY227" fmla="*/ 139 h 10000"/>
              <a:gd name="connsiteX228" fmla="*/ 7485 w 9920"/>
              <a:gd name="connsiteY228" fmla="*/ 181 h 10000"/>
              <a:gd name="connsiteX229" fmla="*/ 7437 w 9920"/>
              <a:gd name="connsiteY229" fmla="*/ 208 h 10000"/>
              <a:gd name="connsiteX230" fmla="*/ 7401 w 9920"/>
              <a:gd name="connsiteY230" fmla="*/ 283 h 10000"/>
              <a:gd name="connsiteX231" fmla="*/ 7336 w 9920"/>
              <a:gd name="connsiteY231" fmla="*/ 336 h 10000"/>
              <a:gd name="connsiteX232" fmla="*/ 7349 w 9920"/>
              <a:gd name="connsiteY232" fmla="*/ 387 h 10000"/>
              <a:gd name="connsiteX233" fmla="*/ 7450 w 9920"/>
              <a:gd name="connsiteY233" fmla="*/ 434 h 10000"/>
              <a:gd name="connsiteX234" fmla="*/ 7384 w 9920"/>
              <a:gd name="connsiteY234" fmla="*/ 475 h 10000"/>
              <a:gd name="connsiteX235" fmla="*/ 7287 w 9920"/>
              <a:gd name="connsiteY235" fmla="*/ 485 h 10000"/>
              <a:gd name="connsiteX236" fmla="*/ 6479 w 9920"/>
              <a:gd name="connsiteY236" fmla="*/ 387 h 10000"/>
              <a:gd name="connsiteX237" fmla="*/ 6382 w 9920"/>
              <a:gd name="connsiteY237" fmla="*/ 395 h 10000"/>
              <a:gd name="connsiteX238" fmla="*/ 6325 w 9920"/>
              <a:gd name="connsiteY238" fmla="*/ 414 h 10000"/>
              <a:gd name="connsiteX239" fmla="*/ 6267 w 9920"/>
              <a:gd name="connsiteY239" fmla="*/ 462 h 10000"/>
              <a:gd name="connsiteX240" fmla="*/ 6277 w 9920"/>
              <a:gd name="connsiteY240" fmla="*/ 581 h 10000"/>
              <a:gd name="connsiteX241" fmla="*/ 6188 w 9920"/>
              <a:gd name="connsiteY241" fmla="*/ 735 h 10000"/>
              <a:gd name="connsiteX242" fmla="*/ 6079 w 9920"/>
              <a:gd name="connsiteY242" fmla="*/ 815 h 10000"/>
              <a:gd name="connsiteX243" fmla="*/ 6035 w 9920"/>
              <a:gd name="connsiteY243" fmla="*/ 805 h 10000"/>
              <a:gd name="connsiteX244" fmla="*/ 5934 w 9920"/>
              <a:gd name="connsiteY244" fmla="*/ 739 h 10000"/>
              <a:gd name="connsiteX245" fmla="*/ 5806 w 9920"/>
              <a:gd name="connsiteY245" fmla="*/ 705 h 10000"/>
              <a:gd name="connsiteX246" fmla="*/ 5669 w 9920"/>
              <a:gd name="connsiteY246" fmla="*/ 715 h 10000"/>
              <a:gd name="connsiteX247" fmla="*/ 5350 w 9920"/>
              <a:gd name="connsiteY247" fmla="*/ 866 h 10000"/>
              <a:gd name="connsiteX248" fmla="*/ 5266 w 9920"/>
              <a:gd name="connsiteY248" fmla="*/ 1017 h 10000"/>
              <a:gd name="connsiteX249" fmla="*/ 5024 w 9920"/>
              <a:gd name="connsiteY249" fmla="*/ 1153 h 10000"/>
              <a:gd name="connsiteX250" fmla="*/ 4980 w 9920"/>
              <a:gd name="connsiteY250" fmla="*/ 1222 h 10000"/>
              <a:gd name="connsiteX251" fmla="*/ 5107 w 9920"/>
              <a:gd name="connsiteY251" fmla="*/ 1344 h 10000"/>
              <a:gd name="connsiteX252" fmla="*/ 5121 w 9920"/>
              <a:gd name="connsiteY252" fmla="*/ 1412 h 10000"/>
              <a:gd name="connsiteX253" fmla="*/ 4461 w 9920"/>
              <a:gd name="connsiteY253" fmla="*/ 1813 h 10000"/>
              <a:gd name="connsiteX254" fmla="*/ 4259 w 9920"/>
              <a:gd name="connsiteY254" fmla="*/ 2070 h 10000"/>
              <a:gd name="connsiteX255" fmla="*/ 4040 w 9920"/>
              <a:gd name="connsiteY255" fmla="*/ 2135 h 10000"/>
              <a:gd name="connsiteX256" fmla="*/ 3903 w 9920"/>
              <a:gd name="connsiteY256" fmla="*/ 2131 h 10000"/>
              <a:gd name="connsiteX257" fmla="*/ 3820 w 9920"/>
              <a:gd name="connsiteY257" fmla="*/ 2153 h 10000"/>
              <a:gd name="connsiteX258" fmla="*/ 3591 w 9920"/>
              <a:gd name="connsiteY258" fmla="*/ 2793 h 10000"/>
              <a:gd name="connsiteX259" fmla="*/ 3064 w 9920"/>
              <a:gd name="connsiteY259" fmla="*/ 3166 h 10000"/>
              <a:gd name="connsiteX260" fmla="*/ 3068 w 9920"/>
              <a:gd name="connsiteY260" fmla="*/ 3225 h 10000"/>
              <a:gd name="connsiteX261" fmla="*/ 3301 w 9920"/>
              <a:gd name="connsiteY261" fmla="*/ 3392 h 10000"/>
              <a:gd name="connsiteX262" fmla="*/ 3227 w 9920"/>
              <a:gd name="connsiteY262" fmla="*/ 3573 h 10000"/>
              <a:gd name="connsiteX263" fmla="*/ 3090 w 9920"/>
              <a:gd name="connsiteY263" fmla="*/ 3640 h 10000"/>
              <a:gd name="connsiteX264" fmla="*/ 2681 w 9920"/>
              <a:gd name="connsiteY264" fmla="*/ 3595 h 10000"/>
              <a:gd name="connsiteX265" fmla="*/ 2399 w 9920"/>
              <a:gd name="connsiteY265" fmla="*/ 3620 h 10000"/>
              <a:gd name="connsiteX266" fmla="*/ 2171 w 9920"/>
              <a:gd name="connsiteY266" fmla="*/ 3673 h 10000"/>
              <a:gd name="connsiteX267" fmla="*/ 1806 w 9920"/>
              <a:gd name="connsiteY267" fmla="*/ 3840 h 10000"/>
              <a:gd name="connsiteX268" fmla="*/ 1612 w 9920"/>
              <a:gd name="connsiteY268" fmla="*/ 4042 h 10000"/>
              <a:gd name="connsiteX269" fmla="*/ 1630 w 9920"/>
              <a:gd name="connsiteY269" fmla="*/ 4154 h 10000"/>
              <a:gd name="connsiteX270" fmla="*/ 1697 w 9920"/>
              <a:gd name="connsiteY270" fmla="*/ 4241 h 10000"/>
              <a:gd name="connsiteX271" fmla="*/ 1749 w 9920"/>
              <a:gd name="connsiteY271" fmla="*/ 4276 h 10000"/>
              <a:gd name="connsiteX272" fmla="*/ 1653 w 9920"/>
              <a:gd name="connsiteY272" fmla="*/ 4331 h 10000"/>
              <a:gd name="connsiteX273" fmla="*/ 1446 w 9920"/>
              <a:gd name="connsiteY273" fmla="*/ 4710 h 10000"/>
              <a:gd name="connsiteX274" fmla="*/ 1486 w 9920"/>
              <a:gd name="connsiteY274" fmla="*/ 4732 h 10000"/>
              <a:gd name="connsiteX275" fmla="*/ 1517 w 9920"/>
              <a:gd name="connsiteY275" fmla="*/ 4828 h 10000"/>
              <a:gd name="connsiteX276" fmla="*/ 1420 w 9920"/>
              <a:gd name="connsiteY276" fmla="*/ 5227 h 10000"/>
              <a:gd name="connsiteX277" fmla="*/ 1517 w 9920"/>
              <a:gd name="connsiteY277" fmla="*/ 5329 h 10000"/>
              <a:gd name="connsiteX278" fmla="*/ 1780 w 9920"/>
              <a:gd name="connsiteY278" fmla="*/ 5441 h 10000"/>
              <a:gd name="connsiteX279" fmla="*/ 1793 w 9920"/>
              <a:gd name="connsiteY279" fmla="*/ 5578 h 10000"/>
              <a:gd name="connsiteX280" fmla="*/ 1680 w 9920"/>
              <a:gd name="connsiteY280" fmla="*/ 5690 h 10000"/>
              <a:gd name="connsiteX281" fmla="*/ 1517 w 9920"/>
              <a:gd name="connsiteY281" fmla="*/ 5759 h 10000"/>
              <a:gd name="connsiteX282" fmla="*/ 1301 w 9920"/>
              <a:gd name="connsiteY282" fmla="*/ 5787 h 10000"/>
              <a:gd name="connsiteX283" fmla="*/ 1244 w 9920"/>
              <a:gd name="connsiteY283" fmla="*/ 5826 h 10000"/>
              <a:gd name="connsiteX284" fmla="*/ 1371 w 9920"/>
              <a:gd name="connsiteY284" fmla="*/ 5920 h 10000"/>
              <a:gd name="connsiteX285" fmla="*/ 1442 w 9920"/>
              <a:gd name="connsiteY285" fmla="*/ 6142 h 10000"/>
              <a:gd name="connsiteX286" fmla="*/ 1279 w 9920"/>
              <a:gd name="connsiteY286" fmla="*/ 6333 h 10000"/>
              <a:gd name="connsiteX287" fmla="*/ 1336 w 9920"/>
              <a:gd name="connsiteY287" fmla="*/ 6392 h 10000"/>
              <a:gd name="connsiteX288" fmla="*/ 1284 w 9920"/>
              <a:gd name="connsiteY288" fmla="*/ 6492 h 10000"/>
              <a:gd name="connsiteX289" fmla="*/ 1178 w 9920"/>
              <a:gd name="connsiteY289" fmla="*/ 6561 h 10000"/>
              <a:gd name="connsiteX290" fmla="*/ 765 w 9920"/>
              <a:gd name="connsiteY290" fmla="*/ 6614 h 10000"/>
              <a:gd name="connsiteX291" fmla="*/ 739 w 9920"/>
              <a:gd name="connsiteY291" fmla="*/ 6706 h 10000"/>
              <a:gd name="connsiteX292" fmla="*/ 515 w 9920"/>
              <a:gd name="connsiteY292" fmla="*/ 6843 h 10000"/>
              <a:gd name="connsiteX293" fmla="*/ 545 w 9920"/>
              <a:gd name="connsiteY293" fmla="*/ 7040 h 10000"/>
              <a:gd name="connsiteX294" fmla="*/ 356 w 9920"/>
              <a:gd name="connsiteY294" fmla="*/ 7293 h 10000"/>
              <a:gd name="connsiteX295" fmla="*/ 228 w 9920"/>
              <a:gd name="connsiteY295" fmla="*/ 7323 h 10000"/>
              <a:gd name="connsiteX296" fmla="*/ 176 w 9920"/>
              <a:gd name="connsiteY296" fmla="*/ 7262 h 10000"/>
              <a:gd name="connsiteX297" fmla="*/ 110 w 9920"/>
              <a:gd name="connsiteY297" fmla="*/ 7354 h 10000"/>
              <a:gd name="connsiteX298" fmla="*/ 154 w 9920"/>
              <a:gd name="connsiteY298" fmla="*/ 7197 h 10000"/>
              <a:gd name="connsiteX299" fmla="*/ 127 w 9920"/>
              <a:gd name="connsiteY299"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9911 w 10000"/>
              <a:gd name="connsiteY207" fmla="*/ 1897 h 10000"/>
              <a:gd name="connsiteX208" fmla="*/ 10000 w 10000"/>
              <a:gd name="connsiteY208" fmla="*/ 1819 h 10000"/>
              <a:gd name="connsiteX209" fmla="*/ 10000 w 10000"/>
              <a:gd name="connsiteY209" fmla="*/ 1699 h 10000"/>
              <a:gd name="connsiteX210" fmla="*/ 9722 w 10000"/>
              <a:gd name="connsiteY210" fmla="*/ 1465 h 10000"/>
              <a:gd name="connsiteX211" fmla="*/ 9676 w 10000"/>
              <a:gd name="connsiteY211" fmla="*/ 1379 h 10000"/>
              <a:gd name="connsiteX212" fmla="*/ 9739 w 10000"/>
              <a:gd name="connsiteY212" fmla="*/ 1271 h 10000"/>
              <a:gd name="connsiteX213" fmla="*/ 9709 w 10000"/>
              <a:gd name="connsiteY213" fmla="*/ 1194 h 10000"/>
              <a:gd name="connsiteX214" fmla="*/ 9650 w 10000"/>
              <a:gd name="connsiteY214" fmla="*/ 1159 h 10000"/>
              <a:gd name="connsiteX215" fmla="*/ 9601 w 10000"/>
              <a:gd name="connsiteY215" fmla="*/ 978 h 10000"/>
              <a:gd name="connsiteX216" fmla="*/ 9659 w 10000"/>
              <a:gd name="connsiteY216" fmla="*/ 831 h 10000"/>
              <a:gd name="connsiteX217" fmla="*/ 9234 w 10000"/>
              <a:gd name="connsiteY217" fmla="*/ 517 h 10000"/>
              <a:gd name="connsiteX218" fmla="*/ 9025 w 10000"/>
              <a:gd name="connsiteY218" fmla="*/ 440 h 10000"/>
              <a:gd name="connsiteX219" fmla="*/ 8639 w 10000"/>
              <a:gd name="connsiteY219" fmla="*/ 389 h 10000"/>
              <a:gd name="connsiteX220" fmla="*/ 7842 w 10000"/>
              <a:gd name="connsiteY220" fmla="*/ 26 h 10000"/>
              <a:gd name="connsiteX221" fmla="*/ 7816 w 10000"/>
              <a:gd name="connsiteY221" fmla="*/ 2 h 10000"/>
              <a:gd name="connsiteX222" fmla="*/ 7545 w 10000"/>
              <a:gd name="connsiteY222" fmla="*/ 0 h 10000"/>
              <a:gd name="connsiteX223" fmla="*/ 7483 w 10000"/>
              <a:gd name="connsiteY223" fmla="*/ 14 h 10000"/>
              <a:gd name="connsiteX224" fmla="*/ 7497 w 10000"/>
              <a:gd name="connsiteY224" fmla="*/ 61 h 10000"/>
              <a:gd name="connsiteX225" fmla="*/ 7550 w 10000"/>
              <a:gd name="connsiteY225" fmla="*/ 86 h 10000"/>
              <a:gd name="connsiteX226" fmla="*/ 7564 w 10000"/>
              <a:gd name="connsiteY226" fmla="*/ 139 h 10000"/>
              <a:gd name="connsiteX227" fmla="*/ 7545 w 10000"/>
              <a:gd name="connsiteY227" fmla="*/ 181 h 10000"/>
              <a:gd name="connsiteX228" fmla="*/ 7497 w 10000"/>
              <a:gd name="connsiteY228" fmla="*/ 208 h 10000"/>
              <a:gd name="connsiteX229" fmla="*/ 7461 w 10000"/>
              <a:gd name="connsiteY229" fmla="*/ 283 h 10000"/>
              <a:gd name="connsiteX230" fmla="*/ 7395 w 10000"/>
              <a:gd name="connsiteY230" fmla="*/ 336 h 10000"/>
              <a:gd name="connsiteX231" fmla="*/ 7408 w 10000"/>
              <a:gd name="connsiteY231" fmla="*/ 387 h 10000"/>
              <a:gd name="connsiteX232" fmla="*/ 7510 w 10000"/>
              <a:gd name="connsiteY232" fmla="*/ 434 h 10000"/>
              <a:gd name="connsiteX233" fmla="*/ 7444 w 10000"/>
              <a:gd name="connsiteY233" fmla="*/ 475 h 10000"/>
              <a:gd name="connsiteX234" fmla="*/ 7346 w 10000"/>
              <a:gd name="connsiteY234" fmla="*/ 485 h 10000"/>
              <a:gd name="connsiteX235" fmla="*/ 6531 w 10000"/>
              <a:gd name="connsiteY235" fmla="*/ 387 h 10000"/>
              <a:gd name="connsiteX236" fmla="*/ 6433 w 10000"/>
              <a:gd name="connsiteY236" fmla="*/ 395 h 10000"/>
              <a:gd name="connsiteX237" fmla="*/ 6376 w 10000"/>
              <a:gd name="connsiteY237" fmla="*/ 414 h 10000"/>
              <a:gd name="connsiteX238" fmla="*/ 6318 w 10000"/>
              <a:gd name="connsiteY238" fmla="*/ 462 h 10000"/>
              <a:gd name="connsiteX239" fmla="*/ 6328 w 10000"/>
              <a:gd name="connsiteY239" fmla="*/ 581 h 10000"/>
              <a:gd name="connsiteX240" fmla="*/ 6238 w 10000"/>
              <a:gd name="connsiteY240" fmla="*/ 735 h 10000"/>
              <a:gd name="connsiteX241" fmla="*/ 6128 w 10000"/>
              <a:gd name="connsiteY241" fmla="*/ 815 h 10000"/>
              <a:gd name="connsiteX242" fmla="*/ 6084 w 10000"/>
              <a:gd name="connsiteY242" fmla="*/ 805 h 10000"/>
              <a:gd name="connsiteX243" fmla="*/ 5982 w 10000"/>
              <a:gd name="connsiteY243" fmla="*/ 739 h 10000"/>
              <a:gd name="connsiteX244" fmla="*/ 5853 w 10000"/>
              <a:gd name="connsiteY244" fmla="*/ 705 h 10000"/>
              <a:gd name="connsiteX245" fmla="*/ 5715 w 10000"/>
              <a:gd name="connsiteY245" fmla="*/ 715 h 10000"/>
              <a:gd name="connsiteX246" fmla="*/ 5393 w 10000"/>
              <a:gd name="connsiteY246" fmla="*/ 866 h 10000"/>
              <a:gd name="connsiteX247" fmla="*/ 5308 w 10000"/>
              <a:gd name="connsiteY247" fmla="*/ 1017 h 10000"/>
              <a:gd name="connsiteX248" fmla="*/ 5065 w 10000"/>
              <a:gd name="connsiteY248" fmla="*/ 1153 h 10000"/>
              <a:gd name="connsiteX249" fmla="*/ 5020 w 10000"/>
              <a:gd name="connsiteY249" fmla="*/ 1222 h 10000"/>
              <a:gd name="connsiteX250" fmla="*/ 5148 w 10000"/>
              <a:gd name="connsiteY250" fmla="*/ 1344 h 10000"/>
              <a:gd name="connsiteX251" fmla="*/ 5162 w 10000"/>
              <a:gd name="connsiteY251" fmla="*/ 1412 h 10000"/>
              <a:gd name="connsiteX252" fmla="*/ 4497 w 10000"/>
              <a:gd name="connsiteY252" fmla="*/ 1813 h 10000"/>
              <a:gd name="connsiteX253" fmla="*/ 4293 w 10000"/>
              <a:gd name="connsiteY253" fmla="*/ 2070 h 10000"/>
              <a:gd name="connsiteX254" fmla="*/ 4073 w 10000"/>
              <a:gd name="connsiteY254" fmla="*/ 2135 h 10000"/>
              <a:gd name="connsiteX255" fmla="*/ 3934 w 10000"/>
              <a:gd name="connsiteY255" fmla="*/ 2131 h 10000"/>
              <a:gd name="connsiteX256" fmla="*/ 3851 w 10000"/>
              <a:gd name="connsiteY256" fmla="*/ 2153 h 10000"/>
              <a:gd name="connsiteX257" fmla="*/ 3620 w 10000"/>
              <a:gd name="connsiteY257" fmla="*/ 2793 h 10000"/>
              <a:gd name="connsiteX258" fmla="*/ 3089 w 10000"/>
              <a:gd name="connsiteY258" fmla="*/ 3166 h 10000"/>
              <a:gd name="connsiteX259" fmla="*/ 3093 w 10000"/>
              <a:gd name="connsiteY259" fmla="*/ 3225 h 10000"/>
              <a:gd name="connsiteX260" fmla="*/ 3328 w 10000"/>
              <a:gd name="connsiteY260" fmla="*/ 3392 h 10000"/>
              <a:gd name="connsiteX261" fmla="*/ 3253 w 10000"/>
              <a:gd name="connsiteY261" fmla="*/ 3573 h 10000"/>
              <a:gd name="connsiteX262" fmla="*/ 3115 w 10000"/>
              <a:gd name="connsiteY262" fmla="*/ 3640 h 10000"/>
              <a:gd name="connsiteX263" fmla="*/ 2703 w 10000"/>
              <a:gd name="connsiteY263" fmla="*/ 3595 h 10000"/>
              <a:gd name="connsiteX264" fmla="*/ 2418 w 10000"/>
              <a:gd name="connsiteY264" fmla="*/ 3620 h 10000"/>
              <a:gd name="connsiteX265" fmla="*/ 2189 w 10000"/>
              <a:gd name="connsiteY265" fmla="*/ 3673 h 10000"/>
              <a:gd name="connsiteX266" fmla="*/ 1821 w 10000"/>
              <a:gd name="connsiteY266" fmla="*/ 3840 h 10000"/>
              <a:gd name="connsiteX267" fmla="*/ 1625 w 10000"/>
              <a:gd name="connsiteY267" fmla="*/ 4042 h 10000"/>
              <a:gd name="connsiteX268" fmla="*/ 1643 w 10000"/>
              <a:gd name="connsiteY268" fmla="*/ 4154 h 10000"/>
              <a:gd name="connsiteX269" fmla="*/ 1711 w 10000"/>
              <a:gd name="connsiteY269" fmla="*/ 4241 h 10000"/>
              <a:gd name="connsiteX270" fmla="*/ 1763 w 10000"/>
              <a:gd name="connsiteY270" fmla="*/ 4276 h 10000"/>
              <a:gd name="connsiteX271" fmla="*/ 1666 w 10000"/>
              <a:gd name="connsiteY271" fmla="*/ 4331 h 10000"/>
              <a:gd name="connsiteX272" fmla="*/ 1458 w 10000"/>
              <a:gd name="connsiteY272" fmla="*/ 4710 h 10000"/>
              <a:gd name="connsiteX273" fmla="*/ 1498 w 10000"/>
              <a:gd name="connsiteY273" fmla="*/ 4732 h 10000"/>
              <a:gd name="connsiteX274" fmla="*/ 1529 w 10000"/>
              <a:gd name="connsiteY274" fmla="*/ 4828 h 10000"/>
              <a:gd name="connsiteX275" fmla="*/ 1431 w 10000"/>
              <a:gd name="connsiteY275" fmla="*/ 5227 h 10000"/>
              <a:gd name="connsiteX276" fmla="*/ 1529 w 10000"/>
              <a:gd name="connsiteY276" fmla="*/ 5329 h 10000"/>
              <a:gd name="connsiteX277" fmla="*/ 1794 w 10000"/>
              <a:gd name="connsiteY277" fmla="*/ 5441 h 10000"/>
              <a:gd name="connsiteX278" fmla="*/ 1807 w 10000"/>
              <a:gd name="connsiteY278" fmla="*/ 5578 h 10000"/>
              <a:gd name="connsiteX279" fmla="*/ 1694 w 10000"/>
              <a:gd name="connsiteY279" fmla="*/ 5690 h 10000"/>
              <a:gd name="connsiteX280" fmla="*/ 1529 w 10000"/>
              <a:gd name="connsiteY280" fmla="*/ 5759 h 10000"/>
              <a:gd name="connsiteX281" fmla="*/ 1311 w 10000"/>
              <a:gd name="connsiteY281" fmla="*/ 5787 h 10000"/>
              <a:gd name="connsiteX282" fmla="*/ 1254 w 10000"/>
              <a:gd name="connsiteY282" fmla="*/ 5826 h 10000"/>
              <a:gd name="connsiteX283" fmla="*/ 1382 w 10000"/>
              <a:gd name="connsiteY283" fmla="*/ 5920 h 10000"/>
              <a:gd name="connsiteX284" fmla="*/ 1454 w 10000"/>
              <a:gd name="connsiteY284" fmla="*/ 6142 h 10000"/>
              <a:gd name="connsiteX285" fmla="*/ 1289 w 10000"/>
              <a:gd name="connsiteY285" fmla="*/ 6333 h 10000"/>
              <a:gd name="connsiteX286" fmla="*/ 1347 w 10000"/>
              <a:gd name="connsiteY286" fmla="*/ 6392 h 10000"/>
              <a:gd name="connsiteX287" fmla="*/ 1294 w 10000"/>
              <a:gd name="connsiteY287" fmla="*/ 6492 h 10000"/>
              <a:gd name="connsiteX288" fmla="*/ 1188 w 10000"/>
              <a:gd name="connsiteY288" fmla="*/ 6561 h 10000"/>
              <a:gd name="connsiteX289" fmla="*/ 771 w 10000"/>
              <a:gd name="connsiteY289" fmla="*/ 6614 h 10000"/>
              <a:gd name="connsiteX290" fmla="*/ 745 w 10000"/>
              <a:gd name="connsiteY290" fmla="*/ 6706 h 10000"/>
              <a:gd name="connsiteX291" fmla="*/ 519 w 10000"/>
              <a:gd name="connsiteY291" fmla="*/ 6843 h 10000"/>
              <a:gd name="connsiteX292" fmla="*/ 549 w 10000"/>
              <a:gd name="connsiteY292" fmla="*/ 7040 h 10000"/>
              <a:gd name="connsiteX293" fmla="*/ 359 w 10000"/>
              <a:gd name="connsiteY293" fmla="*/ 7293 h 10000"/>
              <a:gd name="connsiteX294" fmla="*/ 230 w 10000"/>
              <a:gd name="connsiteY294" fmla="*/ 7323 h 10000"/>
              <a:gd name="connsiteX295" fmla="*/ 177 w 10000"/>
              <a:gd name="connsiteY295" fmla="*/ 7262 h 10000"/>
              <a:gd name="connsiteX296" fmla="*/ 111 w 10000"/>
              <a:gd name="connsiteY296" fmla="*/ 7354 h 10000"/>
              <a:gd name="connsiteX297" fmla="*/ 155 w 10000"/>
              <a:gd name="connsiteY297" fmla="*/ 7197 h 10000"/>
              <a:gd name="connsiteX298" fmla="*/ 128 w 10000"/>
              <a:gd name="connsiteY298"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9911 w 10000"/>
              <a:gd name="connsiteY207" fmla="*/ 1897 h 10000"/>
              <a:gd name="connsiteX208" fmla="*/ 10000 w 10000"/>
              <a:gd name="connsiteY208" fmla="*/ 1699 h 10000"/>
              <a:gd name="connsiteX209" fmla="*/ 9722 w 10000"/>
              <a:gd name="connsiteY209" fmla="*/ 1465 h 10000"/>
              <a:gd name="connsiteX210" fmla="*/ 9676 w 10000"/>
              <a:gd name="connsiteY210" fmla="*/ 1379 h 10000"/>
              <a:gd name="connsiteX211" fmla="*/ 9739 w 10000"/>
              <a:gd name="connsiteY211" fmla="*/ 1271 h 10000"/>
              <a:gd name="connsiteX212" fmla="*/ 9709 w 10000"/>
              <a:gd name="connsiteY212" fmla="*/ 1194 h 10000"/>
              <a:gd name="connsiteX213" fmla="*/ 9650 w 10000"/>
              <a:gd name="connsiteY213" fmla="*/ 1159 h 10000"/>
              <a:gd name="connsiteX214" fmla="*/ 9601 w 10000"/>
              <a:gd name="connsiteY214" fmla="*/ 978 h 10000"/>
              <a:gd name="connsiteX215" fmla="*/ 9659 w 10000"/>
              <a:gd name="connsiteY215" fmla="*/ 831 h 10000"/>
              <a:gd name="connsiteX216" fmla="*/ 9234 w 10000"/>
              <a:gd name="connsiteY216" fmla="*/ 517 h 10000"/>
              <a:gd name="connsiteX217" fmla="*/ 9025 w 10000"/>
              <a:gd name="connsiteY217" fmla="*/ 440 h 10000"/>
              <a:gd name="connsiteX218" fmla="*/ 8639 w 10000"/>
              <a:gd name="connsiteY218" fmla="*/ 389 h 10000"/>
              <a:gd name="connsiteX219" fmla="*/ 7842 w 10000"/>
              <a:gd name="connsiteY219" fmla="*/ 26 h 10000"/>
              <a:gd name="connsiteX220" fmla="*/ 7816 w 10000"/>
              <a:gd name="connsiteY220" fmla="*/ 2 h 10000"/>
              <a:gd name="connsiteX221" fmla="*/ 7545 w 10000"/>
              <a:gd name="connsiteY221" fmla="*/ 0 h 10000"/>
              <a:gd name="connsiteX222" fmla="*/ 7483 w 10000"/>
              <a:gd name="connsiteY222" fmla="*/ 14 h 10000"/>
              <a:gd name="connsiteX223" fmla="*/ 7497 w 10000"/>
              <a:gd name="connsiteY223" fmla="*/ 61 h 10000"/>
              <a:gd name="connsiteX224" fmla="*/ 7550 w 10000"/>
              <a:gd name="connsiteY224" fmla="*/ 86 h 10000"/>
              <a:gd name="connsiteX225" fmla="*/ 7564 w 10000"/>
              <a:gd name="connsiteY225" fmla="*/ 139 h 10000"/>
              <a:gd name="connsiteX226" fmla="*/ 7545 w 10000"/>
              <a:gd name="connsiteY226" fmla="*/ 181 h 10000"/>
              <a:gd name="connsiteX227" fmla="*/ 7497 w 10000"/>
              <a:gd name="connsiteY227" fmla="*/ 208 h 10000"/>
              <a:gd name="connsiteX228" fmla="*/ 7461 w 10000"/>
              <a:gd name="connsiteY228" fmla="*/ 283 h 10000"/>
              <a:gd name="connsiteX229" fmla="*/ 7395 w 10000"/>
              <a:gd name="connsiteY229" fmla="*/ 336 h 10000"/>
              <a:gd name="connsiteX230" fmla="*/ 7408 w 10000"/>
              <a:gd name="connsiteY230" fmla="*/ 387 h 10000"/>
              <a:gd name="connsiteX231" fmla="*/ 7510 w 10000"/>
              <a:gd name="connsiteY231" fmla="*/ 434 h 10000"/>
              <a:gd name="connsiteX232" fmla="*/ 7444 w 10000"/>
              <a:gd name="connsiteY232" fmla="*/ 475 h 10000"/>
              <a:gd name="connsiteX233" fmla="*/ 7346 w 10000"/>
              <a:gd name="connsiteY233" fmla="*/ 485 h 10000"/>
              <a:gd name="connsiteX234" fmla="*/ 6531 w 10000"/>
              <a:gd name="connsiteY234" fmla="*/ 387 h 10000"/>
              <a:gd name="connsiteX235" fmla="*/ 6433 w 10000"/>
              <a:gd name="connsiteY235" fmla="*/ 395 h 10000"/>
              <a:gd name="connsiteX236" fmla="*/ 6376 w 10000"/>
              <a:gd name="connsiteY236" fmla="*/ 414 h 10000"/>
              <a:gd name="connsiteX237" fmla="*/ 6318 w 10000"/>
              <a:gd name="connsiteY237" fmla="*/ 462 h 10000"/>
              <a:gd name="connsiteX238" fmla="*/ 6328 w 10000"/>
              <a:gd name="connsiteY238" fmla="*/ 581 h 10000"/>
              <a:gd name="connsiteX239" fmla="*/ 6238 w 10000"/>
              <a:gd name="connsiteY239" fmla="*/ 735 h 10000"/>
              <a:gd name="connsiteX240" fmla="*/ 6128 w 10000"/>
              <a:gd name="connsiteY240" fmla="*/ 815 h 10000"/>
              <a:gd name="connsiteX241" fmla="*/ 6084 w 10000"/>
              <a:gd name="connsiteY241" fmla="*/ 805 h 10000"/>
              <a:gd name="connsiteX242" fmla="*/ 5982 w 10000"/>
              <a:gd name="connsiteY242" fmla="*/ 739 h 10000"/>
              <a:gd name="connsiteX243" fmla="*/ 5853 w 10000"/>
              <a:gd name="connsiteY243" fmla="*/ 705 h 10000"/>
              <a:gd name="connsiteX244" fmla="*/ 5715 w 10000"/>
              <a:gd name="connsiteY244" fmla="*/ 715 h 10000"/>
              <a:gd name="connsiteX245" fmla="*/ 5393 w 10000"/>
              <a:gd name="connsiteY245" fmla="*/ 866 h 10000"/>
              <a:gd name="connsiteX246" fmla="*/ 5308 w 10000"/>
              <a:gd name="connsiteY246" fmla="*/ 1017 h 10000"/>
              <a:gd name="connsiteX247" fmla="*/ 5065 w 10000"/>
              <a:gd name="connsiteY247" fmla="*/ 1153 h 10000"/>
              <a:gd name="connsiteX248" fmla="*/ 5020 w 10000"/>
              <a:gd name="connsiteY248" fmla="*/ 1222 h 10000"/>
              <a:gd name="connsiteX249" fmla="*/ 5148 w 10000"/>
              <a:gd name="connsiteY249" fmla="*/ 1344 h 10000"/>
              <a:gd name="connsiteX250" fmla="*/ 5162 w 10000"/>
              <a:gd name="connsiteY250" fmla="*/ 1412 h 10000"/>
              <a:gd name="connsiteX251" fmla="*/ 4497 w 10000"/>
              <a:gd name="connsiteY251" fmla="*/ 1813 h 10000"/>
              <a:gd name="connsiteX252" fmla="*/ 4293 w 10000"/>
              <a:gd name="connsiteY252" fmla="*/ 2070 h 10000"/>
              <a:gd name="connsiteX253" fmla="*/ 4073 w 10000"/>
              <a:gd name="connsiteY253" fmla="*/ 2135 h 10000"/>
              <a:gd name="connsiteX254" fmla="*/ 3934 w 10000"/>
              <a:gd name="connsiteY254" fmla="*/ 2131 h 10000"/>
              <a:gd name="connsiteX255" fmla="*/ 3851 w 10000"/>
              <a:gd name="connsiteY255" fmla="*/ 2153 h 10000"/>
              <a:gd name="connsiteX256" fmla="*/ 3620 w 10000"/>
              <a:gd name="connsiteY256" fmla="*/ 2793 h 10000"/>
              <a:gd name="connsiteX257" fmla="*/ 3089 w 10000"/>
              <a:gd name="connsiteY257" fmla="*/ 3166 h 10000"/>
              <a:gd name="connsiteX258" fmla="*/ 3093 w 10000"/>
              <a:gd name="connsiteY258" fmla="*/ 3225 h 10000"/>
              <a:gd name="connsiteX259" fmla="*/ 3328 w 10000"/>
              <a:gd name="connsiteY259" fmla="*/ 3392 h 10000"/>
              <a:gd name="connsiteX260" fmla="*/ 3253 w 10000"/>
              <a:gd name="connsiteY260" fmla="*/ 3573 h 10000"/>
              <a:gd name="connsiteX261" fmla="*/ 3115 w 10000"/>
              <a:gd name="connsiteY261" fmla="*/ 3640 h 10000"/>
              <a:gd name="connsiteX262" fmla="*/ 2703 w 10000"/>
              <a:gd name="connsiteY262" fmla="*/ 3595 h 10000"/>
              <a:gd name="connsiteX263" fmla="*/ 2418 w 10000"/>
              <a:gd name="connsiteY263" fmla="*/ 3620 h 10000"/>
              <a:gd name="connsiteX264" fmla="*/ 2189 w 10000"/>
              <a:gd name="connsiteY264" fmla="*/ 3673 h 10000"/>
              <a:gd name="connsiteX265" fmla="*/ 1821 w 10000"/>
              <a:gd name="connsiteY265" fmla="*/ 3840 h 10000"/>
              <a:gd name="connsiteX266" fmla="*/ 1625 w 10000"/>
              <a:gd name="connsiteY266" fmla="*/ 4042 h 10000"/>
              <a:gd name="connsiteX267" fmla="*/ 1643 w 10000"/>
              <a:gd name="connsiteY267" fmla="*/ 4154 h 10000"/>
              <a:gd name="connsiteX268" fmla="*/ 1711 w 10000"/>
              <a:gd name="connsiteY268" fmla="*/ 4241 h 10000"/>
              <a:gd name="connsiteX269" fmla="*/ 1763 w 10000"/>
              <a:gd name="connsiteY269" fmla="*/ 4276 h 10000"/>
              <a:gd name="connsiteX270" fmla="*/ 1666 w 10000"/>
              <a:gd name="connsiteY270" fmla="*/ 4331 h 10000"/>
              <a:gd name="connsiteX271" fmla="*/ 1458 w 10000"/>
              <a:gd name="connsiteY271" fmla="*/ 4710 h 10000"/>
              <a:gd name="connsiteX272" fmla="*/ 1498 w 10000"/>
              <a:gd name="connsiteY272" fmla="*/ 4732 h 10000"/>
              <a:gd name="connsiteX273" fmla="*/ 1529 w 10000"/>
              <a:gd name="connsiteY273" fmla="*/ 4828 h 10000"/>
              <a:gd name="connsiteX274" fmla="*/ 1431 w 10000"/>
              <a:gd name="connsiteY274" fmla="*/ 5227 h 10000"/>
              <a:gd name="connsiteX275" fmla="*/ 1529 w 10000"/>
              <a:gd name="connsiteY275" fmla="*/ 5329 h 10000"/>
              <a:gd name="connsiteX276" fmla="*/ 1794 w 10000"/>
              <a:gd name="connsiteY276" fmla="*/ 5441 h 10000"/>
              <a:gd name="connsiteX277" fmla="*/ 1807 w 10000"/>
              <a:gd name="connsiteY277" fmla="*/ 5578 h 10000"/>
              <a:gd name="connsiteX278" fmla="*/ 1694 w 10000"/>
              <a:gd name="connsiteY278" fmla="*/ 5690 h 10000"/>
              <a:gd name="connsiteX279" fmla="*/ 1529 w 10000"/>
              <a:gd name="connsiteY279" fmla="*/ 5759 h 10000"/>
              <a:gd name="connsiteX280" fmla="*/ 1311 w 10000"/>
              <a:gd name="connsiteY280" fmla="*/ 5787 h 10000"/>
              <a:gd name="connsiteX281" fmla="*/ 1254 w 10000"/>
              <a:gd name="connsiteY281" fmla="*/ 5826 h 10000"/>
              <a:gd name="connsiteX282" fmla="*/ 1382 w 10000"/>
              <a:gd name="connsiteY282" fmla="*/ 5920 h 10000"/>
              <a:gd name="connsiteX283" fmla="*/ 1454 w 10000"/>
              <a:gd name="connsiteY283" fmla="*/ 6142 h 10000"/>
              <a:gd name="connsiteX284" fmla="*/ 1289 w 10000"/>
              <a:gd name="connsiteY284" fmla="*/ 6333 h 10000"/>
              <a:gd name="connsiteX285" fmla="*/ 1347 w 10000"/>
              <a:gd name="connsiteY285" fmla="*/ 6392 h 10000"/>
              <a:gd name="connsiteX286" fmla="*/ 1294 w 10000"/>
              <a:gd name="connsiteY286" fmla="*/ 6492 h 10000"/>
              <a:gd name="connsiteX287" fmla="*/ 1188 w 10000"/>
              <a:gd name="connsiteY287" fmla="*/ 6561 h 10000"/>
              <a:gd name="connsiteX288" fmla="*/ 771 w 10000"/>
              <a:gd name="connsiteY288" fmla="*/ 6614 h 10000"/>
              <a:gd name="connsiteX289" fmla="*/ 745 w 10000"/>
              <a:gd name="connsiteY289" fmla="*/ 6706 h 10000"/>
              <a:gd name="connsiteX290" fmla="*/ 519 w 10000"/>
              <a:gd name="connsiteY290" fmla="*/ 6843 h 10000"/>
              <a:gd name="connsiteX291" fmla="*/ 549 w 10000"/>
              <a:gd name="connsiteY291" fmla="*/ 7040 h 10000"/>
              <a:gd name="connsiteX292" fmla="*/ 359 w 10000"/>
              <a:gd name="connsiteY292" fmla="*/ 7293 h 10000"/>
              <a:gd name="connsiteX293" fmla="*/ 230 w 10000"/>
              <a:gd name="connsiteY293" fmla="*/ 7323 h 10000"/>
              <a:gd name="connsiteX294" fmla="*/ 177 w 10000"/>
              <a:gd name="connsiteY294" fmla="*/ 7262 h 10000"/>
              <a:gd name="connsiteX295" fmla="*/ 111 w 10000"/>
              <a:gd name="connsiteY295" fmla="*/ 7354 h 10000"/>
              <a:gd name="connsiteX296" fmla="*/ 155 w 10000"/>
              <a:gd name="connsiteY296" fmla="*/ 7197 h 10000"/>
              <a:gd name="connsiteX297" fmla="*/ 128 w 10000"/>
              <a:gd name="connsiteY297"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10000 w 10000"/>
              <a:gd name="connsiteY207" fmla="*/ 1699 h 10000"/>
              <a:gd name="connsiteX208" fmla="*/ 9722 w 10000"/>
              <a:gd name="connsiteY208" fmla="*/ 1465 h 10000"/>
              <a:gd name="connsiteX209" fmla="*/ 9676 w 10000"/>
              <a:gd name="connsiteY209" fmla="*/ 1379 h 10000"/>
              <a:gd name="connsiteX210" fmla="*/ 9739 w 10000"/>
              <a:gd name="connsiteY210" fmla="*/ 1271 h 10000"/>
              <a:gd name="connsiteX211" fmla="*/ 9709 w 10000"/>
              <a:gd name="connsiteY211" fmla="*/ 1194 h 10000"/>
              <a:gd name="connsiteX212" fmla="*/ 9650 w 10000"/>
              <a:gd name="connsiteY212" fmla="*/ 1159 h 10000"/>
              <a:gd name="connsiteX213" fmla="*/ 9601 w 10000"/>
              <a:gd name="connsiteY213" fmla="*/ 978 h 10000"/>
              <a:gd name="connsiteX214" fmla="*/ 9659 w 10000"/>
              <a:gd name="connsiteY214" fmla="*/ 831 h 10000"/>
              <a:gd name="connsiteX215" fmla="*/ 9234 w 10000"/>
              <a:gd name="connsiteY215" fmla="*/ 517 h 10000"/>
              <a:gd name="connsiteX216" fmla="*/ 9025 w 10000"/>
              <a:gd name="connsiteY216" fmla="*/ 440 h 10000"/>
              <a:gd name="connsiteX217" fmla="*/ 8639 w 10000"/>
              <a:gd name="connsiteY217" fmla="*/ 389 h 10000"/>
              <a:gd name="connsiteX218" fmla="*/ 7842 w 10000"/>
              <a:gd name="connsiteY218" fmla="*/ 26 h 10000"/>
              <a:gd name="connsiteX219" fmla="*/ 7816 w 10000"/>
              <a:gd name="connsiteY219" fmla="*/ 2 h 10000"/>
              <a:gd name="connsiteX220" fmla="*/ 7545 w 10000"/>
              <a:gd name="connsiteY220" fmla="*/ 0 h 10000"/>
              <a:gd name="connsiteX221" fmla="*/ 7483 w 10000"/>
              <a:gd name="connsiteY221" fmla="*/ 14 h 10000"/>
              <a:gd name="connsiteX222" fmla="*/ 7497 w 10000"/>
              <a:gd name="connsiteY222" fmla="*/ 61 h 10000"/>
              <a:gd name="connsiteX223" fmla="*/ 7550 w 10000"/>
              <a:gd name="connsiteY223" fmla="*/ 86 h 10000"/>
              <a:gd name="connsiteX224" fmla="*/ 7564 w 10000"/>
              <a:gd name="connsiteY224" fmla="*/ 139 h 10000"/>
              <a:gd name="connsiteX225" fmla="*/ 7545 w 10000"/>
              <a:gd name="connsiteY225" fmla="*/ 181 h 10000"/>
              <a:gd name="connsiteX226" fmla="*/ 7497 w 10000"/>
              <a:gd name="connsiteY226" fmla="*/ 208 h 10000"/>
              <a:gd name="connsiteX227" fmla="*/ 7461 w 10000"/>
              <a:gd name="connsiteY227" fmla="*/ 283 h 10000"/>
              <a:gd name="connsiteX228" fmla="*/ 7395 w 10000"/>
              <a:gd name="connsiteY228" fmla="*/ 336 h 10000"/>
              <a:gd name="connsiteX229" fmla="*/ 7408 w 10000"/>
              <a:gd name="connsiteY229" fmla="*/ 387 h 10000"/>
              <a:gd name="connsiteX230" fmla="*/ 7510 w 10000"/>
              <a:gd name="connsiteY230" fmla="*/ 434 h 10000"/>
              <a:gd name="connsiteX231" fmla="*/ 7444 w 10000"/>
              <a:gd name="connsiteY231" fmla="*/ 475 h 10000"/>
              <a:gd name="connsiteX232" fmla="*/ 7346 w 10000"/>
              <a:gd name="connsiteY232" fmla="*/ 485 h 10000"/>
              <a:gd name="connsiteX233" fmla="*/ 6531 w 10000"/>
              <a:gd name="connsiteY233" fmla="*/ 387 h 10000"/>
              <a:gd name="connsiteX234" fmla="*/ 6433 w 10000"/>
              <a:gd name="connsiteY234" fmla="*/ 395 h 10000"/>
              <a:gd name="connsiteX235" fmla="*/ 6376 w 10000"/>
              <a:gd name="connsiteY235" fmla="*/ 414 h 10000"/>
              <a:gd name="connsiteX236" fmla="*/ 6318 w 10000"/>
              <a:gd name="connsiteY236" fmla="*/ 462 h 10000"/>
              <a:gd name="connsiteX237" fmla="*/ 6328 w 10000"/>
              <a:gd name="connsiteY237" fmla="*/ 581 h 10000"/>
              <a:gd name="connsiteX238" fmla="*/ 6238 w 10000"/>
              <a:gd name="connsiteY238" fmla="*/ 735 h 10000"/>
              <a:gd name="connsiteX239" fmla="*/ 6128 w 10000"/>
              <a:gd name="connsiteY239" fmla="*/ 815 h 10000"/>
              <a:gd name="connsiteX240" fmla="*/ 6084 w 10000"/>
              <a:gd name="connsiteY240" fmla="*/ 805 h 10000"/>
              <a:gd name="connsiteX241" fmla="*/ 5982 w 10000"/>
              <a:gd name="connsiteY241" fmla="*/ 739 h 10000"/>
              <a:gd name="connsiteX242" fmla="*/ 5853 w 10000"/>
              <a:gd name="connsiteY242" fmla="*/ 705 h 10000"/>
              <a:gd name="connsiteX243" fmla="*/ 5715 w 10000"/>
              <a:gd name="connsiteY243" fmla="*/ 715 h 10000"/>
              <a:gd name="connsiteX244" fmla="*/ 5393 w 10000"/>
              <a:gd name="connsiteY244" fmla="*/ 866 h 10000"/>
              <a:gd name="connsiteX245" fmla="*/ 5308 w 10000"/>
              <a:gd name="connsiteY245" fmla="*/ 1017 h 10000"/>
              <a:gd name="connsiteX246" fmla="*/ 5065 w 10000"/>
              <a:gd name="connsiteY246" fmla="*/ 1153 h 10000"/>
              <a:gd name="connsiteX247" fmla="*/ 5020 w 10000"/>
              <a:gd name="connsiteY247" fmla="*/ 1222 h 10000"/>
              <a:gd name="connsiteX248" fmla="*/ 5148 w 10000"/>
              <a:gd name="connsiteY248" fmla="*/ 1344 h 10000"/>
              <a:gd name="connsiteX249" fmla="*/ 5162 w 10000"/>
              <a:gd name="connsiteY249" fmla="*/ 1412 h 10000"/>
              <a:gd name="connsiteX250" fmla="*/ 4497 w 10000"/>
              <a:gd name="connsiteY250" fmla="*/ 1813 h 10000"/>
              <a:gd name="connsiteX251" fmla="*/ 4293 w 10000"/>
              <a:gd name="connsiteY251" fmla="*/ 2070 h 10000"/>
              <a:gd name="connsiteX252" fmla="*/ 4073 w 10000"/>
              <a:gd name="connsiteY252" fmla="*/ 2135 h 10000"/>
              <a:gd name="connsiteX253" fmla="*/ 3934 w 10000"/>
              <a:gd name="connsiteY253" fmla="*/ 2131 h 10000"/>
              <a:gd name="connsiteX254" fmla="*/ 3851 w 10000"/>
              <a:gd name="connsiteY254" fmla="*/ 2153 h 10000"/>
              <a:gd name="connsiteX255" fmla="*/ 3620 w 10000"/>
              <a:gd name="connsiteY255" fmla="*/ 2793 h 10000"/>
              <a:gd name="connsiteX256" fmla="*/ 3089 w 10000"/>
              <a:gd name="connsiteY256" fmla="*/ 3166 h 10000"/>
              <a:gd name="connsiteX257" fmla="*/ 3093 w 10000"/>
              <a:gd name="connsiteY257" fmla="*/ 3225 h 10000"/>
              <a:gd name="connsiteX258" fmla="*/ 3328 w 10000"/>
              <a:gd name="connsiteY258" fmla="*/ 3392 h 10000"/>
              <a:gd name="connsiteX259" fmla="*/ 3253 w 10000"/>
              <a:gd name="connsiteY259" fmla="*/ 3573 h 10000"/>
              <a:gd name="connsiteX260" fmla="*/ 3115 w 10000"/>
              <a:gd name="connsiteY260" fmla="*/ 3640 h 10000"/>
              <a:gd name="connsiteX261" fmla="*/ 2703 w 10000"/>
              <a:gd name="connsiteY261" fmla="*/ 3595 h 10000"/>
              <a:gd name="connsiteX262" fmla="*/ 2418 w 10000"/>
              <a:gd name="connsiteY262" fmla="*/ 3620 h 10000"/>
              <a:gd name="connsiteX263" fmla="*/ 2189 w 10000"/>
              <a:gd name="connsiteY263" fmla="*/ 3673 h 10000"/>
              <a:gd name="connsiteX264" fmla="*/ 1821 w 10000"/>
              <a:gd name="connsiteY264" fmla="*/ 3840 h 10000"/>
              <a:gd name="connsiteX265" fmla="*/ 1625 w 10000"/>
              <a:gd name="connsiteY265" fmla="*/ 4042 h 10000"/>
              <a:gd name="connsiteX266" fmla="*/ 1643 w 10000"/>
              <a:gd name="connsiteY266" fmla="*/ 4154 h 10000"/>
              <a:gd name="connsiteX267" fmla="*/ 1711 w 10000"/>
              <a:gd name="connsiteY267" fmla="*/ 4241 h 10000"/>
              <a:gd name="connsiteX268" fmla="*/ 1763 w 10000"/>
              <a:gd name="connsiteY268" fmla="*/ 4276 h 10000"/>
              <a:gd name="connsiteX269" fmla="*/ 1666 w 10000"/>
              <a:gd name="connsiteY269" fmla="*/ 4331 h 10000"/>
              <a:gd name="connsiteX270" fmla="*/ 1458 w 10000"/>
              <a:gd name="connsiteY270" fmla="*/ 4710 h 10000"/>
              <a:gd name="connsiteX271" fmla="*/ 1498 w 10000"/>
              <a:gd name="connsiteY271" fmla="*/ 4732 h 10000"/>
              <a:gd name="connsiteX272" fmla="*/ 1529 w 10000"/>
              <a:gd name="connsiteY272" fmla="*/ 4828 h 10000"/>
              <a:gd name="connsiteX273" fmla="*/ 1431 w 10000"/>
              <a:gd name="connsiteY273" fmla="*/ 5227 h 10000"/>
              <a:gd name="connsiteX274" fmla="*/ 1529 w 10000"/>
              <a:gd name="connsiteY274" fmla="*/ 5329 h 10000"/>
              <a:gd name="connsiteX275" fmla="*/ 1794 w 10000"/>
              <a:gd name="connsiteY275" fmla="*/ 5441 h 10000"/>
              <a:gd name="connsiteX276" fmla="*/ 1807 w 10000"/>
              <a:gd name="connsiteY276" fmla="*/ 5578 h 10000"/>
              <a:gd name="connsiteX277" fmla="*/ 1694 w 10000"/>
              <a:gd name="connsiteY277" fmla="*/ 5690 h 10000"/>
              <a:gd name="connsiteX278" fmla="*/ 1529 w 10000"/>
              <a:gd name="connsiteY278" fmla="*/ 5759 h 10000"/>
              <a:gd name="connsiteX279" fmla="*/ 1311 w 10000"/>
              <a:gd name="connsiteY279" fmla="*/ 5787 h 10000"/>
              <a:gd name="connsiteX280" fmla="*/ 1254 w 10000"/>
              <a:gd name="connsiteY280" fmla="*/ 5826 h 10000"/>
              <a:gd name="connsiteX281" fmla="*/ 1382 w 10000"/>
              <a:gd name="connsiteY281" fmla="*/ 5920 h 10000"/>
              <a:gd name="connsiteX282" fmla="*/ 1454 w 10000"/>
              <a:gd name="connsiteY282" fmla="*/ 6142 h 10000"/>
              <a:gd name="connsiteX283" fmla="*/ 1289 w 10000"/>
              <a:gd name="connsiteY283" fmla="*/ 6333 h 10000"/>
              <a:gd name="connsiteX284" fmla="*/ 1347 w 10000"/>
              <a:gd name="connsiteY284" fmla="*/ 6392 h 10000"/>
              <a:gd name="connsiteX285" fmla="*/ 1294 w 10000"/>
              <a:gd name="connsiteY285" fmla="*/ 6492 h 10000"/>
              <a:gd name="connsiteX286" fmla="*/ 1188 w 10000"/>
              <a:gd name="connsiteY286" fmla="*/ 6561 h 10000"/>
              <a:gd name="connsiteX287" fmla="*/ 771 w 10000"/>
              <a:gd name="connsiteY287" fmla="*/ 6614 h 10000"/>
              <a:gd name="connsiteX288" fmla="*/ 745 w 10000"/>
              <a:gd name="connsiteY288" fmla="*/ 6706 h 10000"/>
              <a:gd name="connsiteX289" fmla="*/ 519 w 10000"/>
              <a:gd name="connsiteY289" fmla="*/ 6843 h 10000"/>
              <a:gd name="connsiteX290" fmla="*/ 549 w 10000"/>
              <a:gd name="connsiteY290" fmla="*/ 7040 h 10000"/>
              <a:gd name="connsiteX291" fmla="*/ 359 w 10000"/>
              <a:gd name="connsiteY291" fmla="*/ 7293 h 10000"/>
              <a:gd name="connsiteX292" fmla="*/ 230 w 10000"/>
              <a:gd name="connsiteY292" fmla="*/ 7323 h 10000"/>
              <a:gd name="connsiteX293" fmla="*/ 177 w 10000"/>
              <a:gd name="connsiteY293" fmla="*/ 7262 h 10000"/>
              <a:gd name="connsiteX294" fmla="*/ 111 w 10000"/>
              <a:gd name="connsiteY294" fmla="*/ 7354 h 10000"/>
              <a:gd name="connsiteX295" fmla="*/ 155 w 10000"/>
              <a:gd name="connsiteY295" fmla="*/ 7197 h 10000"/>
              <a:gd name="connsiteX296" fmla="*/ 128 w 10000"/>
              <a:gd name="connsiteY296" fmla="*/ 7166 h 10000"/>
              <a:gd name="connsiteX0" fmla="*/ 128 w 9739"/>
              <a:gd name="connsiteY0" fmla="*/ 7166 h 10000"/>
              <a:gd name="connsiteX1" fmla="*/ 0 w 9739"/>
              <a:gd name="connsiteY1" fmla="*/ 7248 h 10000"/>
              <a:gd name="connsiteX2" fmla="*/ 0 w 9739"/>
              <a:gd name="connsiteY2" fmla="*/ 7651 h 10000"/>
              <a:gd name="connsiteX3" fmla="*/ 71 w 9739"/>
              <a:gd name="connsiteY3" fmla="*/ 7663 h 10000"/>
              <a:gd name="connsiteX4" fmla="*/ 88 w 9739"/>
              <a:gd name="connsiteY4" fmla="*/ 7694 h 10000"/>
              <a:gd name="connsiteX5" fmla="*/ 84 w 9739"/>
              <a:gd name="connsiteY5" fmla="*/ 7749 h 10000"/>
              <a:gd name="connsiteX6" fmla="*/ 57 w 9739"/>
              <a:gd name="connsiteY6" fmla="*/ 7773 h 10000"/>
              <a:gd name="connsiteX7" fmla="*/ 164 w 9739"/>
              <a:gd name="connsiteY7" fmla="*/ 7727 h 10000"/>
              <a:gd name="connsiteX8" fmla="*/ 209 w 9739"/>
              <a:gd name="connsiteY8" fmla="*/ 7680 h 10000"/>
              <a:gd name="connsiteX9" fmla="*/ 265 w 9739"/>
              <a:gd name="connsiteY9" fmla="*/ 7712 h 10000"/>
              <a:gd name="connsiteX10" fmla="*/ 204 w 9739"/>
              <a:gd name="connsiteY10" fmla="*/ 7778 h 10000"/>
              <a:gd name="connsiteX11" fmla="*/ 270 w 9739"/>
              <a:gd name="connsiteY11" fmla="*/ 7780 h 10000"/>
              <a:gd name="connsiteX12" fmla="*/ 301 w 9739"/>
              <a:gd name="connsiteY12" fmla="*/ 7796 h 10000"/>
              <a:gd name="connsiteX13" fmla="*/ 217 w 9739"/>
              <a:gd name="connsiteY13" fmla="*/ 7818 h 10000"/>
              <a:gd name="connsiteX14" fmla="*/ 84 w 9739"/>
              <a:gd name="connsiteY14" fmla="*/ 7886 h 10000"/>
              <a:gd name="connsiteX15" fmla="*/ 320 w 9739"/>
              <a:gd name="connsiteY15" fmla="*/ 7938 h 10000"/>
              <a:gd name="connsiteX16" fmla="*/ 350 w 9739"/>
              <a:gd name="connsiteY16" fmla="*/ 8014 h 10000"/>
              <a:gd name="connsiteX17" fmla="*/ 270 w 9739"/>
              <a:gd name="connsiteY17" fmla="*/ 8126 h 10000"/>
              <a:gd name="connsiteX18" fmla="*/ 444 w 9739"/>
              <a:gd name="connsiteY18" fmla="*/ 8118 h 10000"/>
              <a:gd name="connsiteX19" fmla="*/ 457 w 9739"/>
              <a:gd name="connsiteY19" fmla="*/ 8203 h 10000"/>
              <a:gd name="connsiteX20" fmla="*/ 341 w 9739"/>
              <a:gd name="connsiteY20" fmla="*/ 8260 h 10000"/>
              <a:gd name="connsiteX21" fmla="*/ 359 w 9739"/>
              <a:gd name="connsiteY21" fmla="*/ 8370 h 10000"/>
              <a:gd name="connsiteX22" fmla="*/ 315 w 9739"/>
              <a:gd name="connsiteY22" fmla="*/ 8456 h 10000"/>
              <a:gd name="connsiteX23" fmla="*/ 452 w 9739"/>
              <a:gd name="connsiteY23" fmla="*/ 8464 h 10000"/>
              <a:gd name="connsiteX24" fmla="*/ 585 w 9739"/>
              <a:gd name="connsiteY24" fmla="*/ 8792 h 10000"/>
              <a:gd name="connsiteX25" fmla="*/ 740 w 9739"/>
              <a:gd name="connsiteY25" fmla="*/ 8876 h 10000"/>
              <a:gd name="connsiteX26" fmla="*/ 806 w 9739"/>
              <a:gd name="connsiteY26" fmla="*/ 8965 h 10000"/>
              <a:gd name="connsiteX27" fmla="*/ 975 w 9739"/>
              <a:gd name="connsiteY27" fmla="*/ 9030 h 10000"/>
              <a:gd name="connsiteX28" fmla="*/ 1082 w 9739"/>
              <a:gd name="connsiteY28" fmla="*/ 9112 h 10000"/>
              <a:gd name="connsiteX29" fmla="*/ 1068 w 9739"/>
              <a:gd name="connsiteY29" fmla="*/ 9171 h 10000"/>
              <a:gd name="connsiteX30" fmla="*/ 962 w 9739"/>
              <a:gd name="connsiteY30" fmla="*/ 9193 h 10000"/>
              <a:gd name="connsiteX31" fmla="*/ 846 w 9739"/>
              <a:gd name="connsiteY31" fmla="*/ 9179 h 10000"/>
              <a:gd name="connsiteX32" fmla="*/ 810 w 9739"/>
              <a:gd name="connsiteY32" fmla="*/ 9204 h 10000"/>
              <a:gd name="connsiteX33" fmla="*/ 899 w 9739"/>
              <a:gd name="connsiteY33" fmla="*/ 9332 h 10000"/>
              <a:gd name="connsiteX34" fmla="*/ 775 w 9739"/>
              <a:gd name="connsiteY34" fmla="*/ 9322 h 10000"/>
              <a:gd name="connsiteX35" fmla="*/ 669 w 9739"/>
              <a:gd name="connsiteY35" fmla="*/ 9291 h 10000"/>
              <a:gd name="connsiteX36" fmla="*/ 651 w 9739"/>
              <a:gd name="connsiteY36" fmla="*/ 9338 h 10000"/>
              <a:gd name="connsiteX37" fmla="*/ 1001 w 9739"/>
              <a:gd name="connsiteY37" fmla="*/ 9776 h 10000"/>
              <a:gd name="connsiteX38" fmla="*/ 945 w 9739"/>
              <a:gd name="connsiteY38" fmla="*/ 9817 h 10000"/>
              <a:gd name="connsiteX39" fmla="*/ 905 w 9739"/>
              <a:gd name="connsiteY39" fmla="*/ 9902 h 10000"/>
              <a:gd name="connsiteX40" fmla="*/ 855 w 9739"/>
              <a:gd name="connsiteY40" fmla="*/ 9908 h 10000"/>
              <a:gd name="connsiteX41" fmla="*/ 824 w 9739"/>
              <a:gd name="connsiteY41" fmla="*/ 9945 h 10000"/>
              <a:gd name="connsiteX42" fmla="*/ 1036 w 9739"/>
              <a:gd name="connsiteY42" fmla="*/ 9949 h 10000"/>
              <a:gd name="connsiteX43" fmla="*/ 1223 w 9739"/>
              <a:gd name="connsiteY43" fmla="*/ 9986 h 10000"/>
              <a:gd name="connsiteX44" fmla="*/ 1533 w 9739"/>
              <a:gd name="connsiteY44" fmla="*/ 9947 h 10000"/>
              <a:gd name="connsiteX45" fmla="*/ 1811 w 9739"/>
              <a:gd name="connsiteY45" fmla="*/ 9953 h 10000"/>
              <a:gd name="connsiteX46" fmla="*/ 1977 w 9739"/>
              <a:gd name="connsiteY46" fmla="*/ 10000 h 10000"/>
              <a:gd name="connsiteX47" fmla="*/ 2066 w 9739"/>
              <a:gd name="connsiteY47" fmla="*/ 9969 h 10000"/>
              <a:gd name="connsiteX48" fmla="*/ 2153 w 9739"/>
              <a:gd name="connsiteY48" fmla="*/ 9868 h 10000"/>
              <a:gd name="connsiteX49" fmla="*/ 2131 w 9739"/>
              <a:gd name="connsiteY49" fmla="*/ 9703 h 10000"/>
              <a:gd name="connsiteX50" fmla="*/ 2344 w 9739"/>
              <a:gd name="connsiteY50" fmla="*/ 9517 h 10000"/>
              <a:gd name="connsiteX51" fmla="*/ 2499 w 9739"/>
              <a:gd name="connsiteY51" fmla="*/ 9546 h 10000"/>
              <a:gd name="connsiteX52" fmla="*/ 2588 w 9739"/>
              <a:gd name="connsiteY52" fmla="*/ 9472 h 10000"/>
              <a:gd name="connsiteX53" fmla="*/ 2760 w 9739"/>
              <a:gd name="connsiteY53" fmla="*/ 9430 h 10000"/>
              <a:gd name="connsiteX54" fmla="*/ 2995 w 9739"/>
              <a:gd name="connsiteY54" fmla="*/ 9440 h 10000"/>
              <a:gd name="connsiteX55" fmla="*/ 3137 w 9739"/>
              <a:gd name="connsiteY55" fmla="*/ 9470 h 10000"/>
              <a:gd name="connsiteX56" fmla="*/ 3324 w 9739"/>
              <a:gd name="connsiteY56" fmla="*/ 9456 h 10000"/>
              <a:gd name="connsiteX57" fmla="*/ 3514 w 9739"/>
              <a:gd name="connsiteY57" fmla="*/ 9489 h 10000"/>
              <a:gd name="connsiteX58" fmla="*/ 3704 w 9739"/>
              <a:gd name="connsiteY58" fmla="*/ 9493 h 10000"/>
              <a:gd name="connsiteX59" fmla="*/ 4129 w 9739"/>
              <a:gd name="connsiteY59" fmla="*/ 9061 h 10000"/>
              <a:gd name="connsiteX60" fmla="*/ 4236 w 9739"/>
              <a:gd name="connsiteY60" fmla="*/ 8711 h 10000"/>
              <a:gd name="connsiteX61" fmla="*/ 4409 w 9739"/>
              <a:gd name="connsiteY61" fmla="*/ 8554 h 10000"/>
              <a:gd name="connsiteX62" fmla="*/ 4409 w 9739"/>
              <a:gd name="connsiteY62" fmla="*/ 8472 h 10000"/>
              <a:gd name="connsiteX63" fmla="*/ 4347 w 9739"/>
              <a:gd name="connsiteY63" fmla="*/ 8425 h 10000"/>
              <a:gd name="connsiteX64" fmla="*/ 4449 w 9739"/>
              <a:gd name="connsiteY64" fmla="*/ 8352 h 10000"/>
              <a:gd name="connsiteX65" fmla="*/ 4430 w 9739"/>
              <a:gd name="connsiteY65" fmla="*/ 8289 h 10000"/>
              <a:gd name="connsiteX66" fmla="*/ 4360 w 9739"/>
              <a:gd name="connsiteY66" fmla="*/ 8236 h 10000"/>
              <a:gd name="connsiteX67" fmla="*/ 4347 w 9739"/>
              <a:gd name="connsiteY67" fmla="*/ 8199 h 10000"/>
              <a:gd name="connsiteX68" fmla="*/ 4364 w 9739"/>
              <a:gd name="connsiteY68" fmla="*/ 8169 h 10000"/>
              <a:gd name="connsiteX69" fmla="*/ 4458 w 9739"/>
              <a:gd name="connsiteY69" fmla="*/ 8193 h 10000"/>
              <a:gd name="connsiteX70" fmla="*/ 4533 w 9739"/>
              <a:gd name="connsiteY70" fmla="*/ 8191 h 10000"/>
              <a:gd name="connsiteX71" fmla="*/ 4492 w 9739"/>
              <a:gd name="connsiteY71" fmla="*/ 8140 h 10000"/>
              <a:gd name="connsiteX72" fmla="*/ 4505 w 9739"/>
              <a:gd name="connsiteY72" fmla="*/ 8112 h 10000"/>
              <a:gd name="connsiteX73" fmla="*/ 4559 w 9739"/>
              <a:gd name="connsiteY73" fmla="*/ 8069 h 10000"/>
              <a:gd name="connsiteX74" fmla="*/ 4550 w 9739"/>
              <a:gd name="connsiteY74" fmla="*/ 8034 h 10000"/>
              <a:gd name="connsiteX75" fmla="*/ 4600 w 9739"/>
              <a:gd name="connsiteY75" fmla="*/ 7916 h 10000"/>
              <a:gd name="connsiteX76" fmla="*/ 4587 w 9739"/>
              <a:gd name="connsiteY76" fmla="*/ 7881 h 10000"/>
              <a:gd name="connsiteX77" fmla="*/ 4329 w 9739"/>
              <a:gd name="connsiteY77" fmla="*/ 7792 h 10000"/>
              <a:gd name="connsiteX78" fmla="*/ 4364 w 9739"/>
              <a:gd name="connsiteY78" fmla="*/ 7788 h 10000"/>
              <a:gd name="connsiteX79" fmla="*/ 4501 w 9739"/>
              <a:gd name="connsiteY79" fmla="*/ 7812 h 10000"/>
              <a:gd name="connsiteX80" fmla="*/ 4648 w 9739"/>
              <a:gd name="connsiteY80" fmla="*/ 7804 h 10000"/>
              <a:gd name="connsiteX81" fmla="*/ 4692 w 9739"/>
              <a:gd name="connsiteY81" fmla="*/ 7771 h 10000"/>
              <a:gd name="connsiteX82" fmla="*/ 4550 w 9739"/>
              <a:gd name="connsiteY82" fmla="*/ 7710 h 10000"/>
              <a:gd name="connsiteX83" fmla="*/ 4125 w 9739"/>
              <a:gd name="connsiteY83" fmla="*/ 7670 h 10000"/>
              <a:gd name="connsiteX84" fmla="*/ 4155 w 9739"/>
              <a:gd name="connsiteY84" fmla="*/ 7651 h 10000"/>
              <a:gd name="connsiteX85" fmla="*/ 4501 w 9739"/>
              <a:gd name="connsiteY85" fmla="*/ 7639 h 10000"/>
              <a:gd name="connsiteX86" fmla="*/ 4692 w 9739"/>
              <a:gd name="connsiteY86" fmla="*/ 7676 h 10000"/>
              <a:gd name="connsiteX87" fmla="*/ 4803 w 9739"/>
              <a:gd name="connsiteY87" fmla="*/ 7651 h 10000"/>
              <a:gd name="connsiteX88" fmla="*/ 4843 w 9739"/>
              <a:gd name="connsiteY88" fmla="*/ 7588 h 10000"/>
              <a:gd name="connsiteX89" fmla="*/ 5042 w 9739"/>
              <a:gd name="connsiteY89" fmla="*/ 7588 h 10000"/>
              <a:gd name="connsiteX90" fmla="*/ 5313 w 9739"/>
              <a:gd name="connsiteY90" fmla="*/ 7462 h 10000"/>
              <a:gd name="connsiteX91" fmla="*/ 5322 w 9739"/>
              <a:gd name="connsiteY91" fmla="*/ 7378 h 10000"/>
              <a:gd name="connsiteX92" fmla="*/ 5436 w 9739"/>
              <a:gd name="connsiteY92" fmla="*/ 7397 h 10000"/>
              <a:gd name="connsiteX93" fmla="*/ 5432 w 9739"/>
              <a:gd name="connsiteY93" fmla="*/ 7482 h 10000"/>
              <a:gd name="connsiteX94" fmla="*/ 5614 w 9739"/>
              <a:gd name="connsiteY94" fmla="*/ 7476 h 10000"/>
              <a:gd name="connsiteX95" fmla="*/ 5733 w 9739"/>
              <a:gd name="connsiteY95" fmla="*/ 7388 h 10000"/>
              <a:gd name="connsiteX96" fmla="*/ 5956 w 9739"/>
              <a:gd name="connsiteY96" fmla="*/ 7309 h 10000"/>
              <a:gd name="connsiteX97" fmla="*/ 5919 w 9739"/>
              <a:gd name="connsiteY97" fmla="*/ 7219 h 10000"/>
              <a:gd name="connsiteX98" fmla="*/ 5986 w 9739"/>
              <a:gd name="connsiteY98" fmla="*/ 7254 h 10000"/>
              <a:gd name="connsiteX99" fmla="*/ 6088 w 9739"/>
              <a:gd name="connsiteY99" fmla="*/ 7254 h 10000"/>
              <a:gd name="connsiteX100" fmla="*/ 6088 w 9739"/>
              <a:gd name="connsiteY100" fmla="*/ 7213 h 10000"/>
              <a:gd name="connsiteX101" fmla="*/ 6181 w 9739"/>
              <a:gd name="connsiteY101" fmla="*/ 7181 h 10000"/>
              <a:gd name="connsiteX102" fmla="*/ 6168 w 9739"/>
              <a:gd name="connsiteY102" fmla="*/ 7148 h 10000"/>
              <a:gd name="connsiteX103" fmla="*/ 5371 w 9739"/>
              <a:gd name="connsiteY103" fmla="*/ 7215 h 10000"/>
              <a:gd name="connsiteX104" fmla="*/ 5184 w 9739"/>
              <a:gd name="connsiteY104" fmla="*/ 7195 h 10000"/>
              <a:gd name="connsiteX105" fmla="*/ 5109 w 9739"/>
              <a:gd name="connsiteY105" fmla="*/ 7219 h 10000"/>
              <a:gd name="connsiteX106" fmla="*/ 5083 w 9739"/>
              <a:gd name="connsiteY106" fmla="*/ 7173 h 10000"/>
              <a:gd name="connsiteX107" fmla="*/ 4994 w 9739"/>
              <a:gd name="connsiteY107" fmla="*/ 7132 h 10000"/>
              <a:gd name="connsiteX108" fmla="*/ 4639 w 9739"/>
              <a:gd name="connsiteY108" fmla="*/ 7052 h 10000"/>
              <a:gd name="connsiteX109" fmla="*/ 4430 w 9739"/>
              <a:gd name="connsiteY109" fmla="*/ 7065 h 10000"/>
              <a:gd name="connsiteX110" fmla="*/ 4347 w 9739"/>
              <a:gd name="connsiteY110" fmla="*/ 7042 h 10000"/>
              <a:gd name="connsiteX111" fmla="*/ 4435 w 9739"/>
              <a:gd name="connsiteY111" fmla="*/ 7022 h 10000"/>
              <a:gd name="connsiteX112" fmla="*/ 4501 w 9739"/>
              <a:gd name="connsiteY112" fmla="*/ 6979 h 10000"/>
              <a:gd name="connsiteX113" fmla="*/ 4600 w 9739"/>
              <a:gd name="connsiteY113" fmla="*/ 6993 h 10000"/>
              <a:gd name="connsiteX114" fmla="*/ 4719 w 9739"/>
              <a:gd name="connsiteY114" fmla="*/ 6981 h 10000"/>
              <a:gd name="connsiteX115" fmla="*/ 4896 w 9739"/>
              <a:gd name="connsiteY115" fmla="*/ 6995 h 10000"/>
              <a:gd name="connsiteX116" fmla="*/ 4917 w 9739"/>
              <a:gd name="connsiteY116" fmla="*/ 6989 h 10000"/>
              <a:gd name="connsiteX117" fmla="*/ 5056 w 9739"/>
              <a:gd name="connsiteY117" fmla="*/ 7056 h 10000"/>
              <a:gd name="connsiteX118" fmla="*/ 5158 w 9739"/>
              <a:gd name="connsiteY118" fmla="*/ 7032 h 10000"/>
              <a:gd name="connsiteX119" fmla="*/ 5166 w 9739"/>
              <a:gd name="connsiteY119" fmla="*/ 7010 h 10000"/>
              <a:gd name="connsiteX120" fmla="*/ 5259 w 9739"/>
              <a:gd name="connsiteY120" fmla="*/ 7048 h 10000"/>
              <a:gd name="connsiteX121" fmla="*/ 5384 w 9739"/>
              <a:gd name="connsiteY121" fmla="*/ 7069 h 10000"/>
              <a:gd name="connsiteX122" fmla="*/ 5432 w 9739"/>
              <a:gd name="connsiteY122" fmla="*/ 7030 h 10000"/>
              <a:gd name="connsiteX123" fmla="*/ 5472 w 9739"/>
              <a:gd name="connsiteY123" fmla="*/ 7052 h 10000"/>
              <a:gd name="connsiteX124" fmla="*/ 5529 w 9739"/>
              <a:gd name="connsiteY124" fmla="*/ 7126 h 10000"/>
              <a:gd name="connsiteX125" fmla="*/ 5649 w 9739"/>
              <a:gd name="connsiteY125" fmla="*/ 7144 h 10000"/>
              <a:gd name="connsiteX126" fmla="*/ 6137 w 9739"/>
              <a:gd name="connsiteY126" fmla="*/ 7034 h 10000"/>
              <a:gd name="connsiteX127" fmla="*/ 6376 w 9739"/>
              <a:gd name="connsiteY127" fmla="*/ 6879 h 10000"/>
              <a:gd name="connsiteX128" fmla="*/ 6433 w 9739"/>
              <a:gd name="connsiteY128" fmla="*/ 6765 h 10000"/>
              <a:gd name="connsiteX129" fmla="*/ 6346 w 9739"/>
              <a:gd name="connsiteY129" fmla="*/ 6663 h 10000"/>
              <a:gd name="connsiteX130" fmla="*/ 6163 w 9739"/>
              <a:gd name="connsiteY130" fmla="*/ 6602 h 10000"/>
              <a:gd name="connsiteX131" fmla="*/ 6034 w 9739"/>
              <a:gd name="connsiteY131" fmla="*/ 6502 h 10000"/>
              <a:gd name="connsiteX132" fmla="*/ 6155 w 9739"/>
              <a:gd name="connsiteY132" fmla="*/ 6498 h 10000"/>
              <a:gd name="connsiteX133" fmla="*/ 6146 w 9739"/>
              <a:gd name="connsiteY133" fmla="*/ 6474 h 10000"/>
              <a:gd name="connsiteX134" fmla="*/ 5832 w 9739"/>
              <a:gd name="connsiteY134" fmla="*/ 6403 h 10000"/>
              <a:gd name="connsiteX135" fmla="*/ 5819 w 9739"/>
              <a:gd name="connsiteY135" fmla="*/ 6339 h 10000"/>
              <a:gd name="connsiteX136" fmla="*/ 5760 w 9739"/>
              <a:gd name="connsiteY136" fmla="*/ 6272 h 10000"/>
              <a:gd name="connsiteX137" fmla="*/ 5511 w 9739"/>
              <a:gd name="connsiteY137" fmla="*/ 6284 h 10000"/>
              <a:gd name="connsiteX138" fmla="*/ 5423 w 9739"/>
              <a:gd name="connsiteY138" fmla="*/ 6213 h 10000"/>
              <a:gd name="connsiteX139" fmla="*/ 5371 w 9739"/>
              <a:gd name="connsiteY139" fmla="*/ 6209 h 10000"/>
              <a:gd name="connsiteX140" fmla="*/ 5371 w 9739"/>
              <a:gd name="connsiteY140" fmla="*/ 6238 h 10000"/>
              <a:gd name="connsiteX141" fmla="*/ 5259 w 9739"/>
              <a:gd name="connsiteY141" fmla="*/ 6358 h 10000"/>
              <a:gd name="connsiteX142" fmla="*/ 5139 w 9739"/>
              <a:gd name="connsiteY142" fmla="*/ 6429 h 10000"/>
              <a:gd name="connsiteX143" fmla="*/ 4762 w 9739"/>
              <a:gd name="connsiteY143" fmla="*/ 6551 h 10000"/>
              <a:gd name="connsiteX144" fmla="*/ 4630 w 9739"/>
              <a:gd name="connsiteY144" fmla="*/ 6547 h 10000"/>
              <a:gd name="connsiteX145" fmla="*/ 4449 w 9739"/>
              <a:gd name="connsiteY145" fmla="*/ 6565 h 10000"/>
              <a:gd name="connsiteX146" fmla="*/ 4347 w 9739"/>
              <a:gd name="connsiteY146" fmla="*/ 6547 h 10000"/>
              <a:gd name="connsiteX147" fmla="*/ 4479 w 9739"/>
              <a:gd name="connsiteY147" fmla="*/ 6513 h 10000"/>
              <a:gd name="connsiteX148" fmla="*/ 4652 w 9739"/>
              <a:gd name="connsiteY148" fmla="*/ 6498 h 10000"/>
              <a:gd name="connsiteX149" fmla="*/ 4795 w 9739"/>
              <a:gd name="connsiteY149" fmla="*/ 6441 h 10000"/>
              <a:gd name="connsiteX150" fmla="*/ 4935 w 9739"/>
              <a:gd name="connsiteY150" fmla="*/ 6415 h 10000"/>
              <a:gd name="connsiteX151" fmla="*/ 5198 w 9739"/>
              <a:gd name="connsiteY151" fmla="*/ 6317 h 10000"/>
              <a:gd name="connsiteX152" fmla="*/ 5246 w 9739"/>
              <a:gd name="connsiteY152" fmla="*/ 6252 h 10000"/>
              <a:gd name="connsiteX153" fmla="*/ 5250 w 9739"/>
              <a:gd name="connsiteY153" fmla="*/ 6168 h 10000"/>
              <a:gd name="connsiteX154" fmla="*/ 5131 w 9739"/>
              <a:gd name="connsiteY154" fmla="*/ 6154 h 10000"/>
              <a:gd name="connsiteX155" fmla="*/ 5184 w 9739"/>
              <a:gd name="connsiteY155" fmla="*/ 6103 h 10000"/>
              <a:gd name="connsiteX156" fmla="*/ 5202 w 9739"/>
              <a:gd name="connsiteY156" fmla="*/ 6038 h 10000"/>
              <a:gd name="connsiteX157" fmla="*/ 5152 w 9739"/>
              <a:gd name="connsiteY157" fmla="*/ 5977 h 10000"/>
              <a:gd name="connsiteX158" fmla="*/ 5122 w 9739"/>
              <a:gd name="connsiteY158" fmla="*/ 5533 h 10000"/>
              <a:gd name="connsiteX159" fmla="*/ 5194 w 9739"/>
              <a:gd name="connsiteY159" fmla="*/ 5437 h 10000"/>
              <a:gd name="connsiteX160" fmla="*/ 5175 w 9739"/>
              <a:gd name="connsiteY160" fmla="*/ 5398 h 10000"/>
              <a:gd name="connsiteX161" fmla="*/ 5384 w 9739"/>
              <a:gd name="connsiteY161" fmla="*/ 5455 h 10000"/>
              <a:gd name="connsiteX162" fmla="*/ 5397 w 9739"/>
              <a:gd name="connsiteY162" fmla="*/ 5402 h 10000"/>
              <a:gd name="connsiteX163" fmla="*/ 5353 w 9739"/>
              <a:gd name="connsiteY163" fmla="*/ 5264 h 10000"/>
              <a:gd name="connsiteX164" fmla="*/ 5502 w 9739"/>
              <a:gd name="connsiteY164" fmla="*/ 5019 h 10000"/>
              <a:gd name="connsiteX165" fmla="*/ 5410 w 9739"/>
              <a:gd name="connsiteY165" fmla="*/ 4960 h 10000"/>
              <a:gd name="connsiteX166" fmla="*/ 5375 w 9739"/>
              <a:gd name="connsiteY166" fmla="*/ 4905 h 10000"/>
              <a:gd name="connsiteX167" fmla="*/ 5388 w 9739"/>
              <a:gd name="connsiteY167" fmla="*/ 4816 h 10000"/>
              <a:gd name="connsiteX168" fmla="*/ 5606 w 9739"/>
              <a:gd name="connsiteY168" fmla="*/ 4875 h 10000"/>
              <a:gd name="connsiteX169" fmla="*/ 5614 w 9739"/>
              <a:gd name="connsiteY169" fmla="*/ 4858 h 10000"/>
              <a:gd name="connsiteX170" fmla="*/ 5675 w 9739"/>
              <a:gd name="connsiteY170" fmla="*/ 4842 h 10000"/>
              <a:gd name="connsiteX171" fmla="*/ 5760 w 9739"/>
              <a:gd name="connsiteY171" fmla="*/ 4785 h 10000"/>
              <a:gd name="connsiteX172" fmla="*/ 5773 w 9739"/>
              <a:gd name="connsiteY172" fmla="*/ 4769 h 10000"/>
              <a:gd name="connsiteX173" fmla="*/ 5756 w 9739"/>
              <a:gd name="connsiteY173" fmla="*/ 4748 h 10000"/>
              <a:gd name="connsiteX174" fmla="*/ 5799 w 9739"/>
              <a:gd name="connsiteY174" fmla="*/ 4647 h 10000"/>
              <a:gd name="connsiteX175" fmla="*/ 5747 w 9739"/>
              <a:gd name="connsiteY175" fmla="*/ 4581 h 10000"/>
              <a:gd name="connsiteX176" fmla="*/ 5756 w 9739"/>
              <a:gd name="connsiteY176" fmla="*/ 4528 h 10000"/>
              <a:gd name="connsiteX177" fmla="*/ 5786 w 9739"/>
              <a:gd name="connsiteY177" fmla="*/ 4590 h 10000"/>
              <a:gd name="connsiteX178" fmla="*/ 5906 w 9739"/>
              <a:gd name="connsiteY178" fmla="*/ 4636 h 10000"/>
              <a:gd name="connsiteX179" fmla="*/ 5956 w 9739"/>
              <a:gd name="connsiteY179" fmla="*/ 4630 h 10000"/>
              <a:gd name="connsiteX180" fmla="*/ 6034 w 9739"/>
              <a:gd name="connsiteY180" fmla="*/ 4569 h 10000"/>
              <a:gd name="connsiteX181" fmla="*/ 6119 w 9739"/>
              <a:gd name="connsiteY181" fmla="*/ 4594 h 10000"/>
              <a:gd name="connsiteX182" fmla="*/ 6142 w 9739"/>
              <a:gd name="connsiteY182" fmla="*/ 4545 h 10000"/>
              <a:gd name="connsiteX183" fmla="*/ 6199 w 9739"/>
              <a:gd name="connsiteY183" fmla="*/ 4512 h 10000"/>
              <a:gd name="connsiteX184" fmla="*/ 6043 w 9739"/>
              <a:gd name="connsiteY184" fmla="*/ 4477 h 10000"/>
              <a:gd name="connsiteX185" fmla="*/ 6155 w 9739"/>
              <a:gd name="connsiteY185" fmla="*/ 4484 h 10000"/>
              <a:gd name="connsiteX186" fmla="*/ 6269 w 9739"/>
              <a:gd name="connsiteY186" fmla="*/ 4447 h 10000"/>
              <a:gd name="connsiteX187" fmla="*/ 6265 w 9739"/>
              <a:gd name="connsiteY187" fmla="*/ 4422 h 10000"/>
              <a:gd name="connsiteX188" fmla="*/ 6372 w 9739"/>
              <a:gd name="connsiteY188" fmla="*/ 4398 h 10000"/>
              <a:gd name="connsiteX189" fmla="*/ 6381 w 9739"/>
              <a:gd name="connsiteY189" fmla="*/ 4337 h 10000"/>
              <a:gd name="connsiteX190" fmla="*/ 6465 w 9739"/>
              <a:gd name="connsiteY190" fmla="*/ 4325 h 10000"/>
              <a:gd name="connsiteX191" fmla="*/ 6473 w 9739"/>
              <a:gd name="connsiteY191" fmla="*/ 4253 h 10000"/>
              <a:gd name="connsiteX192" fmla="*/ 6561 w 9739"/>
              <a:gd name="connsiteY192" fmla="*/ 4245 h 10000"/>
              <a:gd name="connsiteX193" fmla="*/ 6699 w 9739"/>
              <a:gd name="connsiteY193" fmla="*/ 4260 h 10000"/>
              <a:gd name="connsiteX194" fmla="*/ 6849 w 9739"/>
              <a:gd name="connsiteY194" fmla="*/ 4202 h 10000"/>
              <a:gd name="connsiteX195" fmla="*/ 6903 w 9739"/>
              <a:gd name="connsiteY195" fmla="*/ 4137 h 10000"/>
              <a:gd name="connsiteX196" fmla="*/ 7089 w 9739"/>
              <a:gd name="connsiteY196" fmla="*/ 4070 h 10000"/>
              <a:gd name="connsiteX197" fmla="*/ 7182 w 9739"/>
              <a:gd name="connsiteY197" fmla="*/ 4111 h 10000"/>
              <a:gd name="connsiteX198" fmla="*/ 7324 w 9739"/>
              <a:gd name="connsiteY198" fmla="*/ 4066 h 10000"/>
              <a:gd name="connsiteX199" fmla="*/ 7359 w 9739"/>
              <a:gd name="connsiteY199" fmla="*/ 4009 h 10000"/>
              <a:gd name="connsiteX200" fmla="*/ 7466 w 9739"/>
              <a:gd name="connsiteY200" fmla="*/ 3970 h 10000"/>
              <a:gd name="connsiteX201" fmla="*/ 7558 w 9739"/>
              <a:gd name="connsiteY201" fmla="*/ 3987 h 10000"/>
              <a:gd name="connsiteX202" fmla="*/ 7616 w 9739"/>
              <a:gd name="connsiteY202" fmla="*/ 3958 h 10000"/>
              <a:gd name="connsiteX203" fmla="*/ 7776 w 9739"/>
              <a:gd name="connsiteY203" fmla="*/ 3917 h 10000"/>
              <a:gd name="connsiteX204" fmla="*/ 7842 w 9739"/>
              <a:gd name="connsiteY204" fmla="*/ 3864 h 10000"/>
              <a:gd name="connsiteX205" fmla="*/ 7931 w 9739"/>
              <a:gd name="connsiteY205" fmla="*/ 3842 h 10000"/>
              <a:gd name="connsiteX206" fmla="*/ 8423 w 9739"/>
              <a:gd name="connsiteY206" fmla="*/ 3522 h 10000"/>
              <a:gd name="connsiteX207" fmla="*/ 9722 w 9739"/>
              <a:gd name="connsiteY207" fmla="*/ 1465 h 10000"/>
              <a:gd name="connsiteX208" fmla="*/ 9676 w 9739"/>
              <a:gd name="connsiteY208" fmla="*/ 1379 h 10000"/>
              <a:gd name="connsiteX209" fmla="*/ 9739 w 9739"/>
              <a:gd name="connsiteY209" fmla="*/ 1271 h 10000"/>
              <a:gd name="connsiteX210" fmla="*/ 9709 w 9739"/>
              <a:gd name="connsiteY210" fmla="*/ 1194 h 10000"/>
              <a:gd name="connsiteX211" fmla="*/ 9650 w 9739"/>
              <a:gd name="connsiteY211" fmla="*/ 1159 h 10000"/>
              <a:gd name="connsiteX212" fmla="*/ 9601 w 9739"/>
              <a:gd name="connsiteY212" fmla="*/ 978 h 10000"/>
              <a:gd name="connsiteX213" fmla="*/ 9659 w 9739"/>
              <a:gd name="connsiteY213" fmla="*/ 831 h 10000"/>
              <a:gd name="connsiteX214" fmla="*/ 9234 w 9739"/>
              <a:gd name="connsiteY214" fmla="*/ 517 h 10000"/>
              <a:gd name="connsiteX215" fmla="*/ 9025 w 9739"/>
              <a:gd name="connsiteY215" fmla="*/ 440 h 10000"/>
              <a:gd name="connsiteX216" fmla="*/ 8639 w 9739"/>
              <a:gd name="connsiteY216" fmla="*/ 389 h 10000"/>
              <a:gd name="connsiteX217" fmla="*/ 7842 w 9739"/>
              <a:gd name="connsiteY217" fmla="*/ 26 h 10000"/>
              <a:gd name="connsiteX218" fmla="*/ 7816 w 9739"/>
              <a:gd name="connsiteY218" fmla="*/ 2 h 10000"/>
              <a:gd name="connsiteX219" fmla="*/ 7545 w 9739"/>
              <a:gd name="connsiteY219" fmla="*/ 0 h 10000"/>
              <a:gd name="connsiteX220" fmla="*/ 7483 w 9739"/>
              <a:gd name="connsiteY220" fmla="*/ 14 h 10000"/>
              <a:gd name="connsiteX221" fmla="*/ 7497 w 9739"/>
              <a:gd name="connsiteY221" fmla="*/ 61 h 10000"/>
              <a:gd name="connsiteX222" fmla="*/ 7550 w 9739"/>
              <a:gd name="connsiteY222" fmla="*/ 86 h 10000"/>
              <a:gd name="connsiteX223" fmla="*/ 7564 w 9739"/>
              <a:gd name="connsiteY223" fmla="*/ 139 h 10000"/>
              <a:gd name="connsiteX224" fmla="*/ 7545 w 9739"/>
              <a:gd name="connsiteY224" fmla="*/ 181 h 10000"/>
              <a:gd name="connsiteX225" fmla="*/ 7497 w 9739"/>
              <a:gd name="connsiteY225" fmla="*/ 208 h 10000"/>
              <a:gd name="connsiteX226" fmla="*/ 7461 w 9739"/>
              <a:gd name="connsiteY226" fmla="*/ 283 h 10000"/>
              <a:gd name="connsiteX227" fmla="*/ 7395 w 9739"/>
              <a:gd name="connsiteY227" fmla="*/ 336 h 10000"/>
              <a:gd name="connsiteX228" fmla="*/ 7408 w 9739"/>
              <a:gd name="connsiteY228" fmla="*/ 387 h 10000"/>
              <a:gd name="connsiteX229" fmla="*/ 7510 w 9739"/>
              <a:gd name="connsiteY229" fmla="*/ 434 h 10000"/>
              <a:gd name="connsiteX230" fmla="*/ 7444 w 9739"/>
              <a:gd name="connsiteY230" fmla="*/ 475 h 10000"/>
              <a:gd name="connsiteX231" fmla="*/ 7346 w 9739"/>
              <a:gd name="connsiteY231" fmla="*/ 485 h 10000"/>
              <a:gd name="connsiteX232" fmla="*/ 6531 w 9739"/>
              <a:gd name="connsiteY232" fmla="*/ 387 h 10000"/>
              <a:gd name="connsiteX233" fmla="*/ 6433 w 9739"/>
              <a:gd name="connsiteY233" fmla="*/ 395 h 10000"/>
              <a:gd name="connsiteX234" fmla="*/ 6376 w 9739"/>
              <a:gd name="connsiteY234" fmla="*/ 414 h 10000"/>
              <a:gd name="connsiteX235" fmla="*/ 6318 w 9739"/>
              <a:gd name="connsiteY235" fmla="*/ 462 h 10000"/>
              <a:gd name="connsiteX236" fmla="*/ 6328 w 9739"/>
              <a:gd name="connsiteY236" fmla="*/ 581 h 10000"/>
              <a:gd name="connsiteX237" fmla="*/ 6238 w 9739"/>
              <a:gd name="connsiteY237" fmla="*/ 735 h 10000"/>
              <a:gd name="connsiteX238" fmla="*/ 6128 w 9739"/>
              <a:gd name="connsiteY238" fmla="*/ 815 h 10000"/>
              <a:gd name="connsiteX239" fmla="*/ 6084 w 9739"/>
              <a:gd name="connsiteY239" fmla="*/ 805 h 10000"/>
              <a:gd name="connsiteX240" fmla="*/ 5982 w 9739"/>
              <a:gd name="connsiteY240" fmla="*/ 739 h 10000"/>
              <a:gd name="connsiteX241" fmla="*/ 5853 w 9739"/>
              <a:gd name="connsiteY241" fmla="*/ 705 h 10000"/>
              <a:gd name="connsiteX242" fmla="*/ 5715 w 9739"/>
              <a:gd name="connsiteY242" fmla="*/ 715 h 10000"/>
              <a:gd name="connsiteX243" fmla="*/ 5393 w 9739"/>
              <a:gd name="connsiteY243" fmla="*/ 866 h 10000"/>
              <a:gd name="connsiteX244" fmla="*/ 5308 w 9739"/>
              <a:gd name="connsiteY244" fmla="*/ 1017 h 10000"/>
              <a:gd name="connsiteX245" fmla="*/ 5065 w 9739"/>
              <a:gd name="connsiteY245" fmla="*/ 1153 h 10000"/>
              <a:gd name="connsiteX246" fmla="*/ 5020 w 9739"/>
              <a:gd name="connsiteY246" fmla="*/ 1222 h 10000"/>
              <a:gd name="connsiteX247" fmla="*/ 5148 w 9739"/>
              <a:gd name="connsiteY247" fmla="*/ 1344 h 10000"/>
              <a:gd name="connsiteX248" fmla="*/ 5162 w 9739"/>
              <a:gd name="connsiteY248" fmla="*/ 1412 h 10000"/>
              <a:gd name="connsiteX249" fmla="*/ 4497 w 9739"/>
              <a:gd name="connsiteY249" fmla="*/ 1813 h 10000"/>
              <a:gd name="connsiteX250" fmla="*/ 4293 w 9739"/>
              <a:gd name="connsiteY250" fmla="*/ 2070 h 10000"/>
              <a:gd name="connsiteX251" fmla="*/ 4073 w 9739"/>
              <a:gd name="connsiteY251" fmla="*/ 2135 h 10000"/>
              <a:gd name="connsiteX252" fmla="*/ 3934 w 9739"/>
              <a:gd name="connsiteY252" fmla="*/ 2131 h 10000"/>
              <a:gd name="connsiteX253" fmla="*/ 3851 w 9739"/>
              <a:gd name="connsiteY253" fmla="*/ 2153 h 10000"/>
              <a:gd name="connsiteX254" fmla="*/ 3620 w 9739"/>
              <a:gd name="connsiteY254" fmla="*/ 2793 h 10000"/>
              <a:gd name="connsiteX255" fmla="*/ 3089 w 9739"/>
              <a:gd name="connsiteY255" fmla="*/ 3166 h 10000"/>
              <a:gd name="connsiteX256" fmla="*/ 3093 w 9739"/>
              <a:gd name="connsiteY256" fmla="*/ 3225 h 10000"/>
              <a:gd name="connsiteX257" fmla="*/ 3328 w 9739"/>
              <a:gd name="connsiteY257" fmla="*/ 3392 h 10000"/>
              <a:gd name="connsiteX258" fmla="*/ 3253 w 9739"/>
              <a:gd name="connsiteY258" fmla="*/ 3573 h 10000"/>
              <a:gd name="connsiteX259" fmla="*/ 3115 w 9739"/>
              <a:gd name="connsiteY259" fmla="*/ 3640 h 10000"/>
              <a:gd name="connsiteX260" fmla="*/ 2703 w 9739"/>
              <a:gd name="connsiteY260" fmla="*/ 3595 h 10000"/>
              <a:gd name="connsiteX261" fmla="*/ 2418 w 9739"/>
              <a:gd name="connsiteY261" fmla="*/ 3620 h 10000"/>
              <a:gd name="connsiteX262" fmla="*/ 2189 w 9739"/>
              <a:gd name="connsiteY262" fmla="*/ 3673 h 10000"/>
              <a:gd name="connsiteX263" fmla="*/ 1821 w 9739"/>
              <a:gd name="connsiteY263" fmla="*/ 3840 h 10000"/>
              <a:gd name="connsiteX264" fmla="*/ 1625 w 9739"/>
              <a:gd name="connsiteY264" fmla="*/ 4042 h 10000"/>
              <a:gd name="connsiteX265" fmla="*/ 1643 w 9739"/>
              <a:gd name="connsiteY265" fmla="*/ 4154 h 10000"/>
              <a:gd name="connsiteX266" fmla="*/ 1711 w 9739"/>
              <a:gd name="connsiteY266" fmla="*/ 4241 h 10000"/>
              <a:gd name="connsiteX267" fmla="*/ 1763 w 9739"/>
              <a:gd name="connsiteY267" fmla="*/ 4276 h 10000"/>
              <a:gd name="connsiteX268" fmla="*/ 1666 w 9739"/>
              <a:gd name="connsiteY268" fmla="*/ 4331 h 10000"/>
              <a:gd name="connsiteX269" fmla="*/ 1458 w 9739"/>
              <a:gd name="connsiteY269" fmla="*/ 4710 h 10000"/>
              <a:gd name="connsiteX270" fmla="*/ 1498 w 9739"/>
              <a:gd name="connsiteY270" fmla="*/ 4732 h 10000"/>
              <a:gd name="connsiteX271" fmla="*/ 1529 w 9739"/>
              <a:gd name="connsiteY271" fmla="*/ 4828 h 10000"/>
              <a:gd name="connsiteX272" fmla="*/ 1431 w 9739"/>
              <a:gd name="connsiteY272" fmla="*/ 5227 h 10000"/>
              <a:gd name="connsiteX273" fmla="*/ 1529 w 9739"/>
              <a:gd name="connsiteY273" fmla="*/ 5329 h 10000"/>
              <a:gd name="connsiteX274" fmla="*/ 1794 w 9739"/>
              <a:gd name="connsiteY274" fmla="*/ 5441 h 10000"/>
              <a:gd name="connsiteX275" fmla="*/ 1807 w 9739"/>
              <a:gd name="connsiteY275" fmla="*/ 5578 h 10000"/>
              <a:gd name="connsiteX276" fmla="*/ 1694 w 9739"/>
              <a:gd name="connsiteY276" fmla="*/ 5690 h 10000"/>
              <a:gd name="connsiteX277" fmla="*/ 1529 w 9739"/>
              <a:gd name="connsiteY277" fmla="*/ 5759 h 10000"/>
              <a:gd name="connsiteX278" fmla="*/ 1311 w 9739"/>
              <a:gd name="connsiteY278" fmla="*/ 5787 h 10000"/>
              <a:gd name="connsiteX279" fmla="*/ 1254 w 9739"/>
              <a:gd name="connsiteY279" fmla="*/ 5826 h 10000"/>
              <a:gd name="connsiteX280" fmla="*/ 1382 w 9739"/>
              <a:gd name="connsiteY280" fmla="*/ 5920 h 10000"/>
              <a:gd name="connsiteX281" fmla="*/ 1454 w 9739"/>
              <a:gd name="connsiteY281" fmla="*/ 6142 h 10000"/>
              <a:gd name="connsiteX282" fmla="*/ 1289 w 9739"/>
              <a:gd name="connsiteY282" fmla="*/ 6333 h 10000"/>
              <a:gd name="connsiteX283" fmla="*/ 1347 w 9739"/>
              <a:gd name="connsiteY283" fmla="*/ 6392 h 10000"/>
              <a:gd name="connsiteX284" fmla="*/ 1294 w 9739"/>
              <a:gd name="connsiteY284" fmla="*/ 6492 h 10000"/>
              <a:gd name="connsiteX285" fmla="*/ 1188 w 9739"/>
              <a:gd name="connsiteY285" fmla="*/ 6561 h 10000"/>
              <a:gd name="connsiteX286" fmla="*/ 771 w 9739"/>
              <a:gd name="connsiteY286" fmla="*/ 6614 h 10000"/>
              <a:gd name="connsiteX287" fmla="*/ 745 w 9739"/>
              <a:gd name="connsiteY287" fmla="*/ 6706 h 10000"/>
              <a:gd name="connsiteX288" fmla="*/ 519 w 9739"/>
              <a:gd name="connsiteY288" fmla="*/ 6843 h 10000"/>
              <a:gd name="connsiteX289" fmla="*/ 549 w 9739"/>
              <a:gd name="connsiteY289" fmla="*/ 7040 h 10000"/>
              <a:gd name="connsiteX290" fmla="*/ 359 w 9739"/>
              <a:gd name="connsiteY290" fmla="*/ 7293 h 10000"/>
              <a:gd name="connsiteX291" fmla="*/ 230 w 9739"/>
              <a:gd name="connsiteY291" fmla="*/ 7323 h 10000"/>
              <a:gd name="connsiteX292" fmla="*/ 177 w 9739"/>
              <a:gd name="connsiteY292" fmla="*/ 7262 h 10000"/>
              <a:gd name="connsiteX293" fmla="*/ 111 w 9739"/>
              <a:gd name="connsiteY293" fmla="*/ 7354 h 10000"/>
              <a:gd name="connsiteX294" fmla="*/ 155 w 9739"/>
              <a:gd name="connsiteY294" fmla="*/ 7197 h 10000"/>
              <a:gd name="connsiteX295" fmla="*/ 128 w 9739"/>
              <a:gd name="connsiteY295" fmla="*/ 7166 h 10000"/>
              <a:gd name="connsiteX0" fmla="*/ 131 w 10088"/>
              <a:gd name="connsiteY0" fmla="*/ 7166 h 10000"/>
              <a:gd name="connsiteX1" fmla="*/ 0 w 10088"/>
              <a:gd name="connsiteY1" fmla="*/ 7248 h 10000"/>
              <a:gd name="connsiteX2" fmla="*/ 0 w 10088"/>
              <a:gd name="connsiteY2" fmla="*/ 7651 h 10000"/>
              <a:gd name="connsiteX3" fmla="*/ 73 w 10088"/>
              <a:gd name="connsiteY3" fmla="*/ 7663 h 10000"/>
              <a:gd name="connsiteX4" fmla="*/ 90 w 10088"/>
              <a:gd name="connsiteY4" fmla="*/ 7694 h 10000"/>
              <a:gd name="connsiteX5" fmla="*/ 86 w 10088"/>
              <a:gd name="connsiteY5" fmla="*/ 7749 h 10000"/>
              <a:gd name="connsiteX6" fmla="*/ 59 w 10088"/>
              <a:gd name="connsiteY6" fmla="*/ 7773 h 10000"/>
              <a:gd name="connsiteX7" fmla="*/ 168 w 10088"/>
              <a:gd name="connsiteY7" fmla="*/ 7727 h 10000"/>
              <a:gd name="connsiteX8" fmla="*/ 215 w 10088"/>
              <a:gd name="connsiteY8" fmla="*/ 7680 h 10000"/>
              <a:gd name="connsiteX9" fmla="*/ 272 w 10088"/>
              <a:gd name="connsiteY9" fmla="*/ 7712 h 10000"/>
              <a:gd name="connsiteX10" fmla="*/ 209 w 10088"/>
              <a:gd name="connsiteY10" fmla="*/ 7778 h 10000"/>
              <a:gd name="connsiteX11" fmla="*/ 277 w 10088"/>
              <a:gd name="connsiteY11" fmla="*/ 7780 h 10000"/>
              <a:gd name="connsiteX12" fmla="*/ 309 w 10088"/>
              <a:gd name="connsiteY12" fmla="*/ 7796 h 10000"/>
              <a:gd name="connsiteX13" fmla="*/ 223 w 10088"/>
              <a:gd name="connsiteY13" fmla="*/ 7818 h 10000"/>
              <a:gd name="connsiteX14" fmla="*/ 86 w 10088"/>
              <a:gd name="connsiteY14" fmla="*/ 7886 h 10000"/>
              <a:gd name="connsiteX15" fmla="*/ 329 w 10088"/>
              <a:gd name="connsiteY15" fmla="*/ 7938 h 10000"/>
              <a:gd name="connsiteX16" fmla="*/ 359 w 10088"/>
              <a:gd name="connsiteY16" fmla="*/ 8014 h 10000"/>
              <a:gd name="connsiteX17" fmla="*/ 277 w 10088"/>
              <a:gd name="connsiteY17" fmla="*/ 8126 h 10000"/>
              <a:gd name="connsiteX18" fmla="*/ 456 w 10088"/>
              <a:gd name="connsiteY18" fmla="*/ 8118 h 10000"/>
              <a:gd name="connsiteX19" fmla="*/ 469 w 10088"/>
              <a:gd name="connsiteY19" fmla="*/ 8203 h 10000"/>
              <a:gd name="connsiteX20" fmla="*/ 350 w 10088"/>
              <a:gd name="connsiteY20" fmla="*/ 8260 h 10000"/>
              <a:gd name="connsiteX21" fmla="*/ 369 w 10088"/>
              <a:gd name="connsiteY21" fmla="*/ 8370 h 10000"/>
              <a:gd name="connsiteX22" fmla="*/ 323 w 10088"/>
              <a:gd name="connsiteY22" fmla="*/ 8456 h 10000"/>
              <a:gd name="connsiteX23" fmla="*/ 464 w 10088"/>
              <a:gd name="connsiteY23" fmla="*/ 8464 h 10000"/>
              <a:gd name="connsiteX24" fmla="*/ 601 w 10088"/>
              <a:gd name="connsiteY24" fmla="*/ 8792 h 10000"/>
              <a:gd name="connsiteX25" fmla="*/ 760 w 10088"/>
              <a:gd name="connsiteY25" fmla="*/ 8876 h 10000"/>
              <a:gd name="connsiteX26" fmla="*/ 828 w 10088"/>
              <a:gd name="connsiteY26" fmla="*/ 8965 h 10000"/>
              <a:gd name="connsiteX27" fmla="*/ 1001 w 10088"/>
              <a:gd name="connsiteY27" fmla="*/ 9030 h 10000"/>
              <a:gd name="connsiteX28" fmla="*/ 1111 w 10088"/>
              <a:gd name="connsiteY28" fmla="*/ 9112 h 10000"/>
              <a:gd name="connsiteX29" fmla="*/ 1097 w 10088"/>
              <a:gd name="connsiteY29" fmla="*/ 9171 h 10000"/>
              <a:gd name="connsiteX30" fmla="*/ 988 w 10088"/>
              <a:gd name="connsiteY30" fmla="*/ 9193 h 10000"/>
              <a:gd name="connsiteX31" fmla="*/ 869 w 10088"/>
              <a:gd name="connsiteY31" fmla="*/ 9179 h 10000"/>
              <a:gd name="connsiteX32" fmla="*/ 832 w 10088"/>
              <a:gd name="connsiteY32" fmla="*/ 9204 h 10000"/>
              <a:gd name="connsiteX33" fmla="*/ 923 w 10088"/>
              <a:gd name="connsiteY33" fmla="*/ 9332 h 10000"/>
              <a:gd name="connsiteX34" fmla="*/ 796 w 10088"/>
              <a:gd name="connsiteY34" fmla="*/ 9322 h 10000"/>
              <a:gd name="connsiteX35" fmla="*/ 687 w 10088"/>
              <a:gd name="connsiteY35" fmla="*/ 9291 h 10000"/>
              <a:gd name="connsiteX36" fmla="*/ 668 w 10088"/>
              <a:gd name="connsiteY36" fmla="*/ 9338 h 10000"/>
              <a:gd name="connsiteX37" fmla="*/ 1028 w 10088"/>
              <a:gd name="connsiteY37" fmla="*/ 9776 h 10000"/>
              <a:gd name="connsiteX38" fmla="*/ 970 w 10088"/>
              <a:gd name="connsiteY38" fmla="*/ 9817 h 10000"/>
              <a:gd name="connsiteX39" fmla="*/ 929 w 10088"/>
              <a:gd name="connsiteY39" fmla="*/ 9902 h 10000"/>
              <a:gd name="connsiteX40" fmla="*/ 878 w 10088"/>
              <a:gd name="connsiteY40" fmla="*/ 9908 h 10000"/>
              <a:gd name="connsiteX41" fmla="*/ 846 w 10088"/>
              <a:gd name="connsiteY41" fmla="*/ 9945 h 10000"/>
              <a:gd name="connsiteX42" fmla="*/ 1064 w 10088"/>
              <a:gd name="connsiteY42" fmla="*/ 9949 h 10000"/>
              <a:gd name="connsiteX43" fmla="*/ 1256 w 10088"/>
              <a:gd name="connsiteY43" fmla="*/ 9986 h 10000"/>
              <a:gd name="connsiteX44" fmla="*/ 1574 w 10088"/>
              <a:gd name="connsiteY44" fmla="*/ 9947 h 10000"/>
              <a:gd name="connsiteX45" fmla="*/ 1860 w 10088"/>
              <a:gd name="connsiteY45" fmla="*/ 9953 h 10000"/>
              <a:gd name="connsiteX46" fmla="*/ 2030 w 10088"/>
              <a:gd name="connsiteY46" fmla="*/ 10000 h 10000"/>
              <a:gd name="connsiteX47" fmla="*/ 2121 w 10088"/>
              <a:gd name="connsiteY47" fmla="*/ 9969 h 10000"/>
              <a:gd name="connsiteX48" fmla="*/ 2211 w 10088"/>
              <a:gd name="connsiteY48" fmla="*/ 9868 h 10000"/>
              <a:gd name="connsiteX49" fmla="*/ 2188 w 10088"/>
              <a:gd name="connsiteY49" fmla="*/ 9703 h 10000"/>
              <a:gd name="connsiteX50" fmla="*/ 2407 w 10088"/>
              <a:gd name="connsiteY50" fmla="*/ 9517 h 10000"/>
              <a:gd name="connsiteX51" fmla="*/ 2566 w 10088"/>
              <a:gd name="connsiteY51" fmla="*/ 9546 h 10000"/>
              <a:gd name="connsiteX52" fmla="*/ 2657 w 10088"/>
              <a:gd name="connsiteY52" fmla="*/ 9472 h 10000"/>
              <a:gd name="connsiteX53" fmla="*/ 2834 w 10088"/>
              <a:gd name="connsiteY53" fmla="*/ 9430 h 10000"/>
              <a:gd name="connsiteX54" fmla="*/ 3075 w 10088"/>
              <a:gd name="connsiteY54" fmla="*/ 9440 h 10000"/>
              <a:gd name="connsiteX55" fmla="*/ 3221 w 10088"/>
              <a:gd name="connsiteY55" fmla="*/ 9470 h 10000"/>
              <a:gd name="connsiteX56" fmla="*/ 3413 w 10088"/>
              <a:gd name="connsiteY56" fmla="*/ 9456 h 10000"/>
              <a:gd name="connsiteX57" fmla="*/ 3608 w 10088"/>
              <a:gd name="connsiteY57" fmla="*/ 9489 h 10000"/>
              <a:gd name="connsiteX58" fmla="*/ 3803 w 10088"/>
              <a:gd name="connsiteY58" fmla="*/ 9493 h 10000"/>
              <a:gd name="connsiteX59" fmla="*/ 4240 w 10088"/>
              <a:gd name="connsiteY59" fmla="*/ 9061 h 10000"/>
              <a:gd name="connsiteX60" fmla="*/ 4350 w 10088"/>
              <a:gd name="connsiteY60" fmla="*/ 8711 h 10000"/>
              <a:gd name="connsiteX61" fmla="*/ 4527 w 10088"/>
              <a:gd name="connsiteY61" fmla="*/ 8554 h 10000"/>
              <a:gd name="connsiteX62" fmla="*/ 4527 w 10088"/>
              <a:gd name="connsiteY62" fmla="*/ 8472 h 10000"/>
              <a:gd name="connsiteX63" fmla="*/ 4463 w 10088"/>
              <a:gd name="connsiteY63" fmla="*/ 8425 h 10000"/>
              <a:gd name="connsiteX64" fmla="*/ 4568 w 10088"/>
              <a:gd name="connsiteY64" fmla="*/ 8352 h 10000"/>
              <a:gd name="connsiteX65" fmla="*/ 4549 w 10088"/>
              <a:gd name="connsiteY65" fmla="*/ 8289 h 10000"/>
              <a:gd name="connsiteX66" fmla="*/ 4477 w 10088"/>
              <a:gd name="connsiteY66" fmla="*/ 8236 h 10000"/>
              <a:gd name="connsiteX67" fmla="*/ 4463 w 10088"/>
              <a:gd name="connsiteY67" fmla="*/ 8199 h 10000"/>
              <a:gd name="connsiteX68" fmla="*/ 4481 w 10088"/>
              <a:gd name="connsiteY68" fmla="*/ 8169 h 10000"/>
              <a:gd name="connsiteX69" fmla="*/ 4577 w 10088"/>
              <a:gd name="connsiteY69" fmla="*/ 8193 h 10000"/>
              <a:gd name="connsiteX70" fmla="*/ 4654 w 10088"/>
              <a:gd name="connsiteY70" fmla="*/ 8191 h 10000"/>
              <a:gd name="connsiteX71" fmla="*/ 4612 w 10088"/>
              <a:gd name="connsiteY71" fmla="*/ 8140 h 10000"/>
              <a:gd name="connsiteX72" fmla="*/ 4626 w 10088"/>
              <a:gd name="connsiteY72" fmla="*/ 8112 h 10000"/>
              <a:gd name="connsiteX73" fmla="*/ 4681 w 10088"/>
              <a:gd name="connsiteY73" fmla="*/ 8069 h 10000"/>
              <a:gd name="connsiteX74" fmla="*/ 4672 w 10088"/>
              <a:gd name="connsiteY74" fmla="*/ 8034 h 10000"/>
              <a:gd name="connsiteX75" fmla="*/ 4723 w 10088"/>
              <a:gd name="connsiteY75" fmla="*/ 7916 h 10000"/>
              <a:gd name="connsiteX76" fmla="*/ 4710 w 10088"/>
              <a:gd name="connsiteY76" fmla="*/ 7881 h 10000"/>
              <a:gd name="connsiteX77" fmla="*/ 4445 w 10088"/>
              <a:gd name="connsiteY77" fmla="*/ 7792 h 10000"/>
              <a:gd name="connsiteX78" fmla="*/ 4481 w 10088"/>
              <a:gd name="connsiteY78" fmla="*/ 7788 h 10000"/>
              <a:gd name="connsiteX79" fmla="*/ 4622 w 10088"/>
              <a:gd name="connsiteY79" fmla="*/ 7812 h 10000"/>
              <a:gd name="connsiteX80" fmla="*/ 4773 w 10088"/>
              <a:gd name="connsiteY80" fmla="*/ 7804 h 10000"/>
              <a:gd name="connsiteX81" fmla="*/ 4818 w 10088"/>
              <a:gd name="connsiteY81" fmla="*/ 7771 h 10000"/>
              <a:gd name="connsiteX82" fmla="*/ 4672 w 10088"/>
              <a:gd name="connsiteY82" fmla="*/ 7710 h 10000"/>
              <a:gd name="connsiteX83" fmla="*/ 4236 w 10088"/>
              <a:gd name="connsiteY83" fmla="*/ 7670 h 10000"/>
              <a:gd name="connsiteX84" fmla="*/ 4266 w 10088"/>
              <a:gd name="connsiteY84" fmla="*/ 7651 h 10000"/>
              <a:gd name="connsiteX85" fmla="*/ 4622 w 10088"/>
              <a:gd name="connsiteY85" fmla="*/ 7639 h 10000"/>
              <a:gd name="connsiteX86" fmla="*/ 4818 w 10088"/>
              <a:gd name="connsiteY86" fmla="*/ 7676 h 10000"/>
              <a:gd name="connsiteX87" fmla="*/ 4932 w 10088"/>
              <a:gd name="connsiteY87" fmla="*/ 7651 h 10000"/>
              <a:gd name="connsiteX88" fmla="*/ 4973 w 10088"/>
              <a:gd name="connsiteY88" fmla="*/ 7588 h 10000"/>
              <a:gd name="connsiteX89" fmla="*/ 5177 w 10088"/>
              <a:gd name="connsiteY89" fmla="*/ 7588 h 10000"/>
              <a:gd name="connsiteX90" fmla="*/ 5455 w 10088"/>
              <a:gd name="connsiteY90" fmla="*/ 7462 h 10000"/>
              <a:gd name="connsiteX91" fmla="*/ 5465 w 10088"/>
              <a:gd name="connsiteY91" fmla="*/ 7378 h 10000"/>
              <a:gd name="connsiteX92" fmla="*/ 5582 w 10088"/>
              <a:gd name="connsiteY92" fmla="*/ 7397 h 10000"/>
              <a:gd name="connsiteX93" fmla="*/ 5578 w 10088"/>
              <a:gd name="connsiteY93" fmla="*/ 7482 h 10000"/>
              <a:gd name="connsiteX94" fmla="*/ 5764 w 10088"/>
              <a:gd name="connsiteY94" fmla="*/ 7476 h 10000"/>
              <a:gd name="connsiteX95" fmla="*/ 5887 w 10088"/>
              <a:gd name="connsiteY95" fmla="*/ 7388 h 10000"/>
              <a:gd name="connsiteX96" fmla="*/ 6116 w 10088"/>
              <a:gd name="connsiteY96" fmla="*/ 7309 h 10000"/>
              <a:gd name="connsiteX97" fmla="*/ 6078 w 10088"/>
              <a:gd name="connsiteY97" fmla="*/ 7219 h 10000"/>
              <a:gd name="connsiteX98" fmla="*/ 6146 w 10088"/>
              <a:gd name="connsiteY98" fmla="*/ 7254 h 10000"/>
              <a:gd name="connsiteX99" fmla="*/ 6251 w 10088"/>
              <a:gd name="connsiteY99" fmla="*/ 7254 h 10000"/>
              <a:gd name="connsiteX100" fmla="*/ 6251 w 10088"/>
              <a:gd name="connsiteY100" fmla="*/ 7213 h 10000"/>
              <a:gd name="connsiteX101" fmla="*/ 6347 w 10088"/>
              <a:gd name="connsiteY101" fmla="*/ 7181 h 10000"/>
              <a:gd name="connsiteX102" fmla="*/ 6333 w 10088"/>
              <a:gd name="connsiteY102" fmla="*/ 7148 h 10000"/>
              <a:gd name="connsiteX103" fmla="*/ 5515 w 10088"/>
              <a:gd name="connsiteY103" fmla="*/ 7215 h 10000"/>
              <a:gd name="connsiteX104" fmla="*/ 5323 w 10088"/>
              <a:gd name="connsiteY104" fmla="*/ 7195 h 10000"/>
              <a:gd name="connsiteX105" fmla="*/ 5246 w 10088"/>
              <a:gd name="connsiteY105" fmla="*/ 7219 h 10000"/>
              <a:gd name="connsiteX106" fmla="*/ 5219 w 10088"/>
              <a:gd name="connsiteY106" fmla="*/ 7173 h 10000"/>
              <a:gd name="connsiteX107" fmla="*/ 5128 w 10088"/>
              <a:gd name="connsiteY107" fmla="*/ 7132 h 10000"/>
              <a:gd name="connsiteX108" fmla="*/ 4763 w 10088"/>
              <a:gd name="connsiteY108" fmla="*/ 7052 h 10000"/>
              <a:gd name="connsiteX109" fmla="*/ 4549 w 10088"/>
              <a:gd name="connsiteY109" fmla="*/ 7065 h 10000"/>
              <a:gd name="connsiteX110" fmla="*/ 4463 w 10088"/>
              <a:gd name="connsiteY110" fmla="*/ 7042 h 10000"/>
              <a:gd name="connsiteX111" fmla="*/ 4554 w 10088"/>
              <a:gd name="connsiteY111" fmla="*/ 7022 h 10000"/>
              <a:gd name="connsiteX112" fmla="*/ 4622 w 10088"/>
              <a:gd name="connsiteY112" fmla="*/ 6979 h 10000"/>
              <a:gd name="connsiteX113" fmla="*/ 4723 w 10088"/>
              <a:gd name="connsiteY113" fmla="*/ 6993 h 10000"/>
              <a:gd name="connsiteX114" fmla="*/ 4845 w 10088"/>
              <a:gd name="connsiteY114" fmla="*/ 6981 h 10000"/>
              <a:gd name="connsiteX115" fmla="*/ 5027 w 10088"/>
              <a:gd name="connsiteY115" fmla="*/ 6995 h 10000"/>
              <a:gd name="connsiteX116" fmla="*/ 5049 w 10088"/>
              <a:gd name="connsiteY116" fmla="*/ 6989 h 10000"/>
              <a:gd name="connsiteX117" fmla="*/ 5191 w 10088"/>
              <a:gd name="connsiteY117" fmla="*/ 7056 h 10000"/>
              <a:gd name="connsiteX118" fmla="*/ 5296 w 10088"/>
              <a:gd name="connsiteY118" fmla="*/ 7032 h 10000"/>
              <a:gd name="connsiteX119" fmla="*/ 5304 w 10088"/>
              <a:gd name="connsiteY119" fmla="*/ 7010 h 10000"/>
              <a:gd name="connsiteX120" fmla="*/ 5400 w 10088"/>
              <a:gd name="connsiteY120" fmla="*/ 7048 h 10000"/>
              <a:gd name="connsiteX121" fmla="*/ 5528 w 10088"/>
              <a:gd name="connsiteY121" fmla="*/ 7069 h 10000"/>
              <a:gd name="connsiteX122" fmla="*/ 5578 w 10088"/>
              <a:gd name="connsiteY122" fmla="*/ 7030 h 10000"/>
              <a:gd name="connsiteX123" fmla="*/ 5619 w 10088"/>
              <a:gd name="connsiteY123" fmla="*/ 7052 h 10000"/>
              <a:gd name="connsiteX124" fmla="*/ 5677 w 10088"/>
              <a:gd name="connsiteY124" fmla="*/ 7126 h 10000"/>
              <a:gd name="connsiteX125" fmla="*/ 5800 w 10088"/>
              <a:gd name="connsiteY125" fmla="*/ 7144 h 10000"/>
              <a:gd name="connsiteX126" fmla="*/ 6301 w 10088"/>
              <a:gd name="connsiteY126" fmla="*/ 7034 h 10000"/>
              <a:gd name="connsiteX127" fmla="*/ 6547 w 10088"/>
              <a:gd name="connsiteY127" fmla="*/ 6879 h 10000"/>
              <a:gd name="connsiteX128" fmla="*/ 6605 w 10088"/>
              <a:gd name="connsiteY128" fmla="*/ 6765 h 10000"/>
              <a:gd name="connsiteX129" fmla="*/ 6516 w 10088"/>
              <a:gd name="connsiteY129" fmla="*/ 6663 h 10000"/>
              <a:gd name="connsiteX130" fmla="*/ 6328 w 10088"/>
              <a:gd name="connsiteY130" fmla="*/ 6602 h 10000"/>
              <a:gd name="connsiteX131" fmla="*/ 6196 w 10088"/>
              <a:gd name="connsiteY131" fmla="*/ 6502 h 10000"/>
              <a:gd name="connsiteX132" fmla="*/ 6320 w 10088"/>
              <a:gd name="connsiteY132" fmla="*/ 6498 h 10000"/>
              <a:gd name="connsiteX133" fmla="*/ 6311 w 10088"/>
              <a:gd name="connsiteY133" fmla="*/ 6474 h 10000"/>
              <a:gd name="connsiteX134" fmla="*/ 5988 w 10088"/>
              <a:gd name="connsiteY134" fmla="*/ 6403 h 10000"/>
              <a:gd name="connsiteX135" fmla="*/ 5975 w 10088"/>
              <a:gd name="connsiteY135" fmla="*/ 6339 h 10000"/>
              <a:gd name="connsiteX136" fmla="*/ 5914 w 10088"/>
              <a:gd name="connsiteY136" fmla="*/ 6272 h 10000"/>
              <a:gd name="connsiteX137" fmla="*/ 5659 w 10088"/>
              <a:gd name="connsiteY137" fmla="*/ 6284 h 10000"/>
              <a:gd name="connsiteX138" fmla="*/ 5568 w 10088"/>
              <a:gd name="connsiteY138" fmla="*/ 6213 h 10000"/>
              <a:gd name="connsiteX139" fmla="*/ 5515 w 10088"/>
              <a:gd name="connsiteY139" fmla="*/ 6209 h 10000"/>
              <a:gd name="connsiteX140" fmla="*/ 5515 w 10088"/>
              <a:gd name="connsiteY140" fmla="*/ 6238 h 10000"/>
              <a:gd name="connsiteX141" fmla="*/ 5400 w 10088"/>
              <a:gd name="connsiteY141" fmla="*/ 6358 h 10000"/>
              <a:gd name="connsiteX142" fmla="*/ 5277 w 10088"/>
              <a:gd name="connsiteY142" fmla="*/ 6429 h 10000"/>
              <a:gd name="connsiteX143" fmla="*/ 4890 w 10088"/>
              <a:gd name="connsiteY143" fmla="*/ 6551 h 10000"/>
              <a:gd name="connsiteX144" fmla="*/ 4754 w 10088"/>
              <a:gd name="connsiteY144" fmla="*/ 6547 h 10000"/>
              <a:gd name="connsiteX145" fmla="*/ 4568 w 10088"/>
              <a:gd name="connsiteY145" fmla="*/ 6565 h 10000"/>
              <a:gd name="connsiteX146" fmla="*/ 4463 w 10088"/>
              <a:gd name="connsiteY146" fmla="*/ 6547 h 10000"/>
              <a:gd name="connsiteX147" fmla="*/ 4599 w 10088"/>
              <a:gd name="connsiteY147" fmla="*/ 6513 h 10000"/>
              <a:gd name="connsiteX148" fmla="*/ 4777 w 10088"/>
              <a:gd name="connsiteY148" fmla="*/ 6498 h 10000"/>
              <a:gd name="connsiteX149" fmla="*/ 4924 w 10088"/>
              <a:gd name="connsiteY149" fmla="*/ 6441 h 10000"/>
              <a:gd name="connsiteX150" fmla="*/ 5067 w 10088"/>
              <a:gd name="connsiteY150" fmla="*/ 6415 h 10000"/>
              <a:gd name="connsiteX151" fmla="*/ 5337 w 10088"/>
              <a:gd name="connsiteY151" fmla="*/ 6317 h 10000"/>
              <a:gd name="connsiteX152" fmla="*/ 5387 w 10088"/>
              <a:gd name="connsiteY152" fmla="*/ 6252 h 10000"/>
              <a:gd name="connsiteX153" fmla="*/ 5391 w 10088"/>
              <a:gd name="connsiteY153" fmla="*/ 6168 h 10000"/>
              <a:gd name="connsiteX154" fmla="*/ 5269 w 10088"/>
              <a:gd name="connsiteY154" fmla="*/ 6154 h 10000"/>
              <a:gd name="connsiteX155" fmla="*/ 5323 w 10088"/>
              <a:gd name="connsiteY155" fmla="*/ 6103 h 10000"/>
              <a:gd name="connsiteX156" fmla="*/ 5341 w 10088"/>
              <a:gd name="connsiteY156" fmla="*/ 6038 h 10000"/>
              <a:gd name="connsiteX157" fmla="*/ 5290 w 10088"/>
              <a:gd name="connsiteY157" fmla="*/ 5977 h 10000"/>
              <a:gd name="connsiteX158" fmla="*/ 5259 w 10088"/>
              <a:gd name="connsiteY158" fmla="*/ 5533 h 10000"/>
              <a:gd name="connsiteX159" fmla="*/ 5333 w 10088"/>
              <a:gd name="connsiteY159" fmla="*/ 5437 h 10000"/>
              <a:gd name="connsiteX160" fmla="*/ 5314 w 10088"/>
              <a:gd name="connsiteY160" fmla="*/ 5398 h 10000"/>
              <a:gd name="connsiteX161" fmla="*/ 5528 w 10088"/>
              <a:gd name="connsiteY161" fmla="*/ 5455 h 10000"/>
              <a:gd name="connsiteX162" fmla="*/ 5542 w 10088"/>
              <a:gd name="connsiteY162" fmla="*/ 5402 h 10000"/>
              <a:gd name="connsiteX163" fmla="*/ 5496 w 10088"/>
              <a:gd name="connsiteY163" fmla="*/ 5264 h 10000"/>
              <a:gd name="connsiteX164" fmla="*/ 5649 w 10088"/>
              <a:gd name="connsiteY164" fmla="*/ 5019 h 10000"/>
              <a:gd name="connsiteX165" fmla="*/ 5555 w 10088"/>
              <a:gd name="connsiteY165" fmla="*/ 4960 h 10000"/>
              <a:gd name="connsiteX166" fmla="*/ 5519 w 10088"/>
              <a:gd name="connsiteY166" fmla="*/ 4905 h 10000"/>
              <a:gd name="connsiteX167" fmla="*/ 5532 w 10088"/>
              <a:gd name="connsiteY167" fmla="*/ 4816 h 10000"/>
              <a:gd name="connsiteX168" fmla="*/ 5756 w 10088"/>
              <a:gd name="connsiteY168" fmla="*/ 4875 h 10000"/>
              <a:gd name="connsiteX169" fmla="*/ 5764 w 10088"/>
              <a:gd name="connsiteY169" fmla="*/ 4858 h 10000"/>
              <a:gd name="connsiteX170" fmla="*/ 5827 w 10088"/>
              <a:gd name="connsiteY170" fmla="*/ 4842 h 10000"/>
              <a:gd name="connsiteX171" fmla="*/ 5914 w 10088"/>
              <a:gd name="connsiteY171" fmla="*/ 4785 h 10000"/>
              <a:gd name="connsiteX172" fmla="*/ 5928 w 10088"/>
              <a:gd name="connsiteY172" fmla="*/ 4769 h 10000"/>
              <a:gd name="connsiteX173" fmla="*/ 5910 w 10088"/>
              <a:gd name="connsiteY173" fmla="*/ 4748 h 10000"/>
              <a:gd name="connsiteX174" fmla="*/ 5954 w 10088"/>
              <a:gd name="connsiteY174" fmla="*/ 4647 h 10000"/>
              <a:gd name="connsiteX175" fmla="*/ 5901 w 10088"/>
              <a:gd name="connsiteY175" fmla="*/ 4581 h 10000"/>
              <a:gd name="connsiteX176" fmla="*/ 5910 w 10088"/>
              <a:gd name="connsiteY176" fmla="*/ 4528 h 10000"/>
              <a:gd name="connsiteX177" fmla="*/ 5941 w 10088"/>
              <a:gd name="connsiteY177" fmla="*/ 4590 h 10000"/>
              <a:gd name="connsiteX178" fmla="*/ 6064 w 10088"/>
              <a:gd name="connsiteY178" fmla="*/ 4636 h 10000"/>
              <a:gd name="connsiteX179" fmla="*/ 6116 w 10088"/>
              <a:gd name="connsiteY179" fmla="*/ 4630 h 10000"/>
              <a:gd name="connsiteX180" fmla="*/ 6196 w 10088"/>
              <a:gd name="connsiteY180" fmla="*/ 4569 h 10000"/>
              <a:gd name="connsiteX181" fmla="*/ 6283 w 10088"/>
              <a:gd name="connsiteY181" fmla="*/ 4594 h 10000"/>
              <a:gd name="connsiteX182" fmla="*/ 6307 w 10088"/>
              <a:gd name="connsiteY182" fmla="*/ 4545 h 10000"/>
              <a:gd name="connsiteX183" fmla="*/ 6365 w 10088"/>
              <a:gd name="connsiteY183" fmla="*/ 4512 h 10000"/>
              <a:gd name="connsiteX184" fmla="*/ 6205 w 10088"/>
              <a:gd name="connsiteY184" fmla="*/ 4477 h 10000"/>
              <a:gd name="connsiteX185" fmla="*/ 6320 w 10088"/>
              <a:gd name="connsiteY185" fmla="*/ 4484 h 10000"/>
              <a:gd name="connsiteX186" fmla="*/ 6437 w 10088"/>
              <a:gd name="connsiteY186" fmla="*/ 4447 h 10000"/>
              <a:gd name="connsiteX187" fmla="*/ 6433 w 10088"/>
              <a:gd name="connsiteY187" fmla="*/ 4422 h 10000"/>
              <a:gd name="connsiteX188" fmla="*/ 6543 w 10088"/>
              <a:gd name="connsiteY188" fmla="*/ 4398 h 10000"/>
              <a:gd name="connsiteX189" fmla="*/ 6552 w 10088"/>
              <a:gd name="connsiteY189" fmla="*/ 4337 h 10000"/>
              <a:gd name="connsiteX190" fmla="*/ 6638 w 10088"/>
              <a:gd name="connsiteY190" fmla="*/ 4325 h 10000"/>
              <a:gd name="connsiteX191" fmla="*/ 6646 w 10088"/>
              <a:gd name="connsiteY191" fmla="*/ 4253 h 10000"/>
              <a:gd name="connsiteX192" fmla="*/ 6737 w 10088"/>
              <a:gd name="connsiteY192" fmla="*/ 4245 h 10000"/>
              <a:gd name="connsiteX193" fmla="*/ 6879 w 10088"/>
              <a:gd name="connsiteY193" fmla="*/ 4260 h 10000"/>
              <a:gd name="connsiteX194" fmla="*/ 7033 w 10088"/>
              <a:gd name="connsiteY194" fmla="*/ 4202 h 10000"/>
              <a:gd name="connsiteX195" fmla="*/ 7088 w 10088"/>
              <a:gd name="connsiteY195" fmla="*/ 4137 h 10000"/>
              <a:gd name="connsiteX196" fmla="*/ 7279 w 10088"/>
              <a:gd name="connsiteY196" fmla="*/ 4070 h 10000"/>
              <a:gd name="connsiteX197" fmla="*/ 7374 w 10088"/>
              <a:gd name="connsiteY197" fmla="*/ 4111 h 10000"/>
              <a:gd name="connsiteX198" fmla="*/ 7520 w 10088"/>
              <a:gd name="connsiteY198" fmla="*/ 4066 h 10000"/>
              <a:gd name="connsiteX199" fmla="*/ 7556 w 10088"/>
              <a:gd name="connsiteY199" fmla="*/ 4009 h 10000"/>
              <a:gd name="connsiteX200" fmla="*/ 7666 w 10088"/>
              <a:gd name="connsiteY200" fmla="*/ 3970 h 10000"/>
              <a:gd name="connsiteX201" fmla="*/ 7761 w 10088"/>
              <a:gd name="connsiteY201" fmla="*/ 3987 h 10000"/>
              <a:gd name="connsiteX202" fmla="*/ 7820 w 10088"/>
              <a:gd name="connsiteY202" fmla="*/ 3958 h 10000"/>
              <a:gd name="connsiteX203" fmla="*/ 7984 w 10088"/>
              <a:gd name="connsiteY203" fmla="*/ 3917 h 10000"/>
              <a:gd name="connsiteX204" fmla="*/ 8052 w 10088"/>
              <a:gd name="connsiteY204" fmla="*/ 3864 h 10000"/>
              <a:gd name="connsiteX205" fmla="*/ 8144 w 10088"/>
              <a:gd name="connsiteY205" fmla="*/ 3842 h 10000"/>
              <a:gd name="connsiteX206" fmla="*/ 8649 w 10088"/>
              <a:gd name="connsiteY206" fmla="*/ 3522 h 10000"/>
              <a:gd name="connsiteX207" fmla="*/ 9983 w 10088"/>
              <a:gd name="connsiteY207" fmla="*/ 1465 h 10000"/>
              <a:gd name="connsiteX208" fmla="*/ 10000 w 10088"/>
              <a:gd name="connsiteY208" fmla="*/ 1271 h 10000"/>
              <a:gd name="connsiteX209" fmla="*/ 9969 w 10088"/>
              <a:gd name="connsiteY209" fmla="*/ 1194 h 10000"/>
              <a:gd name="connsiteX210" fmla="*/ 9909 w 10088"/>
              <a:gd name="connsiteY210" fmla="*/ 1159 h 10000"/>
              <a:gd name="connsiteX211" fmla="*/ 9858 w 10088"/>
              <a:gd name="connsiteY211" fmla="*/ 978 h 10000"/>
              <a:gd name="connsiteX212" fmla="*/ 9918 w 10088"/>
              <a:gd name="connsiteY212" fmla="*/ 831 h 10000"/>
              <a:gd name="connsiteX213" fmla="*/ 9481 w 10088"/>
              <a:gd name="connsiteY213" fmla="*/ 517 h 10000"/>
              <a:gd name="connsiteX214" fmla="*/ 9267 w 10088"/>
              <a:gd name="connsiteY214" fmla="*/ 440 h 10000"/>
              <a:gd name="connsiteX215" fmla="*/ 8871 w 10088"/>
              <a:gd name="connsiteY215" fmla="*/ 389 h 10000"/>
              <a:gd name="connsiteX216" fmla="*/ 8052 w 10088"/>
              <a:gd name="connsiteY216" fmla="*/ 26 h 10000"/>
              <a:gd name="connsiteX217" fmla="*/ 8025 w 10088"/>
              <a:gd name="connsiteY217" fmla="*/ 2 h 10000"/>
              <a:gd name="connsiteX218" fmla="*/ 7747 w 10088"/>
              <a:gd name="connsiteY218" fmla="*/ 0 h 10000"/>
              <a:gd name="connsiteX219" fmla="*/ 7684 w 10088"/>
              <a:gd name="connsiteY219" fmla="*/ 14 h 10000"/>
              <a:gd name="connsiteX220" fmla="*/ 7698 w 10088"/>
              <a:gd name="connsiteY220" fmla="*/ 61 h 10000"/>
              <a:gd name="connsiteX221" fmla="*/ 7752 w 10088"/>
              <a:gd name="connsiteY221" fmla="*/ 86 h 10000"/>
              <a:gd name="connsiteX222" fmla="*/ 7767 w 10088"/>
              <a:gd name="connsiteY222" fmla="*/ 139 h 10000"/>
              <a:gd name="connsiteX223" fmla="*/ 7747 w 10088"/>
              <a:gd name="connsiteY223" fmla="*/ 181 h 10000"/>
              <a:gd name="connsiteX224" fmla="*/ 7698 w 10088"/>
              <a:gd name="connsiteY224" fmla="*/ 208 h 10000"/>
              <a:gd name="connsiteX225" fmla="*/ 7661 w 10088"/>
              <a:gd name="connsiteY225" fmla="*/ 283 h 10000"/>
              <a:gd name="connsiteX226" fmla="*/ 7593 w 10088"/>
              <a:gd name="connsiteY226" fmla="*/ 336 h 10000"/>
              <a:gd name="connsiteX227" fmla="*/ 7607 w 10088"/>
              <a:gd name="connsiteY227" fmla="*/ 387 h 10000"/>
              <a:gd name="connsiteX228" fmla="*/ 7711 w 10088"/>
              <a:gd name="connsiteY228" fmla="*/ 434 h 10000"/>
              <a:gd name="connsiteX229" fmla="*/ 7643 w 10088"/>
              <a:gd name="connsiteY229" fmla="*/ 475 h 10000"/>
              <a:gd name="connsiteX230" fmla="*/ 7543 w 10088"/>
              <a:gd name="connsiteY230" fmla="*/ 485 h 10000"/>
              <a:gd name="connsiteX231" fmla="*/ 6706 w 10088"/>
              <a:gd name="connsiteY231" fmla="*/ 387 h 10000"/>
              <a:gd name="connsiteX232" fmla="*/ 6605 w 10088"/>
              <a:gd name="connsiteY232" fmla="*/ 395 h 10000"/>
              <a:gd name="connsiteX233" fmla="*/ 6547 w 10088"/>
              <a:gd name="connsiteY233" fmla="*/ 414 h 10000"/>
              <a:gd name="connsiteX234" fmla="*/ 6487 w 10088"/>
              <a:gd name="connsiteY234" fmla="*/ 462 h 10000"/>
              <a:gd name="connsiteX235" fmla="*/ 6498 w 10088"/>
              <a:gd name="connsiteY235" fmla="*/ 581 h 10000"/>
              <a:gd name="connsiteX236" fmla="*/ 6405 w 10088"/>
              <a:gd name="connsiteY236" fmla="*/ 735 h 10000"/>
              <a:gd name="connsiteX237" fmla="*/ 6292 w 10088"/>
              <a:gd name="connsiteY237" fmla="*/ 815 h 10000"/>
              <a:gd name="connsiteX238" fmla="*/ 6247 w 10088"/>
              <a:gd name="connsiteY238" fmla="*/ 805 h 10000"/>
              <a:gd name="connsiteX239" fmla="*/ 6142 w 10088"/>
              <a:gd name="connsiteY239" fmla="*/ 739 h 10000"/>
              <a:gd name="connsiteX240" fmla="*/ 6010 w 10088"/>
              <a:gd name="connsiteY240" fmla="*/ 705 h 10000"/>
              <a:gd name="connsiteX241" fmla="*/ 5868 w 10088"/>
              <a:gd name="connsiteY241" fmla="*/ 715 h 10000"/>
              <a:gd name="connsiteX242" fmla="*/ 5538 w 10088"/>
              <a:gd name="connsiteY242" fmla="*/ 866 h 10000"/>
              <a:gd name="connsiteX243" fmla="*/ 5450 w 10088"/>
              <a:gd name="connsiteY243" fmla="*/ 1017 h 10000"/>
              <a:gd name="connsiteX244" fmla="*/ 5201 w 10088"/>
              <a:gd name="connsiteY244" fmla="*/ 1153 h 10000"/>
              <a:gd name="connsiteX245" fmla="*/ 5155 w 10088"/>
              <a:gd name="connsiteY245" fmla="*/ 1222 h 10000"/>
              <a:gd name="connsiteX246" fmla="*/ 5286 w 10088"/>
              <a:gd name="connsiteY246" fmla="*/ 1344 h 10000"/>
              <a:gd name="connsiteX247" fmla="*/ 5300 w 10088"/>
              <a:gd name="connsiteY247" fmla="*/ 1412 h 10000"/>
              <a:gd name="connsiteX248" fmla="*/ 4618 w 10088"/>
              <a:gd name="connsiteY248" fmla="*/ 1813 h 10000"/>
              <a:gd name="connsiteX249" fmla="*/ 4408 w 10088"/>
              <a:gd name="connsiteY249" fmla="*/ 2070 h 10000"/>
              <a:gd name="connsiteX250" fmla="*/ 4182 w 10088"/>
              <a:gd name="connsiteY250" fmla="*/ 2135 h 10000"/>
              <a:gd name="connsiteX251" fmla="*/ 4039 w 10088"/>
              <a:gd name="connsiteY251" fmla="*/ 2131 h 10000"/>
              <a:gd name="connsiteX252" fmla="*/ 3954 w 10088"/>
              <a:gd name="connsiteY252" fmla="*/ 2153 h 10000"/>
              <a:gd name="connsiteX253" fmla="*/ 3717 w 10088"/>
              <a:gd name="connsiteY253" fmla="*/ 2793 h 10000"/>
              <a:gd name="connsiteX254" fmla="*/ 3172 w 10088"/>
              <a:gd name="connsiteY254" fmla="*/ 3166 h 10000"/>
              <a:gd name="connsiteX255" fmla="*/ 3176 w 10088"/>
              <a:gd name="connsiteY255" fmla="*/ 3225 h 10000"/>
              <a:gd name="connsiteX256" fmla="*/ 3417 w 10088"/>
              <a:gd name="connsiteY256" fmla="*/ 3392 h 10000"/>
              <a:gd name="connsiteX257" fmla="*/ 3340 w 10088"/>
              <a:gd name="connsiteY257" fmla="*/ 3573 h 10000"/>
              <a:gd name="connsiteX258" fmla="*/ 3198 w 10088"/>
              <a:gd name="connsiteY258" fmla="*/ 3640 h 10000"/>
              <a:gd name="connsiteX259" fmla="*/ 2775 w 10088"/>
              <a:gd name="connsiteY259" fmla="*/ 3595 h 10000"/>
              <a:gd name="connsiteX260" fmla="*/ 2483 w 10088"/>
              <a:gd name="connsiteY260" fmla="*/ 3620 h 10000"/>
              <a:gd name="connsiteX261" fmla="*/ 2248 w 10088"/>
              <a:gd name="connsiteY261" fmla="*/ 3673 h 10000"/>
              <a:gd name="connsiteX262" fmla="*/ 1870 w 10088"/>
              <a:gd name="connsiteY262" fmla="*/ 3840 h 10000"/>
              <a:gd name="connsiteX263" fmla="*/ 1669 w 10088"/>
              <a:gd name="connsiteY263" fmla="*/ 4042 h 10000"/>
              <a:gd name="connsiteX264" fmla="*/ 1687 w 10088"/>
              <a:gd name="connsiteY264" fmla="*/ 4154 h 10000"/>
              <a:gd name="connsiteX265" fmla="*/ 1757 w 10088"/>
              <a:gd name="connsiteY265" fmla="*/ 4241 h 10000"/>
              <a:gd name="connsiteX266" fmla="*/ 1810 w 10088"/>
              <a:gd name="connsiteY266" fmla="*/ 4276 h 10000"/>
              <a:gd name="connsiteX267" fmla="*/ 1711 w 10088"/>
              <a:gd name="connsiteY267" fmla="*/ 4331 h 10000"/>
              <a:gd name="connsiteX268" fmla="*/ 1497 w 10088"/>
              <a:gd name="connsiteY268" fmla="*/ 4710 h 10000"/>
              <a:gd name="connsiteX269" fmla="*/ 1538 w 10088"/>
              <a:gd name="connsiteY269" fmla="*/ 4732 h 10000"/>
              <a:gd name="connsiteX270" fmla="*/ 1570 w 10088"/>
              <a:gd name="connsiteY270" fmla="*/ 4828 h 10000"/>
              <a:gd name="connsiteX271" fmla="*/ 1469 w 10088"/>
              <a:gd name="connsiteY271" fmla="*/ 5227 h 10000"/>
              <a:gd name="connsiteX272" fmla="*/ 1570 w 10088"/>
              <a:gd name="connsiteY272" fmla="*/ 5329 h 10000"/>
              <a:gd name="connsiteX273" fmla="*/ 1842 w 10088"/>
              <a:gd name="connsiteY273" fmla="*/ 5441 h 10000"/>
              <a:gd name="connsiteX274" fmla="*/ 1855 w 10088"/>
              <a:gd name="connsiteY274" fmla="*/ 5578 h 10000"/>
              <a:gd name="connsiteX275" fmla="*/ 1739 w 10088"/>
              <a:gd name="connsiteY275" fmla="*/ 5690 h 10000"/>
              <a:gd name="connsiteX276" fmla="*/ 1570 w 10088"/>
              <a:gd name="connsiteY276" fmla="*/ 5759 h 10000"/>
              <a:gd name="connsiteX277" fmla="*/ 1346 w 10088"/>
              <a:gd name="connsiteY277" fmla="*/ 5787 h 10000"/>
              <a:gd name="connsiteX278" fmla="*/ 1288 w 10088"/>
              <a:gd name="connsiteY278" fmla="*/ 5826 h 10000"/>
              <a:gd name="connsiteX279" fmla="*/ 1419 w 10088"/>
              <a:gd name="connsiteY279" fmla="*/ 5920 h 10000"/>
              <a:gd name="connsiteX280" fmla="*/ 1493 w 10088"/>
              <a:gd name="connsiteY280" fmla="*/ 6142 h 10000"/>
              <a:gd name="connsiteX281" fmla="*/ 1324 w 10088"/>
              <a:gd name="connsiteY281" fmla="*/ 6333 h 10000"/>
              <a:gd name="connsiteX282" fmla="*/ 1383 w 10088"/>
              <a:gd name="connsiteY282" fmla="*/ 6392 h 10000"/>
              <a:gd name="connsiteX283" fmla="*/ 1329 w 10088"/>
              <a:gd name="connsiteY283" fmla="*/ 6492 h 10000"/>
              <a:gd name="connsiteX284" fmla="*/ 1220 w 10088"/>
              <a:gd name="connsiteY284" fmla="*/ 6561 h 10000"/>
              <a:gd name="connsiteX285" fmla="*/ 792 w 10088"/>
              <a:gd name="connsiteY285" fmla="*/ 6614 h 10000"/>
              <a:gd name="connsiteX286" fmla="*/ 765 w 10088"/>
              <a:gd name="connsiteY286" fmla="*/ 6706 h 10000"/>
              <a:gd name="connsiteX287" fmla="*/ 533 w 10088"/>
              <a:gd name="connsiteY287" fmla="*/ 6843 h 10000"/>
              <a:gd name="connsiteX288" fmla="*/ 564 w 10088"/>
              <a:gd name="connsiteY288" fmla="*/ 7040 h 10000"/>
              <a:gd name="connsiteX289" fmla="*/ 369 w 10088"/>
              <a:gd name="connsiteY289" fmla="*/ 7293 h 10000"/>
              <a:gd name="connsiteX290" fmla="*/ 236 w 10088"/>
              <a:gd name="connsiteY290" fmla="*/ 7323 h 10000"/>
              <a:gd name="connsiteX291" fmla="*/ 182 w 10088"/>
              <a:gd name="connsiteY291" fmla="*/ 7262 h 10000"/>
              <a:gd name="connsiteX292" fmla="*/ 114 w 10088"/>
              <a:gd name="connsiteY292" fmla="*/ 7354 h 10000"/>
              <a:gd name="connsiteX293" fmla="*/ 159 w 10088"/>
              <a:gd name="connsiteY293" fmla="*/ 7197 h 10000"/>
              <a:gd name="connsiteX294" fmla="*/ 131 w 10088"/>
              <a:gd name="connsiteY294" fmla="*/ 7166 h 10000"/>
              <a:gd name="connsiteX0" fmla="*/ 131 w 10000"/>
              <a:gd name="connsiteY0" fmla="*/ 7166 h 10000"/>
              <a:gd name="connsiteX1" fmla="*/ 0 w 10000"/>
              <a:gd name="connsiteY1" fmla="*/ 7248 h 10000"/>
              <a:gd name="connsiteX2" fmla="*/ 0 w 10000"/>
              <a:gd name="connsiteY2" fmla="*/ 7651 h 10000"/>
              <a:gd name="connsiteX3" fmla="*/ 73 w 10000"/>
              <a:gd name="connsiteY3" fmla="*/ 7663 h 10000"/>
              <a:gd name="connsiteX4" fmla="*/ 90 w 10000"/>
              <a:gd name="connsiteY4" fmla="*/ 7694 h 10000"/>
              <a:gd name="connsiteX5" fmla="*/ 86 w 10000"/>
              <a:gd name="connsiteY5" fmla="*/ 7749 h 10000"/>
              <a:gd name="connsiteX6" fmla="*/ 59 w 10000"/>
              <a:gd name="connsiteY6" fmla="*/ 7773 h 10000"/>
              <a:gd name="connsiteX7" fmla="*/ 168 w 10000"/>
              <a:gd name="connsiteY7" fmla="*/ 7727 h 10000"/>
              <a:gd name="connsiteX8" fmla="*/ 215 w 10000"/>
              <a:gd name="connsiteY8" fmla="*/ 7680 h 10000"/>
              <a:gd name="connsiteX9" fmla="*/ 272 w 10000"/>
              <a:gd name="connsiteY9" fmla="*/ 7712 h 10000"/>
              <a:gd name="connsiteX10" fmla="*/ 209 w 10000"/>
              <a:gd name="connsiteY10" fmla="*/ 7778 h 10000"/>
              <a:gd name="connsiteX11" fmla="*/ 277 w 10000"/>
              <a:gd name="connsiteY11" fmla="*/ 7780 h 10000"/>
              <a:gd name="connsiteX12" fmla="*/ 309 w 10000"/>
              <a:gd name="connsiteY12" fmla="*/ 7796 h 10000"/>
              <a:gd name="connsiteX13" fmla="*/ 223 w 10000"/>
              <a:gd name="connsiteY13" fmla="*/ 7818 h 10000"/>
              <a:gd name="connsiteX14" fmla="*/ 86 w 10000"/>
              <a:gd name="connsiteY14" fmla="*/ 7886 h 10000"/>
              <a:gd name="connsiteX15" fmla="*/ 329 w 10000"/>
              <a:gd name="connsiteY15" fmla="*/ 7938 h 10000"/>
              <a:gd name="connsiteX16" fmla="*/ 359 w 10000"/>
              <a:gd name="connsiteY16" fmla="*/ 8014 h 10000"/>
              <a:gd name="connsiteX17" fmla="*/ 277 w 10000"/>
              <a:gd name="connsiteY17" fmla="*/ 8126 h 10000"/>
              <a:gd name="connsiteX18" fmla="*/ 456 w 10000"/>
              <a:gd name="connsiteY18" fmla="*/ 8118 h 10000"/>
              <a:gd name="connsiteX19" fmla="*/ 469 w 10000"/>
              <a:gd name="connsiteY19" fmla="*/ 8203 h 10000"/>
              <a:gd name="connsiteX20" fmla="*/ 350 w 10000"/>
              <a:gd name="connsiteY20" fmla="*/ 8260 h 10000"/>
              <a:gd name="connsiteX21" fmla="*/ 369 w 10000"/>
              <a:gd name="connsiteY21" fmla="*/ 8370 h 10000"/>
              <a:gd name="connsiteX22" fmla="*/ 323 w 10000"/>
              <a:gd name="connsiteY22" fmla="*/ 8456 h 10000"/>
              <a:gd name="connsiteX23" fmla="*/ 464 w 10000"/>
              <a:gd name="connsiteY23" fmla="*/ 8464 h 10000"/>
              <a:gd name="connsiteX24" fmla="*/ 601 w 10000"/>
              <a:gd name="connsiteY24" fmla="*/ 8792 h 10000"/>
              <a:gd name="connsiteX25" fmla="*/ 760 w 10000"/>
              <a:gd name="connsiteY25" fmla="*/ 8876 h 10000"/>
              <a:gd name="connsiteX26" fmla="*/ 828 w 10000"/>
              <a:gd name="connsiteY26" fmla="*/ 8965 h 10000"/>
              <a:gd name="connsiteX27" fmla="*/ 1001 w 10000"/>
              <a:gd name="connsiteY27" fmla="*/ 9030 h 10000"/>
              <a:gd name="connsiteX28" fmla="*/ 1111 w 10000"/>
              <a:gd name="connsiteY28" fmla="*/ 9112 h 10000"/>
              <a:gd name="connsiteX29" fmla="*/ 1097 w 10000"/>
              <a:gd name="connsiteY29" fmla="*/ 9171 h 10000"/>
              <a:gd name="connsiteX30" fmla="*/ 988 w 10000"/>
              <a:gd name="connsiteY30" fmla="*/ 9193 h 10000"/>
              <a:gd name="connsiteX31" fmla="*/ 869 w 10000"/>
              <a:gd name="connsiteY31" fmla="*/ 9179 h 10000"/>
              <a:gd name="connsiteX32" fmla="*/ 832 w 10000"/>
              <a:gd name="connsiteY32" fmla="*/ 9204 h 10000"/>
              <a:gd name="connsiteX33" fmla="*/ 923 w 10000"/>
              <a:gd name="connsiteY33" fmla="*/ 9332 h 10000"/>
              <a:gd name="connsiteX34" fmla="*/ 796 w 10000"/>
              <a:gd name="connsiteY34" fmla="*/ 9322 h 10000"/>
              <a:gd name="connsiteX35" fmla="*/ 687 w 10000"/>
              <a:gd name="connsiteY35" fmla="*/ 9291 h 10000"/>
              <a:gd name="connsiteX36" fmla="*/ 668 w 10000"/>
              <a:gd name="connsiteY36" fmla="*/ 9338 h 10000"/>
              <a:gd name="connsiteX37" fmla="*/ 1028 w 10000"/>
              <a:gd name="connsiteY37" fmla="*/ 9776 h 10000"/>
              <a:gd name="connsiteX38" fmla="*/ 970 w 10000"/>
              <a:gd name="connsiteY38" fmla="*/ 9817 h 10000"/>
              <a:gd name="connsiteX39" fmla="*/ 929 w 10000"/>
              <a:gd name="connsiteY39" fmla="*/ 9902 h 10000"/>
              <a:gd name="connsiteX40" fmla="*/ 878 w 10000"/>
              <a:gd name="connsiteY40" fmla="*/ 9908 h 10000"/>
              <a:gd name="connsiteX41" fmla="*/ 846 w 10000"/>
              <a:gd name="connsiteY41" fmla="*/ 9945 h 10000"/>
              <a:gd name="connsiteX42" fmla="*/ 1064 w 10000"/>
              <a:gd name="connsiteY42" fmla="*/ 9949 h 10000"/>
              <a:gd name="connsiteX43" fmla="*/ 1256 w 10000"/>
              <a:gd name="connsiteY43" fmla="*/ 9986 h 10000"/>
              <a:gd name="connsiteX44" fmla="*/ 1574 w 10000"/>
              <a:gd name="connsiteY44" fmla="*/ 9947 h 10000"/>
              <a:gd name="connsiteX45" fmla="*/ 1860 w 10000"/>
              <a:gd name="connsiteY45" fmla="*/ 9953 h 10000"/>
              <a:gd name="connsiteX46" fmla="*/ 2030 w 10000"/>
              <a:gd name="connsiteY46" fmla="*/ 10000 h 10000"/>
              <a:gd name="connsiteX47" fmla="*/ 2121 w 10000"/>
              <a:gd name="connsiteY47" fmla="*/ 9969 h 10000"/>
              <a:gd name="connsiteX48" fmla="*/ 2211 w 10000"/>
              <a:gd name="connsiteY48" fmla="*/ 9868 h 10000"/>
              <a:gd name="connsiteX49" fmla="*/ 2188 w 10000"/>
              <a:gd name="connsiteY49" fmla="*/ 9703 h 10000"/>
              <a:gd name="connsiteX50" fmla="*/ 2407 w 10000"/>
              <a:gd name="connsiteY50" fmla="*/ 9517 h 10000"/>
              <a:gd name="connsiteX51" fmla="*/ 2566 w 10000"/>
              <a:gd name="connsiteY51" fmla="*/ 9546 h 10000"/>
              <a:gd name="connsiteX52" fmla="*/ 2657 w 10000"/>
              <a:gd name="connsiteY52" fmla="*/ 9472 h 10000"/>
              <a:gd name="connsiteX53" fmla="*/ 2834 w 10000"/>
              <a:gd name="connsiteY53" fmla="*/ 9430 h 10000"/>
              <a:gd name="connsiteX54" fmla="*/ 3075 w 10000"/>
              <a:gd name="connsiteY54" fmla="*/ 9440 h 10000"/>
              <a:gd name="connsiteX55" fmla="*/ 3221 w 10000"/>
              <a:gd name="connsiteY55" fmla="*/ 9470 h 10000"/>
              <a:gd name="connsiteX56" fmla="*/ 3413 w 10000"/>
              <a:gd name="connsiteY56" fmla="*/ 9456 h 10000"/>
              <a:gd name="connsiteX57" fmla="*/ 3608 w 10000"/>
              <a:gd name="connsiteY57" fmla="*/ 9489 h 10000"/>
              <a:gd name="connsiteX58" fmla="*/ 3803 w 10000"/>
              <a:gd name="connsiteY58" fmla="*/ 9493 h 10000"/>
              <a:gd name="connsiteX59" fmla="*/ 4240 w 10000"/>
              <a:gd name="connsiteY59" fmla="*/ 9061 h 10000"/>
              <a:gd name="connsiteX60" fmla="*/ 4350 w 10000"/>
              <a:gd name="connsiteY60" fmla="*/ 8711 h 10000"/>
              <a:gd name="connsiteX61" fmla="*/ 4527 w 10000"/>
              <a:gd name="connsiteY61" fmla="*/ 8554 h 10000"/>
              <a:gd name="connsiteX62" fmla="*/ 4527 w 10000"/>
              <a:gd name="connsiteY62" fmla="*/ 8472 h 10000"/>
              <a:gd name="connsiteX63" fmla="*/ 4463 w 10000"/>
              <a:gd name="connsiteY63" fmla="*/ 8425 h 10000"/>
              <a:gd name="connsiteX64" fmla="*/ 4568 w 10000"/>
              <a:gd name="connsiteY64" fmla="*/ 8352 h 10000"/>
              <a:gd name="connsiteX65" fmla="*/ 4549 w 10000"/>
              <a:gd name="connsiteY65" fmla="*/ 8289 h 10000"/>
              <a:gd name="connsiteX66" fmla="*/ 4477 w 10000"/>
              <a:gd name="connsiteY66" fmla="*/ 8236 h 10000"/>
              <a:gd name="connsiteX67" fmla="*/ 4463 w 10000"/>
              <a:gd name="connsiteY67" fmla="*/ 8199 h 10000"/>
              <a:gd name="connsiteX68" fmla="*/ 4481 w 10000"/>
              <a:gd name="connsiteY68" fmla="*/ 8169 h 10000"/>
              <a:gd name="connsiteX69" fmla="*/ 4577 w 10000"/>
              <a:gd name="connsiteY69" fmla="*/ 8193 h 10000"/>
              <a:gd name="connsiteX70" fmla="*/ 4654 w 10000"/>
              <a:gd name="connsiteY70" fmla="*/ 8191 h 10000"/>
              <a:gd name="connsiteX71" fmla="*/ 4612 w 10000"/>
              <a:gd name="connsiteY71" fmla="*/ 8140 h 10000"/>
              <a:gd name="connsiteX72" fmla="*/ 4626 w 10000"/>
              <a:gd name="connsiteY72" fmla="*/ 8112 h 10000"/>
              <a:gd name="connsiteX73" fmla="*/ 4681 w 10000"/>
              <a:gd name="connsiteY73" fmla="*/ 8069 h 10000"/>
              <a:gd name="connsiteX74" fmla="*/ 4672 w 10000"/>
              <a:gd name="connsiteY74" fmla="*/ 8034 h 10000"/>
              <a:gd name="connsiteX75" fmla="*/ 4723 w 10000"/>
              <a:gd name="connsiteY75" fmla="*/ 7916 h 10000"/>
              <a:gd name="connsiteX76" fmla="*/ 4710 w 10000"/>
              <a:gd name="connsiteY76" fmla="*/ 7881 h 10000"/>
              <a:gd name="connsiteX77" fmla="*/ 4445 w 10000"/>
              <a:gd name="connsiteY77" fmla="*/ 7792 h 10000"/>
              <a:gd name="connsiteX78" fmla="*/ 4481 w 10000"/>
              <a:gd name="connsiteY78" fmla="*/ 7788 h 10000"/>
              <a:gd name="connsiteX79" fmla="*/ 4622 w 10000"/>
              <a:gd name="connsiteY79" fmla="*/ 7812 h 10000"/>
              <a:gd name="connsiteX80" fmla="*/ 4773 w 10000"/>
              <a:gd name="connsiteY80" fmla="*/ 7804 h 10000"/>
              <a:gd name="connsiteX81" fmla="*/ 4818 w 10000"/>
              <a:gd name="connsiteY81" fmla="*/ 7771 h 10000"/>
              <a:gd name="connsiteX82" fmla="*/ 4672 w 10000"/>
              <a:gd name="connsiteY82" fmla="*/ 7710 h 10000"/>
              <a:gd name="connsiteX83" fmla="*/ 4236 w 10000"/>
              <a:gd name="connsiteY83" fmla="*/ 7670 h 10000"/>
              <a:gd name="connsiteX84" fmla="*/ 4266 w 10000"/>
              <a:gd name="connsiteY84" fmla="*/ 7651 h 10000"/>
              <a:gd name="connsiteX85" fmla="*/ 4622 w 10000"/>
              <a:gd name="connsiteY85" fmla="*/ 7639 h 10000"/>
              <a:gd name="connsiteX86" fmla="*/ 4818 w 10000"/>
              <a:gd name="connsiteY86" fmla="*/ 7676 h 10000"/>
              <a:gd name="connsiteX87" fmla="*/ 4932 w 10000"/>
              <a:gd name="connsiteY87" fmla="*/ 7651 h 10000"/>
              <a:gd name="connsiteX88" fmla="*/ 4973 w 10000"/>
              <a:gd name="connsiteY88" fmla="*/ 7588 h 10000"/>
              <a:gd name="connsiteX89" fmla="*/ 5177 w 10000"/>
              <a:gd name="connsiteY89" fmla="*/ 7588 h 10000"/>
              <a:gd name="connsiteX90" fmla="*/ 5455 w 10000"/>
              <a:gd name="connsiteY90" fmla="*/ 7462 h 10000"/>
              <a:gd name="connsiteX91" fmla="*/ 5465 w 10000"/>
              <a:gd name="connsiteY91" fmla="*/ 7378 h 10000"/>
              <a:gd name="connsiteX92" fmla="*/ 5582 w 10000"/>
              <a:gd name="connsiteY92" fmla="*/ 7397 h 10000"/>
              <a:gd name="connsiteX93" fmla="*/ 5578 w 10000"/>
              <a:gd name="connsiteY93" fmla="*/ 7482 h 10000"/>
              <a:gd name="connsiteX94" fmla="*/ 5764 w 10000"/>
              <a:gd name="connsiteY94" fmla="*/ 7476 h 10000"/>
              <a:gd name="connsiteX95" fmla="*/ 5887 w 10000"/>
              <a:gd name="connsiteY95" fmla="*/ 7388 h 10000"/>
              <a:gd name="connsiteX96" fmla="*/ 6116 w 10000"/>
              <a:gd name="connsiteY96" fmla="*/ 7309 h 10000"/>
              <a:gd name="connsiteX97" fmla="*/ 6078 w 10000"/>
              <a:gd name="connsiteY97" fmla="*/ 7219 h 10000"/>
              <a:gd name="connsiteX98" fmla="*/ 6146 w 10000"/>
              <a:gd name="connsiteY98" fmla="*/ 7254 h 10000"/>
              <a:gd name="connsiteX99" fmla="*/ 6251 w 10000"/>
              <a:gd name="connsiteY99" fmla="*/ 7254 h 10000"/>
              <a:gd name="connsiteX100" fmla="*/ 6251 w 10000"/>
              <a:gd name="connsiteY100" fmla="*/ 7213 h 10000"/>
              <a:gd name="connsiteX101" fmla="*/ 6347 w 10000"/>
              <a:gd name="connsiteY101" fmla="*/ 7181 h 10000"/>
              <a:gd name="connsiteX102" fmla="*/ 6333 w 10000"/>
              <a:gd name="connsiteY102" fmla="*/ 7148 h 10000"/>
              <a:gd name="connsiteX103" fmla="*/ 5515 w 10000"/>
              <a:gd name="connsiteY103" fmla="*/ 7215 h 10000"/>
              <a:gd name="connsiteX104" fmla="*/ 5323 w 10000"/>
              <a:gd name="connsiteY104" fmla="*/ 7195 h 10000"/>
              <a:gd name="connsiteX105" fmla="*/ 5246 w 10000"/>
              <a:gd name="connsiteY105" fmla="*/ 7219 h 10000"/>
              <a:gd name="connsiteX106" fmla="*/ 5219 w 10000"/>
              <a:gd name="connsiteY106" fmla="*/ 7173 h 10000"/>
              <a:gd name="connsiteX107" fmla="*/ 5128 w 10000"/>
              <a:gd name="connsiteY107" fmla="*/ 7132 h 10000"/>
              <a:gd name="connsiteX108" fmla="*/ 4763 w 10000"/>
              <a:gd name="connsiteY108" fmla="*/ 7052 h 10000"/>
              <a:gd name="connsiteX109" fmla="*/ 4549 w 10000"/>
              <a:gd name="connsiteY109" fmla="*/ 7065 h 10000"/>
              <a:gd name="connsiteX110" fmla="*/ 4463 w 10000"/>
              <a:gd name="connsiteY110" fmla="*/ 7042 h 10000"/>
              <a:gd name="connsiteX111" fmla="*/ 4554 w 10000"/>
              <a:gd name="connsiteY111" fmla="*/ 7022 h 10000"/>
              <a:gd name="connsiteX112" fmla="*/ 4622 w 10000"/>
              <a:gd name="connsiteY112" fmla="*/ 6979 h 10000"/>
              <a:gd name="connsiteX113" fmla="*/ 4723 w 10000"/>
              <a:gd name="connsiteY113" fmla="*/ 6993 h 10000"/>
              <a:gd name="connsiteX114" fmla="*/ 4845 w 10000"/>
              <a:gd name="connsiteY114" fmla="*/ 6981 h 10000"/>
              <a:gd name="connsiteX115" fmla="*/ 5027 w 10000"/>
              <a:gd name="connsiteY115" fmla="*/ 6995 h 10000"/>
              <a:gd name="connsiteX116" fmla="*/ 5049 w 10000"/>
              <a:gd name="connsiteY116" fmla="*/ 6989 h 10000"/>
              <a:gd name="connsiteX117" fmla="*/ 5191 w 10000"/>
              <a:gd name="connsiteY117" fmla="*/ 7056 h 10000"/>
              <a:gd name="connsiteX118" fmla="*/ 5296 w 10000"/>
              <a:gd name="connsiteY118" fmla="*/ 7032 h 10000"/>
              <a:gd name="connsiteX119" fmla="*/ 5304 w 10000"/>
              <a:gd name="connsiteY119" fmla="*/ 7010 h 10000"/>
              <a:gd name="connsiteX120" fmla="*/ 5400 w 10000"/>
              <a:gd name="connsiteY120" fmla="*/ 7048 h 10000"/>
              <a:gd name="connsiteX121" fmla="*/ 5528 w 10000"/>
              <a:gd name="connsiteY121" fmla="*/ 7069 h 10000"/>
              <a:gd name="connsiteX122" fmla="*/ 5578 w 10000"/>
              <a:gd name="connsiteY122" fmla="*/ 7030 h 10000"/>
              <a:gd name="connsiteX123" fmla="*/ 5619 w 10000"/>
              <a:gd name="connsiteY123" fmla="*/ 7052 h 10000"/>
              <a:gd name="connsiteX124" fmla="*/ 5677 w 10000"/>
              <a:gd name="connsiteY124" fmla="*/ 7126 h 10000"/>
              <a:gd name="connsiteX125" fmla="*/ 5800 w 10000"/>
              <a:gd name="connsiteY125" fmla="*/ 7144 h 10000"/>
              <a:gd name="connsiteX126" fmla="*/ 6301 w 10000"/>
              <a:gd name="connsiteY126" fmla="*/ 7034 h 10000"/>
              <a:gd name="connsiteX127" fmla="*/ 6547 w 10000"/>
              <a:gd name="connsiteY127" fmla="*/ 6879 h 10000"/>
              <a:gd name="connsiteX128" fmla="*/ 6605 w 10000"/>
              <a:gd name="connsiteY128" fmla="*/ 6765 h 10000"/>
              <a:gd name="connsiteX129" fmla="*/ 6516 w 10000"/>
              <a:gd name="connsiteY129" fmla="*/ 6663 h 10000"/>
              <a:gd name="connsiteX130" fmla="*/ 6328 w 10000"/>
              <a:gd name="connsiteY130" fmla="*/ 6602 h 10000"/>
              <a:gd name="connsiteX131" fmla="*/ 6196 w 10000"/>
              <a:gd name="connsiteY131" fmla="*/ 6502 h 10000"/>
              <a:gd name="connsiteX132" fmla="*/ 6320 w 10000"/>
              <a:gd name="connsiteY132" fmla="*/ 6498 h 10000"/>
              <a:gd name="connsiteX133" fmla="*/ 6311 w 10000"/>
              <a:gd name="connsiteY133" fmla="*/ 6474 h 10000"/>
              <a:gd name="connsiteX134" fmla="*/ 5988 w 10000"/>
              <a:gd name="connsiteY134" fmla="*/ 6403 h 10000"/>
              <a:gd name="connsiteX135" fmla="*/ 5975 w 10000"/>
              <a:gd name="connsiteY135" fmla="*/ 6339 h 10000"/>
              <a:gd name="connsiteX136" fmla="*/ 5914 w 10000"/>
              <a:gd name="connsiteY136" fmla="*/ 6272 h 10000"/>
              <a:gd name="connsiteX137" fmla="*/ 5659 w 10000"/>
              <a:gd name="connsiteY137" fmla="*/ 6284 h 10000"/>
              <a:gd name="connsiteX138" fmla="*/ 5568 w 10000"/>
              <a:gd name="connsiteY138" fmla="*/ 6213 h 10000"/>
              <a:gd name="connsiteX139" fmla="*/ 5515 w 10000"/>
              <a:gd name="connsiteY139" fmla="*/ 6209 h 10000"/>
              <a:gd name="connsiteX140" fmla="*/ 5515 w 10000"/>
              <a:gd name="connsiteY140" fmla="*/ 6238 h 10000"/>
              <a:gd name="connsiteX141" fmla="*/ 5400 w 10000"/>
              <a:gd name="connsiteY141" fmla="*/ 6358 h 10000"/>
              <a:gd name="connsiteX142" fmla="*/ 5277 w 10000"/>
              <a:gd name="connsiteY142" fmla="*/ 6429 h 10000"/>
              <a:gd name="connsiteX143" fmla="*/ 4890 w 10000"/>
              <a:gd name="connsiteY143" fmla="*/ 6551 h 10000"/>
              <a:gd name="connsiteX144" fmla="*/ 4754 w 10000"/>
              <a:gd name="connsiteY144" fmla="*/ 6547 h 10000"/>
              <a:gd name="connsiteX145" fmla="*/ 4568 w 10000"/>
              <a:gd name="connsiteY145" fmla="*/ 6565 h 10000"/>
              <a:gd name="connsiteX146" fmla="*/ 4463 w 10000"/>
              <a:gd name="connsiteY146" fmla="*/ 6547 h 10000"/>
              <a:gd name="connsiteX147" fmla="*/ 4599 w 10000"/>
              <a:gd name="connsiteY147" fmla="*/ 6513 h 10000"/>
              <a:gd name="connsiteX148" fmla="*/ 4777 w 10000"/>
              <a:gd name="connsiteY148" fmla="*/ 6498 h 10000"/>
              <a:gd name="connsiteX149" fmla="*/ 4924 w 10000"/>
              <a:gd name="connsiteY149" fmla="*/ 6441 h 10000"/>
              <a:gd name="connsiteX150" fmla="*/ 5067 w 10000"/>
              <a:gd name="connsiteY150" fmla="*/ 6415 h 10000"/>
              <a:gd name="connsiteX151" fmla="*/ 5337 w 10000"/>
              <a:gd name="connsiteY151" fmla="*/ 6317 h 10000"/>
              <a:gd name="connsiteX152" fmla="*/ 5387 w 10000"/>
              <a:gd name="connsiteY152" fmla="*/ 6252 h 10000"/>
              <a:gd name="connsiteX153" fmla="*/ 5391 w 10000"/>
              <a:gd name="connsiteY153" fmla="*/ 6168 h 10000"/>
              <a:gd name="connsiteX154" fmla="*/ 5269 w 10000"/>
              <a:gd name="connsiteY154" fmla="*/ 6154 h 10000"/>
              <a:gd name="connsiteX155" fmla="*/ 5323 w 10000"/>
              <a:gd name="connsiteY155" fmla="*/ 6103 h 10000"/>
              <a:gd name="connsiteX156" fmla="*/ 5341 w 10000"/>
              <a:gd name="connsiteY156" fmla="*/ 6038 h 10000"/>
              <a:gd name="connsiteX157" fmla="*/ 5290 w 10000"/>
              <a:gd name="connsiteY157" fmla="*/ 5977 h 10000"/>
              <a:gd name="connsiteX158" fmla="*/ 5259 w 10000"/>
              <a:gd name="connsiteY158" fmla="*/ 5533 h 10000"/>
              <a:gd name="connsiteX159" fmla="*/ 5333 w 10000"/>
              <a:gd name="connsiteY159" fmla="*/ 5437 h 10000"/>
              <a:gd name="connsiteX160" fmla="*/ 5314 w 10000"/>
              <a:gd name="connsiteY160" fmla="*/ 5398 h 10000"/>
              <a:gd name="connsiteX161" fmla="*/ 5528 w 10000"/>
              <a:gd name="connsiteY161" fmla="*/ 5455 h 10000"/>
              <a:gd name="connsiteX162" fmla="*/ 5542 w 10000"/>
              <a:gd name="connsiteY162" fmla="*/ 5402 h 10000"/>
              <a:gd name="connsiteX163" fmla="*/ 5496 w 10000"/>
              <a:gd name="connsiteY163" fmla="*/ 5264 h 10000"/>
              <a:gd name="connsiteX164" fmla="*/ 5649 w 10000"/>
              <a:gd name="connsiteY164" fmla="*/ 5019 h 10000"/>
              <a:gd name="connsiteX165" fmla="*/ 5555 w 10000"/>
              <a:gd name="connsiteY165" fmla="*/ 4960 h 10000"/>
              <a:gd name="connsiteX166" fmla="*/ 5519 w 10000"/>
              <a:gd name="connsiteY166" fmla="*/ 4905 h 10000"/>
              <a:gd name="connsiteX167" fmla="*/ 5532 w 10000"/>
              <a:gd name="connsiteY167" fmla="*/ 4816 h 10000"/>
              <a:gd name="connsiteX168" fmla="*/ 5756 w 10000"/>
              <a:gd name="connsiteY168" fmla="*/ 4875 h 10000"/>
              <a:gd name="connsiteX169" fmla="*/ 5764 w 10000"/>
              <a:gd name="connsiteY169" fmla="*/ 4858 h 10000"/>
              <a:gd name="connsiteX170" fmla="*/ 5827 w 10000"/>
              <a:gd name="connsiteY170" fmla="*/ 4842 h 10000"/>
              <a:gd name="connsiteX171" fmla="*/ 5914 w 10000"/>
              <a:gd name="connsiteY171" fmla="*/ 4785 h 10000"/>
              <a:gd name="connsiteX172" fmla="*/ 5928 w 10000"/>
              <a:gd name="connsiteY172" fmla="*/ 4769 h 10000"/>
              <a:gd name="connsiteX173" fmla="*/ 5910 w 10000"/>
              <a:gd name="connsiteY173" fmla="*/ 4748 h 10000"/>
              <a:gd name="connsiteX174" fmla="*/ 5954 w 10000"/>
              <a:gd name="connsiteY174" fmla="*/ 4647 h 10000"/>
              <a:gd name="connsiteX175" fmla="*/ 5901 w 10000"/>
              <a:gd name="connsiteY175" fmla="*/ 4581 h 10000"/>
              <a:gd name="connsiteX176" fmla="*/ 5910 w 10000"/>
              <a:gd name="connsiteY176" fmla="*/ 4528 h 10000"/>
              <a:gd name="connsiteX177" fmla="*/ 5941 w 10000"/>
              <a:gd name="connsiteY177" fmla="*/ 4590 h 10000"/>
              <a:gd name="connsiteX178" fmla="*/ 6064 w 10000"/>
              <a:gd name="connsiteY178" fmla="*/ 4636 h 10000"/>
              <a:gd name="connsiteX179" fmla="*/ 6116 w 10000"/>
              <a:gd name="connsiteY179" fmla="*/ 4630 h 10000"/>
              <a:gd name="connsiteX180" fmla="*/ 6196 w 10000"/>
              <a:gd name="connsiteY180" fmla="*/ 4569 h 10000"/>
              <a:gd name="connsiteX181" fmla="*/ 6283 w 10000"/>
              <a:gd name="connsiteY181" fmla="*/ 4594 h 10000"/>
              <a:gd name="connsiteX182" fmla="*/ 6307 w 10000"/>
              <a:gd name="connsiteY182" fmla="*/ 4545 h 10000"/>
              <a:gd name="connsiteX183" fmla="*/ 6365 w 10000"/>
              <a:gd name="connsiteY183" fmla="*/ 4512 h 10000"/>
              <a:gd name="connsiteX184" fmla="*/ 6205 w 10000"/>
              <a:gd name="connsiteY184" fmla="*/ 4477 h 10000"/>
              <a:gd name="connsiteX185" fmla="*/ 6320 w 10000"/>
              <a:gd name="connsiteY185" fmla="*/ 4484 h 10000"/>
              <a:gd name="connsiteX186" fmla="*/ 6437 w 10000"/>
              <a:gd name="connsiteY186" fmla="*/ 4447 h 10000"/>
              <a:gd name="connsiteX187" fmla="*/ 6433 w 10000"/>
              <a:gd name="connsiteY187" fmla="*/ 4422 h 10000"/>
              <a:gd name="connsiteX188" fmla="*/ 6543 w 10000"/>
              <a:gd name="connsiteY188" fmla="*/ 4398 h 10000"/>
              <a:gd name="connsiteX189" fmla="*/ 6552 w 10000"/>
              <a:gd name="connsiteY189" fmla="*/ 4337 h 10000"/>
              <a:gd name="connsiteX190" fmla="*/ 6638 w 10000"/>
              <a:gd name="connsiteY190" fmla="*/ 4325 h 10000"/>
              <a:gd name="connsiteX191" fmla="*/ 6646 w 10000"/>
              <a:gd name="connsiteY191" fmla="*/ 4253 h 10000"/>
              <a:gd name="connsiteX192" fmla="*/ 6737 w 10000"/>
              <a:gd name="connsiteY192" fmla="*/ 4245 h 10000"/>
              <a:gd name="connsiteX193" fmla="*/ 6879 w 10000"/>
              <a:gd name="connsiteY193" fmla="*/ 4260 h 10000"/>
              <a:gd name="connsiteX194" fmla="*/ 7033 w 10000"/>
              <a:gd name="connsiteY194" fmla="*/ 4202 h 10000"/>
              <a:gd name="connsiteX195" fmla="*/ 7088 w 10000"/>
              <a:gd name="connsiteY195" fmla="*/ 4137 h 10000"/>
              <a:gd name="connsiteX196" fmla="*/ 7279 w 10000"/>
              <a:gd name="connsiteY196" fmla="*/ 4070 h 10000"/>
              <a:gd name="connsiteX197" fmla="*/ 7374 w 10000"/>
              <a:gd name="connsiteY197" fmla="*/ 4111 h 10000"/>
              <a:gd name="connsiteX198" fmla="*/ 7520 w 10000"/>
              <a:gd name="connsiteY198" fmla="*/ 4066 h 10000"/>
              <a:gd name="connsiteX199" fmla="*/ 7556 w 10000"/>
              <a:gd name="connsiteY199" fmla="*/ 4009 h 10000"/>
              <a:gd name="connsiteX200" fmla="*/ 7666 w 10000"/>
              <a:gd name="connsiteY200" fmla="*/ 3970 h 10000"/>
              <a:gd name="connsiteX201" fmla="*/ 7761 w 10000"/>
              <a:gd name="connsiteY201" fmla="*/ 3987 h 10000"/>
              <a:gd name="connsiteX202" fmla="*/ 7820 w 10000"/>
              <a:gd name="connsiteY202" fmla="*/ 3958 h 10000"/>
              <a:gd name="connsiteX203" fmla="*/ 7984 w 10000"/>
              <a:gd name="connsiteY203" fmla="*/ 3917 h 10000"/>
              <a:gd name="connsiteX204" fmla="*/ 8052 w 10000"/>
              <a:gd name="connsiteY204" fmla="*/ 3864 h 10000"/>
              <a:gd name="connsiteX205" fmla="*/ 8144 w 10000"/>
              <a:gd name="connsiteY205" fmla="*/ 3842 h 10000"/>
              <a:gd name="connsiteX206" fmla="*/ 8649 w 10000"/>
              <a:gd name="connsiteY206" fmla="*/ 3522 h 10000"/>
              <a:gd name="connsiteX207" fmla="*/ 10000 w 10000"/>
              <a:gd name="connsiteY207" fmla="*/ 1271 h 10000"/>
              <a:gd name="connsiteX208" fmla="*/ 9969 w 10000"/>
              <a:gd name="connsiteY208" fmla="*/ 1194 h 10000"/>
              <a:gd name="connsiteX209" fmla="*/ 9909 w 10000"/>
              <a:gd name="connsiteY209" fmla="*/ 1159 h 10000"/>
              <a:gd name="connsiteX210" fmla="*/ 9858 w 10000"/>
              <a:gd name="connsiteY210" fmla="*/ 978 h 10000"/>
              <a:gd name="connsiteX211" fmla="*/ 9918 w 10000"/>
              <a:gd name="connsiteY211" fmla="*/ 831 h 10000"/>
              <a:gd name="connsiteX212" fmla="*/ 9481 w 10000"/>
              <a:gd name="connsiteY212" fmla="*/ 517 h 10000"/>
              <a:gd name="connsiteX213" fmla="*/ 9267 w 10000"/>
              <a:gd name="connsiteY213" fmla="*/ 440 h 10000"/>
              <a:gd name="connsiteX214" fmla="*/ 8871 w 10000"/>
              <a:gd name="connsiteY214" fmla="*/ 389 h 10000"/>
              <a:gd name="connsiteX215" fmla="*/ 8052 w 10000"/>
              <a:gd name="connsiteY215" fmla="*/ 26 h 10000"/>
              <a:gd name="connsiteX216" fmla="*/ 8025 w 10000"/>
              <a:gd name="connsiteY216" fmla="*/ 2 h 10000"/>
              <a:gd name="connsiteX217" fmla="*/ 7747 w 10000"/>
              <a:gd name="connsiteY217" fmla="*/ 0 h 10000"/>
              <a:gd name="connsiteX218" fmla="*/ 7684 w 10000"/>
              <a:gd name="connsiteY218" fmla="*/ 14 h 10000"/>
              <a:gd name="connsiteX219" fmla="*/ 7698 w 10000"/>
              <a:gd name="connsiteY219" fmla="*/ 61 h 10000"/>
              <a:gd name="connsiteX220" fmla="*/ 7752 w 10000"/>
              <a:gd name="connsiteY220" fmla="*/ 86 h 10000"/>
              <a:gd name="connsiteX221" fmla="*/ 7767 w 10000"/>
              <a:gd name="connsiteY221" fmla="*/ 139 h 10000"/>
              <a:gd name="connsiteX222" fmla="*/ 7747 w 10000"/>
              <a:gd name="connsiteY222" fmla="*/ 181 h 10000"/>
              <a:gd name="connsiteX223" fmla="*/ 7698 w 10000"/>
              <a:gd name="connsiteY223" fmla="*/ 208 h 10000"/>
              <a:gd name="connsiteX224" fmla="*/ 7661 w 10000"/>
              <a:gd name="connsiteY224" fmla="*/ 283 h 10000"/>
              <a:gd name="connsiteX225" fmla="*/ 7593 w 10000"/>
              <a:gd name="connsiteY225" fmla="*/ 336 h 10000"/>
              <a:gd name="connsiteX226" fmla="*/ 7607 w 10000"/>
              <a:gd name="connsiteY226" fmla="*/ 387 h 10000"/>
              <a:gd name="connsiteX227" fmla="*/ 7711 w 10000"/>
              <a:gd name="connsiteY227" fmla="*/ 434 h 10000"/>
              <a:gd name="connsiteX228" fmla="*/ 7643 w 10000"/>
              <a:gd name="connsiteY228" fmla="*/ 475 h 10000"/>
              <a:gd name="connsiteX229" fmla="*/ 7543 w 10000"/>
              <a:gd name="connsiteY229" fmla="*/ 485 h 10000"/>
              <a:gd name="connsiteX230" fmla="*/ 6706 w 10000"/>
              <a:gd name="connsiteY230" fmla="*/ 387 h 10000"/>
              <a:gd name="connsiteX231" fmla="*/ 6605 w 10000"/>
              <a:gd name="connsiteY231" fmla="*/ 395 h 10000"/>
              <a:gd name="connsiteX232" fmla="*/ 6547 w 10000"/>
              <a:gd name="connsiteY232" fmla="*/ 414 h 10000"/>
              <a:gd name="connsiteX233" fmla="*/ 6487 w 10000"/>
              <a:gd name="connsiteY233" fmla="*/ 462 h 10000"/>
              <a:gd name="connsiteX234" fmla="*/ 6498 w 10000"/>
              <a:gd name="connsiteY234" fmla="*/ 581 h 10000"/>
              <a:gd name="connsiteX235" fmla="*/ 6405 w 10000"/>
              <a:gd name="connsiteY235" fmla="*/ 735 h 10000"/>
              <a:gd name="connsiteX236" fmla="*/ 6292 w 10000"/>
              <a:gd name="connsiteY236" fmla="*/ 815 h 10000"/>
              <a:gd name="connsiteX237" fmla="*/ 6247 w 10000"/>
              <a:gd name="connsiteY237" fmla="*/ 805 h 10000"/>
              <a:gd name="connsiteX238" fmla="*/ 6142 w 10000"/>
              <a:gd name="connsiteY238" fmla="*/ 739 h 10000"/>
              <a:gd name="connsiteX239" fmla="*/ 6010 w 10000"/>
              <a:gd name="connsiteY239" fmla="*/ 705 h 10000"/>
              <a:gd name="connsiteX240" fmla="*/ 5868 w 10000"/>
              <a:gd name="connsiteY240" fmla="*/ 715 h 10000"/>
              <a:gd name="connsiteX241" fmla="*/ 5538 w 10000"/>
              <a:gd name="connsiteY241" fmla="*/ 866 h 10000"/>
              <a:gd name="connsiteX242" fmla="*/ 5450 w 10000"/>
              <a:gd name="connsiteY242" fmla="*/ 1017 h 10000"/>
              <a:gd name="connsiteX243" fmla="*/ 5201 w 10000"/>
              <a:gd name="connsiteY243" fmla="*/ 1153 h 10000"/>
              <a:gd name="connsiteX244" fmla="*/ 5155 w 10000"/>
              <a:gd name="connsiteY244" fmla="*/ 1222 h 10000"/>
              <a:gd name="connsiteX245" fmla="*/ 5286 w 10000"/>
              <a:gd name="connsiteY245" fmla="*/ 1344 h 10000"/>
              <a:gd name="connsiteX246" fmla="*/ 5300 w 10000"/>
              <a:gd name="connsiteY246" fmla="*/ 1412 h 10000"/>
              <a:gd name="connsiteX247" fmla="*/ 4618 w 10000"/>
              <a:gd name="connsiteY247" fmla="*/ 1813 h 10000"/>
              <a:gd name="connsiteX248" fmla="*/ 4408 w 10000"/>
              <a:gd name="connsiteY248" fmla="*/ 2070 h 10000"/>
              <a:gd name="connsiteX249" fmla="*/ 4182 w 10000"/>
              <a:gd name="connsiteY249" fmla="*/ 2135 h 10000"/>
              <a:gd name="connsiteX250" fmla="*/ 4039 w 10000"/>
              <a:gd name="connsiteY250" fmla="*/ 2131 h 10000"/>
              <a:gd name="connsiteX251" fmla="*/ 3954 w 10000"/>
              <a:gd name="connsiteY251" fmla="*/ 2153 h 10000"/>
              <a:gd name="connsiteX252" fmla="*/ 3717 w 10000"/>
              <a:gd name="connsiteY252" fmla="*/ 2793 h 10000"/>
              <a:gd name="connsiteX253" fmla="*/ 3172 w 10000"/>
              <a:gd name="connsiteY253" fmla="*/ 3166 h 10000"/>
              <a:gd name="connsiteX254" fmla="*/ 3176 w 10000"/>
              <a:gd name="connsiteY254" fmla="*/ 3225 h 10000"/>
              <a:gd name="connsiteX255" fmla="*/ 3417 w 10000"/>
              <a:gd name="connsiteY255" fmla="*/ 3392 h 10000"/>
              <a:gd name="connsiteX256" fmla="*/ 3340 w 10000"/>
              <a:gd name="connsiteY256" fmla="*/ 3573 h 10000"/>
              <a:gd name="connsiteX257" fmla="*/ 3198 w 10000"/>
              <a:gd name="connsiteY257" fmla="*/ 3640 h 10000"/>
              <a:gd name="connsiteX258" fmla="*/ 2775 w 10000"/>
              <a:gd name="connsiteY258" fmla="*/ 3595 h 10000"/>
              <a:gd name="connsiteX259" fmla="*/ 2483 w 10000"/>
              <a:gd name="connsiteY259" fmla="*/ 3620 h 10000"/>
              <a:gd name="connsiteX260" fmla="*/ 2248 w 10000"/>
              <a:gd name="connsiteY260" fmla="*/ 3673 h 10000"/>
              <a:gd name="connsiteX261" fmla="*/ 1870 w 10000"/>
              <a:gd name="connsiteY261" fmla="*/ 3840 h 10000"/>
              <a:gd name="connsiteX262" fmla="*/ 1669 w 10000"/>
              <a:gd name="connsiteY262" fmla="*/ 4042 h 10000"/>
              <a:gd name="connsiteX263" fmla="*/ 1687 w 10000"/>
              <a:gd name="connsiteY263" fmla="*/ 4154 h 10000"/>
              <a:gd name="connsiteX264" fmla="*/ 1757 w 10000"/>
              <a:gd name="connsiteY264" fmla="*/ 4241 h 10000"/>
              <a:gd name="connsiteX265" fmla="*/ 1810 w 10000"/>
              <a:gd name="connsiteY265" fmla="*/ 4276 h 10000"/>
              <a:gd name="connsiteX266" fmla="*/ 1711 w 10000"/>
              <a:gd name="connsiteY266" fmla="*/ 4331 h 10000"/>
              <a:gd name="connsiteX267" fmla="*/ 1497 w 10000"/>
              <a:gd name="connsiteY267" fmla="*/ 4710 h 10000"/>
              <a:gd name="connsiteX268" fmla="*/ 1538 w 10000"/>
              <a:gd name="connsiteY268" fmla="*/ 4732 h 10000"/>
              <a:gd name="connsiteX269" fmla="*/ 1570 w 10000"/>
              <a:gd name="connsiteY269" fmla="*/ 4828 h 10000"/>
              <a:gd name="connsiteX270" fmla="*/ 1469 w 10000"/>
              <a:gd name="connsiteY270" fmla="*/ 5227 h 10000"/>
              <a:gd name="connsiteX271" fmla="*/ 1570 w 10000"/>
              <a:gd name="connsiteY271" fmla="*/ 5329 h 10000"/>
              <a:gd name="connsiteX272" fmla="*/ 1842 w 10000"/>
              <a:gd name="connsiteY272" fmla="*/ 5441 h 10000"/>
              <a:gd name="connsiteX273" fmla="*/ 1855 w 10000"/>
              <a:gd name="connsiteY273" fmla="*/ 5578 h 10000"/>
              <a:gd name="connsiteX274" fmla="*/ 1739 w 10000"/>
              <a:gd name="connsiteY274" fmla="*/ 5690 h 10000"/>
              <a:gd name="connsiteX275" fmla="*/ 1570 w 10000"/>
              <a:gd name="connsiteY275" fmla="*/ 5759 h 10000"/>
              <a:gd name="connsiteX276" fmla="*/ 1346 w 10000"/>
              <a:gd name="connsiteY276" fmla="*/ 5787 h 10000"/>
              <a:gd name="connsiteX277" fmla="*/ 1288 w 10000"/>
              <a:gd name="connsiteY277" fmla="*/ 5826 h 10000"/>
              <a:gd name="connsiteX278" fmla="*/ 1419 w 10000"/>
              <a:gd name="connsiteY278" fmla="*/ 5920 h 10000"/>
              <a:gd name="connsiteX279" fmla="*/ 1493 w 10000"/>
              <a:gd name="connsiteY279" fmla="*/ 6142 h 10000"/>
              <a:gd name="connsiteX280" fmla="*/ 1324 w 10000"/>
              <a:gd name="connsiteY280" fmla="*/ 6333 h 10000"/>
              <a:gd name="connsiteX281" fmla="*/ 1383 w 10000"/>
              <a:gd name="connsiteY281" fmla="*/ 6392 h 10000"/>
              <a:gd name="connsiteX282" fmla="*/ 1329 w 10000"/>
              <a:gd name="connsiteY282" fmla="*/ 6492 h 10000"/>
              <a:gd name="connsiteX283" fmla="*/ 1220 w 10000"/>
              <a:gd name="connsiteY283" fmla="*/ 6561 h 10000"/>
              <a:gd name="connsiteX284" fmla="*/ 792 w 10000"/>
              <a:gd name="connsiteY284" fmla="*/ 6614 h 10000"/>
              <a:gd name="connsiteX285" fmla="*/ 765 w 10000"/>
              <a:gd name="connsiteY285" fmla="*/ 6706 h 10000"/>
              <a:gd name="connsiteX286" fmla="*/ 533 w 10000"/>
              <a:gd name="connsiteY286" fmla="*/ 6843 h 10000"/>
              <a:gd name="connsiteX287" fmla="*/ 564 w 10000"/>
              <a:gd name="connsiteY287" fmla="*/ 7040 h 10000"/>
              <a:gd name="connsiteX288" fmla="*/ 369 w 10000"/>
              <a:gd name="connsiteY288" fmla="*/ 7293 h 10000"/>
              <a:gd name="connsiteX289" fmla="*/ 236 w 10000"/>
              <a:gd name="connsiteY289" fmla="*/ 7323 h 10000"/>
              <a:gd name="connsiteX290" fmla="*/ 182 w 10000"/>
              <a:gd name="connsiteY290" fmla="*/ 7262 h 10000"/>
              <a:gd name="connsiteX291" fmla="*/ 114 w 10000"/>
              <a:gd name="connsiteY291" fmla="*/ 7354 h 10000"/>
              <a:gd name="connsiteX292" fmla="*/ 159 w 10000"/>
              <a:gd name="connsiteY292" fmla="*/ 7197 h 10000"/>
              <a:gd name="connsiteX293" fmla="*/ 131 w 10000"/>
              <a:gd name="connsiteY293" fmla="*/ 7166 h 10000"/>
              <a:gd name="connsiteX0" fmla="*/ 131 w 9969"/>
              <a:gd name="connsiteY0" fmla="*/ 7166 h 10000"/>
              <a:gd name="connsiteX1" fmla="*/ 0 w 9969"/>
              <a:gd name="connsiteY1" fmla="*/ 7248 h 10000"/>
              <a:gd name="connsiteX2" fmla="*/ 0 w 9969"/>
              <a:gd name="connsiteY2" fmla="*/ 7651 h 10000"/>
              <a:gd name="connsiteX3" fmla="*/ 73 w 9969"/>
              <a:gd name="connsiteY3" fmla="*/ 7663 h 10000"/>
              <a:gd name="connsiteX4" fmla="*/ 90 w 9969"/>
              <a:gd name="connsiteY4" fmla="*/ 7694 h 10000"/>
              <a:gd name="connsiteX5" fmla="*/ 86 w 9969"/>
              <a:gd name="connsiteY5" fmla="*/ 7749 h 10000"/>
              <a:gd name="connsiteX6" fmla="*/ 59 w 9969"/>
              <a:gd name="connsiteY6" fmla="*/ 7773 h 10000"/>
              <a:gd name="connsiteX7" fmla="*/ 168 w 9969"/>
              <a:gd name="connsiteY7" fmla="*/ 7727 h 10000"/>
              <a:gd name="connsiteX8" fmla="*/ 215 w 9969"/>
              <a:gd name="connsiteY8" fmla="*/ 7680 h 10000"/>
              <a:gd name="connsiteX9" fmla="*/ 272 w 9969"/>
              <a:gd name="connsiteY9" fmla="*/ 7712 h 10000"/>
              <a:gd name="connsiteX10" fmla="*/ 209 w 9969"/>
              <a:gd name="connsiteY10" fmla="*/ 7778 h 10000"/>
              <a:gd name="connsiteX11" fmla="*/ 277 w 9969"/>
              <a:gd name="connsiteY11" fmla="*/ 7780 h 10000"/>
              <a:gd name="connsiteX12" fmla="*/ 309 w 9969"/>
              <a:gd name="connsiteY12" fmla="*/ 7796 h 10000"/>
              <a:gd name="connsiteX13" fmla="*/ 223 w 9969"/>
              <a:gd name="connsiteY13" fmla="*/ 7818 h 10000"/>
              <a:gd name="connsiteX14" fmla="*/ 86 w 9969"/>
              <a:gd name="connsiteY14" fmla="*/ 7886 h 10000"/>
              <a:gd name="connsiteX15" fmla="*/ 329 w 9969"/>
              <a:gd name="connsiteY15" fmla="*/ 7938 h 10000"/>
              <a:gd name="connsiteX16" fmla="*/ 359 w 9969"/>
              <a:gd name="connsiteY16" fmla="*/ 8014 h 10000"/>
              <a:gd name="connsiteX17" fmla="*/ 277 w 9969"/>
              <a:gd name="connsiteY17" fmla="*/ 8126 h 10000"/>
              <a:gd name="connsiteX18" fmla="*/ 456 w 9969"/>
              <a:gd name="connsiteY18" fmla="*/ 8118 h 10000"/>
              <a:gd name="connsiteX19" fmla="*/ 469 w 9969"/>
              <a:gd name="connsiteY19" fmla="*/ 8203 h 10000"/>
              <a:gd name="connsiteX20" fmla="*/ 350 w 9969"/>
              <a:gd name="connsiteY20" fmla="*/ 8260 h 10000"/>
              <a:gd name="connsiteX21" fmla="*/ 369 w 9969"/>
              <a:gd name="connsiteY21" fmla="*/ 8370 h 10000"/>
              <a:gd name="connsiteX22" fmla="*/ 323 w 9969"/>
              <a:gd name="connsiteY22" fmla="*/ 8456 h 10000"/>
              <a:gd name="connsiteX23" fmla="*/ 464 w 9969"/>
              <a:gd name="connsiteY23" fmla="*/ 8464 h 10000"/>
              <a:gd name="connsiteX24" fmla="*/ 601 w 9969"/>
              <a:gd name="connsiteY24" fmla="*/ 8792 h 10000"/>
              <a:gd name="connsiteX25" fmla="*/ 760 w 9969"/>
              <a:gd name="connsiteY25" fmla="*/ 8876 h 10000"/>
              <a:gd name="connsiteX26" fmla="*/ 828 w 9969"/>
              <a:gd name="connsiteY26" fmla="*/ 8965 h 10000"/>
              <a:gd name="connsiteX27" fmla="*/ 1001 w 9969"/>
              <a:gd name="connsiteY27" fmla="*/ 9030 h 10000"/>
              <a:gd name="connsiteX28" fmla="*/ 1111 w 9969"/>
              <a:gd name="connsiteY28" fmla="*/ 9112 h 10000"/>
              <a:gd name="connsiteX29" fmla="*/ 1097 w 9969"/>
              <a:gd name="connsiteY29" fmla="*/ 9171 h 10000"/>
              <a:gd name="connsiteX30" fmla="*/ 988 w 9969"/>
              <a:gd name="connsiteY30" fmla="*/ 9193 h 10000"/>
              <a:gd name="connsiteX31" fmla="*/ 869 w 9969"/>
              <a:gd name="connsiteY31" fmla="*/ 9179 h 10000"/>
              <a:gd name="connsiteX32" fmla="*/ 832 w 9969"/>
              <a:gd name="connsiteY32" fmla="*/ 9204 h 10000"/>
              <a:gd name="connsiteX33" fmla="*/ 923 w 9969"/>
              <a:gd name="connsiteY33" fmla="*/ 9332 h 10000"/>
              <a:gd name="connsiteX34" fmla="*/ 796 w 9969"/>
              <a:gd name="connsiteY34" fmla="*/ 9322 h 10000"/>
              <a:gd name="connsiteX35" fmla="*/ 687 w 9969"/>
              <a:gd name="connsiteY35" fmla="*/ 9291 h 10000"/>
              <a:gd name="connsiteX36" fmla="*/ 668 w 9969"/>
              <a:gd name="connsiteY36" fmla="*/ 9338 h 10000"/>
              <a:gd name="connsiteX37" fmla="*/ 1028 w 9969"/>
              <a:gd name="connsiteY37" fmla="*/ 9776 h 10000"/>
              <a:gd name="connsiteX38" fmla="*/ 970 w 9969"/>
              <a:gd name="connsiteY38" fmla="*/ 9817 h 10000"/>
              <a:gd name="connsiteX39" fmla="*/ 929 w 9969"/>
              <a:gd name="connsiteY39" fmla="*/ 9902 h 10000"/>
              <a:gd name="connsiteX40" fmla="*/ 878 w 9969"/>
              <a:gd name="connsiteY40" fmla="*/ 9908 h 10000"/>
              <a:gd name="connsiteX41" fmla="*/ 846 w 9969"/>
              <a:gd name="connsiteY41" fmla="*/ 9945 h 10000"/>
              <a:gd name="connsiteX42" fmla="*/ 1064 w 9969"/>
              <a:gd name="connsiteY42" fmla="*/ 9949 h 10000"/>
              <a:gd name="connsiteX43" fmla="*/ 1256 w 9969"/>
              <a:gd name="connsiteY43" fmla="*/ 9986 h 10000"/>
              <a:gd name="connsiteX44" fmla="*/ 1574 w 9969"/>
              <a:gd name="connsiteY44" fmla="*/ 9947 h 10000"/>
              <a:gd name="connsiteX45" fmla="*/ 1860 w 9969"/>
              <a:gd name="connsiteY45" fmla="*/ 9953 h 10000"/>
              <a:gd name="connsiteX46" fmla="*/ 2030 w 9969"/>
              <a:gd name="connsiteY46" fmla="*/ 10000 h 10000"/>
              <a:gd name="connsiteX47" fmla="*/ 2121 w 9969"/>
              <a:gd name="connsiteY47" fmla="*/ 9969 h 10000"/>
              <a:gd name="connsiteX48" fmla="*/ 2211 w 9969"/>
              <a:gd name="connsiteY48" fmla="*/ 9868 h 10000"/>
              <a:gd name="connsiteX49" fmla="*/ 2188 w 9969"/>
              <a:gd name="connsiteY49" fmla="*/ 9703 h 10000"/>
              <a:gd name="connsiteX50" fmla="*/ 2407 w 9969"/>
              <a:gd name="connsiteY50" fmla="*/ 9517 h 10000"/>
              <a:gd name="connsiteX51" fmla="*/ 2566 w 9969"/>
              <a:gd name="connsiteY51" fmla="*/ 9546 h 10000"/>
              <a:gd name="connsiteX52" fmla="*/ 2657 w 9969"/>
              <a:gd name="connsiteY52" fmla="*/ 9472 h 10000"/>
              <a:gd name="connsiteX53" fmla="*/ 2834 w 9969"/>
              <a:gd name="connsiteY53" fmla="*/ 9430 h 10000"/>
              <a:gd name="connsiteX54" fmla="*/ 3075 w 9969"/>
              <a:gd name="connsiteY54" fmla="*/ 9440 h 10000"/>
              <a:gd name="connsiteX55" fmla="*/ 3221 w 9969"/>
              <a:gd name="connsiteY55" fmla="*/ 9470 h 10000"/>
              <a:gd name="connsiteX56" fmla="*/ 3413 w 9969"/>
              <a:gd name="connsiteY56" fmla="*/ 9456 h 10000"/>
              <a:gd name="connsiteX57" fmla="*/ 3608 w 9969"/>
              <a:gd name="connsiteY57" fmla="*/ 9489 h 10000"/>
              <a:gd name="connsiteX58" fmla="*/ 3803 w 9969"/>
              <a:gd name="connsiteY58" fmla="*/ 9493 h 10000"/>
              <a:gd name="connsiteX59" fmla="*/ 4240 w 9969"/>
              <a:gd name="connsiteY59" fmla="*/ 9061 h 10000"/>
              <a:gd name="connsiteX60" fmla="*/ 4350 w 9969"/>
              <a:gd name="connsiteY60" fmla="*/ 8711 h 10000"/>
              <a:gd name="connsiteX61" fmla="*/ 4527 w 9969"/>
              <a:gd name="connsiteY61" fmla="*/ 8554 h 10000"/>
              <a:gd name="connsiteX62" fmla="*/ 4527 w 9969"/>
              <a:gd name="connsiteY62" fmla="*/ 8472 h 10000"/>
              <a:gd name="connsiteX63" fmla="*/ 4463 w 9969"/>
              <a:gd name="connsiteY63" fmla="*/ 8425 h 10000"/>
              <a:gd name="connsiteX64" fmla="*/ 4568 w 9969"/>
              <a:gd name="connsiteY64" fmla="*/ 8352 h 10000"/>
              <a:gd name="connsiteX65" fmla="*/ 4549 w 9969"/>
              <a:gd name="connsiteY65" fmla="*/ 8289 h 10000"/>
              <a:gd name="connsiteX66" fmla="*/ 4477 w 9969"/>
              <a:gd name="connsiteY66" fmla="*/ 8236 h 10000"/>
              <a:gd name="connsiteX67" fmla="*/ 4463 w 9969"/>
              <a:gd name="connsiteY67" fmla="*/ 8199 h 10000"/>
              <a:gd name="connsiteX68" fmla="*/ 4481 w 9969"/>
              <a:gd name="connsiteY68" fmla="*/ 8169 h 10000"/>
              <a:gd name="connsiteX69" fmla="*/ 4577 w 9969"/>
              <a:gd name="connsiteY69" fmla="*/ 8193 h 10000"/>
              <a:gd name="connsiteX70" fmla="*/ 4654 w 9969"/>
              <a:gd name="connsiteY70" fmla="*/ 8191 h 10000"/>
              <a:gd name="connsiteX71" fmla="*/ 4612 w 9969"/>
              <a:gd name="connsiteY71" fmla="*/ 8140 h 10000"/>
              <a:gd name="connsiteX72" fmla="*/ 4626 w 9969"/>
              <a:gd name="connsiteY72" fmla="*/ 8112 h 10000"/>
              <a:gd name="connsiteX73" fmla="*/ 4681 w 9969"/>
              <a:gd name="connsiteY73" fmla="*/ 8069 h 10000"/>
              <a:gd name="connsiteX74" fmla="*/ 4672 w 9969"/>
              <a:gd name="connsiteY74" fmla="*/ 8034 h 10000"/>
              <a:gd name="connsiteX75" fmla="*/ 4723 w 9969"/>
              <a:gd name="connsiteY75" fmla="*/ 7916 h 10000"/>
              <a:gd name="connsiteX76" fmla="*/ 4710 w 9969"/>
              <a:gd name="connsiteY76" fmla="*/ 7881 h 10000"/>
              <a:gd name="connsiteX77" fmla="*/ 4445 w 9969"/>
              <a:gd name="connsiteY77" fmla="*/ 7792 h 10000"/>
              <a:gd name="connsiteX78" fmla="*/ 4481 w 9969"/>
              <a:gd name="connsiteY78" fmla="*/ 7788 h 10000"/>
              <a:gd name="connsiteX79" fmla="*/ 4622 w 9969"/>
              <a:gd name="connsiteY79" fmla="*/ 7812 h 10000"/>
              <a:gd name="connsiteX80" fmla="*/ 4773 w 9969"/>
              <a:gd name="connsiteY80" fmla="*/ 7804 h 10000"/>
              <a:gd name="connsiteX81" fmla="*/ 4818 w 9969"/>
              <a:gd name="connsiteY81" fmla="*/ 7771 h 10000"/>
              <a:gd name="connsiteX82" fmla="*/ 4672 w 9969"/>
              <a:gd name="connsiteY82" fmla="*/ 7710 h 10000"/>
              <a:gd name="connsiteX83" fmla="*/ 4236 w 9969"/>
              <a:gd name="connsiteY83" fmla="*/ 7670 h 10000"/>
              <a:gd name="connsiteX84" fmla="*/ 4266 w 9969"/>
              <a:gd name="connsiteY84" fmla="*/ 7651 h 10000"/>
              <a:gd name="connsiteX85" fmla="*/ 4622 w 9969"/>
              <a:gd name="connsiteY85" fmla="*/ 7639 h 10000"/>
              <a:gd name="connsiteX86" fmla="*/ 4818 w 9969"/>
              <a:gd name="connsiteY86" fmla="*/ 7676 h 10000"/>
              <a:gd name="connsiteX87" fmla="*/ 4932 w 9969"/>
              <a:gd name="connsiteY87" fmla="*/ 7651 h 10000"/>
              <a:gd name="connsiteX88" fmla="*/ 4973 w 9969"/>
              <a:gd name="connsiteY88" fmla="*/ 7588 h 10000"/>
              <a:gd name="connsiteX89" fmla="*/ 5177 w 9969"/>
              <a:gd name="connsiteY89" fmla="*/ 7588 h 10000"/>
              <a:gd name="connsiteX90" fmla="*/ 5455 w 9969"/>
              <a:gd name="connsiteY90" fmla="*/ 7462 h 10000"/>
              <a:gd name="connsiteX91" fmla="*/ 5465 w 9969"/>
              <a:gd name="connsiteY91" fmla="*/ 7378 h 10000"/>
              <a:gd name="connsiteX92" fmla="*/ 5582 w 9969"/>
              <a:gd name="connsiteY92" fmla="*/ 7397 h 10000"/>
              <a:gd name="connsiteX93" fmla="*/ 5578 w 9969"/>
              <a:gd name="connsiteY93" fmla="*/ 7482 h 10000"/>
              <a:gd name="connsiteX94" fmla="*/ 5764 w 9969"/>
              <a:gd name="connsiteY94" fmla="*/ 7476 h 10000"/>
              <a:gd name="connsiteX95" fmla="*/ 5887 w 9969"/>
              <a:gd name="connsiteY95" fmla="*/ 7388 h 10000"/>
              <a:gd name="connsiteX96" fmla="*/ 6116 w 9969"/>
              <a:gd name="connsiteY96" fmla="*/ 7309 h 10000"/>
              <a:gd name="connsiteX97" fmla="*/ 6078 w 9969"/>
              <a:gd name="connsiteY97" fmla="*/ 7219 h 10000"/>
              <a:gd name="connsiteX98" fmla="*/ 6146 w 9969"/>
              <a:gd name="connsiteY98" fmla="*/ 7254 h 10000"/>
              <a:gd name="connsiteX99" fmla="*/ 6251 w 9969"/>
              <a:gd name="connsiteY99" fmla="*/ 7254 h 10000"/>
              <a:gd name="connsiteX100" fmla="*/ 6251 w 9969"/>
              <a:gd name="connsiteY100" fmla="*/ 7213 h 10000"/>
              <a:gd name="connsiteX101" fmla="*/ 6347 w 9969"/>
              <a:gd name="connsiteY101" fmla="*/ 7181 h 10000"/>
              <a:gd name="connsiteX102" fmla="*/ 6333 w 9969"/>
              <a:gd name="connsiteY102" fmla="*/ 7148 h 10000"/>
              <a:gd name="connsiteX103" fmla="*/ 5515 w 9969"/>
              <a:gd name="connsiteY103" fmla="*/ 7215 h 10000"/>
              <a:gd name="connsiteX104" fmla="*/ 5323 w 9969"/>
              <a:gd name="connsiteY104" fmla="*/ 7195 h 10000"/>
              <a:gd name="connsiteX105" fmla="*/ 5246 w 9969"/>
              <a:gd name="connsiteY105" fmla="*/ 7219 h 10000"/>
              <a:gd name="connsiteX106" fmla="*/ 5219 w 9969"/>
              <a:gd name="connsiteY106" fmla="*/ 7173 h 10000"/>
              <a:gd name="connsiteX107" fmla="*/ 5128 w 9969"/>
              <a:gd name="connsiteY107" fmla="*/ 7132 h 10000"/>
              <a:gd name="connsiteX108" fmla="*/ 4763 w 9969"/>
              <a:gd name="connsiteY108" fmla="*/ 7052 h 10000"/>
              <a:gd name="connsiteX109" fmla="*/ 4549 w 9969"/>
              <a:gd name="connsiteY109" fmla="*/ 7065 h 10000"/>
              <a:gd name="connsiteX110" fmla="*/ 4463 w 9969"/>
              <a:gd name="connsiteY110" fmla="*/ 7042 h 10000"/>
              <a:gd name="connsiteX111" fmla="*/ 4554 w 9969"/>
              <a:gd name="connsiteY111" fmla="*/ 7022 h 10000"/>
              <a:gd name="connsiteX112" fmla="*/ 4622 w 9969"/>
              <a:gd name="connsiteY112" fmla="*/ 6979 h 10000"/>
              <a:gd name="connsiteX113" fmla="*/ 4723 w 9969"/>
              <a:gd name="connsiteY113" fmla="*/ 6993 h 10000"/>
              <a:gd name="connsiteX114" fmla="*/ 4845 w 9969"/>
              <a:gd name="connsiteY114" fmla="*/ 6981 h 10000"/>
              <a:gd name="connsiteX115" fmla="*/ 5027 w 9969"/>
              <a:gd name="connsiteY115" fmla="*/ 6995 h 10000"/>
              <a:gd name="connsiteX116" fmla="*/ 5049 w 9969"/>
              <a:gd name="connsiteY116" fmla="*/ 6989 h 10000"/>
              <a:gd name="connsiteX117" fmla="*/ 5191 w 9969"/>
              <a:gd name="connsiteY117" fmla="*/ 7056 h 10000"/>
              <a:gd name="connsiteX118" fmla="*/ 5296 w 9969"/>
              <a:gd name="connsiteY118" fmla="*/ 7032 h 10000"/>
              <a:gd name="connsiteX119" fmla="*/ 5304 w 9969"/>
              <a:gd name="connsiteY119" fmla="*/ 7010 h 10000"/>
              <a:gd name="connsiteX120" fmla="*/ 5400 w 9969"/>
              <a:gd name="connsiteY120" fmla="*/ 7048 h 10000"/>
              <a:gd name="connsiteX121" fmla="*/ 5528 w 9969"/>
              <a:gd name="connsiteY121" fmla="*/ 7069 h 10000"/>
              <a:gd name="connsiteX122" fmla="*/ 5578 w 9969"/>
              <a:gd name="connsiteY122" fmla="*/ 7030 h 10000"/>
              <a:gd name="connsiteX123" fmla="*/ 5619 w 9969"/>
              <a:gd name="connsiteY123" fmla="*/ 7052 h 10000"/>
              <a:gd name="connsiteX124" fmla="*/ 5677 w 9969"/>
              <a:gd name="connsiteY124" fmla="*/ 7126 h 10000"/>
              <a:gd name="connsiteX125" fmla="*/ 5800 w 9969"/>
              <a:gd name="connsiteY125" fmla="*/ 7144 h 10000"/>
              <a:gd name="connsiteX126" fmla="*/ 6301 w 9969"/>
              <a:gd name="connsiteY126" fmla="*/ 7034 h 10000"/>
              <a:gd name="connsiteX127" fmla="*/ 6547 w 9969"/>
              <a:gd name="connsiteY127" fmla="*/ 6879 h 10000"/>
              <a:gd name="connsiteX128" fmla="*/ 6605 w 9969"/>
              <a:gd name="connsiteY128" fmla="*/ 6765 h 10000"/>
              <a:gd name="connsiteX129" fmla="*/ 6516 w 9969"/>
              <a:gd name="connsiteY129" fmla="*/ 6663 h 10000"/>
              <a:gd name="connsiteX130" fmla="*/ 6328 w 9969"/>
              <a:gd name="connsiteY130" fmla="*/ 6602 h 10000"/>
              <a:gd name="connsiteX131" fmla="*/ 6196 w 9969"/>
              <a:gd name="connsiteY131" fmla="*/ 6502 h 10000"/>
              <a:gd name="connsiteX132" fmla="*/ 6320 w 9969"/>
              <a:gd name="connsiteY132" fmla="*/ 6498 h 10000"/>
              <a:gd name="connsiteX133" fmla="*/ 6311 w 9969"/>
              <a:gd name="connsiteY133" fmla="*/ 6474 h 10000"/>
              <a:gd name="connsiteX134" fmla="*/ 5988 w 9969"/>
              <a:gd name="connsiteY134" fmla="*/ 6403 h 10000"/>
              <a:gd name="connsiteX135" fmla="*/ 5975 w 9969"/>
              <a:gd name="connsiteY135" fmla="*/ 6339 h 10000"/>
              <a:gd name="connsiteX136" fmla="*/ 5914 w 9969"/>
              <a:gd name="connsiteY136" fmla="*/ 6272 h 10000"/>
              <a:gd name="connsiteX137" fmla="*/ 5659 w 9969"/>
              <a:gd name="connsiteY137" fmla="*/ 6284 h 10000"/>
              <a:gd name="connsiteX138" fmla="*/ 5568 w 9969"/>
              <a:gd name="connsiteY138" fmla="*/ 6213 h 10000"/>
              <a:gd name="connsiteX139" fmla="*/ 5515 w 9969"/>
              <a:gd name="connsiteY139" fmla="*/ 6209 h 10000"/>
              <a:gd name="connsiteX140" fmla="*/ 5515 w 9969"/>
              <a:gd name="connsiteY140" fmla="*/ 6238 h 10000"/>
              <a:gd name="connsiteX141" fmla="*/ 5400 w 9969"/>
              <a:gd name="connsiteY141" fmla="*/ 6358 h 10000"/>
              <a:gd name="connsiteX142" fmla="*/ 5277 w 9969"/>
              <a:gd name="connsiteY142" fmla="*/ 6429 h 10000"/>
              <a:gd name="connsiteX143" fmla="*/ 4890 w 9969"/>
              <a:gd name="connsiteY143" fmla="*/ 6551 h 10000"/>
              <a:gd name="connsiteX144" fmla="*/ 4754 w 9969"/>
              <a:gd name="connsiteY144" fmla="*/ 6547 h 10000"/>
              <a:gd name="connsiteX145" fmla="*/ 4568 w 9969"/>
              <a:gd name="connsiteY145" fmla="*/ 6565 h 10000"/>
              <a:gd name="connsiteX146" fmla="*/ 4463 w 9969"/>
              <a:gd name="connsiteY146" fmla="*/ 6547 h 10000"/>
              <a:gd name="connsiteX147" fmla="*/ 4599 w 9969"/>
              <a:gd name="connsiteY147" fmla="*/ 6513 h 10000"/>
              <a:gd name="connsiteX148" fmla="*/ 4777 w 9969"/>
              <a:gd name="connsiteY148" fmla="*/ 6498 h 10000"/>
              <a:gd name="connsiteX149" fmla="*/ 4924 w 9969"/>
              <a:gd name="connsiteY149" fmla="*/ 6441 h 10000"/>
              <a:gd name="connsiteX150" fmla="*/ 5067 w 9969"/>
              <a:gd name="connsiteY150" fmla="*/ 6415 h 10000"/>
              <a:gd name="connsiteX151" fmla="*/ 5337 w 9969"/>
              <a:gd name="connsiteY151" fmla="*/ 6317 h 10000"/>
              <a:gd name="connsiteX152" fmla="*/ 5387 w 9969"/>
              <a:gd name="connsiteY152" fmla="*/ 6252 h 10000"/>
              <a:gd name="connsiteX153" fmla="*/ 5391 w 9969"/>
              <a:gd name="connsiteY153" fmla="*/ 6168 h 10000"/>
              <a:gd name="connsiteX154" fmla="*/ 5269 w 9969"/>
              <a:gd name="connsiteY154" fmla="*/ 6154 h 10000"/>
              <a:gd name="connsiteX155" fmla="*/ 5323 w 9969"/>
              <a:gd name="connsiteY155" fmla="*/ 6103 h 10000"/>
              <a:gd name="connsiteX156" fmla="*/ 5341 w 9969"/>
              <a:gd name="connsiteY156" fmla="*/ 6038 h 10000"/>
              <a:gd name="connsiteX157" fmla="*/ 5290 w 9969"/>
              <a:gd name="connsiteY157" fmla="*/ 5977 h 10000"/>
              <a:gd name="connsiteX158" fmla="*/ 5259 w 9969"/>
              <a:gd name="connsiteY158" fmla="*/ 5533 h 10000"/>
              <a:gd name="connsiteX159" fmla="*/ 5333 w 9969"/>
              <a:gd name="connsiteY159" fmla="*/ 5437 h 10000"/>
              <a:gd name="connsiteX160" fmla="*/ 5314 w 9969"/>
              <a:gd name="connsiteY160" fmla="*/ 5398 h 10000"/>
              <a:gd name="connsiteX161" fmla="*/ 5528 w 9969"/>
              <a:gd name="connsiteY161" fmla="*/ 5455 h 10000"/>
              <a:gd name="connsiteX162" fmla="*/ 5542 w 9969"/>
              <a:gd name="connsiteY162" fmla="*/ 5402 h 10000"/>
              <a:gd name="connsiteX163" fmla="*/ 5496 w 9969"/>
              <a:gd name="connsiteY163" fmla="*/ 5264 h 10000"/>
              <a:gd name="connsiteX164" fmla="*/ 5649 w 9969"/>
              <a:gd name="connsiteY164" fmla="*/ 5019 h 10000"/>
              <a:gd name="connsiteX165" fmla="*/ 5555 w 9969"/>
              <a:gd name="connsiteY165" fmla="*/ 4960 h 10000"/>
              <a:gd name="connsiteX166" fmla="*/ 5519 w 9969"/>
              <a:gd name="connsiteY166" fmla="*/ 4905 h 10000"/>
              <a:gd name="connsiteX167" fmla="*/ 5532 w 9969"/>
              <a:gd name="connsiteY167" fmla="*/ 4816 h 10000"/>
              <a:gd name="connsiteX168" fmla="*/ 5756 w 9969"/>
              <a:gd name="connsiteY168" fmla="*/ 4875 h 10000"/>
              <a:gd name="connsiteX169" fmla="*/ 5764 w 9969"/>
              <a:gd name="connsiteY169" fmla="*/ 4858 h 10000"/>
              <a:gd name="connsiteX170" fmla="*/ 5827 w 9969"/>
              <a:gd name="connsiteY170" fmla="*/ 4842 h 10000"/>
              <a:gd name="connsiteX171" fmla="*/ 5914 w 9969"/>
              <a:gd name="connsiteY171" fmla="*/ 4785 h 10000"/>
              <a:gd name="connsiteX172" fmla="*/ 5928 w 9969"/>
              <a:gd name="connsiteY172" fmla="*/ 4769 h 10000"/>
              <a:gd name="connsiteX173" fmla="*/ 5910 w 9969"/>
              <a:gd name="connsiteY173" fmla="*/ 4748 h 10000"/>
              <a:gd name="connsiteX174" fmla="*/ 5954 w 9969"/>
              <a:gd name="connsiteY174" fmla="*/ 4647 h 10000"/>
              <a:gd name="connsiteX175" fmla="*/ 5901 w 9969"/>
              <a:gd name="connsiteY175" fmla="*/ 4581 h 10000"/>
              <a:gd name="connsiteX176" fmla="*/ 5910 w 9969"/>
              <a:gd name="connsiteY176" fmla="*/ 4528 h 10000"/>
              <a:gd name="connsiteX177" fmla="*/ 5941 w 9969"/>
              <a:gd name="connsiteY177" fmla="*/ 4590 h 10000"/>
              <a:gd name="connsiteX178" fmla="*/ 6064 w 9969"/>
              <a:gd name="connsiteY178" fmla="*/ 4636 h 10000"/>
              <a:gd name="connsiteX179" fmla="*/ 6116 w 9969"/>
              <a:gd name="connsiteY179" fmla="*/ 4630 h 10000"/>
              <a:gd name="connsiteX180" fmla="*/ 6196 w 9969"/>
              <a:gd name="connsiteY180" fmla="*/ 4569 h 10000"/>
              <a:gd name="connsiteX181" fmla="*/ 6283 w 9969"/>
              <a:gd name="connsiteY181" fmla="*/ 4594 h 10000"/>
              <a:gd name="connsiteX182" fmla="*/ 6307 w 9969"/>
              <a:gd name="connsiteY182" fmla="*/ 4545 h 10000"/>
              <a:gd name="connsiteX183" fmla="*/ 6365 w 9969"/>
              <a:gd name="connsiteY183" fmla="*/ 4512 h 10000"/>
              <a:gd name="connsiteX184" fmla="*/ 6205 w 9969"/>
              <a:gd name="connsiteY184" fmla="*/ 4477 h 10000"/>
              <a:gd name="connsiteX185" fmla="*/ 6320 w 9969"/>
              <a:gd name="connsiteY185" fmla="*/ 4484 h 10000"/>
              <a:gd name="connsiteX186" fmla="*/ 6437 w 9969"/>
              <a:gd name="connsiteY186" fmla="*/ 4447 h 10000"/>
              <a:gd name="connsiteX187" fmla="*/ 6433 w 9969"/>
              <a:gd name="connsiteY187" fmla="*/ 4422 h 10000"/>
              <a:gd name="connsiteX188" fmla="*/ 6543 w 9969"/>
              <a:gd name="connsiteY188" fmla="*/ 4398 h 10000"/>
              <a:gd name="connsiteX189" fmla="*/ 6552 w 9969"/>
              <a:gd name="connsiteY189" fmla="*/ 4337 h 10000"/>
              <a:gd name="connsiteX190" fmla="*/ 6638 w 9969"/>
              <a:gd name="connsiteY190" fmla="*/ 4325 h 10000"/>
              <a:gd name="connsiteX191" fmla="*/ 6646 w 9969"/>
              <a:gd name="connsiteY191" fmla="*/ 4253 h 10000"/>
              <a:gd name="connsiteX192" fmla="*/ 6737 w 9969"/>
              <a:gd name="connsiteY192" fmla="*/ 4245 h 10000"/>
              <a:gd name="connsiteX193" fmla="*/ 6879 w 9969"/>
              <a:gd name="connsiteY193" fmla="*/ 4260 h 10000"/>
              <a:gd name="connsiteX194" fmla="*/ 7033 w 9969"/>
              <a:gd name="connsiteY194" fmla="*/ 4202 h 10000"/>
              <a:gd name="connsiteX195" fmla="*/ 7088 w 9969"/>
              <a:gd name="connsiteY195" fmla="*/ 4137 h 10000"/>
              <a:gd name="connsiteX196" fmla="*/ 7279 w 9969"/>
              <a:gd name="connsiteY196" fmla="*/ 4070 h 10000"/>
              <a:gd name="connsiteX197" fmla="*/ 7374 w 9969"/>
              <a:gd name="connsiteY197" fmla="*/ 4111 h 10000"/>
              <a:gd name="connsiteX198" fmla="*/ 7520 w 9969"/>
              <a:gd name="connsiteY198" fmla="*/ 4066 h 10000"/>
              <a:gd name="connsiteX199" fmla="*/ 7556 w 9969"/>
              <a:gd name="connsiteY199" fmla="*/ 4009 h 10000"/>
              <a:gd name="connsiteX200" fmla="*/ 7666 w 9969"/>
              <a:gd name="connsiteY200" fmla="*/ 3970 h 10000"/>
              <a:gd name="connsiteX201" fmla="*/ 7761 w 9969"/>
              <a:gd name="connsiteY201" fmla="*/ 3987 h 10000"/>
              <a:gd name="connsiteX202" fmla="*/ 7820 w 9969"/>
              <a:gd name="connsiteY202" fmla="*/ 3958 h 10000"/>
              <a:gd name="connsiteX203" fmla="*/ 7984 w 9969"/>
              <a:gd name="connsiteY203" fmla="*/ 3917 h 10000"/>
              <a:gd name="connsiteX204" fmla="*/ 8052 w 9969"/>
              <a:gd name="connsiteY204" fmla="*/ 3864 h 10000"/>
              <a:gd name="connsiteX205" fmla="*/ 8144 w 9969"/>
              <a:gd name="connsiteY205" fmla="*/ 3842 h 10000"/>
              <a:gd name="connsiteX206" fmla="*/ 8649 w 9969"/>
              <a:gd name="connsiteY206" fmla="*/ 3522 h 10000"/>
              <a:gd name="connsiteX207" fmla="*/ 9969 w 9969"/>
              <a:gd name="connsiteY207" fmla="*/ 1194 h 10000"/>
              <a:gd name="connsiteX208" fmla="*/ 9909 w 9969"/>
              <a:gd name="connsiteY208" fmla="*/ 1159 h 10000"/>
              <a:gd name="connsiteX209" fmla="*/ 9858 w 9969"/>
              <a:gd name="connsiteY209" fmla="*/ 978 h 10000"/>
              <a:gd name="connsiteX210" fmla="*/ 9918 w 9969"/>
              <a:gd name="connsiteY210" fmla="*/ 831 h 10000"/>
              <a:gd name="connsiteX211" fmla="*/ 9481 w 9969"/>
              <a:gd name="connsiteY211" fmla="*/ 517 h 10000"/>
              <a:gd name="connsiteX212" fmla="*/ 9267 w 9969"/>
              <a:gd name="connsiteY212" fmla="*/ 440 h 10000"/>
              <a:gd name="connsiteX213" fmla="*/ 8871 w 9969"/>
              <a:gd name="connsiteY213" fmla="*/ 389 h 10000"/>
              <a:gd name="connsiteX214" fmla="*/ 8052 w 9969"/>
              <a:gd name="connsiteY214" fmla="*/ 26 h 10000"/>
              <a:gd name="connsiteX215" fmla="*/ 8025 w 9969"/>
              <a:gd name="connsiteY215" fmla="*/ 2 h 10000"/>
              <a:gd name="connsiteX216" fmla="*/ 7747 w 9969"/>
              <a:gd name="connsiteY216" fmla="*/ 0 h 10000"/>
              <a:gd name="connsiteX217" fmla="*/ 7684 w 9969"/>
              <a:gd name="connsiteY217" fmla="*/ 14 h 10000"/>
              <a:gd name="connsiteX218" fmla="*/ 7698 w 9969"/>
              <a:gd name="connsiteY218" fmla="*/ 61 h 10000"/>
              <a:gd name="connsiteX219" fmla="*/ 7752 w 9969"/>
              <a:gd name="connsiteY219" fmla="*/ 86 h 10000"/>
              <a:gd name="connsiteX220" fmla="*/ 7767 w 9969"/>
              <a:gd name="connsiteY220" fmla="*/ 139 h 10000"/>
              <a:gd name="connsiteX221" fmla="*/ 7747 w 9969"/>
              <a:gd name="connsiteY221" fmla="*/ 181 h 10000"/>
              <a:gd name="connsiteX222" fmla="*/ 7698 w 9969"/>
              <a:gd name="connsiteY222" fmla="*/ 208 h 10000"/>
              <a:gd name="connsiteX223" fmla="*/ 7661 w 9969"/>
              <a:gd name="connsiteY223" fmla="*/ 283 h 10000"/>
              <a:gd name="connsiteX224" fmla="*/ 7593 w 9969"/>
              <a:gd name="connsiteY224" fmla="*/ 336 h 10000"/>
              <a:gd name="connsiteX225" fmla="*/ 7607 w 9969"/>
              <a:gd name="connsiteY225" fmla="*/ 387 h 10000"/>
              <a:gd name="connsiteX226" fmla="*/ 7711 w 9969"/>
              <a:gd name="connsiteY226" fmla="*/ 434 h 10000"/>
              <a:gd name="connsiteX227" fmla="*/ 7643 w 9969"/>
              <a:gd name="connsiteY227" fmla="*/ 475 h 10000"/>
              <a:gd name="connsiteX228" fmla="*/ 7543 w 9969"/>
              <a:gd name="connsiteY228" fmla="*/ 485 h 10000"/>
              <a:gd name="connsiteX229" fmla="*/ 6706 w 9969"/>
              <a:gd name="connsiteY229" fmla="*/ 387 h 10000"/>
              <a:gd name="connsiteX230" fmla="*/ 6605 w 9969"/>
              <a:gd name="connsiteY230" fmla="*/ 395 h 10000"/>
              <a:gd name="connsiteX231" fmla="*/ 6547 w 9969"/>
              <a:gd name="connsiteY231" fmla="*/ 414 h 10000"/>
              <a:gd name="connsiteX232" fmla="*/ 6487 w 9969"/>
              <a:gd name="connsiteY232" fmla="*/ 462 h 10000"/>
              <a:gd name="connsiteX233" fmla="*/ 6498 w 9969"/>
              <a:gd name="connsiteY233" fmla="*/ 581 h 10000"/>
              <a:gd name="connsiteX234" fmla="*/ 6405 w 9969"/>
              <a:gd name="connsiteY234" fmla="*/ 735 h 10000"/>
              <a:gd name="connsiteX235" fmla="*/ 6292 w 9969"/>
              <a:gd name="connsiteY235" fmla="*/ 815 h 10000"/>
              <a:gd name="connsiteX236" fmla="*/ 6247 w 9969"/>
              <a:gd name="connsiteY236" fmla="*/ 805 h 10000"/>
              <a:gd name="connsiteX237" fmla="*/ 6142 w 9969"/>
              <a:gd name="connsiteY237" fmla="*/ 739 h 10000"/>
              <a:gd name="connsiteX238" fmla="*/ 6010 w 9969"/>
              <a:gd name="connsiteY238" fmla="*/ 705 h 10000"/>
              <a:gd name="connsiteX239" fmla="*/ 5868 w 9969"/>
              <a:gd name="connsiteY239" fmla="*/ 715 h 10000"/>
              <a:gd name="connsiteX240" fmla="*/ 5538 w 9969"/>
              <a:gd name="connsiteY240" fmla="*/ 866 h 10000"/>
              <a:gd name="connsiteX241" fmla="*/ 5450 w 9969"/>
              <a:gd name="connsiteY241" fmla="*/ 1017 h 10000"/>
              <a:gd name="connsiteX242" fmla="*/ 5201 w 9969"/>
              <a:gd name="connsiteY242" fmla="*/ 1153 h 10000"/>
              <a:gd name="connsiteX243" fmla="*/ 5155 w 9969"/>
              <a:gd name="connsiteY243" fmla="*/ 1222 h 10000"/>
              <a:gd name="connsiteX244" fmla="*/ 5286 w 9969"/>
              <a:gd name="connsiteY244" fmla="*/ 1344 h 10000"/>
              <a:gd name="connsiteX245" fmla="*/ 5300 w 9969"/>
              <a:gd name="connsiteY245" fmla="*/ 1412 h 10000"/>
              <a:gd name="connsiteX246" fmla="*/ 4618 w 9969"/>
              <a:gd name="connsiteY246" fmla="*/ 1813 h 10000"/>
              <a:gd name="connsiteX247" fmla="*/ 4408 w 9969"/>
              <a:gd name="connsiteY247" fmla="*/ 2070 h 10000"/>
              <a:gd name="connsiteX248" fmla="*/ 4182 w 9969"/>
              <a:gd name="connsiteY248" fmla="*/ 2135 h 10000"/>
              <a:gd name="connsiteX249" fmla="*/ 4039 w 9969"/>
              <a:gd name="connsiteY249" fmla="*/ 2131 h 10000"/>
              <a:gd name="connsiteX250" fmla="*/ 3954 w 9969"/>
              <a:gd name="connsiteY250" fmla="*/ 2153 h 10000"/>
              <a:gd name="connsiteX251" fmla="*/ 3717 w 9969"/>
              <a:gd name="connsiteY251" fmla="*/ 2793 h 10000"/>
              <a:gd name="connsiteX252" fmla="*/ 3172 w 9969"/>
              <a:gd name="connsiteY252" fmla="*/ 3166 h 10000"/>
              <a:gd name="connsiteX253" fmla="*/ 3176 w 9969"/>
              <a:gd name="connsiteY253" fmla="*/ 3225 h 10000"/>
              <a:gd name="connsiteX254" fmla="*/ 3417 w 9969"/>
              <a:gd name="connsiteY254" fmla="*/ 3392 h 10000"/>
              <a:gd name="connsiteX255" fmla="*/ 3340 w 9969"/>
              <a:gd name="connsiteY255" fmla="*/ 3573 h 10000"/>
              <a:gd name="connsiteX256" fmla="*/ 3198 w 9969"/>
              <a:gd name="connsiteY256" fmla="*/ 3640 h 10000"/>
              <a:gd name="connsiteX257" fmla="*/ 2775 w 9969"/>
              <a:gd name="connsiteY257" fmla="*/ 3595 h 10000"/>
              <a:gd name="connsiteX258" fmla="*/ 2483 w 9969"/>
              <a:gd name="connsiteY258" fmla="*/ 3620 h 10000"/>
              <a:gd name="connsiteX259" fmla="*/ 2248 w 9969"/>
              <a:gd name="connsiteY259" fmla="*/ 3673 h 10000"/>
              <a:gd name="connsiteX260" fmla="*/ 1870 w 9969"/>
              <a:gd name="connsiteY260" fmla="*/ 3840 h 10000"/>
              <a:gd name="connsiteX261" fmla="*/ 1669 w 9969"/>
              <a:gd name="connsiteY261" fmla="*/ 4042 h 10000"/>
              <a:gd name="connsiteX262" fmla="*/ 1687 w 9969"/>
              <a:gd name="connsiteY262" fmla="*/ 4154 h 10000"/>
              <a:gd name="connsiteX263" fmla="*/ 1757 w 9969"/>
              <a:gd name="connsiteY263" fmla="*/ 4241 h 10000"/>
              <a:gd name="connsiteX264" fmla="*/ 1810 w 9969"/>
              <a:gd name="connsiteY264" fmla="*/ 4276 h 10000"/>
              <a:gd name="connsiteX265" fmla="*/ 1711 w 9969"/>
              <a:gd name="connsiteY265" fmla="*/ 4331 h 10000"/>
              <a:gd name="connsiteX266" fmla="*/ 1497 w 9969"/>
              <a:gd name="connsiteY266" fmla="*/ 4710 h 10000"/>
              <a:gd name="connsiteX267" fmla="*/ 1538 w 9969"/>
              <a:gd name="connsiteY267" fmla="*/ 4732 h 10000"/>
              <a:gd name="connsiteX268" fmla="*/ 1570 w 9969"/>
              <a:gd name="connsiteY268" fmla="*/ 4828 h 10000"/>
              <a:gd name="connsiteX269" fmla="*/ 1469 w 9969"/>
              <a:gd name="connsiteY269" fmla="*/ 5227 h 10000"/>
              <a:gd name="connsiteX270" fmla="*/ 1570 w 9969"/>
              <a:gd name="connsiteY270" fmla="*/ 5329 h 10000"/>
              <a:gd name="connsiteX271" fmla="*/ 1842 w 9969"/>
              <a:gd name="connsiteY271" fmla="*/ 5441 h 10000"/>
              <a:gd name="connsiteX272" fmla="*/ 1855 w 9969"/>
              <a:gd name="connsiteY272" fmla="*/ 5578 h 10000"/>
              <a:gd name="connsiteX273" fmla="*/ 1739 w 9969"/>
              <a:gd name="connsiteY273" fmla="*/ 5690 h 10000"/>
              <a:gd name="connsiteX274" fmla="*/ 1570 w 9969"/>
              <a:gd name="connsiteY274" fmla="*/ 5759 h 10000"/>
              <a:gd name="connsiteX275" fmla="*/ 1346 w 9969"/>
              <a:gd name="connsiteY275" fmla="*/ 5787 h 10000"/>
              <a:gd name="connsiteX276" fmla="*/ 1288 w 9969"/>
              <a:gd name="connsiteY276" fmla="*/ 5826 h 10000"/>
              <a:gd name="connsiteX277" fmla="*/ 1419 w 9969"/>
              <a:gd name="connsiteY277" fmla="*/ 5920 h 10000"/>
              <a:gd name="connsiteX278" fmla="*/ 1493 w 9969"/>
              <a:gd name="connsiteY278" fmla="*/ 6142 h 10000"/>
              <a:gd name="connsiteX279" fmla="*/ 1324 w 9969"/>
              <a:gd name="connsiteY279" fmla="*/ 6333 h 10000"/>
              <a:gd name="connsiteX280" fmla="*/ 1383 w 9969"/>
              <a:gd name="connsiteY280" fmla="*/ 6392 h 10000"/>
              <a:gd name="connsiteX281" fmla="*/ 1329 w 9969"/>
              <a:gd name="connsiteY281" fmla="*/ 6492 h 10000"/>
              <a:gd name="connsiteX282" fmla="*/ 1220 w 9969"/>
              <a:gd name="connsiteY282" fmla="*/ 6561 h 10000"/>
              <a:gd name="connsiteX283" fmla="*/ 792 w 9969"/>
              <a:gd name="connsiteY283" fmla="*/ 6614 h 10000"/>
              <a:gd name="connsiteX284" fmla="*/ 765 w 9969"/>
              <a:gd name="connsiteY284" fmla="*/ 6706 h 10000"/>
              <a:gd name="connsiteX285" fmla="*/ 533 w 9969"/>
              <a:gd name="connsiteY285" fmla="*/ 6843 h 10000"/>
              <a:gd name="connsiteX286" fmla="*/ 564 w 9969"/>
              <a:gd name="connsiteY286" fmla="*/ 7040 h 10000"/>
              <a:gd name="connsiteX287" fmla="*/ 369 w 9969"/>
              <a:gd name="connsiteY287" fmla="*/ 7293 h 10000"/>
              <a:gd name="connsiteX288" fmla="*/ 236 w 9969"/>
              <a:gd name="connsiteY288" fmla="*/ 7323 h 10000"/>
              <a:gd name="connsiteX289" fmla="*/ 182 w 9969"/>
              <a:gd name="connsiteY289" fmla="*/ 7262 h 10000"/>
              <a:gd name="connsiteX290" fmla="*/ 114 w 9969"/>
              <a:gd name="connsiteY290" fmla="*/ 7354 h 10000"/>
              <a:gd name="connsiteX291" fmla="*/ 159 w 9969"/>
              <a:gd name="connsiteY291" fmla="*/ 7197 h 10000"/>
              <a:gd name="connsiteX292" fmla="*/ 131 w 9969"/>
              <a:gd name="connsiteY292" fmla="*/ 7166 h 10000"/>
              <a:gd name="connsiteX0" fmla="*/ 131 w 10069"/>
              <a:gd name="connsiteY0" fmla="*/ 7166 h 10000"/>
              <a:gd name="connsiteX1" fmla="*/ 0 w 10069"/>
              <a:gd name="connsiteY1" fmla="*/ 7248 h 10000"/>
              <a:gd name="connsiteX2" fmla="*/ 0 w 10069"/>
              <a:gd name="connsiteY2" fmla="*/ 7651 h 10000"/>
              <a:gd name="connsiteX3" fmla="*/ 73 w 10069"/>
              <a:gd name="connsiteY3" fmla="*/ 7663 h 10000"/>
              <a:gd name="connsiteX4" fmla="*/ 90 w 10069"/>
              <a:gd name="connsiteY4" fmla="*/ 7694 h 10000"/>
              <a:gd name="connsiteX5" fmla="*/ 86 w 10069"/>
              <a:gd name="connsiteY5" fmla="*/ 7749 h 10000"/>
              <a:gd name="connsiteX6" fmla="*/ 59 w 10069"/>
              <a:gd name="connsiteY6" fmla="*/ 7773 h 10000"/>
              <a:gd name="connsiteX7" fmla="*/ 169 w 10069"/>
              <a:gd name="connsiteY7" fmla="*/ 7727 h 10000"/>
              <a:gd name="connsiteX8" fmla="*/ 216 w 10069"/>
              <a:gd name="connsiteY8" fmla="*/ 7680 h 10000"/>
              <a:gd name="connsiteX9" fmla="*/ 273 w 10069"/>
              <a:gd name="connsiteY9" fmla="*/ 7712 h 10000"/>
              <a:gd name="connsiteX10" fmla="*/ 210 w 10069"/>
              <a:gd name="connsiteY10" fmla="*/ 7778 h 10000"/>
              <a:gd name="connsiteX11" fmla="*/ 278 w 10069"/>
              <a:gd name="connsiteY11" fmla="*/ 7780 h 10000"/>
              <a:gd name="connsiteX12" fmla="*/ 310 w 10069"/>
              <a:gd name="connsiteY12" fmla="*/ 7796 h 10000"/>
              <a:gd name="connsiteX13" fmla="*/ 224 w 10069"/>
              <a:gd name="connsiteY13" fmla="*/ 7818 h 10000"/>
              <a:gd name="connsiteX14" fmla="*/ 86 w 10069"/>
              <a:gd name="connsiteY14" fmla="*/ 7886 h 10000"/>
              <a:gd name="connsiteX15" fmla="*/ 330 w 10069"/>
              <a:gd name="connsiteY15" fmla="*/ 7938 h 10000"/>
              <a:gd name="connsiteX16" fmla="*/ 360 w 10069"/>
              <a:gd name="connsiteY16" fmla="*/ 8014 h 10000"/>
              <a:gd name="connsiteX17" fmla="*/ 278 w 10069"/>
              <a:gd name="connsiteY17" fmla="*/ 8126 h 10000"/>
              <a:gd name="connsiteX18" fmla="*/ 457 w 10069"/>
              <a:gd name="connsiteY18" fmla="*/ 8118 h 10000"/>
              <a:gd name="connsiteX19" fmla="*/ 470 w 10069"/>
              <a:gd name="connsiteY19" fmla="*/ 8203 h 10000"/>
              <a:gd name="connsiteX20" fmla="*/ 351 w 10069"/>
              <a:gd name="connsiteY20" fmla="*/ 8260 h 10000"/>
              <a:gd name="connsiteX21" fmla="*/ 370 w 10069"/>
              <a:gd name="connsiteY21" fmla="*/ 8370 h 10000"/>
              <a:gd name="connsiteX22" fmla="*/ 324 w 10069"/>
              <a:gd name="connsiteY22" fmla="*/ 8456 h 10000"/>
              <a:gd name="connsiteX23" fmla="*/ 465 w 10069"/>
              <a:gd name="connsiteY23" fmla="*/ 8464 h 10000"/>
              <a:gd name="connsiteX24" fmla="*/ 603 w 10069"/>
              <a:gd name="connsiteY24" fmla="*/ 8792 h 10000"/>
              <a:gd name="connsiteX25" fmla="*/ 762 w 10069"/>
              <a:gd name="connsiteY25" fmla="*/ 8876 h 10000"/>
              <a:gd name="connsiteX26" fmla="*/ 831 w 10069"/>
              <a:gd name="connsiteY26" fmla="*/ 8965 h 10000"/>
              <a:gd name="connsiteX27" fmla="*/ 1004 w 10069"/>
              <a:gd name="connsiteY27" fmla="*/ 9030 h 10000"/>
              <a:gd name="connsiteX28" fmla="*/ 1114 w 10069"/>
              <a:gd name="connsiteY28" fmla="*/ 9112 h 10000"/>
              <a:gd name="connsiteX29" fmla="*/ 1100 w 10069"/>
              <a:gd name="connsiteY29" fmla="*/ 9171 h 10000"/>
              <a:gd name="connsiteX30" fmla="*/ 991 w 10069"/>
              <a:gd name="connsiteY30" fmla="*/ 9193 h 10000"/>
              <a:gd name="connsiteX31" fmla="*/ 872 w 10069"/>
              <a:gd name="connsiteY31" fmla="*/ 9179 h 10000"/>
              <a:gd name="connsiteX32" fmla="*/ 835 w 10069"/>
              <a:gd name="connsiteY32" fmla="*/ 9204 h 10000"/>
              <a:gd name="connsiteX33" fmla="*/ 926 w 10069"/>
              <a:gd name="connsiteY33" fmla="*/ 9332 h 10000"/>
              <a:gd name="connsiteX34" fmla="*/ 798 w 10069"/>
              <a:gd name="connsiteY34" fmla="*/ 9322 h 10000"/>
              <a:gd name="connsiteX35" fmla="*/ 689 w 10069"/>
              <a:gd name="connsiteY35" fmla="*/ 9291 h 10000"/>
              <a:gd name="connsiteX36" fmla="*/ 670 w 10069"/>
              <a:gd name="connsiteY36" fmla="*/ 9338 h 10000"/>
              <a:gd name="connsiteX37" fmla="*/ 1031 w 10069"/>
              <a:gd name="connsiteY37" fmla="*/ 9776 h 10000"/>
              <a:gd name="connsiteX38" fmla="*/ 973 w 10069"/>
              <a:gd name="connsiteY38" fmla="*/ 9817 h 10000"/>
              <a:gd name="connsiteX39" fmla="*/ 932 w 10069"/>
              <a:gd name="connsiteY39" fmla="*/ 9902 h 10000"/>
              <a:gd name="connsiteX40" fmla="*/ 881 w 10069"/>
              <a:gd name="connsiteY40" fmla="*/ 9908 h 10000"/>
              <a:gd name="connsiteX41" fmla="*/ 849 w 10069"/>
              <a:gd name="connsiteY41" fmla="*/ 9945 h 10000"/>
              <a:gd name="connsiteX42" fmla="*/ 1067 w 10069"/>
              <a:gd name="connsiteY42" fmla="*/ 9949 h 10000"/>
              <a:gd name="connsiteX43" fmla="*/ 1260 w 10069"/>
              <a:gd name="connsiteY43" fmla="*/ 9986 h 10000"/>
              <a:gd name="connsiteX44" fmla="*/ 1579 w 10069"/>
              <a:gd name="connsiteY44" fmla="*/ 9947 h 10000"/>
              <a:gd name="connsiteX45" fmla="*/ 1866 w 10069"/>
              <a:gd name="connsiteY45" fmla="*/ 9953 h 10000"/>
              <a:gd name="connsiteX46" fmla="*/ 2036 w 10069"/>
              <a:gd name="connsiteY46" fmla="*/ 10000 h 10000"/>
              <a:gd name="connsiteX47" fmla="*/ 2128 w 10069"/>
              <a:gd name="connsiteY47" fmla="*/ 9969 h 10000"/>
              <a:gd name="connsiteX48" fmla="*/ 2218 w 10069"/>
              <a:gd name="connsiteY48" fmla="*/ 9868 h 10000"/>
              <a:gd name="connsiteX49" fmla="*/ 2195 w 10069"/>
              <a:gd name="connsiteY49" fmla="*/ 9703 h 10000"/>
              <a:gd name="connsiteX50" fmla="*/ 2414 w 10069"/>
              <a:gd name="connsiteY50" fmla="*/ 9517 h 10000"/>
              <a:gd name="connsiteX51" fmla="*/ 2574 w 10069"/>
              <a:gd name="connsiteY51" fmla="*/ 9546 h 10000"/>
              <a:gd name="connsiteX52" fmla="*/ 2665 w 10069"/>
              <a:gd name="connsiteY52" fmla="*/ 9472 h 10000"/>
              <a:gd name="connsiteX53" fmla="*/ 2843 w 10069"/>
              <a:gd name="connsiteY53" fmla="*/ 9430 h 10000"/>
              <a:gd name="connsiteX54" fmla="*/ 3085 w 10069"/>
              <a:gd name="connsiteY54" fmla="*/ 9440 h 10000"/>
              <a:gd name="connsiteX55" fmla="*/ 3231 w 10069"/>
              <a:gd name="connsiteY55" fmla="*/ 9470 h 10000"/>
              <a:gd name="connsiteX56" fmla="*/ 3424 w 10069"/>
              <a:gd name="connsiteY56" fmla="*/ 9456 h 10000"/>
              <a:gd name="connsiteX57" fmla="*/ 3619 w 10069"/>
              <a:gd name="connsiteY57" fmla="*/ 9489 h 10000"/>
              <a:gd name="connsiteX58" fmla="*/ 3815 w 10069"/>
              <a:gd name="connsiteY58" fmla="*/ 9493 h 10000"/>
              <a:gd name="connsiteX59" fmla="*/ 4253 w 10069"/>
              <a:gd name="connsiteY59" fmla="*/ 9061 h 10000"/>
              <a:gd name="connsiteX60" fmla="*/ 4364 w 10069"/>
              <a:gd name="connsiteY60" fmla="*/ 8711 h 10000"/>
              <a:gd name="connsiteX61" fmla="*/ 4541 w 10069"/>
              <a:gd name="connsiteY61" fmla="*/ 8554 h 10000"/>
              <a:gd name="connsiteX62" fmla="*/ 4541 w 10069"/>
              <a:gd name="connsiteY62" fmla="*/ 8472 h 10000"/>
              <a:gd name="connsiteX63" fmla="*/ 4477 w 10069"/>
              <a:gd name="connsiteY63" fmla="*/ 8425 h 10000"/>
              <a:gd name="connsiteX64" fmla="*/ 4582 w 10069"/>
              <a:gd name="connsiteY64" fmla="*/ 8352 h 10000"/>
              <a:gd name="connsiteX65" fmla="*/ 4563 w 10069"/>
              <a:gd name="connsiteY65" fmla="*/ 8289 h 10000"/>
              <a:gd name="connsiteX66" fmla="*/ 4491 w 10069"/>
              <a:gd name="connsiteY66" fmla="*/ 8236 h 10000"/>
              <a:gd name="connsiteX67" fmla="*/ 4477 w 10069"/>
              <a:gd name="connsiteY67" fmla="*/ 8199 h 10000"/>
              <a:gd name="connsiteX68" fmla="*/ 4495 w 10069"/>
              <a:gd name="connsiteY68" fmla="*/ 8169 h 10000"/>
              <a:gd name="connsiteX69" fmla="*/ 4591 w 10069"/>
              <a:gd name="connsiteY69" fmla="*/ 8193 h 10000"/>
              <a:gd name="connsiteX70" fmla="*/ 4668 w 10069"/>
              <a:gd name="connsiteY70" fmla="*/ 8191 h 10000"/>
              <a:gd name="connsiteX71" fmla="*/ 4626 w 10069"/>
              <a:gd name="connsiteY71" fmla="*/ 8140 h 10000"/>
              <a:gd name="connsiteX72" fmla="*/ 4640 w 10069"/>
              <a:gd name="connsiteY72" fmla="*/ 8112 h 10000"/>
              <a:gd name="connsiteX73" fmla="*/ 4696 w 10069"/>
              <a:gd name="connsiteY73" fmla="*/ 8069 h 10000"/>
              <a:gd name="connsiteX74" fmla="*/ 4687 w 10069"/>
              <a:gd name="connsiteY74" fmla="*/ 8034 h 10000"/>
              <a:gd name="connsiteX75" fmla="*/ 4738 w 10069"/>
              <a:gd name="connsiteY75" fmla="*/ 7916 h 10000"/>
              <a:gd name="connsiteX76" fmla="*/ 4725 w 10069"/>
              <a:gd name="connsiteY76" fmla="*/ 7881 h 10000"/>
              <a:gd name="connsiteX77" fmla="*/ 4459 w 10069"/>
              <a:gd name="connsiteY77" fmla="*/ 7792 h 10000"/>
              <a:gd name="connsiteX78" fmla="*/ 4495 w 10069"/>
              <a:gd name="connsiteY78" fmla="*/ 7788 h 10000"/>
              <a:gd name="connsiteX79" fmla="*/ 4636 w 10069"/>
              <a:gd name="connsiteY79" fmla="*/ 7812 h 10000"/>
              <a:gd name="connsiteX80" fmla="*/ 4788 w 10069"/>
              <a:gd name="connsiteY80" fmla="*/ 7804 h 10000"/>
              <a:gd name="connsiteX81" fmla="*/ 4833 w 10069"/>
              <a:gd name="connsiteY81" fmla="*/ 7771 h 10000"/>
              <a:gd name="connsiteX82" fmla="*/ 4687 w 10069"/>
              <a:gd name="connsiteY82" fmla="*/ 7710 h 10000"/>
              <a:gd name="connsiteX83" fmla="*/ 4249 w 10069"/>
              <a:gd name="connsiteY83" fmla="*/ 7670 h 10000"/>
              <a:gd name="connsiteX84" fmla="*/ 4279 w 10069"/>
              <a:gd name="connsiteY84" fmla="*/ 7651 h 10000"/>
              <a:gd name="connsiteX85" fmla="*/ 4636 w 10069"/>
              <a:gd name="connsiteY85" fmla="*/ 7639 h 10000"/>
              <a:gd name="connsiteX86" fmla="*/ 4833 w 10069"/>
              <a:gd name="connsiteY86" fmla="*/ 7676 h 10000"/>
              <a:gd name="connsiteX87" fmla="*/ 4947 w 10069"/>
              <a:gd name="connsiteY87" fmla="*/ 7651 h 10000"/>
              <a:gd name="connsiteX88" fmla="*/ 4988 w 10069"/>
              <a:gd name="connsiteY88" fmla="*/ 7588 h 10000"/>
              <a:gd name="connsiteX89" fmla="*/ 5193 w 10069"/>
              <a:gd name="connsiteY89" fmla="*/ 7588 h 10000"/>
              <a:gd name="connsiteX90" fmla="*/ 5472 w 10069"/>
              <a:gd name="connsiteY90" fmla="*/ 7462 h 10000"/>
              <a:gd name="connsiteX91" fmla="*/ 5482 w 10069"/>
              <a:gd name="connsiteY91" fmla="*/ 7378 h 10000"/>
              <a:gd name="connsiteX92" fmla="*/ 5599 w 10069"/>
              <a:gd name="connsiteY92" fmla="*/ 7397 h 10000"/>
              <a:gd name="connsiteX93" fmla="*/ 5595 w 10069"/>
              <a:gd name="connsiteY93" fmla="*/ 7482 h 10000"/>
              <a:gd name="connsiteX94" fmla="*/ 5782 w 10069"/>
              <a:gd name="connsiteY94" fmla="*/ 7476 h 10000"/>
              <a:gd name="connsiteX95" fmla="*/ 5905 w 10069"/>
              <a:gd name="connsiteY95" fmla="*/ 7388 h 10000"/>
              <a:gd name="connsiteX96" fmla="*/ 6135 w 10069"/>
              <a:gd name="connsiteY96" fmla="*/ 7309 h 10000"/>
              <a:gd name="connsiteX97" fmla="*/ 6097 w 10069"/>
              <a:gd name="connsiteY97" fmla="*/ 7219 h 10000"/>
              <a:gd name="connsiteX98" fmla="*/ 6165 w 10069"/>
              <a:gd name="connsiteY98" fmla="*/ 7254 h 10000"/>
              <a:gd name="connsiteX99" fmla="*/ 6270 w 10069"/>
              <a:gd name="connsiteY99" fmla="*/ 7254 h 10000"/>
              <a:gd name="connsiteX100" fmla="*/ 6270 w 10069"/>
              <a:gd name="connsiteY100" fmla="*/ 7213 h 10000"/>
              <a:gd name="connsiteX101" fmla="*/ 6367 w 10069"/>
              <a:gd name="connsiteY101" fmla="*/ 7181 h 10000"/>
              <a:gd name="connsiteX102" fmla="*/ 6353 w 10069"/>
              <a:gd name="connsiteY102" fmla="*/ 7148 h 10000"/>
              <a:gd name="connsiteX103" fmla="*/ 5532 w 10069"/>
              <a:gd name="connsiteY103" fmla="*/ 7215 h 10000"/>
              <a:gd name="connsiteX104" fmla="*/ 5340 w 10069"/>
              <a:gd name="connsiteY104" fmla="*/ 7195 h 10000"/>
              <a:gd name="connsiteX105" fmla="*/ 5262 w 10069"/>
              <a:gd name="connsiteY105" fmla="*/ 7219 h 10000"/>
              <a:gd name="connsiteX106" fmla="*/ 5235 w 10069"/>
              <a:gd name="connsiteY106" fmla="*/ 7173 h 10000"/>
              <a:gd name="connsiteX107" fmla="*/ 5144 w 10069"/>
              <a:gd name="connsiteY107" fmla="*/ 7132 h 10000"/>
              <a:gd name="connsiteX108" fmla="*/ 4778 w 10069"/>
              <a:gd name="connsiteY108" fmla="*/ 7052 h 10000"/>
              <a:gd name="connsiteX109" fmla="*/ 4563 w 10069"/>
              <a:gd name="connsiteY109" fmla="*/ 7065 h 10000"/>
              <a:gd name="connsiteX110" fmla="*/ 4477 w 10069"/>
              <a:gd name="connsiteY110" fmla="*/ 7042 h 10000"/>
              <a:gd name="connsiteX111" fmla="*/ 4568 w 10069"/>
              <a:gd name="connsiteY111" fmla="*/ 7022 h 10000"/>
              <a:gd name="connsiteX112" fmla="*/ 4636 w 10069"/>
              <a:gd name="connsiteY112" fmla="*/ 6979 h 10000"/>
              <a:gd name="connsiteX113" fmla="*/ 4738 w 10069"/>
              <a:gd name="connsiteY113" fmla="*/ 6993 h 10000"/>
              <a:gd name="connsiteX114" fmla="*/ 4860 w 10069"/>
              <a:gd name="connsiteY114" fmla="*/ 6981 h 10000"/>
              <a:gd name="connsiteX115" fmla="*/ 5043 w 10069"/>
              <a:gd name="connsiteY115" fmla="*/ 6995 h 10000"/>
              <a:gd name="connsiteX116" fmla="*/ 5065 w 10069"/>
              <a:gd name="connsiteY116" fmla="*/ 6989 h 10000"/>
              <a:gd name="connsiteX117" fmla="*/ 5207 w 10069"/>
              <a:gd name="connsiteY117" fmla="*/ 7056 h 10000"/>
              <a:gd name="connsiteX118" fmla="*/ 5312 w 10069"/>
              <a:gd name="connsiteY118" fmla="*/ 7032 h 10000"/>
              <a:gd name="connsiteX119" fmla="*/ 5320 w 10069"/>
              <a:gd name="connsiteY119" fmla="*/ 7010 h 10000"/>
              <a:gd name="connsiteX120" fmla="*/ 5417 w 10069"/>
              <a:gd name="connsiteY120" fmla="*/ 7048 h 10000"/>
              <a:gd name="connsiteX121" fmla="*/ 5545 w 10069"/>
              <a:gd name="connsiteY121" fmla="*/ 7069 h 10000"/>
              <a:gd name="connsiteX122" fmla="*/ 5595 w 10069"/>
              <a:gd name="connsiteY122" fmla="*/ 7030 h 10000"/>
              <a:gd name="connsiteX123" fmla="*/ 5636 w 10069"/>
              <a:gd name="connsiteY123" fmla="*/ 7052 h 10000"/>
              <a:gd name="connsiteX124" fmla="*/ 5695 w 10069"/>
              <a:gd name="connsiteY124" fmla="*/ 7126 h 10000"/>
              <a:gd name="connsiteX125" fmla="*/ 5818 w 10069"/>
              <a:gd name="connsiteY125" fmla="*/ 7144 h 10000"/>
              <a:gd name="connsiteX126" fmla="*/ 6321 w 10069"/>
              <a:gd name="connsiteY126" fmla="*/ 7034 h 10000"/>
              <a:gd name="connsiteX127" fmla="*/ 6567 w 10069"/>
              <a:gd name="connsiteY127" fmla="*/ 6879 h 10000"/>
              <a:gd name="connsiteX128" fmla="*/ 6626 w 10069"/>
              <a:gd name="connsiteY128" fmla="*/ 6765 h 10000"/>
              <a:gd name="connsiteX129" fmla="*/ 6536 w 10069"/>
              <a:gd name="connsiteY129" fmla="*/ 6663 h 10000"/>
              <a:gd name="connsiteX130" fmla="*/ 6348 w 10069"/>
              <a:gd name="connsiteY130" fmla="*/ 6602 h 10000"/>
              <a:gd name="connsiteX131" fmla="*/ 6215 w 10069"/>
              <a:gd name="connsiteY131" fmla="*/ 6502 h 10000"/>
              <a:gd name="connsiteX132" fmla="*/ 6340 w 10069"/>
              <a:gd name="connsiteY132" fmla="*/ 6498 h 10000"/>
              <a:gd name="connsiteX133" fmla="*/ 6331 w 10069"/>
              <a:gd name="connsiteY133" fmla="*/ 6474 h 10000"/>
              <a:gd name="connsiteX134" fmla="*/ 6007 w 10069"/>
              <a:gd name="connsiteY134" fmla="*/ 6403 h 10000"/>
              <a:gd name="connsiteX135" fmla="*/ 5994 w 10069"/>
              <a:gd name="connsiteY135" fmla="*/ 6339 h 10000"/>
              <a:gd name="connsiteX136" fmla="*/ 5932 w 10069"/>
              <a:gd name="connsiteY136" fmla="*/ 6272 h 10000"/>
              <a:gd name="connsiteX137" fmla="*/ 5677 w 10069"/>
              <a:gd name="connsiteY137" fmla="*/ 6284 h 10000"/>
              <a:gd name="connsiteX138" fmla="*/ 5585 w 10069"/>
              <a:gd name="connsiteY138" fmla="*/ 6213 h 10000"/>
              <a:gd name="connsiteX139" fmla="*/ 5532 w 10069"/>
              <a:gd name="connsiteY139" fmla="*/ 6209 h 10000"/>
              <a:gd name="connsiteX140" fmla="*/ 5532 w 10069"/>
              <a:gd name="connsiteY140" fmla="*/ 6238 h 10000"/>
              <a:gd name="connsiteX141" fmla="*/ 5417 w 10069"/>
              <a:gd name="connsiteY141" fmla="*/ 6358 h 10000"/>
              <a:gd name="connsiteX142" fmla="*/ 5293 w 10069"/>
              <a:gd name="connsiteY142" fmla="*/ 6429 h 10000"/>
              <a:gd name="connsiteX143" fmla="*/ 4905 w 10069"/>
              <a:gd name="connsiteY143" fmla="*/ 6551 h 10000"/>
              <a:gd name="connsiteX144" fmla="*/ 4769 w 10069"/>
              <a:gd name="connsiteY144" fmla="*/ 6547 h 10000"/>
              <a:gd name="connsiteX145" fmla="*/ 4582 w 10069"/>
              <a:gd name="connsiteY145" fmla="*/ 6565 h 10000"/>
              <a:gd name="connsiteX146" fmla="*/ 4477 w 10069"/>
              <a:gd name="connsiteY146" fmla="*/ 6547 h 10000"/>
              <a:gd name="connsiteX147" fmla="*/ 4613 w 10069"/>
              <a:gd name="connsiteY147" fmla="*/ 6513 h 10000"/>
              <a:gd name="connsiteX148" fmla="*/ 4792 w 10069"/>
              <a:gd name="connsiteY148" fmla="*/ 6498 h 10000"/>
              <a:gd name="connsiteX149" fmla="*/ 4939 w 10069"/>
              <a:gd name="connsiteY149" fmla="*/ 6441 h 10000"/>
              <a:gd name="connsiteX150" fmla="*/ 5083 w 10069"/>
              <a:gd name="connsiteY150" fmla="*/ 6415 h 10000"/>
              <a:gd name="connsiteX151" fmla="*/ 5354 w 10069"/>
              <a:gd name="connsiteY151" fmla="*/ 6317 h 10000"/>
              <a:gd name="connsiteX152" fmla="*/ 5404 w 10069"/>
              <a:gd name="connsiteY152" fmla="*/ 6252 h 10000"/>
              <a:gd name="connsiteX153" fmla="*/ 5408 w 10069"/>
              <a:gd name="connsiteY153" fmla="*/ 6168 h 10000"/>
              <a:gd name="connsiteX154" fmla="*/ 5285 w 10069"/>
              <a:gd name="connsiteY154" fmla="*/ 6154 h 10000"/>
              <a:gd name="connsiteX155" fmla="*/ 5340 w 10069"/>
              <a:gd name="connsiteY155" fmla="*/ 6103 h 10000"/>
              <a:gd name="connsiteX156" fmla="*/ 5358 w 10069"/>
              <a:gd name="connsiteY156" fmla="*/ 6038 h 10000"/>
              <a:gd name="connsiteX157" fmla="*/ 5306 w 10069"/>
              <a:gd name="connsiteY157" fmla="*/ 5977 h 10000"/>
              <a:gd name="connsiteX158" fmla="*/ 5275 w 10069"/>
              <a:gd name="connsiteY158" fmla="*/ 5533 h 10000"/>
              <a:gd name="connsiteX159" fmla="*/ 5350 w 10069"/>
              <a:gd name="connsiteY159" fmla="*/ 5437 h 10000"/>
              <a:gd name="connsiteX160" fmla="*/ 5331 w 10069"/>
              <a:gd name="connsiteY160" fmla="*/ 5398 h 10000"/>
              <a:gd name="connsiteX161" fmla="*/ 5545 w 10069"/>
              <a:gd name="connsiteY161" fmla="*/ 5455 h 10000"/>
              <a:gd name="connsiteX162" fmla="*/ 5559 w 10069"/>
              <a:gd name="connsiteY162" fmla="*/ 5402 h 10000"/>
              <a:gd name="connsiteX163" fmla="*/ 5513 w 10069"/>
              <a:gd name="connsiteY163" fmla="*/ 5264 h 10000"/>
              <a:gd name="connsiteX164" fmla="*/ 5667 w 10069"/>
              <a:gd name="connsiteY164" fmla="*/ 5019 h 10000"/>
              <a:gd name="connsiteX165" fmla="*/ 5572 w 10069"/>
              <a:gd name="connsiteY165" fmla="*/ 4960 h 10000"/>
              <a:gd name="connsiteX166" fmla="*/ 5536 w 10069"/>
              <a:gd name="connsiteY166" fmla="*/ 4905 h 10000"/>
              <a:gd name="connsiteX167" fmla="*/ 5549 w 10069"/>
              <a:gd name="connsiteY167" fmla="*/ 4816 h 10000"/>
              <a:gd name="connsiteX168" fmla="*/ 5774 w 10069"/>
              <a:gd name="connsiteY168" fmla="*/ 4875 h 10000"/>
              <a:gd name="connsiteX169" fmla="*/ 5782 w 10069"/>
              <a:gd name="connsiteY169" fmla="*/ 4858 h 10000"/>
              <a:gd name="connsiteX170" fmla="*/ 5845 w 10069"/>
              <a:gd name="connsiteY170" fmla="*/ 4842 h 10000"/>
              <a:gd name="connsiteX171" fmla="*/ 5932 w 10069"/>
              <a:gd name="connsiteY171" fmla="*/ 4785 h 10000"/>
              <a:gd name="connsiteX172" fmla="*/ 5946 w 10069"/>
              <a:gd name="connsiteY172" fmla="*/ 4769 h 10000"/>
              <a:gd name="connsiteX173" fmla="*/ 5928 w 10069"/>
              <a:gd name="connsiteY173" fmla="*/ 4748 h 10000"/>
              <a:gd name="connsiteX174" fmla="*/ 5973 w 10069"/>
              <a:gd name="connsiteY174" fmla="*/ 4647 h 10000"/>
              <a:gd name="connsiteX175" fmla="*/ 5919 w 10069"/>
              <a:gd name="connsiteY175" fmla="*/ 4581 h 10000"/>
              <a:gd name="connsiteX176" fmla="*/ 5928 w 10069"/>
              <a:gd name="connsiteY176" fmla="*/ 4528 h 10000"/>
              <a:gd name="connsiteX177" fmla="*/ 5959 w 10069"/>
              <a:gd name="connsiteY177" fmla="*/ 4590 h 10000"/>
              <a:gd name="connsiteX178" fmla="*/ 6083 w 10069"/>
              <a:gd name="connsiteY178" fmla="*/ 4636 h 10000"/>
              <a:gd name="connsiteX179" fmla="*/ 6135 w 10069"/>
              <a:gd name="connsiteY179" fmla="*/ 4630 h 10000"/>
              <a:gd name="connsiteX180" fmla="*/ 6215 w 10069"/>
              <a:gd name="connsiteY180" fmla="*/ 4569 h 10000"/>
              <a:gd name="connsiteX181" fmla="*/ 6303 w 10069"/>
              <a:gd name="connsiteY181" fmla="*/ 4594 h 10000"/>
              <a:gd name="connsiteX182" fmla="*/ 6327 w 10069"/>
              <a:gd name="connsiteY182" fmla="*/ 4545 h 10000"/>
              <a:gd name="connsiteX183" fmla="*/ 6385 w 10069"/>
              <a:gd name="connsiteY183" fmla="*/ 4512 h 10000"/>
              <a:gd name="connsiteX184" fmla="*/ 6224 w 10069"/>
              <a:gd name="connsiteY184" fmla="*/ 4477 h 10000"/>
              <a:gd name="connsiteX185" fmla="*/ 6340 w 10069"/>
              <a:gd name="connsiteY185" fmla="*/ 4484 h 10000"/>
              <a:gd name="connsiteX186" fmla="*/ 6457 w 10069"/>
              <a:gd name="connsiteY186" fmla="*/ 4447 h 10000"/>
              <a:gd name="connsiteX187" fmla="*/ 6453 w 10069"/>
              <a:gd name="connsiteY187" fmla="*/ 4422 h 10000"/>
              <a:gd name="connsiteX188" fmla="*/ 6563 w 10069"/>
              <a:gd name="connsiteY188" fmla="*/ 4398 h 10000"/>
              <a:gd name="connsiteX189" fmla="*/ 6572 w 10069"/>
              <a:gd name="connsiteY189" fmla="*/ 4337 h 10000"/>
              <a:gd name="connsiteX190" fmla="*/ 6659 w 10069"/>
              <a:gd name="connsiteY190" fmla="*/ 4325 h 10000"/>
              <a:gd name="connsiteX191" fmla="*/ 6667 w 10069"/>
              <a:gd name="connsiteY191" fmla="*/ 4253 h 10000"/>
              <a:gd name="connsiteX192" fmla="*/ 6758 w 10069"/>
              <a:gd name="connsiteY192" fmla="*/ 4245 h 10000"/>
              <a:gd name="connsiteX193" fmla="*/ 6900 w 10069"/>
              <a:gd name="connsiteY193" fmla="*/ 4260 h 10000"/>
              <a:gd name="connsiteX194" fmla="*/ 7055 w 10069"/>
              <a:gd name="connsiteY194" fmla="*/ 4202 h 10000"/>
              <a:gd name="connsiteX195" fmla="*/ 7110 w 10069"/>
              <a:gd name="connsiteY195" fmla="*/ 4137 h 10000"/>
              <a:gd name="connsiteX196" fmla="*/ 7302 w 10069"/>
              <a:gd name="connsiteY196" fmla="*/ 4070 h 10000"/>
              <a:gd name="connsiteX197" fmla="*/ 7397 w 10069"/>
              <a:gd name="connsiteY197" fmla="*/ 4111 h 10000"/>
              <a:gd name="connsiteX198" fmla="*/ 7543 w 10069"/>
              <a:gd name="connsiteY198" fmla="*/ 4066 h 10000"/>
              <a:gd name="connsiteX199" fmla="*/ 7579 w 10069"/>
              <a:gd name="connsiteY199" fmla="*/ 4009 h 10000"/>
              <a:gd name="connsiteX200" fmla="*/ 7690 w 10069"/>
              <a:gd name="connsiteY200" fmla="*/ 3970 h 10000"/>
              <a:gd name="connsiteX201" fmla="*/ 7785 w 10069"/>
              <a:gd name="connsiteY201" fmla="*/ 3987 h 10000"/>
              <a:gd name="connsiteX202" fmla="*/ 7844 w 10069"/>
              <a:gd name="connsiteY202" fmla="*/ 3958 h 10000"/>
              <a:gd name="connsiteX203" fmla="*/ 8009 w 10069"/>
              <a:gd name="connsiteY203" fmla="*/ 3917 h 10000"/>
              <a:gd name="connsiteX204" fmla="*/ 8077 w 10069"/>
              <a:gd name="connsiteY204" fmla="*/ 3864 h 10000"/>
              <a:gd name="connsiteX205" fmla="*/ 8169 w 10069"/>
              <a:gd name="connsiteY205" fmla="*/ 3842 h 10000"/>
              <a:gd name="connsiteX206" fmla="*/ 8676 w 10069"/>
              <a:gd name="connsiteY206" fmla="*/ 3522 h 10000"/>
              <a:gd name="connsiteX207" fmla="*/ 10000 w 10069"/>
              <a:gd name="connsiteY207" fmla="*/ 1194 h 10000"/>
              <a:gd name="connsiteX208" fmla="*/ 9889 w 10069"/>
              <a:gd name="connsiteY208" fmla="*/ 978 h 10000"/>
              <a:gd name="connsiteX209" fmla="*/ 9949 w 10069"/>
              <a:gd name="connsiteY209" fmla="*/ 831 h 10000"/>
              <a:gd name="connsiteX210" fmla="*/ 9510 w 10069"/>
              <a:gd name="connsiteY210" fmla="*/ 517 h 10000"/>
              <a:gd name="connsiteX211" fmla="*/ 9296 w 10069"/>
              <a:gd name="connsiteY211" fmla="*/ 440 h 10000"/>
              <a:gd name="connsiteX212" fmla="*/ 8899 w 10069"/>
              <a:gd name="connsiteY212" fmla="*/ 389 h 10000"/>
              <a:gd name="connsiteX213" fmla="*/ 8077 w 10069"/>
              <a:gd name="connsiteY213" fmla="*/ 26 h 10000"/>
              <a:gd name="connsiteX214" fmla="*/ 8050 w 10069"/>
              <a:gd name="connsiteY214" fmla="*/ 2 h 10000"/>
              <a:gd name="connsiteX215" fmla="*/ 7771 w 10069"/>
              <a:gd name="connsiteY215" fmla="*/ 0 h 10000"/>
              <a:gd name="connsiteX216" fmla="*/ 7708 w 10069"/>
              <a:gd name="connsiteY216" fmla="*/ 14 h 10000"/>
              <a:gd name="connsiteX217" fmla="*/ 7722 w 10069"/>
              <a:gd name="connsiteY217" fmla="*/ 61 h 10000"/>
              <a:gd name="connsiteX218" fmla="*/ 7776 w 10069"/>
              <a:gd name="connsiteY218" fmla="*/ 86 h 10000"/>
              <a:gd name="connsiteX219" fmla="*/ 7791 w 10069"/>
              <a:gd name="connsiteY219" fmla="*/ 139 h 10000"/>
              <a:gd name="connsiteX220" fmla="*/ 7771 w 10069"/>
              <a:gd name="connsiteY220" fmla="*/ 181 h 10000"/>
              <a:gd name="connsiteX221" fmla="*/ 7722 w 10069"/>
              <a:gd name="connsiteY221" fmla="*/ 208 h 10000"/>
              <a:gd name="connsiteX222" fmla="*/ 7685 w 10069"/>
              <a:gd name="connsiteY222" fmla="*/ 283 h 10000"/>
              <a:gd name="connsiteX223" fmla="*/ 7617 w 10069"/>
              <a:gd name="connsiteY223" fmla="*/ 336 h 10000"/>
              <a:gd name="connsiteX224" fmla="*/ 7631 w 10069"/>
              <a:gd name="connsiteY224" fmla="*/ 387 h 10000"/>
              <a:gd name="connsiteX225" fmla="*/ 7735 w 10069"/>
              <a:gd name="connsiteY225" fmla="*/ 434 h 10000"/>
              <a:gd name="connsiteX226" fmla="*/ 7667 w 10069"/>
              <a:gd name="connsiteY226" fmla="*/ 475 h 10000"/>
              <a:gd name="connsiteX227" fmla="*/ 7566 w 10069"/>
              <a:gd name="connsiteY227" fmla="*/ 485 h 10000"/>
              <a:gd name="connsiteX228" fmla="*/ 6727 w 10069"/>
              <a:gd name="connsiteY228" fmla="*/ 387 h 10000"/>
              <a:gd name="connsiteX229" fmla="*/ 6626 w 10069"/>
              <a:gd name="connsiteY229" fmla="*/ 395 h 10000"/>
              <a:gd name="connsiteX230" fmla="*/ 6567 w 10069"/>
              <a:gd name="connsiteY230" fmla="*/ 414 h 10000"/>
              <a:gd name="connsiteX231" fmla="*/ 6507 w 10069"/>
              <a:gd name="connsiteY231" fmla="*/ 462 h 10000"/>
              <a:gd name="connsiteX232" fmla="*/ 6518 w 10069"/>
              <a:gd name="connsiteY232" fmla="*/ 581 h 10000"/>
              <a:gd name="connsiteX233" fmla="*/ 6425 w 10069"/>
              <a:gd name="connsiteY233" fmla="*/ 735 h 10000"/>
              <a:gd name="connsiteX234" fmla="*/ 6312 w 10069"/>
              <a:gd name="connsiteY234" fmla="*/ 815 h 10000"/>
              <a:gd name="connsiteX235" fmla="*/ 6266 w 10069"/>
              <a:gd name="connsiteY235" fmla="*/ 805 h 10000"/>
              <a:gd name="connsiteX236" fmla="*/ 6161 w 10069"/>
              <a:gd name="connsiteY236" fmla="*/ 739 h 10000"/>
              <a:gd name="connsiteX237" fmla="*/ 6029 w 10069"/>
              <a:gd name="connsiteY237" fmla="*/ 705 h 10000"/>
              <a:gd name="connsiteX238" fmla="*/ 5886 w 10069"/>
              <a:gd name="connsiteY238" fmla="*/ 715 h 10000"/>
              <a:gd name="connsiteX239" fmla="*/ 5555 w 10069"/>
              <a:gd name="connsiteY239" fmla="*/ 866 h 10000"/>
              <a:gd name="connsiteX240" fmla="*/ 5467 w 10069"/>
              <a:gd name="connsiteY240" fmla="*/ 1017 h 10000"/>
              <a:gd name="connsiteX241" fmla="*/ 5217 w 10069"/>
              <a:gd name="connsiteY241" fmla="*/ 1153 h 10000"/>
              <a:gd name="connsiteX242" fmla="*/ 5171 w 10069"/>
              <a:gd name="connsiteY242" fmla="*/ 1222 h 10000"/>
              <a:gd name="connsiteX243" fmla="*/ 5302 w 10069"/>
              <a:gd name="connsiteY243" fmla="*/ 1344 h 10000"/>
              <a:gd name="connsiteX244" fmla="*/ 5316 w 10069"/>
              <a:gd name="connsiteY244" fmla="*/ 1412 h 10000"/>
              <a:gd name="connsiteX245" fmla="*/ 4632 w 10069"/>
              <a:gd name="connsiteY245" fmla="*/ 1813 h 10000"/>
              <a:gd name="connsiteX246" fmla="*/ 4422 w 10069"/>
              <a:gd name="connsiteY246" fmla="*/ 2070 h 10000"/>
              <a:gd name="connsiteX247" fmla="*/ 4195 w 10069"/>
              <a:gd name="connsiteY247" fmla="*/ 2135 h 10000"/>
              <a:gd name="connsiteX248" fmla="*/ 4052 w 10069"/>
              <a:gd name="connsiteY248" fmla="*/ 2131 h 10000"/>
              <a:gd name="connsiteX249" fmla="*/ 3966 w 10069"/>
              <a:gd name="connsiteY249" fmla="*/ 2153 h 10000"/>
              <a:gd name="connsiteX250" fmla="*/ 3729 w 10069"/>
              <a:gd name="connsiteY250" fmla="*/ 2793 h 10000"/>
              <a:gd name="connsiteX251" fmla="*/ 3182 w 10069"/>
              <a:gd name="connsiteY251" fmla="*/ 3166 h 10000"/>
              <a:gd name="connsiteX252" fmla="*/ 3186 w 10069"/>
              <a:gd name="connsiteY252" fmla="*/ 3225 h 10000"/>
              <a:gd name="connsiteX253" fmla="*/ 3428 w 10069"/>
              <a:gd name="connsiteY253" fmla="*/ 3392 h 10000"/>
              <a:gd name="connsiteX254" fmla="*/ 3350 w 10069"/>
              <a:gd name="connsiteY254" fmla="*/ 3573 h 10000"/>
              <a:gd name="connsiteX255" fmla="*/ 3208 w 10069"/>
              <a:gd name="connsiteY255" fmla="*/ 3640 h 10000"/>
              <a:gd name="connsiteX256" fmla="*/ 2784 w 10069"/>
              <a:gd name="connsiteY256" fmla="*/ 3595 h 10000"/>
              <a:gd name="connsiteX257" fmla="*/ 2491 w 10069"/>
              <a:gd name="connsiteY257" fmla="*/ 3620 h 10000"/>
              <a:gd name="connsiteX258" fmla="*/ 2255 w 10069"/>
              <a:gd name="connsiteY258" fmla="*/ 3673 h 10000"/>
              <a:gd name="connsiteX259" fmla="*/ 1876 w 10069"/>
              <a:gd name="connsiteY259" fmla="*/ 3840 h 10000"/>
              <a:gd name="connsiteX260" fmla="*/ 1674 w 10069"/>
              <a:gd name="connsiteY260" fmla="*/ 4042 h 10000"/>
              <a:gd name="connsiteX261" fmla="*/ 1692 w 10069"/>
              <a:gd name="connsiteY261" fmla="*/ 4154 h 10000"/>
              <a:gd name="connsiteX262" fmla="*/ 1762 w 10069"/>
              <a:gd name="connsiteY262" fmla="*/ 4241 h 10000"/>
              <a:gd name="connsiteX263" fmla="*/ 1816 w 10069"/>
              <a:gd name="connsiteY263" fmla="*/ 4276 h 10000"/>
              <a:gd name="connsiteX264" fmla="*/ 1716 w 10069"/>
              <a:gd name="connsiteY264" fmla="*/ 4331 h 10000"/>
              <a:gd name="connsiteX265" fmla="*/ 1502 w 10069"/>
              <a:gd name="connsiteY265" fmla="*/ 4710 h 10000"/>
              <a:gd name="connsiteX266" fmla="*/ 1543 w 10069"/>
              <a:gd name="connsiteY266" fmla="*/ 4732 h 10000"/>
              <a:gd name="connsiteX267" fmla="*/ 1575 w 10069"/>
              <a:gd name="connsiteY267" fmla="*/ 4828 h 10000"/>
              <a:gd name="connsiteX268" fmla="*/ 1474 w 10069"/>
              <a:gd name="connsiteY268" fmla="*/ 5227 h 10000"/>
              <a:gd name="connsiteX269" fmla="*/ 1575 w 10069"/>
              <a:gd name="connsiteY269" fmla="*/ 5329 h 10000"/>
              <a:gd name="connsiteX270" fmla="*/ 1848 w 10069"/>
              <a:gd name="connsiteY270" fmla="*/ 5441 h 10000"/>
              <a:gd name="connsiteX271" fmla="*/ 1861 w 10069"/>
              <a:gd name="connsiteY271" fmla="*/ 5578 h 10000"/>
              <a:gd name="connsiteX272" fmla="*/ 1744 w 10069"/>
              <a:gd name="connsiteY272" fmla="*/ 5690 h 10000"/>
              <a:gd name="connsiteX273" fmla="*/ 1575 w 10069"/>
              <a:gd name="connsiteY273" fmla="*/ 5759 h 10000"/>
              <a:gd name="connsiteX274" fmla="*/ 1350 w 10069"/>
              <a:gd name="connsiteY274" fmla="*/ 5787 h 10000"/>
              <a:gd name="connsiteX275" fmla="*/ 1292 w 10069"/>
              <a:gd name="connsiteY275" fmla="*/ 5826 h 10000"/>
              <a:gd name="connsiteX276" fmla="*/ 1423 w 10069"/>
              <a:gd name="connsiteY276" fmla="*/ 5920 h 10000"/>
              <a:gd name="connsiteX277" fmla="*/ 1498 w 10069"/>
              <a:gd name="connsiteY277" fmla="*/ 6142 h 10000"/>
              <a:gd name="connsiteX278" fmla="*/ 1328 w 10069"/>
              <a:gd name="connsiteY278" fmla="*/ 6333 h 10000"/>
              <a:gd name="connsiteX279" fmla="*/ 1387 w 10069"/>
              <a:gd name="connsiteY279" fmla="*/ 6392 h 10000"/>
              <a:gd name="connsiteX280" fmla="*/ 1333 w 10069"/>
              <a:gd name="connsiteY280" fmla="*/ 6492 h 10000"/>
              <a:gd name="connsiteX281" fmla="*/ 1224 w 10069"/>
              <a:gd name="connsiteY281" fmla="*/ 6561 h 10000"/>
              <a:gd name="connsiteX282" fmla="*/ 794 w 10069"/>
              <a:gd name="connsiteY282" fmla="*/ 6614 h 10000"/>
              <a:gd name="connsiteX283" fmla="*/ 767 w 10069"/>
              <a:gd name="connsiteY283" fmla="*/ 6706 h 10000"/>
              <a:gd name="connsiteX284" fmla="*/ 535 w 10069"/>
              <a:gd name="connsiteY284" fmla="*/ 6843 h 10000"/>
              <a:gd name="connsiteX285" fmla="*/ 566 w 10069"/>
              <a:gd name="connsiteY285" fmla="*/ 7040 h 10000"/>
              <a:gd name="connsiteX286" fmla="*/ 370 w 10069"/>
              <a:gd name="connsiteY286" fmla="*/ 7293 h 10000"/>
              <a:gd name="connsiteX287" fmla="*/ 237 w 10069"/>
              <a:gd name="connsiteY287" fmla="*/ 7323 h 10000"/>
              <a:gd name="connsiteX288" fmla="*/ 183 w 10069"/>
              <a:gd name="connsiteY288" fmla="*/ 7262 h 10000"/>
              <a:gd name="connsiteX289" fmla="*/ 114 w 10069"/>
              <a:gd name="connsiteY289" fmla="*/ 7354 h 10000"/>
              <a:gd name="connsiteX290" fmla="*/ 159 w 10069"/>
              <a:gd name="connsiteY290" fmla="*/ 7197 h 10000"/>
              <a:gd name="connsiteX291" fmla="*/ 131 w 10069"/>
              <a:gd name="connsiteY291" fmla="*/ 7166 h 10000"/>
              <a:gd name="connsiteX0" fmla="*/ 131 w 9949"/>
              <a:gd name="connsiteY0" fmla="*/ 7166 h 10000"/>
              <a:gd name="connsiteX1" fmla="*/ 0 w 9949"/>
              <a:gd name="connsiteY1" fmla="*/ 7248 h 10000"/>
              <a:gd name="connsiteX2" fmla="*/ 0 w 9949"/>
              <a:gd name="connsiteY2" fmla="*/ 7651 h 10000"/>
              <a:gd name="connsiteX3" fmla="*/ 73 w 9949"/>
              <a:gd name="connsiteY3" fmla="*/ 7663 h 10000"/>
              <a:gd name="connsiteX4" fmla="*/ 90 w 9949"/>
              <a:gd name="connsiteY4" fmla="*/ 7694 h 10000"/>
              <a:gd name="connsiteX5" fmla="*/ 86 w 9949"/>
              <a:gd name="connsiteY5" fmla="*/ 7749 h 10000"/>
              <a:gd name="connsiteX6" fmla="*/ 59 w 9949"/>
              <a:gd name="connsiteY6" fmla="*/ 7773 h 10000"/>
              <a:gd name="connsiteX7" fmla="*/ 169 w 9949"/>
              <a:gd name="connsiteY7" fmla="*/ 7727 h 10000"/>
              <a:gd name="connsiteX8" fmla="*/ 216 w 9949"/>
              <a:gd name="connsiteY8" fmla="*/ 7680 h 10000"/>
              <a:gd name="connsiteX9" fmla="*/ 273 w 9949"/>
              <a:gd name="connsiteY9" fmla="*/ 7712 h 10000"/>
              <a:gd name="connsiteX10" fmla="*/ 210 w 9949"/>
              <a:gd name="connsiteY10" fmla="*/ 7778 h 10000"/>
              <a:gd name="connsiteX11" fmla="*/ 278 w 9949"/>
              <a:gd name="connsiteY11" fmla="*/ 7780 h 10000"/>
              <a:gd name="connsiteX12" fmla="*/ 310 w 9949"/>
              <a:gd name="connsiteY12" fmla="*/ 7796 h 10000"/>
              <a:gd name="connsiteX13" fmla="*/ 224 w 9949"/>
              <a:gd name="connsiteY13" fmla="*/ 7818 h 10000"/>
              <a:gd name="connsiteX14" fmla="*/ 86 w 9949"/>
              <a:gd name="connsiteY14" fmla="*/ 7886 h 10000"/>
              <a:gd name="connsiteX15" fmla="*/ 330 w 9949"/>
              <a:gd name="connsiteY15" fmla="*/ 7938 h 10000"/>
              <a:gd name="connsiteX16" fmla="*/ 360 w 9949"/>
              <a:gd name="connsiteY16" fmla="*/ 8014 h 10000"/>
              <a:gd name="connsiteX17" fmla="*/ 278 w 9949"/>
              <a:gd name="connsiteY17" fmla="*/ 8126 h 10000"/>
              <a:gd name="connsiteX18" fmla="*/ 457 w 9949"/>
              <a:gd name="connsiteY18" fmla="*/ 8118 h 10000"/>
              <a:gd name="connsiteX19" fmla="*/ 470 w 9949"/>
              <a:gd name="connsiteY19" fmla="*/ 8203 h 10000"/>
              <a:gd name="connsiteX20" fmla="*/ 351 w 9949"/>
              <a:gd name="connsiteY20" fmla="*/ 8260 h 10000"/>
              <a:gd name="connsiteX21" fmla="*/ 370 w 9949"/>
              <a:gd name="connsiteY21" fmla="*/ 8370 h 10000"/>
              <a:gd name="connsiteX22" fmla="*/ 324 w 9949"/>
              <a:gd name="connsiteY22" fmla="*/ 8456 h 10000"/>
              <a:gd name="connsiteX23" fmla="*/ 465 w 9949"/>
              <a:gd name="connsiteY23" fmla="*/ 8464 h 10000"/>
              <a:gd name="connsiteX24" fmla="*/ 603 w 9949"/>
              <a:gd name="connsiteY24" fmla="*/ 8792 h 10000"/>
              <a:gd name="connsiteX25" fmla="*/ 762 w 9949"/>
              <a:gd name="connsiteY25" fmla="*/ 8876 h 10000"/>
              <a:gd name="connsiteX26" fmla="*/ 831 w 9949"/>
              <a:gd name="connsiteY26" fmla="*/ 8965 h 10000"/>
              <a:gd name="connsiteX27" fmla="*/ 1004 w 9949"/>
              <a:gd name="connsiteY27" fmla="*/ 9030 h 10000"/>
              <a:gd name="connsiteX28" fmla="*/ 1114 w 9949"/>
              <a:gd name="connsiteY28" fmla="*/ 9112 h 10000"/>
              <a:gd name="connsiteX29" fmla="*/ 1100 w 9949"/>
              <a:gd name="connsiteY29" fmla="*/ 9171 h 10000"/>
              <a:gd name="connsiteX30" fmla="*/ 991 w 9949"/>
              <a:gd name="connsiteY30" fmla="*/ 9193 h 10000"/>
              <a:gd name="connsiteX31" fmla="*/ 872 w 9949"/>
              <a:gd name="connsiteY31" fmla="*/ 9179 h 10000"/>
              <a:gd name="connsiteX32" fmla="*/ 835 w 9949"/>
              <a:gd name="connsiteY32" fmla="*/ 9204 h 10000"/>
              <a:gd name="connsiteX33" fmla="*/ 926 w 9949"/>
              <a:gd name="connsiteY33" fmla="*/ 9332 h 10000"/>
              <a:gd name="connsiteX34" fmla="*/ 798 w 9949"/>
              <a:gd name="connsiteY34" fmla="*/ 9322 h 10000"/>
              <a:gd name="connsiteX35" fmla="*/ 689 w 9949"/>
              <a:gd name="connsiteY35" fmla="*/ 9291 h 10000"/>
              <a:gd name="connsiteX36" fmla="*/ 670 w 9949"/>
              <a:gd name="connsiteY36" fmla="*/ 9338 h 10000"/>
              <a:gd name="connsiteX37" fmla="*/ 1031 w 9949"/>
              <a:gd name="connsiteY37" fmla="*/ 9776 h 10000"/>
              <a:gd name="connsiteX38" fmla="*/ 973 w 9949"/>
              <a:gd name="connsiteY38" fmla="*/ 9817 h 10000"/>
              <a:gd name="connsiteX39" fmla="*/ 932 w 9949"/>
              <a:gd name="connsiteY39" fmla="*/ 9902 h 10000"/>
              <a:gd name="connsiteX40" fmla="*/ 881 w 9949"/>
              <a:gd name="connsiteY40" fmla="*/ 9908 h 10000"/>
              <a:gd name="connsiteX41" fmla="*/ 849 w 9949"/>
              <a:gd name="connsiteY41" fmla="*/ 9945 h 10000"/>
              <a:gd name="connsiteX42" fmla="*/ 1067 w 9949"/>
              <a:gd name="connsiteY42" fmla="*/ 9949 h 10000"/>
              <a:gd name="connsiteX43" fmla="*/ 1260 w 9949"/>
              <a:gd name="connsiteY43" fmla="*/ 9986 h 10000"/>
              <a:gd name="connsiteX44" fmla="*/ 1579 w 9949"/>
              <a:gd name="connsiteY44" fmla="*/ 9947 h 10000"/>
              <a:gd name="connsiteX45" fmla="*/ 1866 w 9949"/>
              <a:gd name="connsiteY45" fmla="*/ 9953 h 10000"/>
              <a:gd name="connsiteX46" fmla="*/ 2036 w 9949"/>
              <a:gd name="connsiteY46" fmla="*/ 10000 h 10000"/>
              <a:gd name="connsiteX47" fmla="*/ 2128 w 9949"/>
              <a:gd name="connsiteY47" fmla="*/ 9969 h 10000"/>
              <a:gd name="connsiteX48" fmla="*/ 2218 w 9949"/>
              <a:gd name="connsiteY48" fmla="*/ 9868 h 10000"/>
              <a:gd name="connsiteX49" fmla="*/ 2195 w 9949"/>
              <a:gd name="connsiteY49" fmla="*/ 9703 h 10000"/>
              <a:gd name="connsiteX50" fmla="*/ 2414 w 9949"/>
              <a:gd name="connsiteY50" fmla="*/ 9517 h 10000"/>
              <a:gd name="connsiteX51" fmla="*/ 2574 w 9949"/>
              <a:gd name="connsiteY51" fmla="*/ 9546 h 10000"/>
              <a:gd name="connsiteX52" fmla="*/ 2665 w 9949"/>
              <a:gd name="connsiteY52" fmla="*/ 9472 h 10000"/>
              <a:gd name="connsiteX53" fmla="*/ 2843 w 9949"/>
              <a:gd name="connsiteY53" fmla="*/ 9430 h 10000"/>
              <a:gd name="connsiteX54" fmla="*/ 3085 w 9949"/>
              <a:gd name="connsiteY54" fmla="*/ 9440 h 10000"/>
              <a:gd name="connsiteX55" fmla="*/ 3231 w 9949"/>
              <a:gd name="connsiteY55" fmla="*/ 9470 h 10000"/>
              <a:gd name="connsiteX56" fmla="*/ 3424 w 9949"/>
              <a:gd name="connsiteY56" fmla="*/ 9456 h 10000"/>
              <a:gd name="connsiteX57" fmla="*/ 3619 w 9949"/>
              <a:gd name="connsiteY57" fmla="*/ 9489 h 10000"/>
              <a:gd name="connsiteX58" fmla="*/ 3815 w 9949"/>
              <a:gd name="connsiteY58" fmla="*/ 9493 h 10000"/>
              <a:gd name="connsiteX59" fmla="*/ 4253 w 9949"/>
              <a:gd name="connsiteY59" fmla="*/ 9061 h 10000"/>
              <a:gd name="connsiteX60" fmla="*/ 4364 w 9949"/>
              <a:gd name="connsiteY60" fmla="*/ 8711 h 10000"/>
              <a:gd name="connsiteX61" fmla="*/ 4541 w 9949"/>
              <a:gd name="connsiteY61" fmla="*/ 8554 h 10000"/>
              <a:gd name="connsiteX62" fmla="*/ 4541 w 9949"/>
              <a:gd name="connsiteY62" fmla="*/ 8472 h 10000"/>
              <a:gd name="connsiteX63" fmla="*/ 4477 w 9949"/>
              <a:gd name="connsiteY63" fmla="*/ 8425 h 10000"/>
              <a:gd name="connsiteX64" fmla="*/ 4582 w 9949"/>
              <a:gd name="connsiteY64" fmla="*/ 8352 h 10000"/>
              <a:gd name="connsiteX65" fmla="*/ 4563 w 9949"/>
              <a:gd name="connsiteY65" fmla="*/ 8289 h 10000"/>
              <a:gd name="connsiteX66" fmla="*/ 4491 w 9949"/>
              <a:gd name="connsiteY66" fmla="*/ 8236 h 10000"/>
              <a:gd name="connsiteX67" fmla="*/ 4477 w 9949"/>
              <a:gd name="connsiteY67" fmla="*/ 8199 h 10000"/>
              <a:gd name="connsiteX68" fmla="*/ 4495 w 9949"/>
              <a:gd name="connsiteY68" fmla="*/ 8169 h 10000"/>
              <a:gd name="connsiteX69" fmla="*/ 4591 w 9949"/>
              <a:gd name="connsiteY69" fmla="*/ 8193 h 10000"/>
              <a:gd name="connsiteX70" fmla="*/ 4668 w 9949"/>
              <a:gd name="connsiteY70" fmla="*/ 8191 h 10000"/>
              <a:gd name="connsiteX71" fmla="*/ 4626 w 9949"/>
              <a:gd name="connsiteY71" fmla="*/ 8140 h 10000"/>
              <a:gd name="connsiteX72" fmla="*/ 4640 w 9949"/>
              <a:gd name="connsiteY72" fmla="*/ 8112 h 10000"/>
              <a:gd name="connsiteX73" fmla="*/ 4696 w 9949"/>
              <a:gd name="connsiteY73" fmla="*/ 8069 h 10000"/>
              <a:gd name="connsiteX74" fmla="*/ 4687 w 9949"/>
              <a:gd name="connsiteY74" fmla="*/ 8034 h 10000"/>
              <a:gd name="connsiteX75" fmla="*/ 4738 w 9949"/>
              <a:gd name="connsiteY75" fmla="*/ 7916 h 10000"/>
              <a:gd name="connsiteX76" fmla="*/ 4725 w 9949"/>
              <a:gd name="connsiteY76" fmla="*/ 7881 h 10000"/>
              <a:gd name="connsiteX77" fmla="*/ 4459 w 9949"/>
              <a:gd name="connsiteY77" fmla="*/ 7792 h 10000"/>
              <a:gd name="connsiteX78" fmla="*/ 4495 w 9949"/>
              <a:gd name="connsiteY78" fmla="*/ 7788 h 10000"/>
              <a:gd name="connsiteX79" fmla="*/ 4636 w 9949"/>
              <a:gd name="connsiteY79" fmla="*/ 7812 h 10000"/>
              <a:gd name="connsiteX80" fmla="*/ 4788 w 9949"/>
              <a:gd name="connsiteY80" fmla="*/ 7804 h 10000"/>
              <a:gd name="connsiteX81" fmla="*/ 4833 w 9949"/>
              <a:gd name="connsiteY81" fmla="*/ 7771 h 10000"/>
              <a:gd name="connsiteX82" fmla="*/ 4687 w 9949"/>
              <a:gd name="connsiteY82" fmla="*/ 7710 h 10000"/>
              <a:gd name="connsiteX83" fmla="*/ 4249 w 9949"/>
              <a:gd name="connsiteY83" fmla="*/ 7670 h 10000"/>
              <a:gd name="connsiteX84" fmla="*/ 4279 w 9949"/>
              <a:gd name="connsiteY84" fmla="*/ 7651 h 10000"/>
              <a:gd name="connsiteX85" fmla="*/ 4636 w 9949"/>
              <a:gd name="connsiteY85" fmla="*/ 7639 h 10000"/>
              <a:gd name="connsiteX86" fmla="*/ 4833 w 9949"/>
              <a:gd name="connsiteY86" fmla="*/ 7676 h 10000"/>
              <a:gd name="connsiteX87" fmla="*/ 4947 w 9949"/>
              <a:gd name="connsiteY87" fmla="*/ 7651 h 10000"/>
              <a:gd name="connsiteX88" fmla="*/ 4988 w 9949"/>
              <a:gd name="connsiteY88" fmla="*/ 7588 h 10000"/>
              <a:gd name="connsiteX89" fmla="*/ 5193 w 9949"/>
              <a:gd name="connsiteY89" fmla="*/ 7588 h 10000"/>
              <a:gd name="connsiteX90" fmla="*/ 5472 w 9949"/>
              <a:gd name="connsiteY90" fmla="*/ 7462 h 10000"/>
              <a:gd name="connsiteX91" fmla="*/ 5482 w 9949"/>
              <a:gd name="connsiteY91" fmla="*/ 7378 h 10000"/>
              <a:gd name="connsiteX92" fmla="*/ 5599 w 9949"/>
              <a:gd name="connsiteY92" fmla="*/ 7397 h 10000"/>
              <a:gd name="connsiteX93" fmla="*/ 5595 w 9949"/>
              <a:gd name="connsiteY93" fmla="*/ 7482 h 10000"/>
              <a:gd name="connsiteX94" fmla="*/ 5782 w 9949"/>
              <a:gd name="connsiteY94" fmla="*/ 7476 h 10000"/>
              <a:gd name="connsiteX95" fmla="*/ 5905 w 9949"/>
              <a:gd name="connsiteY95" fmla="*/ 7388 h 10000"/>
              <a:gd name="connsiteX96" fmla="*/ 6135 w 9949"/>
              <a:gd name="connsiteY96" fmla="*/ 7309 h 10000"/>
              <a:gd name="connsiteX97" fmla="*/ 6097 w 9949"/>
              <a:gd name="connsiteY97" fmla="*/ 7219 h 10000"/>
              <a:gd name="connsiteX98" fmla="*/ 6165 w 9949"/>
              <a:gd name="connsiteY98" fmla="*/ 7254 h 10000"/>
              <a:gd name="connsiteX99" fmla="*/ 6270 w 9949"/>
              <a:gd name="connsiteY99" fmla="*/ 7254 h 10000"/>
              <a:gd name="connsiteX100" fmla="*/ 6270 w 9949"/>
              <a:gd name="connsiteY100" fmla="*/ 7213 h 10000"/>
              <a:gd name="connsiteX101" fmla="*/ 6367 w 9949"/>
              <a:gd name="connsiteY101" fmla="*/ 7181 h 10000"/>
              <a:gd name="connsiteX102" fmla="*/ 6353 w 9949"/>
              <a:gd name="connsiteY102" fmla="*/ 7148 h 10000"/>
              <a:gd name="connsiteX103" fmla="*/ 5532 w 9949"/>
              <a:gd name="connsiteY103" fmla="*/ 7215 h 10000"/>
              <a:gd name="connsiteX104" fmla="*/ 5340 w 9949"/>
              <a:gd name="connsiteY104" fmla="*/ 7195 h 10000"/>
              <a:gd name="connsiteX105" fmla="*/ 5262 w 9949"/>
              <a:gd name="connsiteY105" fmla="*/ 7219 h 10000"/>
              <a:gd name="connsiteX106" fmla="*/ 5235 w 9949"/>
              <a:gd name="connsiteY106" fmla="*/ 7173 h 10000"/>
              <a:gd name="connsiteX107" fmla="*/ 5144 w 9949"/>
              <a:gd name="connsiteY107" fmla="*/ 7132 h 10000"/>
              <a:gd name="connsiteX108" fmla="*/ 4778 w 9949"/>
              <a:gd name="connsiteY108" fmla="*/ 7052 h 10000"/>
              <a:gd name="connsiteX109" fmla="*/ 4563 w 9949"/>
              <a:gd name="connsiteY109" fmla="*/ 7065 h 10000"/>
              <a:gd name="connsiteX110" fmla="*/ 4477 w 9949"/>
              <a:gd name="connsiteY110" fmla="*/ 7042 h 10000"/>
              <a:gd name="connsiteX111" fmla="*/ 4568 w 9949"/>
              <a:gd name="connsiteY111" fmla="*/ 7022 h 10000"/>
              <a:gd name="connsiteX112" fmla="*/ 4636 w 9949"/>
              <a:gd name="connsiteY112" fmla="*/ 6979 h 10000"/>
              <a:gd name="connsiteX113" fmla="*/ 4738 w 9949"/>
              <a:gd name="connsiteY113" fmla="*/ 6993 h 10000"/>
              <a:gd name="connsiteX114" fmla="*/ 4860 w 9949"/>
              <a:gd name="connsiteY114" fmla="*/ 6981 h 10000"/>
              <a:gd name="connsiteX115" fmla="*/ 5043 w 9949"/>
              <a:gd name="connsiteY115" fmla="*/ 6995 h 10000"/>
              <a:gd name="connsiteX116" fmla="*/ 5065 w 9949"/>
              <a:gd name="connsiteY116" fmla="*/ 6989 h 10000"/>
              <a:gd name="connsiteX117" fmla="*/ 5207 w 9949"/>
              <a:gd name="connsiteY117" fmla="*/ 7056 h 10000"/>
              <a:gd name="connsiteX118" fmla="*/ 5312 w 9949"/>
              <a:gd name="connsiteY118" fmla="*/ 7032 h 10000"/>
              <a:gd name="connsiteX119" fmla="*/ 5320 w 9949"/>
              <a:gd name="connsiteY119" fmla="*/ 7010 h 10000"/>
              <a:gd name="connsiteX120" fmla="*/ 5417 w 9949"/>
              <a:gd name="connsiteY120" fmla="*/ 7048 h 10000"/>
              <a:gd name="connsiteX121" fmla="*/ 5545 w 9949"/>
              <a:gd name="connsiteY121" fmla="*/ 7069 h 10000"/>
              <a:gd name="connsiteX122" fmla="*/ 5595 w 9949"/>
              <a:gd name="connsiteY122" fmla="*/ 7030 h 10000"/>
              <a:gd name="connsiteX123" fmla="*/ 5636 w 9949"/>
              <a:gd name="connsiteY123" fmla="*/ 7052 h 10000"/>
              <a:gd name="connsiteX124" fmla="*/ 5695 w 9949"/>
              <a:gd name="connsiteY124" fmla="*/ 7126 h 10000"/>
              <a:gd name="connsiteX125" fmla="*/ 5818 w 9949"/>
              <a:gd name="connsiteY125" fmla="*/ 7144 h 10000"/>
              <a:gd name="connsiteX126" fmla="*/ 6321 w 9949"/>
              <a:gd name="connsiteY126" fmla="*/ 7034 h 10000"/>
              <a:gd name="connsiteX127" fmla="*/ 6567 w 9949"/>
              <a:gd name="connsiteY127" fmla="*/ 6879 h 10000"/>
              <a:gd name="connsiteX128" fmla="*/ 6626 w 9949"/>
              <a:gd name="connsiteY128" fmla="*/ 6765 h 10000"/>
              <a:gd name="connsiteX129" fmla="*/ 6536 w 9949"/>
              <a:gd name="connsiteY129" fmla="*/ 6663 h 10000"/>
              <a:gd name="connsiteX130" fmla="*/ 6348 w 9949"/>
              <a:gd name="connsiteY130" fmla="*/ 6602 h 10000"/>
              <a:gd name="connsiteX131" fmla="*/ 6215 w 9949"/>
              <a:gd name="connsiteY131" fmla="*/ 6502 h 10000"/>
              <a:gd name="connsiteX132" fmla="*/ 6340 w 9949"/>
              <a:gd name="connsiteY132" fmla="*/ 6498 h 10000"/>
              <a:gd name="connsiteX133" fmla="*/ 6331 w 9949"/>
              <a:gd name="connsiteY133" fmla="*/ 6474 h 10000"/>
              <a:gd name="connsiteX134" fmla="*/ 6007 w 9949"/>
              <a:gd name="connsiteY134" fmla="*/ 6403 h 10000"/>
              <a:gd name="connsiteX135" fmla="*/ 5994 w 9949"/>
              <a:gd name="connsiteY135" fmla="*/ 6339 h 10000"/>
              <a:gd name="connsiteX136" fmla="*/ 5932 w 9949"/>
              <a:gd name="connsiteY136" fmla="*/ 6272 h 10000"/>
              <a:gd name="connsiteX137" fmla="*/ 5677 w 9949"/>
              <a:gd name="connsiteY137" fmla="*/ 6284 h 10000"/>
              <a:gd name="connsiteX138" fmla="*/ 5585 w 9949"/>
              <a:gd name="connsiteY138" fmla="*/ 6213 h 10000"/>
              <a:gd name="connsiteX139" fmla="*/ 5532 w 9949"/>
              <a:gd name="connsiteY139" fmla="*/ 6209 h 10000"/>
              <a:gd name="connsiteX140" fmla="*/ 5532 w 9949"/>
              <a:gd name="connsiteY140" fmla="*/ 6238 h 10000"/>
              <a:gd name="connsiteX141" fmla="*/ 5417 w 9949"/>
              <a:gd name="connsiteY141" fmla="*/ 6358 h 10000"/>
              <a:gd name="connsiteX142" fmla="*/ 5293 w 9949"/>
              <a:gd name="connsiteY142" fmla="*/ 6429 h 10000"/>
              <a:gd name="connsiteX143" fmla="*/ 4905 w 9949"/>
              <a:gd name="connsiteY143" fmla="*/ 6551 h 10000"/>
              <a:gd name="connsiteX144" fmla="*/ 4769 w 9949"/>
              <a:gd name="connsiteY144" fmla="*/ 6547 h 10000"/>
              <a:gd name="connsiteX145" fmla="*/ 4582 w 9949"/>
              <a:gd name="connsiteY145" fmla="*/ 6565 h 10000"/>
              <a:gd name="connsiteX146" fmla="*/ 4477 w 9949"/>
              <a:gd name="connsiteY146" fmla="*/ 6547 h 10000"/>
              <a:gd name="connsiteX147" fmla="*/ 4613 w 9949"/>
              <a:gd name="connsiteY147" fmla="*/ 6513 h 10000"/>
              <a:gd name="connsiteX148" fmla="*/ 4792 w 9949"/>
              <a:gd name="connsiteY148" fmla="*/ 6498 h 10000"/>
              <a:gd name="connsiteX149" fmla="*/ 4939 w 9949"/>
              <a:gd name="connsiteY149" fmla="*/ 6441 h 10000"/>
              <a:gd name="connsiteX150" fmla="*/ 5083 w 9949"/>
              <a:gd name="connsiteY150" fmla="*/ 6415 h 10000"/>
              <a:gd name="connsiteX151" fmla="*/ 5354 w 9949"/>
              <a:gd name="connsiteY151" fmla="*/ 6317 h 10000"/>
              <a:gd name="connsiteX152" fmla="*/ 5404 w 9949"/>
              <a:gd name="connsiteY152" fmla="*/ 6252 h 10000"/>
              <a:gd name="connsiteX153" fmla="*/ 5408 w 9949"/>
              <a:gd name="connsiteY153" fmla="*/ 6168 h 10000"/>
              <a:gd name="connsiteX154" fmla="*/ 5285 w 9949"/>
              <a:gd name="connsiteY154" fmla="*/ 6154 h 10000"/>
              <a:gd name="connsiteX155" fmla="*/ 5340 w 9949"/>
              <a:gd name="connsiteY155" fmla="*/ 6103 h 10000"/>
              <a:gd name="connsiteX156" fmla="*/ 5358 w 9949"/>
              <a:gd name="connsiteY156" fmla="*/ 6038 h 10000"/>
              <a:gd name="connsiteX157" fmla="*/ 5306 w 9949"/>
              <a:gd name="connsiteY157" fmla="*/ 5977 h 10000"/>
              <a:gd name="connsiteX158" fmla="*/ 5275 w 9949"/>
              <a:gd name="connsiteY158" fmla="*/ 5533 h 10000"/>
              <a:gd name="connsiteX159" fmla="*/ 5350 w 9949"/>
              <a:gd name="connsiteY159" fmla="*/ 5437 h 10000"/>
              <a:gd name="connsiteX160" fmla="*/ 5331 w 9949"/>
              <a:gd name="connsiteY160" fmla="*/ 5398 h 10000"/>
              <a:gd name="connsiteX161" fmla="*/ 5545 w 9949"/>
              <a:gd name="connsiteY161" fmla="*/ 5455 h 10000"/>
              <a:gd name="connsiteX162" fmla="*/ 5559 w 9949"/>
              <a:gd name="connsiteY162" fmla="*/ 5402 h 10000"/>
              <a:gd name="connsiteX163" fmla="*/ 5513 w 9949"/>
              <a:gd name="connsiteY163" fmla="*/ 5264 h 10000"/>
              <a:gd name="connsiteX164" fmla="*/ 5667 w 9949"/>
              <a:gd name="connsiteY164" fmla="*/ 5019 h 10000"/>
              <a:gd name="connsiteX165" fmla="*/ 5572 w 9949"/>
              <a:gd name="connsiteY165" fmla="*/ 4960 h 10000"/>
              <a:gd name="connsiteX166" fmla="*/ 5536 w 9949"/>
              <a:gd name="connsiteY166" fmla="*/ 4905 h 10000"/>
              <a:gd name="connsiteX167" fmla="*/ 5549 w 9949"/>
              <a:gd name="connsiteY167" fmla="*/ 4816 h 10000"/>
              <a:gd name="connsiteX168" fmla="*/ 5774 w 9949"/>
              <a:gd name="connsiteY168" fmla="*/ 4875 h 10000"/>
              <a:gd name="connsiteX169" fmla="*/ 5782 w 9949"/>
              <a:gd name="connsiteY169" fmla="*/ 4858 h 10000"/>
              <a:gd name="connsiteX170" fmla="*/ 5845 w 9949"/>
              <a:gd name="connsiteY170" fmla="*/ 4842 h 10000"/>
              <a:gd name="connsiteX171" fmla="*/ 5932 w 9949"/>
              <a:gd name="connsiteY171" fmla="*/ 4785 h 10000"/>
              <a:gd name="connsiteX172" fmla="*/ 5946 w 9949"/>
              <a:gd name="connsiteY172" fmla="*/ 4769 h 10000"/>
              <a:gd name="connsiteX173" fmla="*/ 5928 w 9949"/>
              <a:gd name="connsiteY173" fmla="*/ 4748 h 10000"/>
              <a:gd name="connsiteX174" fmla="*/ 5973 w 9949"/>
              <a:gd name="connsiteY174" fmla="*/ 4647 h 10000"/>
              <a:gd name="connsiteX175" fmla="*/ 5919 w 9949"/>
              <a:gd name="connsiteY175" fmla="*/ 4581 h 10000"/>
              <a:gd name="connsiteX176" fmla="*/ 5928 w 9949"/>
              <a:gd name="connsiteY176" fmla="*/ 4528 h 10000"/>
              <a:gd name="connsiteX177" fmla="*/ 5959 w 9949"/>
              <a:gd name="connsiteY177" fmla="*/ 4590 h 10000"/>
              <a:gd name="connsiteX178" fmla="*/ 6083 w 9949"/>
              <a:gd name="connsiteY178" fmla="*/ 4636 h 10000"/>
              <a:gd name="connsiteX179" fmla="*/ 6135 w 9949"/>
              <a:gd name="connsiteY179" fmla="*/ 4630 h 10000"/>
              <a:gd name="connsiteX180" fmla="*/ 6215 w 9949"/>
              <a:gd name="connsiteY180" fmla="*/ 4569 h 10000"/>
              <a:gd name="connsiteX181" fmla="*/ 6303 w 9949"/>
              <a:gd name="connsiteY181" fmla="*/ 4594 h 10000"/>
              <a:gd name="connsiteX182" fmla="*/ 6327 w 9949"/>
              <a:gd name="connsiteY182" fmla="*/ 4545 h 10000"/>
              <a:gd name="connsiteX183" fmla="*/ 6385 w 9949"/>
              <a:gd name="connsiteY183" fmla="*/ 4512 h 10000"/>
              <a:gd name="connsiteX184" fmla="*/ 6224 w 9949"/>
              <a:gd name="connsiteY184" fmla="*/ 4477 h 10000"/>
              <a:gd name="connsiteX185" fmla="*/ 6340 w 9949"/>
              <a:gd name="connsiteY185" fmla="*/ 4484 h 10000"/>
              <a:gd name="connsiteX186" fmla="*/ 6457 w 9949"/>
              <a:gd name="connsiteY186" fmla="*/ 4447 h 10000"/>
              <a:gd name="connsiteX187" fmla="*/ 6453 w 9949"/>
              <a:gd name="connsiteY187" fmla="*/ 4422 h 10000"/>
              <a:gd name="connsiteX188" fmla="*/ 6563 w 9949"/>
              <a:gd name="connsiteY188" fmla="*/ 4398 h 10000"/>
              <a:gd name="connsiteX189" fmla="*/ 6572 w 9949"/>
              <a:gd name="connsiteY189" fmla="*/ 4337 h 10000"/>
              <a:gd name="connsiteX190" fmla="*/ 6659 w 9949"/>
              <a:gd name="connsiteY190" fmla="*/ 4325 h 10000"/>
              <a:gd name="connsiteX191" fmla="*/ 6667 w 9949"/>
              <a:gd name="connsiteY191" fmla="*/ 4253 h 10000"/>
              <a:gd name="connsiteX192" fmla="*/ 6758 w 9949"/>
              <a:gd name="connsiteY192" fmla="*/ 4245 h 10000"/>
              <a:gd name="connsiteX193" fmla="*/ 6900 w 9949"/>
              <a:gd name="connsiteY193" fmla="*/ 4260 h 10000"/>
              <a:gd name="connsiteX194" fmla="*/ 7055 w 9949"/>
              <a:gd name="connsiteY194" fmla="*/ 4202 h 10000"/>
              <a:gd name="connsiteX195" fmla="*/ 7110 w 9949"/>
              <a:gd name="connsiteY195" fmla="*/ 4137 h 10000"/>
              <a:gd name="connsiteX196" fmla="*/ 7302 w 9949"/>
              <a:gd name="connsiteY196" fmla="*/ 4070 h 10000"/>
              <a:gd name="connsiteX197" fmla="*/ 7397 w 9949"/>
              <a:gd name="connsiteY197" fmla="*/ 4111 h 10000"/>
              <a:gd name="connsiteX198" fmla="*/ 7543 w 9949"/>
              <a:gd name="connsiteY198" fmla="*/ 4066 h 10000"/>
              <a:gd name="connsiteX199" fmla="*/ 7579 w 9949"/>
              <a:gd name="connsiteY199" fmla="*/ 4009 h 10000"/>
              <a:gd name="connsiteX200" fmla="*/ 7690 w 9949"/>
              <a:gd name="connsiteY200" fmla="*/ 3970 h 10000"/>
              <a:gd name="connsiteX201" fmla="*/ 7785 w 9949"/>
              <a:gd name="connsiteY201" fmla="*/ 3987 h 10000"/>
              <a:gd name="connsiteX202" fmla="*/ 7844 w 9949"/>
              <a:gd name="connsiteY202" fmla="*/ 3958 h 10000"/>
              <a:gd name="connsiteX203" fmla="*/ 8009 w 9949"/>
              <a:gd name="connsiteY203" fmla="*/ 3917 h 10000"/>
              <a:gd name="connsiteX204" fmla="*/ 8077 w 9949"/>
              <a:gd name="connsiteY204" fmla="*/ 3864 h 10000"/>
              <a:gd name="connsiteX205" fmla="*/ 8169 w 9949"/>
              <a:gd name="connsiteY205" fmla="*/ 3842 h 10000"/>
              <a:gd name="connsiteX206" fmla="*/ 8676 w 9949"/>
              <a:gd name="connsiteY206" fmla="*/ 3522 h 10000"/>
              <a:gd name="connsiteX207" fmla="*/ 9889 w 9949"/>
              <a:gd name="connsiteY207" fmla="*/ 978 h 10000"/>
              <a:gd name="connsiteX208" fmla="*/ 9949 w 9949"/>
              <a:gd name="connsiteY208" fmla="*/ 831 h 10000"/>
              <a:gd name="connsiteX209" fmla="*/ 9510 w 9949"/>
              <a:gd name="connsiteY209" fmla="*/ 517 h 10000"/>
              <a:gd name="connsiteX210" fmla="*/ 9296 w 9949"/>
              <a:gd name="connsiteY210" fmla="*/ 440 h 10000"/>
              <a:gd name="connsiteX211" fmla="*/ 8899 w 9949"/>
              <a:gd name="connsiteY211" fmla="*/ 389 h 10000"/>
              <a:gd name="connsiteX212" fmla="*/ 8077 w 9949"/>
              <a:gd name="connsiteY212" fmla="*/ 26 h 10000"/>
              <a:gd name="connsiteX213" fmla="*/ 8050 w 9949"/>
              <a:gd name="connsiteY213" fmla="*/ 2 h 10000"/>
              <a:gd name="connsiteX214" fmla="*/ 7771 w 9949"/>
              <a:gd name="connsiteY214" fmla="*/ 0 h 10000"/>
              <a:gd name="connsiteX215" fmla="*/ 7708 w 9949"/>
              <a:gd name="connsiteY215" fmla="*/ 14 h 10000"/>
              <a:gd name="connsiteX216" fmla="*/ 7722 w 9949"/>
              <a:gd name="connsiteY216" fmla="*/ 61 h 10000"/>
              <a:gd name="connsiteX217" fmla="*/ 7776 w 9949"/>
              <a:gd name="connsiteY217" fmla="*/ 86 h 10000"/>
              <a:gd name="connsiteX218" fmla="*/ 7791 w 9949"/>
              <a:gd name="connsiteY218" fmla="*/ 139 h 10000"/>
              <a:gd name="connsiteX219" fmla="*/ 7771 w 9949"/>
              <a:gd name="connsiteY219" fmla="*/ 181 h 10000"/>
              <a:gd name="connsiteX220" fmla="*/ 7722 w 9949"/>
              <a:gd name="connsiteY220" fmla="*/ 208 h 10000"/>
              <a:gd name="connsiteX221" fmla="*/ 7685 w 9949"/>
              <a:gd name="connsiteY221" fmla="*/ 283 h 10000"/>
              <a:gd name="connsiteX222" fmla="*/ 7617 w 9949"/>
              <a:gd name="connsiteY222" fmla="*/ 336 h 10000"/>
              <a:gd name="connsiteX223" fmla="*/ 7631 w 9949"/>
              <a:gd name="connsiteY223" fmla="*/ 387 h 10000"/>
              <a:gd name="connsiteX224" fmla="*/ 7735 w 9949"/>
              <a:gd name="connsiteY224" fmla="*/ 434 h 10000"/>
              <a:gd name="connsiteX225" fmla="*/ 7667 w 9949"/>
              <a:gd name="connsiteY225" fmla="*/ 475 h 10000"/>
              <a:gd name="connsiteX226" fmla="*/ 7566 w 9949"/>
              <a:gd name="connsiteY226" fmla="*/ 485 h 10000"/>
              <a:gd name="connsiteX227" fmla="*/ 6727 w 9949"/>
              <a:gd name="connsiteY227" fmla="*/ 387 h 10000"/>
              <a:gd name="connsiteX228" fmla="*/ 6626 w 9949"/>
              <a:gd name="connsiteY228" fmla="*/ 395 h 10000"/>
              <a:gd name="connsiteX229" fmla="*/ 6567 w 9949"/>
              <a:gd name="connsiteY229" fmla="*/ 414 h 10000"/>
              <a:gd name="connsiteX230" fmla="*/ 6507 w 9949"/>
              <a:gd name="connsiteY230" fmla="*/ 462 h 10000"/>
              <a:gd name="connsiteX231" fmla="*/ 6518 w 9949"/>
              <a:gd name="connsiteY231" fmla="*/ 581 h 10000"/>
              <a:gd name="connsiteX232" fmla="*/ 6425 w 9949"/>
              <a:gd name="connsiteY232" fmla="*/ 735 h 10000"/>
              <a:gd name="connsiteX233" fmla="*/ 6312 w 9949"/>
              <a:gd name="connsiteY233" fmla="*/ 815 h 10000"/>
              <a:gd name="connsiteX234" fmla="*/ 6266 w 9949"/>
              <a:gd name="connsiteY234" fmla="*/ 805 h 10000"/>
              <a:gd name="connsiteX235" fmla="*/ 6161 w 9949"/>
              <a:gd name="connsiteY235" fmla="*/ 739 h 10000"/>
              <a:gd name="connsiteX236" fmla="*/ 6029 w 9949"/>
              <a:gd name="connsiteY236" fmla="*/ 705 h 10000"/>
              <a:gd name="connsiteX237" fmla="*/ 5886 w 9949"/>
              <a:gd name="connsiteY237" fmla="*/ 715 h 10000"/>
              <a:gd name="connsiteX238" fmla="*/ 5555 w 9949"/>
              <a:gd name="connsiteY238" fmla="*/ 866 h 10000"/>
              <a:gd name="connsiteX239" fmla="*/ 5467 w 9949"/>
              <a:gd name="connsiteY239" fmla="*/ 1017 h 10000"/>
              <a:gd name="connsiteX240" fmla="*/ 5217 w 9949"/>
              <a:gd name="connsiteY240" fmla="*/ 1153 h 10000"/>
              <a:gd name="connsiteX241" fmla="*/ 5171 w 9949"/>
              <a:gd name="connsiteY241" fmla="*/ 1222 h 10000"/>
              <a:gd name="connsiteX242" fmla="*/ 5302 w 9949"/>
              <a:gd name="connsiteY242" fmla="*/ 1344 h 10000"/>
              <a:gd name="connsiteX243" fmla="*/ 5316 w 9949"/>
              <a:gd name="connsiteY243" fmla="*/ 1412 h 10000"/>
              <a:gd name="connsiteX244" fmla="*/ 4632 w 9949"/>
              <a:gd name="connsiteY244" fmla="*/ 1813 h 10000"/>
              <a:gd name="connsiteX245" fmla="*/ 4422 w 9949"/>
              <a:gd name="connsiteY245" fmla="*/ 2070 h 10000"/>
              <a:gd name="connsiteX246" fmla="*/ 4195 w 9949"/>
              <a:gd name="connsiteY246" fmla="*/ 2135 h 10000"/>
              <a:gd name="connsiteX247" fmla="*/ 4052 w 9949"/>
              <a:gd name="connsiteY247" fmla="*/ 2131 h 10000"/>
              <a:gd name="connsiteX248" fmla="*/ 3966 w 9949"/>
              <a:gd name="connsiteY248" fmla="*/ 2153 h 10000"/>
              <a:gd name="connsiteX249" fmla="*/ 3729 w 9949"/>
              <a:gd name="connsiteY249" fmla="*/ 2793 h 10000"/>
              <a:gd name="connsiteX250" fmla="*/ 3182 w 9949"/>
              <a:gd name="connsiteY250" fmla="*/ 3166 h 10000"/>
              <a:gd name="connsiteX251" fmla="*/ 3186 w 9949"/>
              <a:gd name="connsiteY251" fmla="*/ 3225 h 10000"/>
              <a:gd name="connsiteX252" fmla="*/ 3428 w 9949"/>
              <a:gd name="connsiteY252" fmla="*/ 3392 h 10000"/>
              <a:gd name="connsiteX253" fmla="*/ 3350 w 9949"/>
              <a:gd name="connsiteY253" fmla="*/ 3573 h 10000"/>
              <a:gd name="connsiteX254" fmla="*/ 3208 w 9949"/>
              <a:gd name="connsiteY254" fmla="*/ 3640 h 10000"/>
              <a:gd name="connsiteX255" fmla="*/ 2784 w 9949"/>
              <a:gd name="connsiteY255" fmla="*/ 3595 h 10000"/>
              <a:gd name="connsiteX256" fmla="*/ 2491 w 9949"/>
              <a:gd name="connsiteY256" fmla="*/ 3620 h 10000"/>
              <a:gd name="connsiteX257" fmla="*/ 2255 w 9949"/>
              <a:gd name="connsiteY257" fmla="*/ 3673 h 10000"/>
              <a:gd name="connsiteX258" fmla="*/ 1876 w 9949"/>
              <a:gd name="connsiteY258" fmla="*/ 3840 h 10000"/>
              <a:gd name="connsiteX259" fmla="*/ 1674 w 9949"/>
              <a:gd name="connsiteY259" fmla="*/ 4042 h 10000"/>
              <a:gd name="connsiteX260" fmla="*/ 1692 w 9949"/>
              <a:gd name="connsiteY260" fmla="*/ 4154 h 10000"/>
              <a:gd name="connsiteX261" fmla="*/ 1762 w 9949"/>
              <a:gd name="connsiteY261" fmla="*/ 4241 h 10000"/>
              <a:gd name="connsiteX262" fmla="*/ 1816 w 9949"/>
              <a:gd name="connsiteY262" fmla="*/ 4276 h 10000"/>
              <a:gd name="connsiteX263" fmla="*/ 1716 w 9949"/>
              <a:gd name="connsiteY263" fmla="*/ 4331 h 10000"/>
              <a:gd name="connsiteX264" fmla="*/ 1502 w 9949"/>
              <a:gd name="connsiteY264" fmla="*/ 4710 h 10000"/>
              <a:gd name="connsiteX265" fmla="*/ 1543 w 9949"/>
              <a:gd name="connsiteY265" fmla="*/ 4732 h 10000"/>
              <a:gd name="connsiteX266" fmla="*/ 1575 w 9949"/>
              <a:gd name="connsiteY266" fmla="*/ 4828 h 10000"/>
              <a:gd name="connsiteX267" fmla="*/ 1474 w 9949"/>
              <a:gd name="connsiteY267" fmla="*/ 5227 h 10000"/>
              <a:gd name="connsiteX268" fmla="*/ 1575 w 9949"/>
              <a:gd name="connsiteY268" fmla="*/ 5329 h 10000"/>
              <a:gd name="connsiteX269" fmla="*/ 1848 w 9949"/>
              <a:gd name="connsiteY269" fmla="*/ 5441 h 10000"/>
              <a:gd name="connsiteX270" fmla="*/ 1861 w 9949"/>
              <a:gd name="connsiteY270" fmla="*/ 5578 h 10000"/>
              <a:gd name="connsiteX271" fmla="*/ 1744 w 9949"/>
              <a:gd name="connsiteY271" fmla="*/ 5690 h 10000"/>
              <a:gd name="connsiteX272" fmla="*/ 1575 w 9949"/>
              <a:gd name="connsiteY272" fmla="*/ 5759 h 10000"/>
              <a:gd name="connsiteX273" fmla="*/ 1350 w 9949"/>
              <a:gd name="connsiteY273" fmla="*/ 5787 h 10000"/>
              <a:gd name="connsiteX274" fmla="*/ 1292 w 9949"/>
              <a:gd name="connsiteY274" fmla="*/ 5826 h 10000"/>
              <a:gd name="connsiteX275" fmla="*/ 1423 w 9949"/>
              <a:gd name="connsiteY275" fmla="*/ 5920 h 10000"/>
              <a:gd name="connsiteX276" fmla="*/ 1498 w 9949"/>
              <a:gd name="connsiteY276" fmla="*/ 6142 h 10000"/>
              <a:gd name="connsiteX277" fmla="*/ 1328 w 9949"/>
              <a:gd name="connsiteY277" fmla="*/ 6333 h 10000"/>
              <a:gd name="connsiteX278" fmla="*/ 1387 w 9949"/>
              <a:gd name="connsiteY278" fmla="*/ 6392 h 10000"/>
              <a:gd name="connsiteX279" fmla="*/ 1333 w 9949"/>
              <a:gd name="connsiteY279" fmla="*/ 6492 h 10000"/>
              <a:gd name="connsiteX280" fmla="*/ 1224 w 9949"/>
              <a:gd name="connsiteY280" fmla="*/ 6561 h 10000"/>
              <a:gd name="connsiteX281" fmla="*/ 794 w 9949"/>
              <a:gd name="connsiteY281" fmla="*/ 6614 h 10000"/>
              <a:gd name="connsiteX282" fmla="*/ 767 w 9949"/>
              <a:gd name="connsiteY282" fmla="*/ 6706 h 10000"/>
              <a:gd name="connsiteX283" fmla="*/ 535 w 9949"/>
              <a:gd name="connsiteY283" fmla="*/ 6843 h 10000"/>
              <a:gd name="connsiteX284" fmla="*/ 566 w 9949"/>
              <a:gd name="connsiteY284" fmla="*/ 7040 h 10000"/>
              <a:gd name="connsiteX285" fmla="*/ 370 w 9949"/>
              <a:gd name="connsiteY285" fmla="*/ 7293 h 10000"/>
              <a:gd name="connsiteX286" fmla="*/ 237 w 9949"/>
              <a:gd name="connsiteY286" fmla="*/ 7323 h 10000"/>
              <a:gd name="connsiteX287" fmla="*/ 183 w 9949"/>
              <a:gd name="connsiteY287" fmla="*/ 7262 h 10000"/>
              <a:gd name="connsiteX288" fmla="*/ 114 w 9949"/>
              <a:gd name="connsiteY288" fmla="*/ 7354 h 10000"/>
              <a:gd name="connsiteX289" fmla="*/ 159 w 9949"/>
              <a:gd name="connsiteY289" fmla="*/ 7197 h 10000"/>
              <a:gd name="connsiteX290" fmla="*/ 131 w 9949"/>
              <a:gd name="connsiteY290" fmla="*/ 7166 h 10000"/>
              <a:gd name="connsiteX0" fmla="*/ 132 w 10000"/>
              <a:gd name="connsiteY0" fmla="*/ 7166 h 10000"/>
              <a:gd name="connsiteX1" fmla="*/ 0 w 10000"/>
              <a:gd name="connsiteY1" fmla="*/ 7248 h 10000"/>
              <a:gd name="connsiteX2" fmla="*/ 0 w 10000"/>
              <a:gd name="connsiteY2" fmla="*/ 7651 h 10000"/>
              <a:gd name="connsiteX3" fmla="*/ 73 w 10000"/>
              <a:gd name="connsiteY3" fmla="*/ 7663 h 10000"/>
              <a:gd name="connsiteX4" fmla="*/ 90 w 10000"/>
              <a:gd name="connsiteY4" fmla="*/ 7694 h 10000"/>
              <a:gd name="connsiteX5" fmla="*/ 86 w 10000"/>
              <a:gd name="connsiteY5" fmla="*/ 7749 h 10000"/>
              <a:gd name="connsiteX6" fmla="*/ 59 w 10000"/>
              <a:gd name="connsiteY6" fmla="*/ 7773 h 10000"/>
              <a:gd name="connsiteX7" fmla="*/ 170 w 10000"/>
              <a:gd name="connsiteY7" fmla="*/ 7727 h 10000"/>
              <a:gd name="connsiteX8" fmla="*/ 217 w 10000"/>
              <a:gd name="connsiteY8" fmla="*/ 7680 h 10000"/>
              <a:gd name="connsiteX9" fmla="*/ 274 w 10000"/>
              <a:gd name="connsiteY9" fmla="*/ 7712 h 10000"/>
              <a:gd name="connsiteX10" fmla="*/ 211 w 10000"/>
              <a:gd name="connsiteY10" fmla="*/ 7778 h 10000"/>
              <a:gd name="connsiteX11" fmla="*/ 279 w 10000"/>
              <a:gd name="connsiteY11" fmla="*/ 7780 h 10000"/>
              <a:gd name="connsiteX12" fmla="*/ 312 w 10000"/>
              <a:gd name="connsiteY12" fmla="*/ 7796 h 10000"/>
              <a:gd name="connsiteX13" fmla="*/ 225 w 10000"/>
              <a:gd name="connsiteY13" fmla="*/ 7818 h 10000"/>
              <a:gd name="connsiteX14" fmla="*/ 86 w 10000"/>
              <a:gd name="connsiteY14" fmla="*/ 7886 h 10000"/>
              <a:gd name="connsiteX15" fmla="*/ 332 w 10000"/>
              <a:gd name="connsiteY15" fmla="*/ 7938 h 10000"/>
              <a:gd name="connsiteX16" fmla="*/ 362 w 10000"/>
              <a:gd name="connsiteY16" fmla="*/ 8014 h 10000"/>
              <a:gd name="connsiteX17" fmla="*/ 279 w 10000"/>
              <a:gd name="connsiteY17" fmla="*/ 8126 h 10000"/>
              <a:gd name="connsiteX18" fmla="*/ 459 w 10000"/>
              <a:gd name="connsiteY18" fmla="*/ 8118 h 10000"/>
              <a:gd name="connsiteX19" fmla="*/ 472 w 10000"/>
              <a:gd name="connsiteY19" fmla="*/ 8203 h 10000"/>
              <a:gd name="connsiteX20" fmla="*/ 353 w 10000"/>
              <a:gd name="connsiteY20" fmla="*/ 8260 h 10000"/>
              <a:gd name="connsiteX21" fmla="*/ 372 w 10000"/>
              <a:gd name="connsiteY21" fmla="*/ 8370 h 10000"/>
              <a:gd name="connsiteX22" fmla="*/ 326 w 10000"/>
              <a:gd name="connsiteY22" fmla="*/ 8456 h 10000"/>
              <a:gd name="connsiteX23" fmla="*/ 467 w 10000"/>
              <a:gd name="connsiteY23" fmla="*/ 8464 h 10000"/>
              <a:gd name="connsiteX24" fmla="*/ 606 w 10000"/>
              <a:gd name="connsiteY24" fmla="*/ 8792 h 10000"/>
              <a:gd name="connsiteX25" fmla="*/ 766 w 10000"/>
              <a:gd name="connsiteY25" fmla="*/ 8876 h 10000"/>
              <a:gd name="connsiteX26" fmla="*/ 835 w 10000"/>
              <a:gd name="connsiteY26" fmla="*/ 8965 h 10000"/>
              <a:gd name="connsiteX27" fmla="*/ 1009 w 10000"/>
              <a:gd name="connsiteY27" fmla="*/ 9030 h 10000"/>
              <a:gd name="connsiteX28" fmla="*/ 1120 w 10000"/>
              <a:gd name="connsiteY28" fmla="*/ 9112 h 10000"/>
              <a:gd name="connsiteX29" fmla="*/ 1106 w 10000"/>
              <a:gd name="connsiteY29" fmla="*/ 9171 h 10000"/>
              <a:gd name="connsiteX30" fmla="*/ 996 w 10000"/>
              <a:gd name="connsiteY30" fmla="*/ 9193 h 10000"/>
              <a:gd name="connsiteX31" fmla="*/ 876 w 10000"/>
              <a:gd name="connsiteY31" fmla="*/ 9179 h 10000"/>
              <a:gd name="connsiteX32" fmla="*/ 839 w 10000"/>
              <a:gd name="connsiteY32" fmla="*/ 9204 h 10000"/>
              <a:gd name="connsiteX33" fmla="*/ 931 w 10000"/>
              <a:gd name="connsiteY33" fmla="*/ 9332 h 10000"/>
              <a:gd name="connsiteX34" fmla="*/ 802 w 10000"/>
              <a:gd name="connsiteY34" fmla="*/ 9322 h 10000"/>
              <a:gd name="connsiteX35" fmla="*/ 693 w 10000"/>
              <a:gd name="connsiteY35" fmla="*/ 9291 h 10000"/>
              <a:gd name="connsiteX36" fmla="*/ 673 w 10000"/>
              <a:gd name="connsiteY36" fmla="*/ 9338 h 10000"/>
              <a:gd name="connsiteX37" fmla="*/ 1036 w 10000"/>
              <a:gd name="connsiteY37" fmla="*/ 9776 h 10000"/>
              <a:gd name="connsiteX38" fmla="*/ 978 w 10000"/>
              <a:gd name="connsiteY38" fmla="*/ 9817 h 10000"/>
              <a:gd name="connsiteX39" fmla="*/ 937 w 10000"/>
              <a:gd name="connsiteY39" fmla="*/ 9902 h 10000"/>
              <a:gd name="connsiteX40" fmla="*/ 886 w 10000"/>
              <a:gd name="connsiteY40" fmla="*/ 9908 h 10000"/>
              <a:gd name="connsiteX41" fmla="*/ 853 w 10000"/>
              <a:gd name="connsiteY41" fmla="*/ 9945 h 10000"/>
              <a:gd name="connsiteX42" fmla="*/ 1072 w 10000"/>
              <a:gd name="connsiteY42" fmla="*/ 9949 h 10000"/>
              <a:gd name="connsiteX43" fmla="*/ 1266 w 10000"/>
              <a:gd name="connsiteY43" fmla="*/ 9986 h 10000"/>
              <a:gd name="connsiteX44" fmla="*/ 1587 w 10000"/>
              <a:gd name="connsiteY44" fmla="*/ 9947 h 10000"/>
              <a:gd name="connsiteX45" fmla="*/ 1876 w 10000"/>
              <a:gd name="connsiteY45" fmla="*/ 9953 h 10000"/>
              <a:gd name="connsiteX46" fmla="*/ 2046 w 10000"/>
              <a:gd name="connsiteY46" fmla="*/ 10000 h 10000"/>
              <a:gd name="connsiteX47" fmla="*/ 2139 w 10000"/>
              <a:gd name="connsiteY47" fmla="*/ 9969 h 10000"/>
              <a:gd name="connsiteX48" fmla="*/ 2229 w 10000"/>
              <a:gd name="connsiteY48" fmla="*/ 9868 h 10000"/>
              <a:gd name="connsiteX49" fmla="*/ 2206 w 10000"/>
              <a:gd name="connsiteY49" fmla="*/ 9703 h 10000"/>
              <a:gd name="connsiteX50" fmla="*/ 2426 w 10000"/>
              <a:gd name="connsiteY50" fmla="*/ 9517 h 10000"/>
              <a:gd name="connsiteX51" fmla="*/ 2587 w 10000"/>
              <a:gd name="connsiteY51" fmla="*/ 9546 h 10000"/>
              <a:gd name="connsiteX52" fmla="*/ 2679 w 10000"/>
              <a:gd name="connsiteY52" fmla="*/ 9472 h 10000"/>
              <a:gd name="connsiteX53" fmla="*/ 2858 w 10000"/>
              <a:gd name="connsiteY53" fmla="*/ 9430 h 10000"/>
              <a:gd name="connsiteX54" fmla="*/ 3101 w 10000"/>
              <a:gd name="connsiteY54" fmla="*/ 9440 h 10000"/>
              <a:gd name="connsiteX55" fmla="*/ 3248 w 10000"/>
              <a:gd name="connsiteY55" fmla="*/ 9470 h 10000"/>
              <a:gd name="connsiteX56" fmla="*/ 3442 w 10000"/>
              <a:gd name="connsiteY56" fmla="*/ 9456 h 10000"/>
              <a:gd name="connsiteX57" fmla="*/ 3638 w 10000"/>
              <a:gd name="connsiteY57" fmla="*/ 9489 h 10000"/>
              <a:gd name="connsiteX58" fmla="*/ 3835 w 10000"/>
              <a:gd name="connsiteY58" fmla="*/ 9493 h 10000"/>
              <a:gd name="connsiteX59" fmla="*/ 4275 w 10000"/>
              <a:gd name="connsiteY59" fmla="*/ 9061 h 10000"/>
              <a:gd name="connsiteX60" fmla="*/ 4386 w 10000"/>
              <a:gd name="connsiteY60" fmla="*/ 8711 h 10000"/>
              <a:gd name="connsiteX61" fmla="*/ 4564 w 10000"/>
              <a:gd name="connsiteY61" fmla="*/ 8554 h 10000"/>
              <a:gd name="connsiteX62" fmla="*/ 4564 w 10000"/>
              <a:gd name="connsiteY62" fmla="*/ 8472 h 10000"/>
              <a:gd name="connsiteX63" fmla="*/ 4500 w 10000"/>
              <a:gd name="connsiteY63" fmla="*/ 8425 h 10000"/>
              <a:gd name="connsiteX64" fmla="*/ 4605 w 10000"/>
              <a:gd name="connsiteY64" fmla="*/ 8352 h 10000"/>
              <a:gd name="connsiteX65" fmla="*/ 4586 w 10000"/>
              <a:gd name="connsiteY65" fmla="*/ 8289 h 10000"/>
              <a:gd name="connsiteX66" fmla="*/ 4514 w 10000"/>
              <a:gd name="connsiteY66" fmla="*/ 8236 h 10000"/>
              <a:gd name="connsiteX67" fmla="*/ 4500 w 10000"/>
              <a:gd name="connsiteY67" fmla="*/ 8199 h 10000"/>
              <a:gd name="connsiteX68" fmla="*/ 4518 w 10000"/>
              <a:gd name="connsiteY68" fmla="*/ 8169 h 10000"/>
              <a:gd name="connsiteX69" fmla="*/ 4615 w 10000"/>
              <a:gd name="connsiteY69" fmla="*/ 8193 h 10000"/>
              <a:gd name="connsiteX70" fmla="*/ 4692 w 10000"/>
              <a:gd name="connsiteY70" fmla="*/ 8191 h 10000"/>
              <a:gd name="connsiteX71" fmla="*/ 4650 w 10000"/>
              <a:gd name="connsiteY71" fmla="*/ 8140 h 10000"/>
              <a:gd name="connsiteX72" fmla="*/ 4664 w 10000"/>
              <a:gd name="connsiteY72" fmla="*/ 8112 h 10000"/>
              <a:gd name="connsiteX73" fmla="*/ 4720 w 10000"/>
              <a:gd name="connsiteY73" fmla="*/ 8069 h 10000"/>
              <a:gd name="connsiteX74" fmla="*/ 4711 w 10000"/>
              <a:gd name="connsiteY74" fmla="*/ 8034 h 10000"/>
              <a:gd name="connsiteX75" fmla="*/ 4762 w 10000"/>
              <a:gd name="connsiteY75" fmla="*/ 7916 h 10000"/>
              <a:gd name="connsiteX76" fmla="*/ 4749 w 10000"/>
              <a:gd name="connsiteY76" fmla="*/ 7881 h 10000"/>
              <a:gd name="connsiteX77" fmla="*/ 4482 w 10000"/>
              <a:gd name="connsiteY77" fmla="*/ 7792 h 10000"/>
              <a:gd name="connsiteX78" fmla="*/ 4518 w 10000"/>
              <a:gd name="connsiteY78" fmla="*/ 7788 h 10000"/>
              <a:gd name="connsiteX79" fmla="*/ 4660 w 10000"/>
              <a:gd name="connsiteY79" fmla="*/ 7812 h 10000"/>
              <a:gd name="connsiteX80" fmla="*/ 4813 w 10000"/>
              <a:gd name="connsiteY80" fmla="*/ 7804 h 10000"/>
              <a:gd name="connsiteX81" fmla="*/ 4858 w 10000"/>
              <a:gd name="connsiteY81" fmla="*/ 7771 h 10000"/>
              <a:gd name="connsiteX82" fmla="*/ 4711 w 10000"/>
              <a:gd name="connsiteY82" fmla="*/ 7710 h 10000"/>
              <a:gd name="connsiteX83" fmla="*/ 4271 w 10000"/>
              <a:gd name="connsiteY83" fmla="*/ 7670 h 10000"/>
              <a:gd name="connsiteX84" fmla="*/ 4301 w 10000"/>
              <a:gd name="connsiteY84" fmla="*/ 7651 h 10000"/>
              <a:gd name="connsiteX85" fmla="*/ 4660 w 10000"/>
              <a:gd name="connsiteY85" fmla="*/ 7639 h 10000"/>
              <a:gd name="connsiteX86" fmla="*/ 4858 w 10000"/>
              <a:gd name="connsiteY86" fmla="*/ 7676 h 10000"/>
              <a:gd name="connsiteX87" fmla="*/ 4972 w 10000"/>
              <a:gd name="connsiteY87" fmla="*/ 7651 h 10000"/>
              <a:gd name="connsiteX88" fmla="*/ 5014 w 10000"/>
              <a:gd name="connsiteY88" fmla="*/ 7588 h 10000"/>
              <a:gd name="connsiteX89" fmla="*/ 5220 w 10000"/>
              <a:gd name="connsiteY89" fmla="*/ 7588 h 10000"/>
              <a:gd name="connsiteX90" fmla="*/ 5500 w 10000"/>
              <a:gd name="connsiteY90" fmla="*/ 7462 h 10000"/>
              <a:gd name="connsiteX91" fmla="*/ 5510 w 10000"/>
              <a:gd name="connsiteY91" fmla="*/ 7378 h 10000"/>
              <a:gd name="connsiteX92" fmla="*/ 5628 w 10000"/>
              <a:gd name="connsiteY92" fmla="*/ 7397 h 10000"/>
              <a:gd name="connsiteX93" fmla="*/ 5624 w 10000"/>
              <a:gd name="connsiteY93" fmla="*/ 7482 h 10000"/>
              <a:gd name="connsiteX94" fmla="*/ 5812 w 10000"/>
              <a:gd name="connsiteY94" fmla="*/ 7476 h 10000"/>
              <a:gd name="connsiteX95" fmla="*/ 5935 w 10000"/>
              <a:gd name="connsiteY95" fmla="*/ 7388 h 10000"/>
              <a:gd name="connsiteX96" fmla="*/ 6166 w 10000"/>
              <a:gd name="connsiteY96" fmla="*/ 7309 h 10000"/>
              <a:gd name="connsiteX97" fmla="*/ 6128 w 10000"/>
              <a:gd name="connsiteY97" fmla="*/ 7219 h 10000"/>
              <a:gd name="connsiteX98" fmla="*/ 6197 w 10000"/>
              <a:gd name="connsiteY98" fmla="*/ 7254 h 10000"/>
              <a:gd name="connsiteX99" fmla="*/ 6302 w 10000"/>
              <a:gd name="connsiteY99" fmla="*/ 7254 h 10000"/>
              <a:gd name="connsiteX100" fmla="*/ 6302 w 10000"/>
              <a:gd name="connsiteY100" fmla="*/ 7213 h 10000"/>
              <a:gd name="connsiteX101" fmla="*/ 6400 w 10000"/>
              <a:gd name="connsiteY101" fmla="*/ 7181 h 10000"/>
              <a:gd name="connsiteX102" fmla="*/ 6386 w 10000"/>
              <a:gd name="connsiteY102" fmla="*/ 7148 h 10000"/>
              <a:gd name="connsiteX103" fmla="*/ 5560 w 10000"/>
              <a:gd name="connsiteY103" fmla="*/ 7215 h 10000"/>
              <a:gd name="connsiteX104" fmla="*/ 5367 w 10000"/>
              <a:gd name="connsiteY104" fmla="*/ 7195 h 10000"/>
              <a:gd name="connsiteX105" fmla="*/ 5289 w 10000"/>
              <a:gd name="connsiteY105" fmla="*/ 7219 h 10000"/>
              <a:gd name="connsiteX106" fmla="*/ 5262 w 10000"/>
              <a:gd name="connsiteY106" fmla="*/ 7173 h 10000"/>
              <a:gd name="connsiteX107" fmla="*/ 5170 w 10000"/>
              <a:gd name="connsiteY107" fmla="*/ 7132 h 10000"/>
              <a:gd name="connsiteX108" fmla="*/ 4802 w 10000"/>
              <a:gd name="connsiteY108" fmla="*/ 7052 h 10000"/>
              <a:gd name="connsiteX109" fmla="*/ 4586 w 10000"/>
              <a:gd name="connsiteY109" fmla="*/ 7065 h 10000"/>
              <a:gd name="connsiteX110" fmla="*/ 4500 w 10000"/>
              <a:gd name="connsiteY110" fmla="*/ 7042 h 10000"/>
              <a:gd name="connsiteX111" fmla="*/ 4591 w 10000"/>
              <a:gd name="connsiteY111" fmla="*/ 7022 h 10000"/>
              <a:gd name="connsiteX112" fmla="*/ 4660 w 10000"/>
              <a:gd name="connsiteY112" fmla="*/ 6979 h 10000"/>
              <a:gd name="connsiteX113" fmla="*/ 4762 w 10000"/>
              <a:gd name="connsiteY113" fmla="*/ 6993 h 10000"/>
              <a:gd name="connsiteX114" fmla="*/ 4885 w 10000"/>
              <a:gd name="connsiteY114" fmla="*/ 6981 h 10000"/>
              <a:gd name="connsiteX115" fmla="*/ 5069 w 10000"/>
              <a:gd name="connsiteY115" fmla="*/ 6995 h 10000"/>
              <a:gd name="connsiteX116" fmla="*/ 5091 w 10000"/>
              <a:gd name="connsiteY116" fmla="*/ 6989 h 10000"/>
              <a:gd name="connsiteX117" fmla="*/ 5234 w 10000"/>
              <a:gd name="connsiteY117" fmla="*/ 7056 h 10000"/>
              <a:gd name="connsiteX118" fmla="*/ 5339 w 10000"/>
              <a:gd name="connsiteY118" fmla="*/ 7032 h 10000"/>
              <a:gd name="connsiteX119" fmla="*/ 5347 w 10000"/>
              <a:gd name="connsiteY119" fmla="*/ 7010 h 10000"/>
              <a:gd name="connsiteX120" fmla="*/ 5445 w 10000"/>
              <a:gd name="connsiteY120" fmla="*/ 7048 h 10000"/>
              <a:gd name="connsiteX121" fmla="*/ 5573 w 10000"/>
              <a:gd name="connsiteY121" fmla="*/ 7069 h 10000"/>
              <a:gd name="connsiteX122" fmla="*/ 5624 w 10000"/>
              <a:gd name="connsiteY122" fmla="*/ 7030 h 10000"/>
              <a:gd name="connsiteX123" fmla="*/ 5665 w 10000"/>
              <a:gd name="connsiteY123" fmla="*/ 7052 h 10000"/>
              <a:gd name="connsiteX124" fmla="*/ 5724 w 10000"/>
              <a:gd name="connsiteY124" fmla="*/ 7126 h 10000"/>
              <a:gd name="connsiteX125" fmla="*/ 5848 w 10000"/>
              <a:gd name="connsiteY125" fmla="*/ 7144 h 10000"/>
              <a:gd name="connsiteX126" fmla="*/ 6353 w 10000"/>
              <a:gd name="connsiteY126" fmla="*/ 7034 h 10000"/>
              <a:gd name="connsiteX127" fmla="*/ 6601 w 10000"/>
              <a:gd name="connsiteY127" fmla="*/ 6879 h 10000"/>
              <a:gd name="connsiteX128" fmla="*/ 6660 w 10000"/>
              <a:gd name="connsiteY128" fmla="*/ 6765 h 10000"/>
              <a:gd name="connsiteX129" fmla="*/ 6570 w 10000"/>
              <a:gd name="connsiteY129" fmla="*/ 6663 h 10000"/>
              <a:gd name="connsiteX130" fmla="*/ 6381 w 10000"/>
              <a:gd name="connsiteY130" fmla="*/ 6602 h 10000"/>
              <a:gd name="connsiteX131" fmla="*/ 6247 w 10000"/>
              <a:gd name="connsiteY131" fmla="*/ 6502 h 10000"/>
              <a:gd name="connsiteX132" fmla="*/ 6372 w 10000"/>
              <a:gd name="connsiteY132" fmla="*/ 6498 h 10000"/>
              <a:gd name="connsiteX133" fmla="*/ 6363 w 10000"/>
              <a:gd name="connsiteY133" fmla="*/ 6474 h 10000"/>
              <a:gd name="connsiteX134" fmla="*/ 6038 w 10000"/>
              <a:gd name="connsiteY134" fmla="*/ 6403 h 10000"/>
              <a:gd name="connsiteX135" fmla="*/ 6025 w 10000"/>
              <a:gd name="connsiteY135" fmla="*/ 6339 h 10000"/>
              <a:gd name="connsiteX136" fmla="*/ 5962 w 10000"/>
              <a:gd name="connsiteY136" fmla="*/ 6272 h 10000"/>
              <a:gd name="connsiteX137" fmla="*/ 5706 w 10000"/>
              <a:gd name="connsiteY137" fmla="*/ 6284 h 10000"/>
              <a:gd name="connsiteX138" fmla="*/ 5614 w 10000"/>
              <a:gd name="connsiteY138" fmla="*/ 6213 h 10000"/>
              <a:gd name="connsiteX139" fmla="*/ 5560 w 10000"/>
              <a:gd name="connsiteY139" fmla="*/ 6209 h 10000"/>
              <a:gd name="connsiteX140" fmla="*/ 5560 w 10000"/>
              <a:gd name="connsiteY140" fmla="*/ 6238 h 10000"/>
              <a:gd name="connsiteX141" fmla="*/ 5445 w 10000"/>
              <a:gd name="connsiteY141" fmla="*/ 6358 h 10000"/>
              <a:gd name="connsiteX142" fmla="*/ 5320 w 10000"/>
              <a:gd name="connsiteY142" fmla="*/ 6429 h 10000"/>
              <a:gd name="connsiteX143" fmla="*/ 4930 w 10000"/>
              <a:gd name="connsiteY143" fmla="*/ 6551 h 10000"/>
              <a:gd name="connsiteX144" fmla="*/ 4793 w 10000"/>
              <a:gd name="connsiteY144" fmla="*/ 6547 h 10000"/>
              <a:gd name="connsiteX145" fmla="*/ 4605 w 10000"/>
              <a:gd name="connsiteY145" fmla="*/ 6565 h 10000"/>
              <a:gd name="connsiteX146" fmla="*/ 4500 w 10000"/>
              <a:gd name="connsiteY146" fmla="*/ 6547 h 10000"/>
              <a:gd name="connsiteX147" fmla="*/ 4637 w 10000"/>
              <a:gd name="connsiteY147" fmla="*/ 6513 h 10000"/>
              <a:gd name="connsiteX148" fmla="*/ 4817 w 10000"/>
              <a:gd name="connsiteY148" fmla="*/ 6498 h 10000"/>
              <a:gd name="connsiteX149" fmla="*/ 4964 w 10000"/>
              <a:gd name="connsiteY149" fmla="*/ 6441 h 10000"/>
              <a:gd name="connsiteX150" fmla="*/ 5109 w 10000"/>
              <a:gd name="connsiteY150" fmla="*/ 6415 h 10000"/>
              <a:gd name="connsiteX151" fmla="*/ 5381 w 10000"/>
              <a:gd name="connsiteY151" fmla="*/ 6317 h 10000"/>
              <a:gd name="connsiteX152" fmla="*/ 5432 w 10000"/>
              <a:gd name="connsiteY152" fmla="*/ 6252 h 10000"/>
              <a:gd name="connsiteX153" fmla="*/ 5436 w 10000"/>
              <a:gd name="connsiteY153" fmla="*/ 6168 h 10000"/>
              <a:gd name="connsiteX154" fmla="*/ 5312 w 10000"/>
              <a:gd name="connsiteY154" fmla="*/ 6154 h 10000"/>
              <a:gd name="connsiteX155" fmla="*/ 5367 w 10000"/>
              <a:gd name="connsiteY155" fmla="*/ 6103 h 10000"/>
              <a:gd name="connsiteX156" fmla="*/ 5385 w 10000"/>
              <a:gd name="connsiteY156" fmla="*/ 6038 h 10000"/>
              <a:gd name="connsiteX157" fmla="*/ 5333 w 10000"/>
              <a:gd name="connsiteY157" fmla="*/ 5977 h 10000"/>
              <a:gd name="connsiteX158" fmla="*/ 5302 w 10000"/>
              <a:gd name="connsiteY158" fmla="*/ 5533 h 10000"/>
              <a:gd name="connsiteX159" fmla="*/ 5377 w 10000"/>
              <a:gd name="connsiteY159" fmla="*/ 5437 h 10000"/>
              <a:gd name="connsiteX160" fmla="*/ 5358 w 10000"/>
              <a:gd name="connsiteY160" fmla="*/ 5398 h 10000"/>
              <a:gd name="connsiteX161" fmla="*/ 5573 w 10000"/>
              <a:gd name="connsiteY161" fmla="*/ 5455 h 10000"/>
              <a:gd name="connsiteX162" fmla="*/ 5587 w 10000"/>
              <a:gd name="connsiteY162" fmla="*/ 5402 h 10000"/>
              <a:gd name="connsiteX163" fmla="*/ 5541 w 10000"/>
              <a:gd name="connsiteY163" fmla="*/ 5264 h 10000"/>
              <a:gd name="connsiteX164" fmla="*/ 5696 w 10000"/>
              <a:gd name="connsiteY164" fmla="*/ 5019 h 10000"/>
              <a:gd name="connsiteX165" fmla="*/ 5601 w 10000"/>
              <a:gd name="connsiteY165" fmla="*/ 4960 h 10000"/>
              <a:gd name="connsiteX166" fmla="*/ 5564 w 10000"/>
              <a:gd name="connsiteY166" fmla="*/ 4905 h 10000"/>
              <a:gd name="connsiteX167" fmla="*/ 5577 w 10000"/>
              <a:gd name="connsiteY167" fmla="*/ 4816 h 10000"/>
              <a:gd name="connsiteX168" fmla="*/ 5804 w 10000"/>
              <a:gd name="connsiteY168" fmla="*/ 4875 h 10000"/>
              <a:gd name="connsiteX169" fmla="*/ 5812 w 10000"/>
              <a:gd name="connsiteY169" fmla="*/ 4858 h 10000"/>
              <a:gd name="connsiteX170" fmla="*/ 5875 w 10000"/>
              <a:gd name="connsiteY170" fmla="*/ 4842 h 10000"/>
              <a:gd name="connsiteX171" fmla="*/ 5962 w 10000"/>
              <a:gd name="connsiteY171" fmla="*/ 4785 h 10000"/>
              <a:gd name="connsiteX172" fmla="*/ 5976 w 10000"/>
              <a:gd name="connsiteY172" fmla="*/ 4769 h 10000"/>
              <a:gd name="connsiteX173" fmla="*/ 5958 w 10000"/>
              <a:gd name="connsiteY173" fmla="*/ 4748 h 10000"/>
              <a:gd name="connsiteX174" fmla="*/ 6004 w 10000"/>
              <a:gd name="connsiteY174" fmla="*/ 4647 h 10000"/>
              <a:gd name="connsiteX175" fmla="*/ 5949 w 10000"/>
              <a:gd name="connsiteY175" fmla="*/ 4581 h 10000"/>
              <a:gd name="connsiteX176" fmla="*/ 5958 w 10000"/>
              <a:gd name="connsiteY176" fmla="*/ 4528 h 10000"/>
              <a:gd name="connsiteX177" fmla="*/ 5990 w 10000"/>
              <a:gd name="connsiteY177" fmla="*/ 4590 h 10000"/>
              <a:gd name="connsiteX178" fmla="*/ 6114 w 10000"/>
              <a:gd name="connsiteY178" fmla="*/ 4636 h 10000"/>
              <a:gd name="connsiteX179" fmla="*/ 6166 w 10000"/>
              <a:gd name="connsiteY179" fmla="*/ 4630 h 10000"/>
              <a:gd name="connsiteX180" fmla="*/ 6247 w 10000"/>
              <a:gd name="connsiteY180" fmla="*/ 4569 h 10000"/>
              <a:gd name="connsiteX181" fmla="*/ 6335 w 10000"/>
              <a:gd name="connsiteY181" fmla="*/ 4594 h 10000"/>
              <a:gd name="connsiteX182" fmla="*/ 6359 w 10000"/>
              <a:gd name="connsiteY182" fmla="*/ 4545 h 10000"/>
              <a:gd name="connsiteX183" fmla="*/ 6418 w 10000"/>
              <a:gd name="connsiteY183" fmla="*/ 4512 h 10000"/>
              <a:gd name="connsiteX184" fmla="*/ 6256 w 10000"/>
              <a:gd name="connsiteY184" fmla="*/ 4477 h 10000"/>
              <a:gd name="connsiteX185" fmla="*/ 6372 w 10000"/>
              <a:gd name="connsiteY185" fmla="*/ 4484 h 10000"/>
              <a:gd name="connsiteX186" fmla="*/ 6490 w 10000"/>
              <a:gd name="connsiteY186" fmla="*/ 4447 h 10000"/>
              <a:gd name="connsiteX187" fmla="*/ 6486 w 10000"/>
              <a:gd name="connsiteY187" fmla="*/ 4422 h 10000"/>
              <a:gd name="connsiteX188" fmla="*/ 6597 w 10000"/>
              <a:gd name="connsiteY188" fmla="*/ 4398 h 10000"/>
              <a:gd name="connsiteX189" fmla="*/ 6606 w 10000"/>
              <a:gd name="connsiteY189" fmla="*/ 4337 h 10000"/>
              <a:gd name="connsiteX190" fmla="*/ 6693 w 10000"/>
              <a:gd name="connsiteY190" fmla="*/ 4325 h 10000"/>
              <a:gd name="connsiteX191" fmla="*/ 6701 w 10000"/>
              <a:gd name="connsiteY191" fmla="*/ 4253 h 10000"/>
              <a:gd name="connsiteX192" fmla="*/ 6793 w 10000"/>
              <a:gd name="connsiteY192" fmla="*/ 4245 h 10000"/>
              <a:gd name="connsiteX193" fmla="*/ 6935 w 10000"/>
              <a:gd name="connsiteY193" fmla="*/ 4260 h 10000"/>
              <a:gd name="connsiteX194" fmla="*/ 7091 w 10000"/>
              <a:gd name="connsiteY194" fmla="*/ 4202 h 10000"/>
              <a:gd name="connsiteX195" fmla="*/ 7146 w 10000"/>
              <a:gd name="connsiteY195" fmla="*/ 4137 h 10000"/>
              <a:gd name="connsiteX196" fmla="*/ 7339 w 10000"/>
              <a:gd name="connsiteY196" fmla="*/ 4070 h 10000"/>
              <a:gd name="connsiteX197" fmla="*/ 7435 w 10000"/>
              <a:gd name="connsiteY197" fmla="*/ 4111 h 10000"/>
              <a:gd name="connsiteX198" fmla="*/ 7582 w 10000"/>
              <a:gd name="connsiteY198" fmla="*/ 4066 h 10000"/>
              <a:gd name="connsiteX199" fmla="*/ 7618 w 10000"/>
              <a:gd name="connsiteY199" fmla="*/ 4009 h 10000"/>
              <a:gd name="connsiteX200" fmla="*/ 7729 w 10000"/>
              <a:gd name="connsiteY200" fmla="*/ 3970 h 10000"/>
              <a:gd name="connsiteX201" fmla="*/ 7825 w 10000"/>
              <a:gd name="connsiteY201" fmla="*/ 3987 h 10000"/>
              <a:gd name="connsiteX202" fmla="*/ 7884 w 10000"/>
              <a:gd name="connsiteY202" fmla="*/ 3958 h 10000"/>
              <a:gd name="connsiteX203" fmla="*/ 8050 w 10000"/>
              <a:gd name="connsiteY203" fmla="*/ 3917 h 10000"/>
              <a:gd name="connsiteX204" fmla="*/ 8118 w 10000"/>
              <a:gd name="connsiteY204" fmla="*/ 3864 h 10000"/>
              <a:gd name="connsiteX205" fmla="*/ 8211 w 10000"/>
              <a:gd name="connsiteY205" fmla="*/ 3842 h 10000"/>
              <a:gd name="connsiteX206" fmla="*/ 8720 w 10000"/>
              <a:gd name="connsiteY206" fmla="*/ 3522 h 10000"/>
              <a:gd name="connsiteX207" fmla="*/ 10000 w 10000"/>
              <a:gd name="connsiteY207" fmla="*/ 831 h 10000"/>
              <a:gd name="connsiteX208" fmla="*/ 9559 w 10000"/>
              <a:gd name="connsiteY208" fmla="*/ 517 h 10000"/>
              <a:gd name="connsiteX209" fmla="*/ 9344 w 10000"/>
              <a:gd name="connsiteY209" fmla="*/ 440 h 10000"/>
              <a:gd name="connsiteX210" fmla="*/ 8945 w 10000"/>
              <a:gd name="connsiteY210" fmla="*/ 389 h 10000"/>
              <a:gd name="connsiteX211" fmla="*/ 8118 w 10000"/>
              <a:gd name="connsiteY211" fmla="*/ 26 h 10000"/>
              <a:gd name="connsiteX212" fmla="*/ 8091 w 10000"/>
              <a:gd name="connsiteY212" fmla="*/ 2 h 10000"/>
              <a:gd name="connsiteX213" fmla="*/ 7811 w 10000"/>
              <a:gd name="connsiteY213" fmla="*/ 0 h 10000"/>
              <a:gd name="connsiteX214" fmla="*/ 7748 w 10000"/>
              <a:gd name="connsiteY214" fmla="*/ 14 h 10000"/>
              <a:gd name="connsiteX215" fmla="*/ 7762 w 10000"/>
              <a:gd name="connsiteY215" fmla="*/ 61 h 10000"/>
              <a:gd name="connsiteX216" fmla="*/ 7816 w 10000"/>
              <a:gd name="connsiteY216" fmla="*/ 86 h 10000"/>
              <a:gd name="connsiteX217" fmla="*/ 7831 w 10000"/>
              <a:gd name="connsiteY217" fmla="*/ 139 h 10000"/>
              <a:gd name="connsiteX218" fmla="*/ 7811 w 10000"/>
              <a:gd name="connsiteY218" fmla="*/ 181 h 10000"/>
              <a:gd name="connsiteX219" fmla="*/ 7762 w 10000"/>
              <a:gd name="connsiteY219" fmla="*/ 208 h 10000"/>
              <a:gd name="connsiteX220" fmla="*/ 7724 w 10000"/>
              <a:gd name="connsiteY220" fmla="*/ 283 h 10000"/>
              <a:gd name="connsiteX221" fmla="*/ 7656 w 10000"/>
              <a:gd name="connsiteY221" fmla="*/ 336 h 10000"/>
              <a:gd name="connsiteX222" fmla="*/ 7670 w 10000"/>
              <a:gd name="connsiteY222" fmla="*/ 387 h 10000"/>
              <a:gd name="connsiteX223" fmla="*/ 7775 w 10000"/>
              <a:gd name="connsiteY223" fmla="*/ 434 h 10000"/>
              <a:gd name="connsiteX224" fmla="*/ 7706 w 10000"/>
              <a:gd name="connsiteY224" fmla="*/ 475 h 10000"/>
              <a:gd name="connsiteX225" fmla="*/ 7605 w 10000"/>
              <a:gd name="connsiteY225" fmla="*/ 485 h 10000"/>
              <a:gd name="connsiteX226" fmla="*/ 6761 w 10000"/>
              <a:gd name="connsiteY226" fmla="*/ 387 h 10000"/>
              <a:gd name="connsiteX227" fmla="*/ 6660 w 10000"/>
              <a:gd name="connsiteY227" fmla="*/ 395 h 10000"/>
              <a:gd name="connsiteX228" fmla="*/ 6601 w 10000"/>
              <a:gd name="connsiteY228" fmla="*/ 414 h 10000"/>
              <a:gd name="connsiteX229" fmla="*/ 6540 w 10000"/>
              <a:gd name="connsiteY229" fmla="*/ 462 h 10000"/>
              <a:gd name="connsiteX230" fmla="*/ 6551 w 10000"/>
              <a:gd name="connsiteY230" fmla="*/ 581 h 10000"/>
              <a:gd name="connsiteX231" fmla="*/ 6458 w 10000"/>
              <a:gd name="connsiteY231" fmla="*/ 735 h 10000"/>
              <a:gd name="connsiteX232" fmla="*/ 6344 w 10000"/>
              <a:gd name="connsiteY232" fmla="*/ 815 h 10000"/>
              <a:gd name="connsiteX233" fmla="*/ 6298 w 10000"/>
              <a:gd name="connsiteY233" fmla="*/ 805 h 10000"/>
              <a:gd name="connsiteX234" fmla="*/ 6193 w 10000"/>
              <a:gd name="connsiteY234" fmla="*/ 739 h 10000"/>
              <a:gd name="connsiteX235" fmla="*/ 6060 w 10000"/>
              <a:gd name="connsiteY235" fmla="*/ 705 h 10000"/>
              <a:gd name="connsiteX236" fmla="*/ 5916 w 10000"/>
              <a:gd name="connsiteY236" fmla="*/ 715 h 10000"/>
              <a:gd name="connsiteX237" fmla="*/ 5583 w 10000"/>
              <a:gd name="connsiteY237" fmla="*/ 866 h 10000"/>
              <a:gd name="connsiteX238" fmla="*/ 5495 w 10000"/>
              <a:gd name="connsiteY238" fmla="*/ 1017 h 10000"/>
              <a:gd name="connsiteX239" fmla="*/ 5244 w 10000"/>
              <a:gd name="connsiteY239" fmla="*/ 1153 h 10000"/>
              <a:gd name="connsiteX240" fmla="*/ 5198 w 10000"/>
              <a:gd name="connsiteY240" fmla="*/ 1222 h 10000"/>
              <a:gd name="connsiteX241" fmla="*/ 5329 w 10000"/>
              <a:gd name="connsiteY241" fmla="*/ 1344 h 10000"/>
              <a:gd name="connsiteX242" fmla="*/ 5343 w 10000"/>
              <a:gd name="connsiteY242" fmla="*/ 1412 h 10000"/>
              <a:gd name="connsiteX243" fmla="*/ 4656 w 10000"/>
              <a:gd name="connsiteY243" fmla="*/ 1813 h 10000"/>
              <a:gd name="connsiteX244" fmla="*/ 4445 w 10000"/>
              <a:gd name="connsiteY244" fmla="*/ 2070 h 10000"/>
              <a:gd name="connsiteX245" fmla="*/ 4217 w 10000"/>
              <a:gd name="connsiteY245" fmla="*/ 2135 h 10000"/>
              <a:gd name="connsiteX246" fmla="*/ 4073 w 10000"/>
              <a:gd name="connsiteY246" fmla="*/ 2131 h 10000"/>
              <a:gd name="connsiteX247" fmla="*/ 3986 w 10000"/>
              <a:gd name="connsiteY247" fmla="*/ 2153 h 10000"/>
              <a:gd name="connsiteX248" fmla="*/ 3748 w 10000"/>
              <a:gd name="connsiteY248" fmla="*/ 2793 h 10000"/>
              <a:gd name="connsiteX249" fmla="*/ 3198 w 10000"/>
              <a:gd name="connsiteY249" fmla="*/ 3166 h 10000"/>
              <a:gd name="connsiteX250" fmla="*/ 3202 w 10000"/>
              <a:gd name="connsiteY250" fmla="*/ 3225 h 10000"/>
              <a:gd name="connsiteX251" fmla="*/ 3446 w 10000"/>
              <a:gd name="connsiteY251" fmla="*/ 3392 h 10000"/>
              <a:gd name="connsiteX252" fmla="*/ 3367 w 10000"/>
              <a:gd name="connsiteY252" fmla="*/ 3573 h 10000"/>
              <a:gd name="connsiteX253" fmla="*/ 3224 w 10000"/>
              <a:gd name="connsiteY253" fmla="*/ 3640 h 10000"/>
              <a:gd name="connsiteX254" fmla="*/ 2798 w 10000"/>
              <a:gd name="connsiteY254" fmla="*/ 3595 h 10000"/>
              <a:gd name="connsiteX255" fmla="*/ 2504 w 10000"/>
              <a:gd name="connsiteY255" fmla="*/ 3620 h 10000"/>
              <a:gd name="connsiteX256" fmla="*/ 2267 w 10000"/>
              <a:gd name="connsiteY256" fmla="*/ 3673 h 10000"/>
              <a:gd name="connsiteX257" fmla="*/ 1886 w 10000"/>
              <a:gd name="connsiteY257" fmla="*/ 3840 h 10000"/>
              <a:gd name="connsiteX258" fmla="*/ 1683 w 10000"/>
              <a:gd name="connsiteY258" fmla="*/ 4042 h 10000"/>
              <a:gd name="connsiteX259" fmla="*/ 1701 w 10000"/>
              <a:gd name="connsiteY259" fmla="*/ 4154 h 10000"/>
              <a:gd name="connsiteX260" fmla="*/ 1771 w 10000"/>
              <a:gd name="connsiteY260" fmla="*/ 4241 h 10000"/>
              <a:gd name="connsiteX261" fmla="*/ 1825 w 10000"/>
              <a:gd name="connsiteY261" fmla="*/ 4276 h 10000"/>
              <a:gd name="connsiteX262" fmla="*/ 1725 w 10000"/>
              <a:gd name="connsiteY262" fmla="*/ 4331 h 10000"/>
              <a:gd name="connsiteX263" fmla="*/ 1510 w 10000"/>
              <a:gd name="connsiteY263" fmla="*/ 4710 h 10000"/>
              <a:gd name="connsiteX264" fmla="*/ 1551 w 10000"/>
              <a:gd name="connsiteY264" fmla="*/ 4732 h 10000"/>
              <a:gd name="connsiteX265" fmla="*/ 1583 w 10000"/>
              <a:gd name="connsiteY265" fmla="*/ 4828 h 10000"/>
              <a:gd name="connsiteX266" fmla="*/ 1482 w 10000"/>
              <a:gd name="connsiteY266" fmla="*/ 5227 h 10000"/>
              <a:gd name="connsiteX267" fmla="*/ 1583 w 10000"/>
              <a:gd name="connsiteY267" fmla="*/ 5329 h 10000"/>
              <a:gd name="connsiteX268" fmla="*/ 1857 w 10000"/>
              <a:gd name="connsiteY268" fmla="*/ 5441 h 10000"/>
              <a:gd name="connsiteX269" fmla="*/ 1871 w 10000"/>
              <a:gd name="connsiteY269" fmla="*/ 5578 h 10000"/>
              <a:gd name="connsiteX270" fmla="*/ 1753 w 10000"/>
              <a:gd name="connsiteY270" fmla="*/ 5690 h 10000"/>
              <a:gd name="connsiteX271" fmla="*/ 1583 w 10000"/>
              <a:gd name="connsiteY271" fmla="*/ 5759 h 10000"/>
              <a:gd name="connsiteX272" fmla="*/ 1357 w 10000"/>
              <a:gd name="connsiteY272" fmla="*/ 5787 h 10000"/>
              <a:gd name="connsiteX273" fmla="*/ 1299 w 10000"/>
              <a:gd name="connsiteY273" fmla="*/ 5826 h 10000"/>
              <a:gd name="connsiteX274" fmla="*/ 1430 w 10000"/>
              <a:gd name="connsiteY274" fmla="*/ 5920 h 10000"/>
              <a:gd name="connsiteX275" fmla="*/ 1506 w 10000"/>
              <a:gd name="connsiteY275" fmla="*/ 6142 h 10000"/>
              <a:gd name="connsiteX276" fmla="*/ 1335 w 10000"/>
              <a:gd name="connsiteY276" fmla="*/ 6333 h 10000"/>
              <a:gd name="connsiteX277" fmla="*/ 1394 w 10000"/>
              <a:gd name="connsiteY277" fmla="*/ 6392 h 10000"/>
              <a:gd name="connsiteX278" fmla="*/ 1340 w 10000"/>
              <a:gd name="connsiteY278" fmla="*/ 6492 h 10000"/>
              <a:gd name="connsiteX279" fmla="*/ 1230 w 10000"/>
              <a:gd name="connsiteY279" fmla="*/ 6561 h 10000"/>
              <a:gd name="connsiteX280" fmla="*/ 798 w 10000"/>
              <a:gd name="connsiteY280" fmla="*/ 6614 h 10000"/>
              <a:gd name="connsiteX281" fmla="*/ 771 w 10000"/>
              <a:gd name="connsiteY281" fmla="*/ 6706 h 10000"/>
              <a:gd name="connsiteX282" fmla="*/ 538 w 10000"/>
              <a:gd name="connsiteY282" fmla="*/ 6843 h 10000"/>
              <a:gd name="connsiteX283" fmla="*/ 569 w 10000"/>
              <a:gd name="connsiteY283" fmla="*/ 7040 h 10000"/>
              <a:gd name="connsiteX284" fmla="*/ 372 w 10000"/>
              <a:gd name="connsiteY284" fmla="*/ 7293 h 10000"/>
              <a:gd name="connsiteX285" fmla="*/ 238 w 10000"/>
              <a:gd name="connsiteY285" fmla="*/ 7323 h 10000"/>
              <a:gd name="connsiteX286" fmla="*/ 184 w 10000"/>
              <a:gd name="connsiteY286" fmla="*/ 7262 h 10000"/>
              <a:gd name="connsiteX287" fmla="*/ 115 w 10000"/>
              <a:gd name="connsiteY287" fmla="*/ 7354 h 10000"/>
              <a:gd name="connsiteX288" fmla="*/ 160 w 10000"/>
              <a:gd name="connsiteY288" fmla="*/ 7197 h 10000"/>
              <a:gd name="connsiteX289" fmla="*/ 132 w 10000"/>
              <a:gd name="connsiteY289" fmla="*/ 7166 h 10000"/>
              <a:gd name="connsiteX0" fmla="*/ 132 w 9559"/>
              <a:gd name="connsiteY0" fmla="*/ 7166 h 10000"/>
              <a:gd name="connsiteX1" fmla="*/ 0 w 9559"/>
              <a:gd name="connsiteY1" fmla="*/ 7248 h 10000"/>
              <a:gd name="connsiteX2" fmla="*/ 0 w 9559"/>
              <a:gd name="connsiteY2" fmla="*/ 7651 h 10000"/>
              <a:gd name="connsiteX3" fmla="*/ 73 w 9559"/>
              <a:gd name="connsiteY3" fmla="*/ 7663 h 10000"/>
              <a:gd name="connsiteX4" fmla="*/ 90 w 9559"/>
              <a:gd name="connsiteY4" fmla="*/ 7694 h 10000"/>
              <a:gd name="connsiteX5" fmla="*/ 86 w 9559"/>
              <a:gd name="connsiteY5" fmla="*/ 7749 h 10000"/>
              <a:gd name="connsiteX6" fmla="*/ 59 w 9559"/>
              <a:gd name="connsiteY6" fmla="*/ 7773 h 10000"/>
              <a:gd name="connsiteX7" fmla="*/ 170 w 9559"/>
              <a:gd name="connsiteY7" fmla="*/ 7727 h 10000"/>
              <a:gd name="connsiteX8" fmla="*/ 217 w 9559"/>
              <a:gd name="connsiteY8" fmla="*/ 7680 h 10000"/>
              <a:gd name="connsiteX9" fmla="*/ 274 w 9559"/>
              <a:gd name="connsiteY9" fmla="*/ 7712 h 10000"/>
              <a:gd name="connsiteX10" fmla="*/ 211 w 9559"/>
              <a:gd name="connsiteY10" fmla="*/ 7778 h 10000"/>
              <a:gd name="connsiteX11" fmla="*/ 279 w 9559"/>
              <a:gd name="connsiteY11" fmla="*/ 7780 h 10000"/>
              <a:gd name="connsiteX12" fmla="*/ 312 w 9559"/>
              <a:gd name="connsiteY12" fmla="*/ 7796 h 10000"/>
              <a:gd name="connsiteX13" fmla="*/ 225 w 9559"/>
              <a:gd name="connsiteY13" fmla="*/ 7818 h 10000"/>
              <a:gd name="connsiteX14" fmla="*/ 86 w 9559"/>
              <a:gd name="connsiteY14" fmla="*/ 7886 h 10000"/>
              <a:gd name="connsiteX15" fmla="*/ 332 w 9559"/>
              <a:gd name="connsiteY15" fmla="*/ 7938 h 10000"/>
              <a:gd name="connsiteX16" fmla="*/ 362 w 9559"/>
              <a:gd name="connsiteY16" fmla="*/ 8014 h 10000"/>
              <a:gd name="connsiteX17" fmla="*/ 279 w 9559"/>
              <a:gd name="connsiteY17" fmla="*/ 8126 h 10000"/>
              <a:gd name="connsiteX18" fmla="*/ 459 w 9559"/>
              <a:gd name="connsiteY18" fmla="*/ 8118 h 10000"/>
              <a:gd name="connsiteX19" fmla="*/ 472 w 9559"/>
              <a:gd name="connsiteY19" fmla="*/ 8203 h 10000"/>
              <a:gd name="connsiteX20" fmla="*/ 353 w 9559"/>
              <a:gd name="connsiteY20" fmla="*/ 8260 h 10000"/>
              <a:gd name="connsiteX21" fmla="*/ 372 w 9559"/>
              <a:gd name="connsiteY21" fmla="*/ 8370 h 10000"/>
              <a:gd name="connsiteX22" fmla="*/ 326 w 9559"/>
              <a:gd name="connsiteY22" fmla="*/ 8456 h 10000"/>
              <a:gd name="connsiteX23" fmla="*/ 467 w 9559"/>
              <a:gd name="connsiteY23" fmla="*/ 8464 h 10000"/>
              <a:gd name="connsiteX24" fmla="*/ 606 w 9559"/>
              <a:gd name="connsiteY24" fmla="*/ 8792 h 10000"/>
              <a:gd name="connsiteX25" fmla="*/ 766 w 9559"/>
              <a:gd name="connsiteY25" fmla="*/ 8876 h 10000"/>
              <a:gd name="connsiteX26" fmla="*/ 835 w 9559"/>
              <a:gd name="connsiteY26" fmla="*/ 8965 h 10000"/>
              <a:gd name="connsiteX27" fmla="*/ 1009 w 9559"/>
              <a:gd name="connsiteY27" fmla="*/ 9030 h 10000"/>
              <a:gd name="connsiteX28" fmla="*/ 1120 w 9559"/>
              <a:gd name="connsiteY28" fmla="*/ 9112 h 10000"/>
              <a:gd name="connsiteX29" fmla="*/ 1106 w 9559"/>
              <a:gd name="connsiteY29" fmla="*/ 9171 h 10000"/>
              <a:gd name="connsiteX30" fmla="*/ 996 w 9559"/>
              <a:gd name="connsiteY30" fmla="*/ 9193 h 10000"/>
              <a:gd name="connsiteX31" fmla="*/ 876 w 9559"/>
              <a:gd name="connsiteY31" fmla="*/ 9179 h 10000"/>
              <a:gd name="connsiteX32" fmla="*/ 839 w 9559"/>
              <a:gd name="connsiteY32" fmla="*/ 9204 h 10000"/>
              <a:gd name="connsiteX33" fmla="*/ 931 w 9559"/>
              <a:gd name="connsiteY33" fmla="*/ 9332 h 10000"/>
              <a:gd name="connsiteX34" fmla="*/ 802 w 9559"/>
              <a:gd name="connsiteY34" fmla="*/ 9322 h 10000"/>
              <a:gd name="connsiteX35" fmla="*/ 693 w 9559"/>
              <a:gd name="connsiteY35" fmla="*/ 9291 h 10000"/>
              <a:gd name="connsiteX36" fmla="*/ 673 w 9559"/>
              <a:gd name="connsiteY36" fmla="*/ 9338 h 10000"/>
              <a:gd name="connsiteX37" fmla="*/ 1036 w 9559"/>
              <a:gd name="connsiteY37" fmla="*/ 9776 h 10000"/>
              <a:gd name="connsiteX38" fmla="*/ 978 w 9559"/>
              <a:gd name="connsiteY38" fmla="*/ 9817 h 10000"/>
              <a:gd name="connsiteX39" fmla="*/ 937 w 9559"/>
              <a:gd name="connsiteY39" fmla="*/ 9902 h 10000"/>
              <a:gd name="connsiteX40" fmla="*/ 886 w 9559"/>
              <a:gd name="connsiteY40" fmla="*/ 9908 h 10000"/>
              <a:gd name="connsiteX41" fmla="*/ 853 w 9559"/>
              <a:gd name="connsiteY41" fmla="*/ 9945 h 10000"/>
              <a:gd name="connsiteX42" fmla="*/ 1072 w 9559"/>
              <a:gd name="connsiteY42" fmla="*/ 9949 h 10000"/>
              <a:gd name="connsiteX43" fmla="*/ 1266 w 9559"/>
              <a:gd name="connsiteY43" fmla="*/ 9986 h 10000"/>
              <a:gd name="connsiteX44" fmla="*/ 1587 w 9559"/>
              <a:gd name="connsiteY44" fmla="*/ 9947 h 10000"/>
              <a:gd name="connsiteX45" fmla="*/ 1876 w 9559"/>
              <a:gd name="connsiteY45" fmla="*/ 9953 h 10000"/>
              <a:gd name="connsiteX46" fmla="*/ 2046 w 9559"/>
              <a:gd name="connsiteY46" fmla="*/ 10000 h 10000"/>
              <a:gd name="connsiteX47" fmla="*/ 2139 w 9559"/>
              <a:gd name="connsiteY47" fmla="*/ 9969 h 10000"/>
              <a:gd name="connsiteX48" fmla="*/ 2229 w 9559"/>
              <a:gd name="connsiteY48" fmla="*/ 9868 h 10000"/>
              <a:gd name="connsiteX49" fmla="*/ 2206 w 9559"/>
              <a:gd name="connsiteY49" fmla="*/ 9703 h 10000"/>
              <a:gd name="connsiteX50" fmla="*/ 2426 w 9559"/>
              <a:gd name="connsiteY50" fmla="*/ 9517 h 10000"/>
              <a:gd name="connsiteX51" fmla="*/ 2587 w 9559"/>
              <a:gd name="connsiteY51" fmla="*/ 9546 h 10000"/>
              <a:gd name="connsiteX52" fmla="*/ 2679 w 9559"/>
              <a:gd name="connsiteY52" fmla="*/ 9472 h 10000"/>
              <a:gd name="connsiteX53" fmla="*/ 2858 w 9559"/>
              <a:gd name="connsiteY53" fmla="*/ 9430 h 10000"/>
              <a:gd name="connsiteX54" fmla="*/ 3101 w 9559"/>
              <a:gd name="connsiteY54" fmla="*/ 9440 h 10000"/>
              <a:gd name="connsiteX55" fmla="*/ 3248 w 9559"/>
              <a:gd name="connsiteY55" fmla="*/ 9470 h 10000"/>
              <a:gd name="connsiteX56" fmla="*/ 3442 w 9559"/>
              <a:gd name="connsiteY56" fmla="*/ 9456 h 10000"/>
              <a:gd name="connsiteX57" fmla="*/ 3638 w 9559"/>
              <a:gd name="connsiteY57" fmla="*/ 9489 h 10000"/>
              <a:gd name="connsiteX58" fmla="*/ 3835 w 9559"/>
              <a:gd name="connsiteY58" fmla="*/ 9493 h 10000"/>
              <a:gd name="connsiteX59" fmla="*/ 4275 w 9559"/>
              <a:gd name="connsiteY59" fmla="*/ 9061 h 10000"/>
              <a:gd name="connsiteX60" fmla="*/ 4386 w 9559"/>
              <a:gd name="connsiteY60" fmla="*/ 8711 h 10000"/>
              <a:gd name="connsiteX61" fmla="*/ 4564 w 9559"/>
              <a:gd name="connsiteY61" fmla="*/ 8554 h 10000"/>
              <a:gd name="connsiteX62" fmla="*/ 4564 w 9559"/>
              <a:gd name="connsiteY62" fmla="*/ 8472 h 10000"/>
              <a:gd name="connsiteX63" fmla="*/ 4500 w 9559"/>
              <a:gd name="connsiteY63" fmla="*/ 8425 h 10000"/>
              <a:gd name="connsiteX64" fmla="*/ 4605 w 9559"/>
              <a:gd name="connsiteY64" fmla="*/ 8352 h 10000"/>
              <a:gd name="connsiteX65" fmla="*/ 4586 w 9559"/>
              <a:gd name="connsiteY65" fmla="*/ 8289 h 10000"/>
              <a:gd name="connsiteX66" fmla="*/ 4514 w 9559"/>
              <a:gd name="connsiteY66" fmla="*/ 8236 h 10000"/>
              <a:gd name="connsiteX67" fmla="*/ 4500 w 9559"/>
              <a:gd name="connsiteY67" fmla="*/ 8199 h 10000"/>
              <a:gd name="connsiteX68" fmla="*/ 4518 w 9559"/>
              <a:gd name="connsiteY68" fmla="*/ 8169 h 10000"/>
              <a:gd name="connsiteX69" fmla="*/ 4615 w 9559"/>
              <a:gd name="connsiteY69" fmla="*/ 8193 h 10000"/>
              <a:gd name="connsiteX70" fmla="*/ 4692 w 9559"/>
              <a:gd name="connsiteY70" fmla="*/ 8191 h 10000"/>
              <a:gd name="connsiteX71" fmla="*/ 4650 w 9559"/>
              <a:gd name="connsiteY71" fmla="*/ 8140 h 10000"/>
              <a:gd name="connsiteX72" fmla="*/ 4664 w 9559"/>
              <a:gd name="connsiteY72" fmla="*/ 8112 h 10000"/>
              <a:gd name="connsiteX73" fmla="*/ 4720 w 9559"/>
              <a:gd name="connsiteY73" fmla="*/ 8069 h 10000"/>
              <a:gd name="connsiteX74" fmla="*/ 4711 w 9559"/>
              <a:gd name="connsiteY74" fmla="*/ 8034 h 10000"/>
              <a:gd name="connsiteX75" fmla="*/ 4762 w 9559"/>
              <a:gd name="connsiteY75" fmla="*/ 7916 h 10000"/>
              <a:gd name="connsiteX76" fmla="*/ 4749 w 9559"/>
              <a:gd name="connsiteY76" fmla="*/ 7881 h 10000"/>
              <a:gd name="connsiteX77" fmla="*/ 4482 w 9559"/>
              <a:gd name="connsiteY77" fmla="*/ 7792 h 10000"/>
              <a:gd name="connsiteX78" fmla="*/ 4518 w 9559"/>
              <a:gd name="connsiteY78" fmla="*/ 7788 h 10000"/>
              <a:gd name="connsiteX79" fmla="*/ 4660 w 9559"/>
              <a:gd name="connsiteY79" fmla="*/ 7812 h 10000"/>
              <a:gd name="connsiteX80" fmla="*/ 4813 w 9559"/>
              <a:gd name="connsiteY80" fmla="*/ 7804 h 10000"/>
              <a:gd name="connsiteX81" fmla="*/ 4858 w 9559"/>
              <a:gd name="connsiteY81" fmla="*/ 7771 h 10000"/>
              <a:gd name="connsiteX82" fmla="*/ 4711 w 9559"/>
              <a:gd name="connsiteY82" fmla="*/ 7710 h 10000"/>
              <a:gd name="connsiteX83" fmla="*/ 4271 w 9559"/>
              <a:gd name="connsiteY83" fmla="*/ 7670 h 10000"/>
              <a:gd name="connsiteX84" fmla="*/ 4301 w 9559"/>
              <a:gd name="connsiteY84" fmla="*/ 7651 h 10000"/>
              <a:gd name="connsiteX85" fmla="*/ 4660 w 9559"/>
              <a:gd name="connsiteY85" fmla="*/ 7639 h 10000"/>
              <a:gd name="connsiteX86" fmla="*/ 4858 w 9559"/>
              <a:gd name="connsiteY86" fmla="*/ 7676 h 10000"/>
              <a:gd name="connsiteX87" fmla="*/ 4972 w 9559"/>
              <a:gd name="connsiteY87" fmla="*/ 7651 h 10000"/>
              <a:gd name="connsiteX88" fmla="*/ 5014 w 9559"/>
              <a:gd name="connsiteY88" fmla="*/ 7588 h 10000"/>
              <a:gd name="connsiteX89" fmla="*/ 5220 w 9559"/>
              <a:gd name="connsiteY89" fmla="*/ 7588 h 10000"/>
              <a:gd name="connsiteX90" fmla="*/ 5500 w 9559"/>
              <a:gd name="connsiteY90" fmla="*/ 7462 h 10000"/>
              <a:gd name="connsiteX91" fmla="*/ 5510 w 9559"/>
              <a:gd name="connsiteY91" fmla="*/ 7378 h 10000"/>
              <a:gd name="connsiteX92" fmla="*/ 5628 w 9559"/>
              <a:gd name="connsiteY92" fmla="*/ 7397 h 10000"/>
              <a:gd name="connsiteX93" fmla="*/ 5624 w 9559"/>
              <a:gd name="connsiteY93" fmla="*/ 7482 h 10000"/>
              <a:gd name="connsiteX94" fmla="*/ 5812 w 9559"/>
              <a:gd name="connsiteY94" fmla="*/ 7476 h 10000"/>
              <a:gd name="connsiteX95" fmla="*/ 5935 w 9559"/>
              <a:gd name="connsiteY95" fmla="*/ 7388 h 10000"/>
              <a:gd name="connsiteX96" fmla="*/ 6166 w 9559"/>
              <a:gd name="connsiteY96" fmla="*/ 7309 h 10000"/>
              <a:gd name="connsiteX97" fmla="*/ 6128 w 9559"/>
              <a:gd name="connsiteY97" fmla="*/ 7219 h 10000"/>
              <a:gd name="connsiteX98" fmla="*/ 6197 w 9559"/>
              <a:gd name="connsiteY98" fmla="*/ 7254 h 10000"/>
              <a:gd name="connsiteX99" fmla="*/ 6302 w 9559"/>
              <a:gd name="connsiteY99" fmla="*/ 7254 h 10000"/>
              <a:gd name="connsiteX100" fmla="*/ 6302 w 9559"/>
              <a:gd name="connsiteY100" fmla="*/ 7213 h 10000"/>
              <a:gd name="connsiteX101" fmla="*/ 6400 w 9559"/>
              <a:gd name="connsiteY101" fmla="*/ 7181 h 10000"/>
              <a:gd name="connsiteX102" fmla="*/ 6386 w 9559"/>
              <a:gd name="connsiteY102" fmla="*/ 7148 h 10000"/>
              <a:gd name="connsiteX103" fmla="*/ 5560 w 9559"/>
              <a:gd name="connsiteY103" fmla="*/ 7215 h 10000"/>
              <a:gd name="connsiteX104" fmla="*/ 5367 w 9559"/>
              <a:gd name="connsiteY104" fmla="*/ 7195 h 10000"/>
              <a:gd name="connsiteX105" fmla="*/ 5289 w 9559"/>
              <a:gd name="connsiteY105" fmla="*/ 7219 h 10000"/>
              <a:gd name="connsiteX106" fmla="*/ 5262 w 9559"/>
              <a:gd name="connsiteY106" fmla="*/ 7173 h 10000"/>
              <a:gd name="connsiteX107" fmla="*/ 5170 w 9559"/>
              <a:gd name="connsiteY107" fmla="*/ 7132 h 10000"/>
              <a:gd name="connsiteX108" fmla="*/ 4802 w 9559"/>
              <a:gd name="connsiteY108" fmla="*/ 7052 h 10000"/>
              <a:gd name="connsiteX109" fmla="*/ 4586 w 9559"/>
              <a:gd name="connsiteY109" fmla="*/ 7065 h 10000"/>
              <a:gd name="connsiteX110" fmla="*/ 4500 w 9559"/>
              <a:gd name="connsiteY110" fmla="*/ 7042 h 10000"/>
              <a:gd name="connsiteX111" fmla="*/ 4591 w 9559"/>
              <a:gd name="connsiteY111" fmla="*/ 7022 h 10000"/>
              <a:gd name="connsiteX112" fmla="*/ 4660 w 9559"/>
              <a:gd name="connsiteY112" fmla="*/ 6979 h 10000"/>
              <a:gd name="connsiteX113" fmla="*/ 4762 w 9559"/>
              <a:gd name="connsiteY113" fmla="*/ 6993 h 10000"/>
              <a:gd name="connsiteX114" fmla="*/ 4885 w 9559"/>
              <a:gd name="connsiteY114" fmla="*/ 6981 h 10000"/>
              <a:gd name="connsiteX115" fmla="*/ 5069 w 9559"/>
              <a:gd name="connsiteY115" fmla="*/ 6995 h 10000"/>
              <a:gd name="connsiteX116" fmla="*/ 5091 w 9559"/>
              <a:gd name="connsiteY116" fmla="*/ 6989 h 10000"/>
              <a:gd name="connsiteX117" fmla="*/ 5234 w 9559"/>
              <a:gd name="connsiteY117" fmla="*/ 7056 h 10000"/>
              <a:gd name="connsiteX118" fmla="*/ 5339 w 9559"/>
              <a:gd name="connsiteY118" fmla="*/ 7032 h 10000"/>
              <a:gd name="connsiteX119" fmla="*/ 5347 w 9559"/>
              <a:gd name="connsiteY119" fmla="*/ 7010 h 10000"/>
              <a:gd name="connsiteX120" fmla="*/ 5445 w 9559"/>
              <a:gd name="connsiteY120" fmla="*/ 7048 h 10000"/>
              <a:gd name="connsiteX121" fmla="*/ 5573 w 9559"/>
              <a:gd name="connsiteY121" fmla="*/ 7069 h 10000"/>
              <a:gd name="connsiteX122" fmla="*/ 5624 w 9559"/>
              <a:gd name="connsiteY122" fmla="*/ 7030 h 10000"/>
              <a:gd name="connsiteX123" fmla="*/ 5665 w 9559"/>
              <a:gd name="connsiteY123" fmla="*/ 7052 h 10000"/>
              <a:gd name="connsiteX124" fmla="*/ 5724 w 9559"/>
              <a:gd name="connsiteY124" fmla="*/ 7126 h 10000"/>
              <a:gd name="connsiteX125" fmla="*/ 5848 w 9559"/>
              <a:gd name="connsiteY125" fmla="*/ 7144 h 10000"/>
              <a:gd name="connsiteX126" fmla="*/ 6353 w 9559"/>
              <a:gd name="connsiteY126" fmla="*/ 7034 h 10000"/>
              <a:gd name="connsiteX127" fmla="*/ 6601 w 9559"/>
              <a:gd name="connsiteY127" fmla="*/ 6879 h 10000"/>
              <a:gd name="connsiteX128" fmla="*/ 6660 w 9559"/>
              <a:gd name="connsiteY128" fmla="*/ 6765 h 10000"/>
              <a:gd name="connsiteX129" fmla="*/ 6570 w 9559"/>
              <a:gd name="connsiteY129" fmla="*/ 6663 h 10000"/>
              <a:gd name="connsiteX130" fmla="*/ 6381 w 9559"/>
              <a:gd name="connsiteY130" fmla="*/ 6602 h 10000"/>
              <a:gd name="connsiteX131" fmla="*/ 6247 w 9559"/>
              <a:gd name="connsiteY131" fmla="*/ 6502 h 10000"/>
              <a:gd name="connsiteX132" fmla="*/ 6372 w 9559"/>
              <a:gd name="connsiteY132" fmla="*/ 6498 h 10000"/>
              <a:gd name="connsiteX133" fmla="*/ 6363 w 9559"/>
              <a:gd name="connsiteY133" fmla="*/ 6474 h 10000"/>
              <a:gd name="connsiteX134" fmla="*/ 6038 w 9559"/>
              <a:gd name="connsiteY134" fmla="*/ 6403 h 10000"/>
              <a:gd name="connsiteX135" fmla="*/ 6025 w 9559"/>
              <a:gd name="connsiteY135" fmla="*/ 6339 h 10000"/>
              <a:gd name="connsiteX136" fmla="*/ 5962 w 9559"/>
              <a:gd name="connsiteY136" fmla="*/ 6272 h 10000"/>
              <a:gd name="connsiteX137" fmla="*/ 5706 w 9559"/>
              <a:gd name="connsiteY137" fmla="*/ 6284 h 10000"/>
              <a:gd name="connsiteX138" fmla="*/ 5614 w 9559"/>
              <a:gd name="connsiteY138" fmla="*/ 6213 h 10000"/>
              <a:gd name="connsiteX139" fmla="*/ 5560 w 9559"/>
              <a:gd name="connsiteY139" fmla="*/ 6209 h 10000"/>
              <a:gd name="connsiteX140" fmla="*/ 5560 w 9559"/>
              <a:gd name="connsiteY140" fmla="*/ 6238 h 10000"/>
              <a:gd name="connsiteX141" fmla="*/ 5445 w 9559"/>
              <a:gd name="connsiteY141" fmla="*/ 6358 h 10000"/>
              <a:gd name="connsiteX142" fmla="*/ 5320 w 9559"/>
              <a:gd name="connsiteY142" fmla="*/ 6429 h 10000"/>
              <a:gd name="connsiteX143" fmla="*/ 4930 w 9559"/>
              <a:gd name="connsiteY143" fmla="*/ 6551 h 10000"/>
              <a:gd name="connsiteX144" fmla="*/ 4793 w 9559"/>
              <a:gd name="connsiteY144" fmla="*/ 6547 h 10000"/>
              <a:gd name="connsiteX145" fmla="*/ 4605 w 9559"/>
              <a:gd name="connsiteY145" fmla="*/ 6565 h 10000"/>
              <a:gd name="connsiteX146" fmla="*/ 4500 w 9559"/>
              <a:gd name="connsiteY146" fmla="*/ 6547 h 10000"/>
              <a:gd name="connsiteX147" fmla="*/ 4637 w 9559"/>
              <a:gd name="connsiteY147" fmla="*/ 6513 h 10000"/>
              <a:gd name="connsiteX148" fmla="*/ 4817 w 9559"/>
              <a:gd name="connsiteY148" fmla="*/ 6498 h 10000"/>
              <a:gd name="connsiteX149" fmla="*/ 4964 w 9559"/>
              <a:gd name="connsiteY149" fmla="*/ 6441 h 10000"/>
              <a:gd name="connsiteX150" fmla="*/ 5109 w 9559"/>
              <a:gd name="connsiteY150" fmla="*/ 6415 h 10000"/>
              <a:gd name="connsiteX151" fmla="*/ 5381 w 9559"/>
              <a:gd name="connsiteY151" fmla="*/ 6317 h 10000"/>
              <a:gd name="connsiteX152" fmla="*/ 5432 w 9559"/>
              <a:gd name="connsiteY152" fmla="*/ 6252 h 10000"/>
              <a:gd name="connsiteX153" fmla="*/ 5436 w 9559"/>
              <a:gd name="connsiteY153" fmla="*/ 6168 h 10000"/>
              <a:gd name="connsiteX154" fmla="*/ 5312 w 9559"/>
              <a:gd name="connsiteY154" fmla="*/ 6154 h 10000"/>
              <a:gd name="connsiteX155" fmla="*/ 5367 w 9559"/>
              <a:gd name="connsiteY155" fmla="*/ 6103 h 10000"/>
              <a:gd name="connsiteX156" fmla="*/ 5385 w 9559"/>
              <a:gd name="connsiteY156" fmla="*/ 6038 h 10000"/>
              <a:gd name="connsiteX157" fmla="*/ 5333 w 9559"/>
              <a:gd name="connsiteY157" fmla="*/ 5977 h 10000"/>
              <a:gd name="connsiteX158" fmla="*/ 5302 w 9559"/>
              <a:gd name="connsiteY158" fmla="*/ 5533 h 10000"/>
              <a:gd name="connsiteX159" fmla="*/ 5377 w 9559"/>
              <a:gd name="connsiteY159" fmla="*/ 5437 h 10000"/>
              <a:gd name="connsiteX160" fmla="*/ 5358 w 9559"/>
              <a:gd name="connsiteY160" fmla="*/ 5398 h 10000"/>
              <a:gd name="connsiteX161" fmla="*/ 5573 w 9559"/>
              <a:gd name="connsiteY161" fmla="*/ 5455 h 10000"/>
              <a:gd name="connsiteX162" fmla="*/ 5587 w 9559"/>
              <a:gd name="connsiteY162" fmla="*/ 5402 h 10000"/>
              <a:gd name="connsiteX163" fmla="*/ 5541 w 9559"/>
              <a:gd name="connsiteY163" fmla="*/ 5264 h 10000"/>
              <a:gd name="connsiteX164" fmla="*/ 5696 w 9559"/>
              <a:gd name="connsiteY164" fmla="*/ 5019 h 10000"/>
              <a:gd name="connsiteX165" fmla="*/ 5601 w 9559"/>
              <a:gd name="connsiteY165" fmla="*/ 4960 h 10000"/>
              <a:gd name="connsiteX166" fmla="*/ 5564 w 9559"/>
              <a:gd name="connsiteY166" fmla="*/ 4905 h 10000"/>
              <a:gd name="connsiteX167" fmla="*/ 5577 w 9559"/>
              <a:gd name="connsiteY167" fmla="*/ 4816 h 10000"/>
              <a:gd name="connsiteX168" fmla="*/ 5804 w 9559"/>
              <a:gd name="connsiteY168" fmla="*/ 4875 h 10000"/>
              <a:gd name="connsiteX169" fmla="*/ 5812 w 9559"/>
              <a:gd name="connsiteY169" fmla="*/ 4858 h 10000"/>
              <a:gd name="connsiteX170" fmla="*/ 5875 w 9559"/>
              <a:gd name="connsiteY170" fmla="*/ 4842 h 10000"/>
              <a:gd name="connsiteX171" fmla="*/ 5962 w 9559"/>
              <a:gd name="connsiteY171" fmla="*/ 4785 h 10000"/>
              <a:gd name="connsiteX172" fmla="*/ 5976 w 9559"/>
              <a:gd name="connsiteY172" fmla="*/ 4769 h 10000"/>
              <a:gd name="connsiteX173" fmla="*/ 5958 w 9559"/>
              <a:gd name="connsiteY173" fmla="*/ 4748 h 10000"/>
              <a:gd name="connsiteX174" fmla="*/ 6004 w 9559"/>
              <a:gd name="connsiteY174" fmla="*/ 4647 h 10000"/>
              <a:gd name="connsiteX175" fmla="*/ 5949 w 9559"/>
              <a:gd name="connsiteY175" fmla="*/ 4581 h 10000"/>
              <a:gd name="connsiteX176" fmla="*/ 5958 w 9559"/>
              <a:gd name="connsiteY176" fmla="*/ 4528 h 10000"/>
              <a:gd name="connsiteX177" fmla="*/ 5990 w 9559"/>
              <a:gd name="connsiteY177" fmla="*/ 4590 h 10000"/>
              <a:gd name="connsiteX178" fmla="*/ 6114 w 9559"/>
              <a:gd name="connsiteY178" fmla="*/ 4636 h 10000"/>
              <a:gd name="connsiteX179" fmla="*/ 6166 w 9559"/>
              <a:gd name="connsiteY179" fmla="*/ 4630 h 10000"/>
              <a:gd name="connsiteX180" fmla="*/ 6247 w 9559"/>
              <a:gd name="connsiteY180" fmla="*/ 4569 h 10000"/>
              <a:gd name="connsiteX181" fmla="*/ 6335 w 9559"/>
              <a:gd name="connsiteY181" fmla="*/ 4594 h 10000"/>
              <a:gd name="connsiteX182" fmla="*/ 6359 w 9559"/>
              <a:gd name="connsiteY182" fmla="*/ 4545 h 10000"/>
              <a:gd name="connsiteX183" fmla="*/ 6418 w 9559"/>
              <a:gd name="connsiteY183" fmla="*/ 4512 h 10000"/>
              <a:gd name="connsiteX184" fmla="*/ 6256 w 9559"/>
              <a:gd name="connsiteY184" fmla="*/ 4477 h 10000"/>
              <a:gd name="connsiteX185" fmla="*/ 6372 w 9559"/>
              <a:gd name="connsiteY185" fmla="*/ 4484 h 10000"/>
              <a:gd name="connsiteX186" fmla="*/ 6490 w 9559"/>
              <a:gd name="connsiteY186" fmla="*/ 4447 h 10000"/>
              <a:gd name="connsiteX187" fmla="*/ 6486 w 9559"/>
              <a:gd name="connsiteY187" fmla="*/ 4422 h 10000"/>
              <a:gd name="connsiteX188" fmla="*/ 6597 w 9559"/>
              <a:gd name="connsiteY188" fmla="*/ 4398 h 10000"/>
              <a:gd name="connsiteX189" fmla="*/ 6606 w 9559"/>
              <a:gd name="connsiteY189" fmla="*/ 4337 h 10000"/>
              <a:gd name="connsiteX190" fmla="*/ 6693 w 9559"/>
              <a:gd name="connsiteY190" fmla="*/ 4325 h 10000"/>
              <a:gd name="connsiteX191" fmla="*/ 6701 w 9559"/>
              <a:gd name="connsiteY191" fmla="*/ 4253 h 10000"/>
              <a:gd name="connsiteX192" fmla="*/ 6793 w 9559"/>
              <a:gd name="connsiteY192" fmla="*/ 4245 h 10000"/>
              <a:gd name="connsiteX193" fmla="*/ 6935 w 9559"/>
              <a:gd name="connsiteY193" fmla="*/ 4260 h 10000"/>
              <a:gd name="connsiteX194" fmla="*/ 7091 w 9559"/>
              <a:gd name="connsiteY194" fmla="*/ 4202 h 10000"/>
              <a:gd name="connsiteX195" fmla="*/ 7146 w 9559"/>
              <a:gd name="connsiteY195" fmla="*/ 4137 h 10000"/>
              <a:gd name="connsiteX196" fmla="*/ 7339 w 9559"/>
              <a:gd name="connsiteY196" fmla="*/ 4070 h 10000"/>
              <a:gd name="connsiteX197" fmla="*/ 7435 w 9559"/>
              <a:gd name="connsiteY197" fmla="*/ 4111 h 10000"/>
              <a:gd name="connsiteX198" fmla="*/ 7582 w 9559"/>
              <a:gd name="connsiteY198" fmla="*/ 4066 h 10000"/>
              <a:gd name="connsiteX199" fmla="*/ 7618 w 9559"/>
              <a:gd name="connsiteY199" fmla="*/ 4009 h 10000"/>
              <a:gd name="connsiteX200" fmla="*/ 7729 w 9559"/>
              <a:gd name="connsiteY200" fmla="*/ 3970 h 10000"/>
              <a:gd name="connsiteX201" fmla="*/ 7825 w 9559"/>
              <a:gd name="connsiteY201" fmla="*/ 3987 h 10000"/>
              <a:gd name="connsiteX202" fmla="*/ 7884 w 9559"/>
              <a:gd name="connsiteY202" fmla="*/ 3958 h 10000"/>
              <a:gd name="connsiteX203" fmla="*/ 8050 w 9559"/>
              <a:gd name="connsiteY203" fmla="*/ 3917 h 10000"/>
              <a:gd name="connsiteX204" fmla="*/ 8118 w 9559"/>
              <a:gd name="connsiteY204" fmla="*/ 3864 h 10000"/>
              <a:gd name="connsiteX205" fmla="*/ 8211 w 9559"/>
              <a:gd name="connsiteY205" fmla="*/ 3842 h 10000"/>
              <a:gd name="connsiteX206" fmla="*/ 8720 w 9559"/>
              <a:gd name="connsiteY206" fmla="*/ 3522 h 10000"/>
              <a:gd name="connsiteX207" fmla="*/ 9559 w 9559"/>
              <a:gd name="connsiteY207" fmla="*/ 517 h 10000"/>
              <a:gd name="connsiteX208" fmla="*/ 9344 w 9559"/>
              <a:gd name="connsiteY208" fmla="*/ 440 h 10000"/>
              <a:gd name="connsiteX209" fmla="*/ 8945 w 9559"/>
              <a:gd name="connsiteY209" fmla="*/ 389 h 10000"/>
              <a:gd name="connsiteX210" fmla="*/ 8118 w 9559"/>
              <a:gd name="connsiteY210" fmla="*/ 26 h 10000"/>
              <a:gd name="connsiteX211" fmla="*/ 8091 w 9559"/>
              <a:gd name="connsiteY211" fmla="*/ 2 h 10000"/>
              <a:gd name="connsiteX212" fmla="*/ 7811 w 9559"/>
              <a:gd name="connsiteY212" fmla="*/ 0 h 10000"/>
              <a:gd name="connsiteX213" fmla="*/ 7748 w 9559"/>
              <a:gd name="connsiteY213" fmla="*/ 14 h 10000"/>
              <a:gd name="connsiteX214" fmla="*/ 7762 w 9559"/>
              <a:gd name="connsiteY214" fmla="*/ 61 h 10000"/>
              <a:gd name="connsiteX215" fmla="*/ 7816 w 9559"/>
              <a:gd name="connsiteY215" fmla="*/ 86 h 10000"/>
              <a:gd name="connsiteX216" fmla="*/ 7831 w 9559"/>
              <a:gd name="connsiteY216" fmla="*/ 139 h 10000"/>
              <a:gd name="connsiteX217" fmla="*/ 7811 w 9559"/>
              <a:gd name="connsiteY217" fmla="*/ 181 h 10000"/>
              <a:gd name="connsiteX218" fmla="*/ 7762 w 9559"/>
              <a:gd name="connsiteY218" fmla="*/ 208 h 10000"/>
              <a:gd name="connsiteX219" fmla="*/ 7724 w 9559"/>
              <a:gd name="connsiteY219" fmla="*/ 283 h 10000"/>
              <a:gd name="connsiteX220" fmla="*/ 7656 w 9559"/>
              <a:gd name="connsiteY220" fmla="*/ 336 h 10000"/>
              <a:gd name="connsiteX221" fmla="*/ 7670 w 9559"/>
              <a:gd name="connsiteY221" fmla="*/ 387 h 10000"/>
              <a:gd name="connsiteX222" fmla="*/ 7775 w 9559"/>
              <a:gd name="connsiteY222" fmla="*/ 434 h 10000"/>
              <a:gd name="connsiteX223" fmla="*/ 7706 w 9559"/>
              <a:gd name="connsiteY223" fmla="*/ 475 h 10000"/>
              <a:gd name="connsiteX224" fmla="*/ 7605 w 9559"/>
              <a:gd name="connsiteY224" fmla="*/ 485 h 10000"/>
              <a:gd name="connsiteX225" fmla="*/ 6761 w 9559"/>
              <a:gd name="connsiteY225" fmla="*/ 387 h 10000"/>
              <a:gd name="connsiteX226" fmla="*/ 6660 w 9559"/>
              <a:gd name="connsiteY226" fmla="*/ 395 h 10000"/>
              <a:gd name="connsiteX227" fmla="*/ 6601 w 9559"/>
              <a:gd name="connsiteY227" fmla="*/ 414 h 10000"/>
              <a:gd name="connsiteX228" fmla="*/ 6540 w 9559"/>
              <a:gd name="connsiteY228" fmla="*/ 462 h 10000"/>
              <a:gd name="connsiteX229" fmla="*/ 6551 w 9559"/>
              <a:gd name="connsiteY229" fmla="*/ 581 h 10000"/>
              <a:gd name="connsiteX230" fmla="*/ 6458 w 9559"/>
              <a:gd name="connsiteY230" fmla="*/ 735 h 10000"/>
              <a:gd name="connsiteX231" fmla="*/ 6344 w 9559"/>
              <a:gd name="connsiteY231" fmla="*/ 815 h 10000"/>
              <a:gd name="connsiteX232" fmla="*/ 6298 w 9559"/>
              <a:gd name="connsiteY232" fmla="*/ 805 h 10000"/>
              <a:gd name="connsiteX233" fmla="*/ 6193 w 9559"/>
              <a:gd name="connsiteY233" fmla="*/ 739 h 10000"/>
              <a:gd name="connsiteX234" fmla="*/ 6060 w 9559"/>
              <a:gd name="connsiteY234" fmla="*/ 705 h 10000"/>
              <a:gd name="connsiteX235" fmla="*/ 5916 w 9559"/>
              <a:gd name="connsiteY235" fmla="*/ 715 h 10000"/>
              <a:gd name="connsiteX236" fmla="*/ 5583 w 9559"/>
              <a:gd name="connsiteY236" fmla="*/ 866 h 10000"/>
              <a:gd name="connsiteX237" fmla="*/ 5495 w 9559"/>
              <a:gd name="connsiteY237" fmla="*/ 1017 h 10000"/>
              <a:gd name="connsiteX238" fmla="*/ 5244 w 9559"/>
              <a:gd name="connsiteY238" fmla="*/ 1153 h 10000"/>
              <a:gd name="connsiteX239" fmla="*/ 5198 w 9559"/>
              <a:gd name="connsiteY239" fmla="*/ 1222 h 10000"/>
              <a:gd name="connsiteX240" fmla="*/ 5329 w 9559"/>
              <a:gd name="connsiteY240" fmla="*/ 1344 h 10000"/>
              <a:gd name="connsiteX241" fmla="*/ 5343 w 9559"/>
              <a:gd name="connsiteY241" fmla="*/ 1412 h 10000"/>
              <a:gd name="connsiteX242" fmla="*/ 4656 w 9559"/>
              <a:gd name="connsiteY242" fmla="*/ 1813 h 10000"/>
              <a:gd name="connsiteX243" fmla="*/ 4445 w 9559"/>
              <a:gd name="connsiteY243" fmla="*/ 2070 h 10000"/>
              <a:gd name="connsiteX244" fmla="*/ 4217 w 9559"/>
              <a:gd name="connsiteY244" fmla="*/ 2135 h 10000"/>
              <a:gd name="connsiteX245" fmla="*/ 4073 w 9559"/>
              <a:gd name="connsiteY245" fmla="*/ 2131 h 10000"/>
              <a:gd name="connsiteX246" fmla="*/ 3986 w 9559"/>
              <a:gd name="connsiteY246" fmla="*/ 2153 h 10000"/>
              <a:gd name="connsiteX247" fmla="*/ 3748 w 9559"/>
              <a:gd name="connsiteY247" fmla="*/ 2793 h 10000"/>
              <a:gd name="connsiteX248" fmla="*/ 3198 w 9559"/>
              <a:gd name="connsiteY248" fmla="*/ 3166 h 10000"/>
              <a:gd name="connsiteX249" fmla="*/ 3202 w 9559"/>
              <a:gd name="connsiteY249" fmla="*/ 3225 h 10000"/>
              <a:gd name="connsiteX250" fmla="*/ 3446 w 9559"/>
              <a:gd name="connsiteY250" fmla="*/ 3392 h 10000"/>
              <a:gd name="connsiteX251" fmla="*/ 3367 w 9559"/>
              <a:gd name="connsiteY251" fmla="*/ 3573 h 10000"/>
              <a:gd name="connsiteX252" fmla="*/ 3224 w 9559"/>
              <a:gd name="connsiteY252" fmla="*/ 3640 h 10000"/>
              <a:gd name="connsiteX253" fmla="*/ 2798 w 9559"/>
              <a:gd name="connsiteY253" fmla="*/ 3595 h 10000"/>
              <a:gd name="connsiteX254" fmla="*/ 2504 w 9559"/>
              <a:gd name="connsiteY254" fmla="*/ 3620 h 10000"/>
              <a:gd name="connsiteX255" fmla="*/ 2267 w 9559"/>
              <a:gd name="connsiteY255" fmla="*/ 3673 h 10000"/>
              <a:gd name="connsiteX256" fmla="*/ 1886 w 9559"/>
              <a:gd name="connsiteY256" fmla="*/ 3840 h 10000"/>
              <a:gd name="connsiteX257" fmla="*/ 1683 w 9559"/>
              <a:gd name="connsiteY257" fmla="*/ 4042 h 10000"/>
              <a:gd name="connsiteX258" fmla="*/ 1701 w 9559"/>
              <a:gd name="connsiteY258" fmla="*/ 4154 h 10000"/>
              <a:gd name="connsiteX259" fmla="*/ 1771 w 9559"/>
              <a:gd name="connsiteY259" fmla="*/ 4241 h 10000"/>
              <a:gd name="connsiteX260" fmla="*/ 1825 w 9559"/>
              <a:gd name="connsiteY260" fmla="*/ 4276 h 10000"/>
              <a:gd name="connsiteX261" fmla="*/ 1725 w 9559"/>
              <a:gd name="connsiteY261" fmla="*/ 4331 h 10000"/>
              <a:gd name="connsiteX262" fmla="*/ 1510 w 9559"/>
              <a:gd name="connsiteY262" fmla="*/ 4710 h 10000"/>
              <a:gd name="connsiteX263" fmla="*/ 1551 w 9559"/>
              <a:gd name="connsiteY263" fmla="*/ 4732 h 10000"/>
              <a:gd name="connsiteX264" fmla="*/ 1583 w 9559"/>
              <a:gd name="connsiteY264" fmla="*/ 4828 h 10000"/>
              <a:gd name="connsiteX265" fmla="*/ 1482 w 9559"/>
              <a:gd name="connsiteY265" fmla="*/ 5227 h 10000"/>
              <a:gd name="connsiteX266" fmla="*/ 1583 w 9559"/>
              <a:gd name="connsiteY266" fmla="*/ 5329 h 10000"/>
              <a:gd name="connsiteX267" fmla="*/ 1857 w 9559"/>
              <a:gd name="connsiteY267" fmla="*/ 5441 h 10000"/>
              <a:gd name="connsiteX268" fmla="*/ 1871 w 9559"/>
              <a:gd name="connsiteY268" fmla="*/ 5578 h 10000"/>
              <a:gd name="connsiteX269" fmla="*/ 1753 w 9559"/>
              <a:gd name="connsiteY269" fmla="*/ 5690 h 10000"/>
              <a:gd name="connsiteX270" fmla="*/ 1583 w 9559"/>
              <a:gd name="connsiteY270" fmla="*/ 5759 h 10000"/>
              <a:gd name="connsiteX271" fmla="*/ 1357 w 9559"/>
              <a:gd name="connsiteY271" fmla="*/ 5787 h 10000"/>
              <a:gd name="connsiteX272" fmla="*/ 1299 w 9559"/>
              <a:gd name="connsiteY272" fmla="*/ 5826 h 10000"/>
              <a:gd name="connsiteX273" fmla="*/ 1430 w 9559"/>
              <a:gd name="connsiteY273" fmla="*/ 5920 h 10000"/>
              <a:gd name="connsiteX274" fmla="*/ 1506 w 9559"/>
              <a:gd name="connsiteY274" fmla="*/ 6142 h 10000"/>
              <a:gd name="connsiteX275" fmla="*/ 1335 w 9559"/>
              <a:gd name="connsiteY275" fmla="*/ 6333 h 10000"/>
              <a:gd name="connsiteX276" fmla="*/ 1394 w 9559"/>
              <a:gd name="connsiteY276" fmla="*/ 6392 h 10000"/>
              <a:gd name="connsiteX277" fmla="*/ 1340 w 9559"/>
              <a:gd name="connsiteY277" fmla="*/ 6492 h 10000"/>
              <a:gd name="connsiteX278" fmla="*/ 1230 w 9559"/>
              <a:gd name="connsiteY278" fmla="*/ 6561 h 10000"/>
              <a:gd name="connsiteX279" fmla="*/ 798 w 9559"/>
              <a:gd name="connsiteY279" fmla="*/ 6614 h 10000"/>
              <a:gd name="connsiteX280" fmla="*/ 771 w 9559"/>
              <a:gd name="connsiteY280" fmla="*/ 6706 h 10000"/>
              <a:gd name="connsiteX281" fmla="*/ 538 w 9559"/>
              <a:gd name="connsiteY281" fmla="*/ 6843 h 10000"/>
              <a:gd name="connsiteX282" fmla="*/ 569 w 9559"/>
              <a:gd name="connsiteY282" fmla="*/ 7040 h 10000"/>
              <a:gd name="connsiteX283" fmla="*/ 372 w 9559"/>
              <a:gd name="connsiteY283" fmla="*/ 7293 h 10000"/>
              <a:gd name="connsiteX284" fmla="*/ 238 w 9559"/>
              <a:gd name="connsiteY284" fmla="*/ 7323 h 10000"/>
              <a:gd name="connsiteX285" fmla="*/ 184 w 9559"/>
              <a:gd name="connsiteY285" fmla="*/ 7262 h 10000"/>
              <a:gd name="connsiteX286" fmla="*/ 115 w 9559"/>
              <a:gd name="connsiteY286" fmla="*/ 7354 h 10000"/>
              <a:gd name="connsiteX287" fmla="*/ 160 w 9559"/>
              <a:gd name="connsiteY287" fmla="*/ 7197 h 10000"/>
              <a:gd name="connsiteX288" fmla="*/ 132 w 9559"/>
              <a:gd name="connsiteY288" fmla="*/ 7166 h 10000"/>
              <a:gd name="connsiteX0" fmla="*/ 138 w 9775"/>
              <a:gd name="connsiteY0" fmla="*/ 7166 h 10000"/>
              <a:gd name="connsiteX1" fmla="*/ 0 w 9775"/>
              <a:gd name="connsiteY1" fmla="*/ 7248 h 10000"/>
              <a:gd name="connsiteX2" fmla="*/ 0 w 9775"/>
              <a:gd name="connsiteY2" fmla="*/ 7651 h 10000"/>
              <a:gd name="connsiteX3" fmla="*/ 76 w 9775"/>
              <a:gd name="connsiteY3" fmla="*/ 7663 h 10000"/>
              <a:gd name="connsiteX4" fmla="*/ 94 w 9775"/>
              <a:gd name="connsiteY4" fmla="*/ 7694 h 10000"/>
              <a:gd name="connsiteX5" fmla="*/ 90 w 9775"/>
              <a:gd name="connsiteY5" fmla="*/ 7749 h 10000"/>
              <a:gd name="connsiteX6" fmla="*/ 62 w 9775"/>
              <a:gd name="connsiteY6" fmla="*/ 7773 h 10000"/>
              <a:gd name="connsiteX7" fmla="*/ 178 w 9775"/>
              <a:gd name="connsiteY7" fmla="*/ 7727 h 10000"/>
              <a:gd name="connsiteX8" fmla="*/ 227 w 9775"/>
              <a:gd name="connsiteY8" fmla="*/ 7680 h 10000"/>
              <a:gd name="connsiteX9" fmla="*/ 287 w 9775"/>
              <a:gd name="connsiteY9" fmla="*/ 7712 h 10000"/>
              <a:gd name="connsiteX10" fmla="*/ 221 w 9775"/>
              <a:gd name="connsiteY10" fmla="*/ 7778 h 10000"/>
              <a:gd name="connsiteX11" fmla="*/ 292 w 9775"/>
              <a:gd name="connsiteY11" fmla="*/ 7780 h 10000"/>
              <a:gd name="connsiteX12" fmla="*/ 326 w 9775"/>
              <a:gd name="connsiteY12" fmla="*/ 7796 h 10000"/>
              <a:gd name="connsiteX13" fmla="*/ 235 w 9775"/>
              <a:gd name="connsiteY13" fmla="*/ 7818 h 10000"/>
              <a:gd name="connsiteX14" fmla="*/ 90 w 9775"/>
              <a:gd name="connsiteY14" fmla="*/ 7886 h 10000"/>
              <a:gd name="connsiteX15" fmla="*/ 347 w 9775"/>
              <a:gd name="connsiteY15" fmla="*/ 7938 h 10000"/>
              <a:gd name="connsiteX16" fmla="*/ 379 w 9775"/>
              <a:gd name="connsiteY16" fmla="*/ 8014 h 10000"/>
              <a:gd name="connsiteX17" fmla="*/ 292 w 9775"/>
              <a:gd name="connsiteY17" fmla="*/ 8126 h 10000"/>
              <a:gd name="connsiteX18" fmla="*/ 480 w 9775"/>
              <a:gd name="connsiteY18" fmla="*/ 8118 h 10000"/>
              <a:gd name="connsiteX19" fmla="*/ 494 w 9775"/>
              <a:gd name="connsiteY19" fmla="*/ 8203 h 10000"/>
              <a:gd name="connsiteX20" fmla="*/ 369 w 9775"/>
              <a:gd name="connsiteY20" fmla="*/ 8260 h 10000"/>
              <a:gd name="connsiteX21" fmla="*/ 389 w 9775"/>
              <a:gd name="connsiteY21" fmla="*/ 8370 h 10000"/>
              <a:gd name="connsiteX22" fmla="*/ 341 w 9775"/>
              <a:gd name="connsiteY22" fmla="*/ 8456 h 10000"/>
              <a:gd name="connsiteX23" fmla="*/ 489 w 9775"/>
              <a:gd name="connsiteY23" fmla="*/ 8464 h 10000"/>
              <a:gd name="connsiteX24" fmla="*/ 634 w 9775"/>
              <a:gd name="connsiteY24" fmla="*/ 8792 h 10000"/>
              <a:gd name="connsiteX25" fmla="*/ 801 w 9775"/>
              <a:gd name="connsiteY25" fmla="*/ 8876 h 10000"/>
              <a:gd name="connsiteX26" fmla="*/ 874 w 9775"/>
              <a:gd name="connsiteY26" fmla="*/ 8965 h 10000"/>
              <a:gd name="connsiteX27" fmla="*/ 1056 w 9775"/>
              <a:gd name="connsiteY27" fmla="*/ 9030 h 10000"/>
              <a:gd name="connsiteX28" fmla="*/ 1172 w 9775"/>
              <a:gd name="connsiteY28" fmla="*/ 9112 h 10000"/>
              <a:gd name="connsiteX29" fmla="*/ 1157 w 9775"/>
              <a:gd name="connsiteY29" fmla="*/ 9171 h 10000"/>
              <a:gd name="connsiteX30" fmla="*/ 1042 w 9775"/>
              <a:gd name="connsiteY30" fmla="*/ 9193 h 10000"/>
              <a:gd name="connsiteX31" fmla="*/ 916 w 9775"/>
              <a:gd name="connsiteY31" fmla="*/ 9179 h 10000"/>
              <a:gd name="connsiteX32" fmla="*/ 878 w 9775"/>
              <a:gd name="connsiteY32" fmla="*/ 9204 h 10000"/>
              <a:gd name="connsiteX33" fmla="*/ 974 w 9775"/>
              <a:gd name="connsiteY33" fmla="*/ 9332 h 10000"/>
              <a:gd name="connsiteX34" fmla="*/ 839 w 9775"/>
              <a:gd name="connsiteY34" fmla="*/ 9322 h 10000"/>
              <a:gd name="connsiteX35" fmla="*/ 725 w 9775"/>
              <a:gd name="connsiteY35" fmla="*/ 9291 h 10000"/>
              <a:gd name="connsiteX36" fmla="*/ 704 w 9775"/>
              <a:gd name="connsiteY36" fmla="*/ 9338 h 10000"/>
              <a:gd name="connsiteX37" fmla="*/ 1084 w 9775"/>
              <a:gd name="connsiteY37" fmla="*/ 9776 h 10000"/>
              <a:gd name="connsiteX38" fmla="*/ 1023 w 9775"/>
              <a:gd name="connsiteY38" fmla="*/ 9817 h 10000"/>
              <a:gd name="connsiteX39" fmla="*/ 980 w 9775"/>
              <a:gd name="connsiteY39" fmla="*/ 9902 h 10000"/>
              <a:gd name="connsiteX40" fmla="*/ 927 w 9775"/>
              <a:gd name="connsiteY40" fmla="*/ 9908 h 10000"/>
              <a:gd name="connsiteX41" fmla="*/ 892 w 9775"/>
              <a:gd name="connsiteY41" fmla="*/ 9945 h 10000"/>
              <a:gd name="connsiteX42" fmla="*/ 1121 w 9775"/>
              <a:gd name="connsiteY42" fmla="*/ 9949 h 10000"/>
              <a:gd name="connsiteX43" fmla="*/ 1324 w 9775"/>
              <a:gd name="connsiteY43" fmla="*/ 9986 h 10000"/>
              <a:gd name="connsiteX44" fmla="*/ 1660 w 9775"/>
              <a:gd name="connsiteY44" fmla="*/ 9947 h 10000"/>
              <a:gd name="connsiteX45" fmla="*/ 1963 w 9775"/>
              <a:gd name="connsiteY45" fmla="*/ 9953 h 10000"/>
              <a:gd name="connsiteX46" fmla="*/ 2140 w 9775"/>
              <a:gd name="connsiteY46" fmla="*/ 10000 h 10000"/>
              <a:gd name="connsiteX47" fmla="*/ 2238 w 9775"/>
              <a:gd name="connsiteY47" fmla="*/ 9969 h 10000"/>
              <a:gd name="connsiteX48" fmla="*/ 2332 w 9775"/>
              <a:gd name="connsiteY48" fmla="*/ 9868 h 10000"/>
              <a:gd name="connsiteX49" fmla="*/ 2308 w 9775"/>
              <a:gd name="connsiteY49" fmla="*/ 9703 h 10000"/>
              <a:gd name="connsiteX50" fmla="*/ 2538 w 9775"/>
              <a:gd name="connsiteY50" fmla="*/ 9517 h 10000"/>
              <a:gd name="connsiteX51" fmla="*/ 2706 w 9775"/>
              <a:gd name="connsiteY51" fmla="*/ 9546 h 10000"/>
              <a:gd name="connsiteX52" fmla="*/ 2803 w 9775"/>
              <a:gd name="connsiteY52" fmla="*/ 9472 h 10000"/>
              <a:gd name="connsiteX53" fmla="*/ 2990 w 9775"/>
              <a:gd name="connsiteY53" fmla="*/ 9430 h 10000"/>
              <a:gd name="connsiteX54" fmla="*/ 3244 w 9775"/>
              <a:gd name="connsiteY54" fmla="*/ 9440 h 10000"/>
              <a:gd name="connsiteX55" fmla="*/ 3398 w 9775"/>
              <a:gd name="connsiteY55" fmla="*/ 9470 h 10000"/>
              <a:gd name="connsiteX56" fmla="*/ 3601 w 9775"/>
              <a:gd name="connsiteY56" fmla="*/ 9456 h 10000"/>
              <a:gd name="connsiteX57" fmla="*/ 3806 w 9775"/>
              <a:gd name="connsiteY57" fmla="*/ 9489 h 10000"/>
              <a:gd name="connsiteX58" fmla="*/ 4012 w 9775"/>
              <a:gd name="connsiteY58" fmla="*/ 9493 h 10000"/>
              <a:gd name="connsiteX59" fmla="*/ 4472 w 9775"/>
              <a:gd name="connsiteY59" fmla="*/ 9061 h 10000"/>
              <a:gd name="connsiteX60" fmla="*/ 4588 w 9775"/>
              <a:gd name="connsiteY60" fmla="*/ 8711 h 10000"/>
              <a:gd name="connsiteX61" fmla="*/ 4775 w 9775"/>
              <a:gd name="connsiteY61" fmla="*/ 8554 h 10000"/>
              <a:gd name="connsiteX62" fmla="*/ 4775 w 9775"/>
              <a:gd name="connsiteY62" fmla="*/ 8472 h 10000"/>
              <a:gd name="connsiteX63" fmla="*/ 4708 w 9775"/>
              <a:gd name="connsiteY63" fmla="*/ 8425 h 10000"/>
              <a:gd name="connsiteX64" fmla="*/ 4817 w 9775"/>
              <a:gd name="connsiteY64" fmla="*/ 8352 h 10000"/>
              <a:gd name="connsiteX65" fmla="*/ 4798 w 9775"/>
              <a:gd name="connsiteY65" fmla="*/ 8289 h 10000"/>
              <a:gd name="connsiteX66" fmla="*/ 4722 w 9775"/>
              <a:gd name="connsiteY66" fmla="*/ 8236 h 10000"/>
              <a:gd name="connsiteX67" fmla="*/ 4708 w 9775"/>
              <a:gd name="connsiteY67" fmla="*/ 8199 h 10000"/>
              <a:gd name="connsiteX68" fmla="*/ 4726 w 9775"/>
              <a:gd name="connsiteY68" fmla="*/ 8169 h 10000"/>
              <a:gd name="connsiteX69" fmla="*/ 4828 w 9775"/>
              <a:gd name="connsiteY69" fmla="*/ 8193 h 10000"/>
              <a:gd name="connsiteX70" fmla="*/ 4908 w 9775"/>
              <a:gd name="connsiteY70" fmla="*/ 8191 h 10000"/>
              <a:gd name="connsiteX71" fmla="*/ 4865 w 9775"/>
              <a:gd name="connsiteY71" fmla="*/ 8140 h 10000"/>
              <a:gd name="connsiteX72" fmla="*/ 4879 w 9775"/>
              <a:gd name="connsiteY72" fmla="*/ 8112 h 10000"/>
              <a:gd name="connsiteX73" fmla="*/ 4938 w 9775"/>
              <a:gd name="connsiteY73" fmla="*/ 8069 h 10000"/>
              <a:gd name="connsiteX74" fmla="*/ 4928 w 9775"/>
              <a:gd name="connsiteY74" fmla="*/ 8034 h 10000"/>
              <a:gd name="connsiteX75" fmla="*/ 4982 w 9775"/>
              <a:gd name="connsiteY75" fmla="*/ 7916 h 10000"/>
              <a:gd name="connsiteX76" fmla="*/ 4968 w 9775"/>
              <a:gd name="connsiteY76" fmla="*/ 7881 h 10000"/>
              <a:gd name="connsiteX77" fmla="*/ 4689 w 9775"/>
              <a:gd name="connsiteY77" fmla="*/ 7792 h 10000"/>
              <a:gd name="connsiteX78" fmla="*/ 4726 w 9775"/>
              <a:gd name="connsiteY78" fmla="*/ 7788 h 10000"/>
              <a:gd name="connsiteX79" fmla="*/ 4875 w 9775"/>
              <a:gd name="connsiteY79" fmla="*/ 7812 h 10000"/>
              <a:gd name="connsiteX80" fmla="*/ 5035 w 9775"/>
              <a:gd name="connsiteY80" fmla="*/ 7804 h 10000"/>
              <a:gd name="connsiteX81" fmla="*/ 5082 w 9775"/>
              <a:gd name="connsiteY81" fmla="*/ 7771 h 10000"/>
              <a:gd name="connsiteX82" fmla="*/ 4928 w 9775"/>
              <a:gd name="connsiteY82" fmla="*/ 7710 h 10000"/>
              <a:gd name="connsiteX83" fmla="*/ 4468 w 9775"/>
              <a:gd name="connsiteY83" fmla="*/ 7670 h 10000"/>
              <a:gd name="connsiteX84" fmla="*/ 4499 w 9775"/>
              <a:gd name="connsiteY84" fmla="*/ 7651 h 10000"/>
              <a:gd name="connsiteX85" fmla="*/ 4875 w 9775"/>
              <a:gd name="connsiteY85" fmla="*/ 7639 h 10000"/>
              <a:gd name="connsiteX86" fmla="*/ 5082 w 9775"/>
              <a:gd name="connsiteY86" fmla="*/ 7676 h 10000"/>
              <a:gd name="connsiteX87" fmla="*/ 5201 w 9775"/>
              <a:gd name="connsiteY87" fmla="*/ 7651 h 10000"/>
              <a:gd name="connsiteX88" fmla="*/ 5245 w 9775"/>
              <a:gd name="connsiteY88" fmla="*/ 7588 h 10000"/>
              <a:gd name="connsiteX89" fmla="*/ 5461 w 9775"/>
              <a:gd name="connsiteY89" fmla="*/ 7588 h 10000"/>
              <a:gd name="connsiteX90" fmla="*/ 5754 w 9775"/>
              <a:gd name="connsiteY90" fmla="*/ 7462 h 10000"/>
              <a:gd name="connsiteX91" fmla="*/ 5764 w 9775"/>
              <a:gd name="connsiteY91" fmla="*/ 7378 h 10000"/>
              <a:gd name="connsiteX92" fmla="*/ 5888 w 9775"/>
              <a:gd name="connsiteY92" fmla="*/ 7397 h 10000"/>
              <a:gd name="connsiteX93" fmla="*/ 5883 w 9775"/>
              <a:gd name="connsiteY93" fmla="*/ 7482 h 10000"/>
              <a:gd name="connsiteX94" fmla="*/ 6080 w 9775"/>
              <a:gd name="connsiteY94" fmla="*/ 7476 h 10000"/>
              <a:gd name="connsiteX95" fmla="*/ 6209 w 9775"/>
              <a:gd name="connsiteY95" fmla="*/ 7388 h 10000"/>
              <a:gd name="connsiteX96" fmla="*/ 6450 w 9775"/>
              <a:gd name="connsiteY96" fmla="*/ 7309 h 10000"/>
              <a:gd name="connsiteX97" fmla="*/ 6411 w 9775"/>
              <a:gd name="connsiteY97" fmla="*/ 7219 h 10000"/>
              <a:gd name="connsiteX98" fmla="*/ 6483 w 9775"/>
              <a:gd name="connsiteY98" fmla="*/ 7254 h 10000"/>
              <a:gd name="connsiteX99" fmla="*/ 6593 w 9775"/>
              <a:gd name="connsiteY99" fmla="*/ 7254 h 10000"/>
              <a:gd name="connsiteX100" fmla="*/ 6593 w 9775"/>
              <a:gd name="connsiteY100" fmla="*/ 7213 h 10000"/>
              <a:gd name="connsiteX101" fmla="*/ 6695 w 9775"/>
              <a:gd name="connsiteY101" fmla="*/ 7181 h 10000"/>
              <a:gd name="connsiteX102" fmla="*/ 6681 w 9775"/>
              <a:gd name="connsiteY102" fmla="*/ 7148 h 10000"/>
              <a:gd name="connsiteX103" fmla="*/ 5817 w 9775"/>
              <a:gd name="connsiteY103" fmla="*/ 7215 h 10000"/>
              <a:gd name="connsiteX104" fmla="*/ 5615 w 9775"/>
              <a:gd name="connsiteY104" fmla="*/ 7195 h 10000"/>
              <a:gd name="connsiteX105" fmla="*/ 5533 w 9775"/>
              <a:gd name="connsiteY105" fmla="*/ 7219 h 10000"/>
              <a:gd name="connsiteX106" fmla="*/ 5505 w 9775"/>
              <a:gd name="connsiteY106" fmla="*/ 7173 h 10000"/>
              <a:gd name="connsiteX107" fmla="*/ 5409 w 9775"/>
              <a:gd name="connsiteY107" fmla="*/ 7132 h 10000"/>
              <a:gd name="connsiteX108" fmla="*/ 5024 w 9775"/>
              <a:gd name="connsiteY108" fmla="*/ 7052 h 10000"/>
              <a:gd name="connsiteX109" fmla="*/ 4798 w 9775"/>
              <a:gd name="connsiteY109" fmla="*/ 7065 h 10000"/>
              <a:gd name="connsiteX110" fmla="*/ 4708 w 9775"/>
              <a:gd name="connsiteY110" fmla="*/ 7042 h 10000"/>
              <a:gd name="connsiteX111" fmla="*/ 4803 w 9775"/>
              <a:gd name="connsiteY111" fmla="*/ 7022 h 10000"/>
              <a:gd name="connsiteX112" fmla="*/ 4875 w 9775"/>
              <a:gd name="connsiteY112" fmla="*/ 6979 h 10000"/>
              <a:gd name="connsiteX113" fmla="*/ 4982 w 9775"/>
              <a:gd name="connsiteY113" fmla="*/ 6993 h 10000"/>
              <a:gd name="connsiteX114" fmla="*/ 5110 w 9775"/>
              <a:gd name="connsiteY114" fmla="*/ 6981 h 10000"/>
              <a:gd name="connsiteX115" fmla="*/ 5303 w 9775"/>
              <a:gd name="connsiteY115" fmla="*/ 6995 h 10000"/>
              <a:gd name="connsiteX116" fmla="*/ 5326 w 9775"/>
              <a:gd name="connsiteY116" fmla="*/ 6989 h 10000"/>
              <a:gd name="connsiteX117" fmla="*/ 5475 w 9775"/>
              <a:gd name="connsiteY117" fmla="*/ 7056 h 10000"/>
              <a:gd name="connsiteX118" fmla="*/ 5585 w 9775"/>
              <a:gd name="connsiteY118" fmla="*/ 7032 h 10000"/>
              <a:gd name="connsiteX119" fmla="*/ 5594 w 9775"/>
              <a:gd name="connsiteY119" fmla="*/ 7010 h 10000"/>
              <a:gd name="connsiteX120" fmla="*/ 5696 w 9775"/>
              <a:gd name="connsiteY120" fmla="*/ 7048 h 10000"/>
              <a:gd name="connsiteX121" fmla="*/ 5830 w 9775"/>
              <a:gd name="connsiteY121" fmla="*/ 7069 h 10000"/>
              <a:gd name="connsiteX122" fmla="*/ 5883 w 9775"/>
              <a:gd name="connsiteY122" fmla="*/ 7030 h 10000"/>
              <a:gd name="connsiteX123" fmla="*/ 5926 w 9775"/>
              <a:gd name="connsiteY123" fmla="*/ 7052 h 10000"/>
              <a:gd name="connsiteX124" fmla="*/ 5988 w 9775"/>
              <a:gd name="connsiteY124" fmla="*/ 7126 h 10000"/>
              <a:gd name="connsiteX125" fmla="*/ 6118 w 9775"/>
              <a:gd name="connsiteY125" fmla="*/ 7144 h 10000"/>
              <a:gd name="connsiteX126" fmla="*/ 6646 w 9775"/>
              <a:gd name="connsiteY126" fmla="*/ 7034 h 10000"/>
              <a:gd name="connsiteX127" fmla="*/ 6906 w 9775"/>
              <a:gd name="connsiteY127" fmla="*/ 6879 h 10000"/>
              <a:gd name="connsiteX128" fmla="*/ 6967 w 9775"/>
              <a:gd name="connsiteY128" fmla="*/ 6765 h 10000"/>
              <a:gd name="connsiteX129" fmla="*/ 6873 w 9775"/>
              <a:gd name="connsiteY129" fmla="*/ 6663 h 10000"/>
              <a:gd name="connsiteX130" fmla="*/ 6675 w 9775"/>
              <a:gd name="connsiteY130" fmla="*/ 6602 h 10000"/>
              <a:gd name="connsiteX131" fmla="*/ 6535 w 9775"/>
              <a:gd name="connsiteY131" fmla="*/ 6502 h 10000"/>
              <a:gd name="connsiteX132" fmla="*/ 6666 w 9775"/>
              <a:gd name="connsiteY132" fmla="*/ 6498 h 10000"/>
              <a:gd name="connsiteX133" fmla="*/ 6657 w 9775"/>
              <a:gd name="connsiteY133" fmla="*/ 6474 h 10000"/>
              <a:gd name="connsiteX134" fmla="*/ 6317 w 9775"/>
              <a:gd name="connsiteY134" fmla="*/ 6403 h 10000"/>
              <a:gd name="connsiteX135" fmla="*/ 6303 w 9775"/>
              <a:gd name="connsiteY135" fmla="*/ 6339 h 10000"/>
              <a:gd name="connsiteX136" fmla="*/ 6237 w 9775"/>
              <a:gd name="connsiteY136" fmla="*/ 6272 h 10000"/>
              <a:gd name="connsiteX137" fmla="*/ 5969 w 9775"/>
              <a:gd name="connsiteY137" fmla="*/ 6284 h 10000"/>
              <a:gd name="connsiteX138" fmla="*/ 5873 w 9775"/>
              <a:gd name="connsiteY138" fmla="*/ 6213 h 10000"/>
              <a:gd name="connsiteX139" fmla="*/ 5817 w 9775"/>
              <a:gd name="connsiteY139" fmla="*/ 6209 h 10000"/>
              <a:gd name="connsiteX140" fmla="*/ 5817 w 9775"/>
              <a:gd name="connsiteY140" fmla="*/ 6238 h 10000"/>
              <a:gd name="connsiteX141" fmla="*/ 5696 w 9775"/>
              <a:gd name="connsiteY141" fmla="*/ 6358 h 10000"/>
              <a:gd name="connsiteX142" fmla="*/ 5565 w 9775"/>
              <a:gd name="connsiteY142" fmla="*/ 6429 h 10000"/>
              <a:gd name="connsiteX143" fmla="*/ 5157 w 9775"/>
              <a:gd name="connsiteY143" fmla="*/ 6551 h 10000"/>
              <a:gd name="connsiteX144" fmla="*/ 5014 w 9775"/>
              <a:gd name="connsiteY144" fmla="*/ 6547 h 10000"/>
              <a:gd name="connsiteX145" fmla="*/ 4817 w 9775"/>
              <a:gd name="connsiteY145" fmla="*/ 6565 h 10000"/>
              <a:gd name="connsiteX146" fmla="*/ 4708 w 9775"/>
              <a:gd name="connsiteY146" fmla="*/ 6547 h 10000"/>
              <a:gd name="connsiteX147" fmla="*/ 4851 w 9775"/>
              <a:gd name="connsiteY147" fmla="*/ 6513 h 10000"/>
              <a:gd name="connsiteX148" fmla="*/ 5039 w 9775"/>
              <a:gd name="connsiteY148" fmla="*/ 6498 h 10000"/>
              <a:gd name="connsiteX149" fmla="*/ 5193 w 9775"/>
              <a:gd name="connsiteY149" fmla="*/ 6441 h 10000"/>
              <a:gd name="connsiteX150" fmla="*/ 5345 w 9775"/>
              <a:gd name="connsiteY150" fmla="*/ 6415 h 10000"/>
              <a:gd name="connsiteX151" fmla="*/ 5629 w 9775"/>
              <a:gd name="connsiteY151" fmla="*/ 6317 h 10000"/>
              <a:gd name="connsiteX152" fmla="*/ 5683 w 9775"/>
              <a:gd name="connsiteY152" fmla="*/ 6252 h 10000"/>
              <a:gd name="connsiteX153" fmla="*/ 5687 w 9775"/>
              <a:gd name="connsiteY153" fmla="*/ 6168 h 10000"/>
              <a:gd name="connsiteX154" fmla="*/ 5557 w 9775"/>
              <a:gd name="connsiteY154" fmla="*/ 6154 h 10000"/>
              <a:gd name="connsiteX155" fmla="*/ 5615 w 9775"/>
              <a:gd name="connsiteY155" fmla="*/ 6103 h 10000"/>
              <a:gd name="connsiteX156" fmla="*/ 5633 w 9775"/>
              <a:gd name="connsiteY156" fmla="*/ 6038 h 10000"/>
              <a:gd name="connsiteX157" fmla="*/ 5579 w 9775"/>
              <a:gd name="connsiteY157" fmla="*/ 5977 h 10000"/>
              <a:gd name="connsiteX158" fmla="*/ 5547 w 9775"/>
              <a:gd name="connsiteY158" fmla="*/ 5533 h 10000"/>
              <a:gd name="connsiteX159" fmla="*/ 5625 w 9775"/>
              <a:gd name="connsiteY159" fmla="*/ 5437 h 10000"/>
              <a:gd name="connsiteX160" fmla="*/ 5605 w 9775"/>
              <a:gd name="connsiteY160" fmla="*/ 5398 h 10000"/>
              <a:gd name="connsiteX161" fmla="*/ 5830 w 9775"/>
              <a:gd name="connsiteY161" fmla="*/ 5455 h 10000"/>
              <a:gd name="connsiteX162" fmla="*/ 5845 w 9775"/>
              <a:gd name="connsiteY162" fmla="*/ 5402 h 10000"/>
              <a:gd name="connsiteX163" fmla="*/ 5797 w 9775"/>
              <a:gd name="connsiteY163" fmla="*/ 5264 h 10000"/>
              <a:gd name="connsiteX164" fmla="*/ 5959 w 9775"/>
              <a:gd name="connsiteY164" fmla="*/ 5019 h 10000"/>
              <a:gd name="connsiteX165" fmla="*/ 5859 w 9775"/>
              <a:gd name="connsiteY165" fmla="*/ 4960 h 10000"/>
              <a:gd name="connsiteX166" fmla="*/ 5821 w 9775"/>
              <a:gd name="connsiteY166" fmla="*/ 4905 h 10000"/>
              <a:gd name="connsiteX167" fmla="*/ 5834 w 9775"/>
              <a:gd name="connsiteY167" fmla="*/ 4816 h 10000"/>
              <a:gd name="connsiteX168" fmla="*/ 6072 w 9775"/>
              <a:gd name="connsiteY168" fmla="*/ 4875 h 10000"/>
              <a:gd name="connsiteX169" fmla="*/ 6080 w 9775"/>
              <a:gd name="connsiteY169" fmla="*/ 4858 h 10000"/>
              <a:gd name="connsiteX170" fmla="*/ 6146 w 9775"/>
              <a:gd name="connsiteY170" fmla="*/ 4842 h 10000"/>
              <a:gd name="connsiteX171" fmla="*/ 6237 w 9775"/>
              <a:gd name="connsiteY171" fmla="*/ 4785 h 10000"/>
              <a:gd name="connsiteX172" fmla="*/ 6252 w 9775"/>
              <a:gd name="connsiteY172" fmla="*/ 4769 h 10000"/>
              <a:gd name="connsiteX173" fmla="*/ 6233 w 9775"/>
              <a:gd name="connsiteY173" fmla="*/ 4748 h 10000"/>
              <a:gd name="connsiteX174" fmla="*/ 6281 w 9775"/>
              <a:gd name="connsiteY174" fmla="*/ 4647 h 10000"/>
              <a:gd name="connsiteX175" fmla="*/ 6223 w 9775"/>
              <a:gd name="connsiteY175" fmla="*/ 4581 h 10000"/>
              <a:gd name="connsiteX176" fmla="*/ 6233 w 9775"/>
              <a:gd name="connsiteY176" fmla="*/ 4528 h 10000"/>
              <a:gd name="connsiteX177" fmla="*/ 6266 w 9775"/>
              <a:gd name="connsiteY177" fmla="*/ 4590 h 10000"/>
              <a:gd name="connsiteX178" fmla="*/ 6396 w 9775"/>
              <a:gd name="connsiteY178" fmla="*/ 4636 h 10000"/>
              <a:gd name="connsiteX179" fmla="*/ 6450 w 9775"/>
              <a:gd name="connsiteY179" fmla="*/ 4630 h 10000"/>
              <a:gd name="connsiteX180" fmla="*/ 6535 w 9775"/>
              <a:gd name="connsiteY180" fmla="*/ 4569 h 10000"/>
              <a:gd name="connsiteX181" fmla="*/ 6627 w 9775"/>
              <a:gd name="connsiteY181" fmla="*/ 4594 h 10000"/>
              <a:gd name="connsiteX182" fmla="*/ 6652 w 9775"/>
              <a:gd name="connsiteY182" fmla="*/ 4545 h 10000"/>
              <a:gd name="connsiteX183" fmla="*/ 6714 w 9775"/>
              <a:gd name="connsiteY183" fmla="*/ 4512 h 10000"/>
              <a:gd name="connsiteX184" fmla="*/ 6545 w 9775"/>
              <a:gd name="connsiteY184" fmla="*/ 4477 h 10000"/>
              <a:gd name="connsiteX185" fmla="*/ 6666 w 9775"/>
              <a:gd name="connsiteY185" fmla="*/ 4484 h 10000"/>
              <a:gd name="connsiteX186" fmla="*/ 6789 w 9775"/>
              <a:gd name="connsiteY186" fmla="*/ 4447 h 10000"/>
              <a:gd name="connsiteX187" fmla="*/ 6785 w 9775"/>
              <a:gd name="connsiteY187" fmla="*/ 4422 h 10000"/>
              <a:gd name="connsiteX188" fmla="*/ 6901 w 9775"/>
              <a:gd name="connsiteY188" fmla="*/ 4398 h 10000"/>
              <a:gd name="connsiteX189" fmla="*/ 6911 w 9775"/>
              <a:gd name="connsiteY189" fmla="*/ 4337 h 10000"/>
              <a:gd name="connsiteX190" fmla="*/ 7002 w 9775"/>
              <a:gd name="connsiteY190" fmla="*/ 4325 h 10000"/>
              <a:gd name="connsiteX191" fmla="*/ 7010 w 9775"/>
              <a:gd name="connsiteY191" fmla="*/ 4253 h 10000"/>
              <a:gd name="connsiteX192" fmla="*/ 7106 w 9775"/>
              <a:gd name="connsiteY192" fmla="*/ 4245 h 10000"/>
              <a:gd name="connsiteX193" fmla="*/ 7255 w 9775"/>
              <a:gd name="connsiteY193" fmla="*/ 4260 h 10000"/>
              <a:gd name="connsiteX194" fmla="*/ 7418 w 9775"/>
              <a:gd name="connsiteY194" fmla="*/ 4202 h 10000"/>
              <a:gd name="connsiteX195" fmla="*/ 7476 w 9775"/>
              <a:gd name="connsiteY195" fmla="*/ 4137 h 10000"/>
              <a:gd name="connsiteX196" fmla="*/ 7678 w 9775"/>
              <a:gd name="connsiteY196" fmla="*/ 4070 h 10000"/>
              <a:gd name="connsiteX197" fmla="*/ 7778 w 9775"/>
              <a:gd name="connsiteY197" fmla="*/ 4111 h 10000"/>
              <a:gd name="connsiteX198" fmla="*/ 7932 w 9775"/>
              <a:gd name="connsiteY198" fmla="*/ 4066 h 10000"/>
              <a:gd name="connsiteX199" fmla="*/ 7969 w 9775"/>
              <a:gd name="connsiteY199" fmla="*/ 4009 h 10000"/>
              <a:gd name="connsiteX200" fmla="*/ 8086 w 9775"/>
              <a:gd name="connsiteY200" fmla="*/ 3970 h 10000"/>
              <a:gd name="connsiteX201" fmla="*/ 8186 w 9775"/>
              <a:gd name="connsiteY201" fmla="*/ 3987 h 10000"/>
              <a:gd name="connsiteX202" fmla="*/ 8248 w 9775"/>
              <a:gd name="connsiteY202" fmla="*/ 3958 h 10000"/>
              <a:gd name="connsiteX203" fmla="*/ 8421 w 9775"/>
              <a:gd name="connsiteY203" fmla="*/ 3917 h 10000"/>
              <a:gd name="connsiteX204" fmla="*/ 8493 w 9775"/>
              <a:gd name="connsiteY204" fmla="*/ 3864 h 10000"/>
              <a:gd name="connsiteX205" fmla="*/ 8590 w 9775"/>
              <a:gd name="connsiteY205" fmla="*/ 3842 h 10000"/>
              <a:gd name="connsiteX206" fmla="*/ 9122 w 9775"/>
              <a:gd name="connsiteY206" fmla="*/ 3522 h 10000"/>
              <a:gd name="connsiteX207" fmla="*/ 9775 w 9775"/>
              <a:gd name="connsiteY207" fmla="*/ 440 h 10000"/>
              <a:gd name="connsiteX208" fmla="*/ 9358 w 9775"/>
              <a:gd name="connsiteY208" fmla="*/ 389 h 10000"/>
              <a:gd name="connsiteX209" fmla="*/ 8493 w 9775"/>
              <a:gd name="connsiteY209" fmla="*/ 26 h 10000"/>
              <a:gd name="connsiteX210" fmla="*/ 8464 w 9775"/>
              <a:gd name="connsiteY210" fmla="*/ 2 h 10000"/>
              <a:gd name="connsiteX211" fmla="*/ 8171 w 9775"/>
              <a:gd name="connsiteY211" fmla="*/ 0 h 10000"/>
              <a:gd name="connsiteX212" fmla="*/ 8105 w 9775"/>
              <a:gd name="connsiteY212" fmla="*/ 14 h 10000"/>
              <a:gd name="connsiteX213" fmla="*/ 8120 w 9775"/>
              <a:gd name="connsiteY213" fmla="*/ 61 h 10000"/>
              <a:gd name="connsiteX214" fmla="*/ 8177 w 9775"/>
              <a:gd name="connsiteY214" fmla="*/ 86 h 10000"/>
              <a:gd name="connsiteX215" fmla="*/ 8192 w 9775"/>
              <a:gd name="connsiteY215" fmla="*/ 139 h 10000"/>
              <a:gd name="connsiteX216" fmla="*/ 8171 w 9775"/>
              <a:gd name="connsiteY216" fmla="*/ 181 h 10000"/>
              <a:gd name="connsiteX217" fmla="*/ 8120 w 9775"/>
              <a:gd name="connsiteY217" fmla="*/ 208 h 10000"/>
              <a:gd name="connsiteX218" fmla="*/ 8080 w 9775"/>
              <a:gd name="connsiteY218" fmla="*/ 283 h 10000"/>
              <a:gd name="connsiteX219" fmla="*/ 8009 w 9775"/>
              <a:gd name="connsiteY219" fmla="*/ 336 h 10000"/>
              <a:gd name="connsiteX220" fmla="*/ 8024 w 9775"/>
              <a:gd name="connsiteY220" fmla="*/ 387 h 10000"/>
              <a:gd name="connsiteX221" fmla="*/ 8134 w 9775"/>
              <a:gd name="connsiteY221" fmla="*/ 434 h 10000"/>
              <a:gd name="connsiteX222" fmla="*/ 8062 w 9775"/>
              <a:gd name="connsiteY222" fmla="*/ 475 h 10000"/>
              <a:gd name="connsiteX223" fmla="*/ 7956 w 9775"/>
              <a:gd name="connsiteY223" fmla="*/ 485 h 10000"/>
              <a:gd name="connsiteX224" fmla="*/ 7073 w 9775"/>
              <a:gd name="connsiteY224" fmla="*/ 387 h 10000"/>
              <a:gd name="connsiteX225" fmla="*/ 6967 w 9775"/>
              <a:gd name="connsiteY225" fmla="*/ 395 h 10000"/>
              <a:gd name="connsiteX226" fmla="*/ 6906 w 9775"/>
              <a:gd name="connsiteY226" fmla="*/ 414 h 10000"/>
              <a:gd name="connsiteX227" fmla="*/ 6842 w 9775"/>
              <a:gd name="connsiteY227" fmla="*/ 462 h 10000"/>
              <a:gd name="connsiteX228" fmla="*/ 6853 w 9775"/>
              <a:gd name="connsiteY228" fmla="*/ 581 h 10000"/>
              <a:gd name="connsiteX229" fmla="*/ 6756 w 9775"/>
              <a:gd name="connsiteY229" fmla="*/ 735 h 10000"/>
              <a:gd name="connsiteX230" fmla="*/ 6637 w 9775"/>
              <a:gd name="connsiteY230" fmla="*/ 815 h 10000"/>
              <a:gd name="connsiteX231" fmla="*/ 6589 w 9775"/>
              <a:gd name="connsiteY231" fmla="*/ 805 h 10000"/>
              <a:gd name="connsiteX232" fmla="*/ 6479 w 9775"/>
              <a:gd name="connsiteY232" fmla="*/ 739 h 10000"/>
              <a:gd name="connsiteX233" fmla="*/ 6340 w 9775"/>
              <a:gd name="connsiteY233" fmla="*/ 705 h 10000"/>
              <a:gd name="connsiteX234" fmla="*/ 6189 w 9775"/>
              <a:gd name="connsiteY234" fmla="*/ 715 h 10000"/>
              <a:gd name="connsiteX235" fmla="*/ 5841 w 9775"/>
              <a:gd name="connsiteY235" fmla="*/ 866 h 10000"/>
              <a:gd name="connsiteX236" fmla="*/ 5749 w 9775"/>
              <a:gd name="connsiteY236" fmla="*/ 1017 h 10000"/>
              <a:gd name="connsiteX237" fmla="*/ 5486 w 9775"/>
              <a:gd name="connsiteY237" fmla="*/ 1153 h 10000"/>
              <a:gd name="connsiteX238" fmla="*/ 5438 w 9775"/>
              <a:gd name="connsiteY238" fmla="*/ 1222 h 10000"/>
              <a:gd name="connsiteX239" fmla="*/ 5575 w 9775"/>
              <a:gd name="connsiteY239" fmla="*/ 1344 h 10000"/>
              <a:gd name="connsiteX240" fmla="*/ 5589 w 9775"/>
              <a:gd name="connsiteY240" fmla="*/ 1412 h 10000"/>
              <a:gd name="connsiteX241" fmla="*/ 4871 w 9775"/>
              <a:gd name="connsiteY241" fmla="*/ 1813 h 10000"/>
              <a:gd name="connsiteX242" fmla="*/ 4650 w 9775"/>
              <a:gd name="connsiteY242" fmla="*/ 2070 h 10000"/>
              <a:gd name="connsiteX243" fmla="*/ 4412 w 9775"/>
              <a:gd name="connsiteY243" fmla="*/ 2135 h 10000"/>
              <a:gd name="connsiteX244" fmla="*/ 4261 w 9775"/>
              <a:gd name="connsiteY244" fmla="*/ 2131 h 10000"/>
              <a:gd name="connsiteX245" fmla="*/ 4170 w 9775"/>
              <a:gd name="connsiteY245" fmla="*/ 2153 h 10000"/>
              <a:gd name="connsiteX246" fmla="*/ 3921 w 9775"/>
              <a:gd name="connsiteY246" fmla="*/ 2793 h 10000"/>
              <a:gd name="connsiteX247" fmla="*/ 3346 w 9775"/>
              <a:gd name="connsiteY247" fmla="*/ 3166 h 10000"/>
              <a:gd name="connsiteX248" fmla="*/ 3350 w 9775"/>
              <a:gd name="connsiteY248" fmla="*/ 3225 h 10000"/>
              <a:gd name="connsiteX249" fmla="*/ 3605 w 9775"/>
              <a:gd name="connsiteY249" fmla="*/ 3392 h 10000"/>
              <a:gd name="connsiteX250" fmla="*/ 3522 w 9775"/>
              <a:gd name="connsiteY250" fmla="*/ 3573 h 10000"/>
              <a:gd name="connsiteX251" fmla="*/ 3373 w 9775"/>
              <a:gd name="connsiteY251" fmla="*/ 3640 h 10000"/>
              <a:gd name="connsiteX252" fmla="*/ 2927 w 9775"/>
              <a:gd name="connsiteY252" fmla="*/ 3595 h 10000"/>
              <a:gd name="connsiteX253" fmla="*/ 2620 w 9775"/>
              <a:gd name="connsiteY253" fmla="*/ 3620 h 10000"/>
              <a:gd name="connsiteX254" fmla="*/ 2372 w 9775"/>
              <a:gd name="connsiteY254" fmla="*/ 3673 h 10000"/>
              <a:gd name="connsiteX255" fmla="*/ 1973 w 9775"/>
              <a:gd name="connsiteY255" fmla="*/ 3840 h 10000"/>
              <a:gd name="connsiteX256" fmla="*/ 1761 w 9775"/>
              <a:gd name="connsiteY256" fmla="*/ 4042 h 10000"/>
              <a:gd name="connsiteX257" fmla="*/ 1779 w 9775"/>
              <a:gd name="connsiteY257" fmla="*/ 4154 h 10000"/>
              <a:gd name="connsiteX258" fmla="*/ 1853 w 9775"/>
              <a:gd name="connsiteY258" fmla="*/ 4241 h 10000"/>
              <a:gd name="connsiteX259" fmla="*/ 1909 w 9775"/>
              <a:gd name="connsiteY259" fmla="*/ 4276 h 10000"/>
              <a:gd name="connsiteX260" fmla="*/ 1805 w 9775"/>
              <a:gd name="connsiteY260" fmla="*/ 4331 h 10000"/>
              <a:gd name="connsiteX261" fmla="*/ 1580 w 9775"/>
              <a:gd name="connsiteY261" fmla="*/ 4710 h 10000"/>
              <a:gd name="connsiteX262" fmla="*/ 1623 w 9775"/>
              <a:gd name="connsiteY262" fmla="*/ 4732 h 10000"/>
              <a:gd name="connsiteX263" fmla="*/ 1656 w 9775"/>
              <a:gd name="connsiteY263" fmla="*/ 4828 h 10000"/>
              <a:gd name="connsiteX264" fmla="*/ 1550 w 9775"/>
              <a:gd name="connsiteY264" fmla="*/ 5227 h 10000"/>
              <a:gd name="connsiteX265" fmla="*/ 1656 w 9775"/>
              <a:gd name="connsiteY265" fmla="*/ 5329 h 10000"/>
              <a:gd name="connsiteX266" fmla="*/ 1943 w 9775"/>
              <a:gd name="connsiteY266" fmla="*/ 5441 h 10000"/>
              <a:gd name="connsiteX267" fmla="*/ 1957 w 9775"/>
              <a:gd name="connsiteY267" fmla="*/ 5578 h 10000"/>
              <a:gd name="connsiteX268" fmla="*/ 1834 w 9775"/>
              <a:gd name="connsiteY268" fmla="*/ 5690 h 10000"/>
              <a:gd name="connsiteX269" fmla="*/ 1656 w 9775"/>
              <a:gd name="connsiteY269" fmla="*/ 5759 h 10000"/>
              <a:gd name="connsiteX270" fmla="*/ 1420 w 9775"/>
              <a:gd name="connsiteY270" fmla="*/ 5787 h 10000"/>
              <a:gd name="connsiteX271" fmla="*/ 1359 w 9775"/>
              <a:gd name="connsiteY271" fmla="*/ 5826 h 10000"/>
              <a:gd name="connsiteX272" fmla="*/ 1496 w 9775"/>
              <a:gd name="connsiteY272" fmla="*/ 5920 h 10000"/>
              <a:gd name="connsiteX273" fmla="*/ 1575 w 9775"/>
              <a:gd name="connsiteY273" fmla="*/ 6142 h 10000"/>
              <a:gd name="connsiteX274" fmla="*/ 1397 w 9775"/>
              <a:gd name="connsiteY274" fmla="*/ 6333 h 10000"/>
              <a:gd name="connsiteX275" fmla="*/ 1458 w 9775"/>
              <a:gd name="connsiteY275" fmla="*/ 6392 h 10000"/>
              <a:gd name="connsiteX276" fmla="*/ 1402 w 9775"/>
              <a:gd name="connsiteY276" fmla="*/ 6492 h 10000"/>
              <a:gd name="connsiteX277" fmla="*/ 1287 w 9775"/>
              <a:gd name="connsiteY277" fmla="*/ 6561 h 10000"/>
              <a:gd name="connsiteX278" fmla="*/ 835 w 9775"/>
              <a:gd name="connsiteY278" fmla="*/ 6614 h 10000"/>
              <a:gd name="connsiteX279" fmla="*/ 807 w 9775"/>
              <a:gd name="connsiteY279" fmla="*/ 6706 h 10000"/>
              <a:gd name="connsiteX280" fmla="*/ 563 w 9775"/>
              <a:gd name="connsiteY280" fmla="*/ 6843 h 10000"/>
              <a:gd name="connsiteX281" fmla="*/ 595 w 9775"/>
              <a:gd name="connsiteY281" fmla="*/ 7040 h 10000"/>
              <a:gd name="connsiteX282" fmla="*/ 389 w 9775"/>
              <a:gd name="connsiteY282" fmla="*/ 7293 h 10000"/>
              <a:gd name="connsiteX283" fmla="*/ 249 w 9775"/>
              <a:gd name="connsiteY283" fmla="*/ 7323 h 10000"/>
              <a:gd name="connsiteX284" fmla="*/ 192 w 9775"/>
              <a:gd name="connsiteY284" fmla="*/ 7262 h 10000"/>
              <a:gd name="connsiteX285" fmla="*/ 120 w 9775"/>
              <a:gd name="connsiteY285" fmla="*/ 7354 h 10000"/>
              <a:gd name="connsiteX286" fmla="*/ 167 w 9775"/>
              <a:gd name="connsiteY286" fmla="*/ 7197 h 10000"/>
              <a:gd name="connsiteX287" fmla="*/ 138 w 9775"/>
              <a:gd name="connsiteY287" fmla="*/ 7166 h 10000"/>
              <a:gd name="connsiteX0" fmla="*/ 141 w 9601"/>
              <a:gd name="connsiteY0" fmla="*/ 7166 h 10000"/>
              <a:gd name="connsiteX1" fmla="*/ 0 w 9601"/>
              <a:gd name="connsiteY1" fmla="*/ 7248 h 10000"/>
              <a:gd name="connsiteX2" fmla="*/ 0 w 9601"/>
              <a:gd name="connsiteY2" fmla="*/ 7651 h 10000"/>
              <a:gd name="connsiteX3" fmla="*/ 78 w 9601"/>
              <a:gd name="connsiteY3" fmla="*/ 7663 h 10000"/>
              <a:gd name="connsiteX4" fmla="*/ 96 w 9601"/>
              <a:gd name="connsiteY4" fmla="*/ 7694 h 10000"/>
              <a:gd name="connsiteX5" fmla="*/ 92 w 9601"/>
              <a:gd name="connsiteY5" fmla="*/ 7749 h 10000"/>
              <a:gd name="connsiteX6" fmla="*/ 63 w 9601"/>
              <a:gd name="connsiteY6" fmla="*/ 7773 h 10000"/>
              <a:gd name="connsiteX7" fmla="*/ 182 w 9601"/>
              <a:gd name="connsiteY7" fmla="*/ 7727 h 10000"/>
              <a:gd name="connsiteX8" fmla="*/ 232 w 9601"/>
              <a:gd name="connsiteY8" fmla="*/ 7680 h 10000"/>
              <a:gd name="connsiteX9" fmla="*/ 294 w 9601"/>
              <a:gd name="connsiteY9" fmla="*/ 7712 h 10000"/>
              <a:gd name="connsiteX10" fmla="*/ 226 w 9601"/>
              <a:gd name="connsiteY10" fmla="*/ 7778 h 10000"/>
              <a:gd name="connsiteX11" fmla="*/ 299 w 9601"/>
              <a:gd name="connsiteY11" fmla="*/ 7780 h 10000"/>
              <a:gd name="connsiteX12" fmla="*/ 334 w 9601"/>
              <a:gd name="connsiteY12" fmla="*/ 7796 h 10000"/>
              <a:gd name="connsiteX13" fmla="*/ 240 w 9601"/>
              <a:gd name="connsiteY13" fmla="*/ 7818 h 10000"/>
              <a:gd name="connsiteX14" fmla="*/ 92 w 9601"/>
              <a:gd name="connsiteY14" fmla="*/ 7886 h 10000"/>
              <a:gd name="connsiteX15" fmla="*/ 355 w 9601"/>
              <a:gd name="connsiteY15" fmla="*/ 7938 h 10000"/>
              <a:gd name="connsiteX16" fmla="*/ 388 w 9601"/>
              <a:gd name="connsiteY16" fmla="*/ 8014 h 10000"/>
              <a:gd name="connsiteX17" fmla="*/ 299 w 9601"/>
              <a:gd name="connsiteY17" fmla="*/ 8126 h 10000"/>
              <a:gd name="connsiteX18" fmla="*/ 491 w 9601"/>
              <a:gd name="connsiteY18" fmla="*/ 8118 h 10000"/>
              <a:gd name="connsiteX19" fmla="*/ 505 w 9601"/>
              <a:gd name="connsiteY19" fmla="*/ 8203 h 10000"/>
              <a:gd name="connsiteX20" fmla="*/ 377 w 9601"/>
              <a:gd name="connsiteY20" fmla="*/ 8260 h 10000"/>
              <a:gd name="connsiteX21" fmla="*/ 398 w 9601"/>
              <a:gd name="connsiteY21" fmla="*/ 8370 h 10000"/>
              <a:gd name="connsiteX22" fmla="*/ 349 w 9601"/>
              <a:gd name="connsiteY22" fmla="*/ 8456 h 10000"/>
              <a:gd name="connsiteX23" fmla="*/ 500 w 9601"/>
              <a:gd name="connsiteY23" fmla="*/ 8464 h 10000"/>
              <a:gd name="connsiteX24" fmla="*/ 649 w 9601"/>
              <a:gd name="connsiteY24" fmla="*/ 8792 h 10000"/>
              <a:gd name="connsiteX25" fmla="*/ 819 w 9601"/>
              <a:gd name="connsiteY25" fmla="*/ 8876 h 10000"/>
              <a:gd name="connsiteX26" fmla="*/ 894 w 9601"/>
              <a:gd name="connsiteY26" fmla="*/ 8965 h 10000"/>
              <a:gd name="connsiteX27" fmla="*/ 1080 w 9601"/>
              <a:gd name="connsiteY27" fmla="*/ 9030 h 10000"/>
              <a:gd name="connsiteX28" fmla="*/ 1199 w 9601"/>
              <a:gd name="connsiteY28" fmla="*/ 9112 h 10000"/>
              <a:gd name="connsiteX29" fmla="*/ 1184 w 9601"/>
              <a:gd name="connsiteY29" fmla="*/ 9171 h 10000"/>
              <a:gd name="connsiteX30" fmla="*/ 1066 w 9601"/>
              <a:gd name="connsiteY30" fmla="*/ 9193 h 10000"/>
              <a:gd name="connsiteX31" fmla="*/ 937 w 9601"/>
              <a:gd name="connsiteY31" fmla="*/ 9179 h 10000"/>
              <a:gd name="connsiteX32" fmla="*/ 898 w 9601"/>
              <a:gd name="connsiteY32" fmla="*/ 9204 h 10000"/>
              <a:gd name="connsiteX33" fmla="*/ 996 w 9601"/>
              <a:gd name="connsiteY33" fmla="*/ 9332 h 10000"/>
              <a:gd name="connsiteX34" fmla="*/ 858 w 9601"/>
              <a:gd name="connsiteY34" fmla="*/ 9322 h 10000"/>
              <a:gd name="connsiteX35" fmla="*/ 742 w 9601"/>
              <a:gd name="connsiteY35" fmla="*/ 9291 h 10000"/>
              <a:gd name="connsiteX36" fmla="*/ 720 w 9601"/>
              <a:gd name="connsiteY36" fmla="*/ 9338 h 10000"/>
              <a:gd name="connsiteX37" fmla="*/ 1109 w 9601"/>
              <a:gd name="connsiteY37" fmla="*/ 9776 h 10000"/>
              <a:gd name="connsiteX38" fmla="*/ 1047 w 9601"/>
              <a:gd name="connsiteY38" fmla="*/ 9817 h 10000"/>
              <a:gd name="connsiteX39" fmla="*/ 1003 w 9601"/>
              <a:gd name="connsiteY39" fmla="*/ 9902 h 10000"/>
              <a:gd name="connsiteX40" fmla="*/ 948 w 9601"/>
              <a:gd name="connsiteY40" fmla="*/ 9908 h 10000"/>
              <a:gd name="connsiteX41" fmla="*/ 913 w 9601"/>
              <a:gd name="connsiteY41" fmla="*/ 9945 h 10000"/>
              <a:gd name="connsiteX42" fmla="*/ 1147 w 9601"/>
              <a:gd name="connsiteY42" fmla="*/ 9949 h 10000"/>
              <a:gd name="connsiteX43" fmla="*/ 1354 w 9601"/>
              <a:gd name="connsiteY43" fmla="*/ 9986 h 10000"/>
              <a:gd name="connsiteX44" fmla="*/ 1698 w 9601"/>
              <a:gd name="connsiteY44" fmla="*/ 9947 h 10000"/>
              <a:gd name="connsiteX45" fmla="*/ 2008 w 9601"/>
              <a:gd name="connsiteY45" fmla="*/ 9953 h 10000"/>
              <a:gd name="connsiteX46" fmla="*/ 2189 w 9601"/>
              <a:gd name="connsiteY46" fmla="*/ 10000 h 10000"/>
              <a:gd name="connsiteX47" fmla="*/ 2290 w 9601"/>
              <a:gd name="connsiteY47" fmla="*/ 9969 h 10000"/>
              <a:gd name="connsiteX48" fmla="*/ 2386 w 9601"/>
              <a:gd name="connsiteY48" fmla="*/ 9868 h 10000"/>
              <a:gd name="connsiteX49" fmla="*/ 2361 w 9601"/>
              <a:gd name="connsiteY49" fmla="*/ 9703 h 10000"/>
              <a:gd name="connsiteX50" fmla="*/ 2596 w 9601"/>
              <a:gd name="connsiteY50" fmla="*/ 9517 h 10000"/>
              <a:gd name="connsiteX51" fmla="*/ 2768 w 9601"/>
              <a:gd name="connsiteY51" fmla="*/ 9546 h 10000"/>
              <a:gd name="connsiteX52" fmla="*/ 2868 w 9601"/>
              <a:gd name="connsiteY52" fmla="*/ 9472 h 10000"/>
              <a:gd name="connsiteX53" fmla="*/ 3059 w 9601"/>
              <a:gd name="connsiteY53" fmla="*/ 9430 h 10000"/>
              <a:gd name="connsiteX54" fmla="*/ 3319 w 9601"/>
              <a:gd name="connsiteY54" fmla="*/ 9440 h 10000"/>
              <a:gd name="connsiteX55" fmla="*/ 3476 w 9601"/>
              <a:gd name="connsiteY55" fmla="*/ 9470 h 10000"/>
              <a:gd name="connsiteX56" fmla="*/ 3684 w 9601"/>
              <a:gd name="connsiteY56" fmla="*/ 9456 h 10000"/>
              <a:gd name="connsiteX57" fmla="*/ 3894 w 9601"/>
              <a:gd name="connsiteY57" fmla="*/ 9489 h 10000"/>
              <a:gd name="connsiteX58" fmla="*/ 4104 w 9601"/>
              <a:gd name="connsiteY58" fmla="*/ 9493 h 10000"/>
              <a:gd name="connsiteX59" fmla="*/ 4575 w 9601"/>
              <a:gd name="connsiteY59" fmla="*/ 9061 h 10000"/>
              <a:gd name="connsiteX60" fmla="*/ 4694 w 9601"/>
              <a:gd name="connsiteY60" fmla="*/ 8711 h 10000"/>
              <a:gd name="connsiteX61" fmla="*/ 4885 w 9601"/>
              <a:gd name="connsiteY61" fmla="*/ 8554 h 10000"/>
              <a:gd name="connsiteX62" fmla="*/ 4885 w 9601"/>
              <a:gd name="connsiteY62" fmla="*/ 8472 h 10000"/>
              <a:gd name="connsiteX63" fmla="*/ 4816 w 9601"/>
              <a:gd name="connsiteY63" fmla="*/ 8425 h 10000"/>
              <a:gd name="connsiteX64" fmla="*/ 4928 w 9601"/>
              <a:gd name="connsiteY64" fmla="*/ 8352 h 10000"/>
              <a:gd name="connsiteX65" fmla="*/ 4908 w 9601"/>
              <a:gd name="connsiteY65" fmla="*/ 8289 h 10000"/>
              <a:gd name="connsiteX66" fmla="*/ 4831 w 9601"/>
              <a:gd name="connsiteY66" fmla="*/ 8236 h 10000"/>
              <a:gd name="connsiteX67" fmla="*/ 4816 w 9601"/>
              <a:gd name="connsiteY67" fmla="*/ 8199 h 10000"/>
              <a:gd name="connsiteX68" fmla="*/ 4835 w 9601"/>
              <a:gd name="connsiteY68" fmla="*/ 8169 h 10000"/>
              <a:gd name="connsiteX69" fmla="*/ 4939 w 9601"/>
              <a:gd name="connsiteY69" fmla="*/ 8193 h 10000"/>
              <a:gd name="connsiteX70" fmla="*/ 5021 w 9601"/>
              <a:gd name="connsiteY70" fmla="*/ 8191 h 10000"/>
              <a:gd name="connsiteX71" fmla="*/ 4977 w 9601"/>
              <a:gd name="connsiteY71" fmla="*/ 8140 h 10000"/>
              <a:gd name="connsiteX72" fmla="*/ 4991 w 9601"/>
              <a:gd name="connsiteY72" fmla="*/ 8112 h 10000"/>
              <a:gd name="connsiteX73" fmla="*/ 5052 w 9601"/>
              <a:gd name="connsiteY73" fmla="*/ 8069 h 10000"/>
              <a:gd name="connsiteX74" fmla="*/ 5041 w 9601"/>
              <a:gd name="connsiteY74" fmla="*/ 8034 h 10000"/>
              <a:gd name="connsiteX75" fmla="*/ 5097 w 9601"/>
              <a:gd name="connsiteY75" fmla="*/ 7916 h 10000"/>
              <a:gd name="connsiteX76" fmla="*/ 5082 w 9601"/>
              <a:gd name="connsiteY76" fmla="*/ 7881 h 10000"/>
              <a:gd name="connsiteX77" fmla="*/ 4797 w 9601"/>
              <a:gd name="connsiteY77" fmla="*/ 7792 h 10000"/>
              <a:gd name="connsiteX78" fmla="*/ 4835 w 9601"/>
              <a:gd name="connsiteY78" fmla="*/ 7788 h 10000"/>
              <a:gd name="connsiteX79" fmla="*/ 4987 w 9601"/>
              <a:gd name="connsiteY79" fmla="*/ 7812 h 10000"/>
              <a:gd name="connsiteX80" fmla="*/ 5151 w 9601"/>
              <a:gd name="connsiteY80" fmla="*/ 7804 h 10000"/>
              <a:gd name="connsiteX81" fmla="*/ 5199 w 9601"/>
              <a:gd name="connsiteY81" fmla="*/ 7771 h 10000"/>
              <a:gd name="connsiteX82" fmla="*/ 5041 w 9601"/>
              <a:gd name="connsiteY82" fmla="*/ 7710 h 10000"/>
              <a:gd name="connsiteX83" fmla="*/ 4571 w 9601"/>
              <a:gd name="connsiteY83" fmla="*/ 7670 h 10000"/>
              <a:gd name="connsiteX84" fmla="*/ 4603 w 9601"/>
              <a:gd name="connsiteY84" fmla="*/ 7651 h 10000"/>
              <a:gd name="connsiteX85" fmla="*/ 4987 w 9601"/>
              <a:gd name="connsiteY85" fmla="*/ 7639 h 10000"/>
              <a:gd name="connsiteX86" fmla="*/ 5199 w 9601"/>
              <a:gd name="connsiteY86" fmla="*/ 7676 h 10000"/>
              <a:gd name="connsiteX87" fmla="*/ 5321 w 9601"/>
              <a:gd name="connsiteY87" fmla="*/ 7651 h 10000"/>
              <a:gd name="connsiteX88" fmla="*/ 5366 w 9601"/>
              <a:gd name="connsiteY88" fmla="*/ 7588 h 10000"/>
              <a:gd name="connsiteX89" fmla="*/ 5587 w 9601"/>
              <a:gd name="connsiteY89" fmla="*/ 7588 h 10000"/>
              <a:gd name="connsiteX90" fmla="*/ 5886 w 9601"/>
              <a:gd name="connsiteY90" fmla="*/ 7462 h 10000"/>
              <a:gd name="connsiteX91" fmla="*/ 5897 w 9601"/>
              <a:gd name="connsiteY91" fmla="*/ 7378 h 10000"/>
              <a:gd name="connsiteX92" fmla="*/ 6024 w 9601"/>
              <a:gd name="connsiteY92" fmla="*/ 7397 h 10000"/>
              <a:gd name="connsiteX93" fmla="*/ 6018 w 9601"/>
              <a:gd name="connsiteY93" fmla="*/ 7482 h 10000"/>
              <a:gd name="connsiteX94" fmla="*/ 6220 w 9601"/>
              <a:gd name="connsiteY94" fmla="*/ 7476 h 10000"/>
              <a:gd name="connsiteX95" fmla="*/ 6352 w 9601"/>
              <a:gd name="connsiteY95" fmla="*/ 7388 h 10000"/>
              <a:gd name="connsiteX96" fmla="*/ 6598 w 9601"/>
              <a:gd name="connsiteY96" fmla="*/ 7309 h 10000"/>
              <a:gd name="connsiteX97" fmla="*/ 6559 w 9601"/>
              <a:gd name="connsiteY97" fmla="*/ 7219 h 10000"/>
              <a:gd name="connsiteX98" fmla="*/ 6632 w 9601"/>
              <a:gd name="connsiteY98" fmla="*/ 7254 h 10000"/>
              <a:gd name="connsiteX99" fmla="*/ 6745 w 9601"/>
              <a:gd name="connsiteY99" fmla="*/ 7254 h 10000"/>
              <a:gd name="connsiteX100" fmla="*/ 6745 w 9601"/>
              <a:gd name="connsiteY100" fmla="*/ 7213 h 10000"/>
              <a:gd name="connsiteX101" fmla="*/ 6849 w 9601"/>
              <a:gd name="connsiteY101" fmla="*/ 7181 h 10000"/>
              <a:gd name="connsiteX102" fmla="*/ 6835 w 9601"/>
              <a:gd name="connsiteY102" fmla="*/ 7148 h 10000"/>
              <a:gd name="connsiteX103" fmla="*/ 5951 w 9601"/>
              <a:gd name="connsiteY103" fmla="*/ 7215 h 10000"/>
              <a:gd name="connsiteX104" fmla="*/ 5744 w 9601"/>
              <a:gd name="connsiteY104" fmla="*/ 7195 h 10000"/>
              <a:gd name="connsiteX105" fmla="*/ 5660 w 9601"/>
              <a:gd name="connsiteY105" fmla="*/ 7219 h 10000"/>
              <a:gd name="connsiteX106" fmla="*/ 5632 w 9601"/>
              <a:gd name="connsiteY106" fmla="*/ 7173 h 10000"/>
              <a:gd name="connsiteX107" fmla="*/ 5534 w 9601"/>
              <a:gd name="connsiteY107" fmla="*/ 7132 h 10000"/>
              <a:gd name="connsiteX108" fmla="*/ 5140 w 9601"/>
              <a:gd name="connsiteY108" fmla="*/ 7052 h 10000"/>
              <a:gd name="connsiteX109" fmla="*/ 4908 w 9601"/>
              <a:gd name="connsiteY109" fmla="*/ 7065 h 10000"/>
              <a:gd name="connsiteX110" fmla="*/ 4816 w 9601"/>
              <a:gd name="connsiteY110" fmla="*/ 7042 h 10000"/>
              <a:gd name="connsiteX111" fmla="*/ 4914 w 9601"/>
              <a:gd name="connsiteY111" fmla="*/ 7022 h 10000"/>
              <a:gd name="connsiteX112" fmla="*/ 4987 w 9601"/>
              <a:gd name="connsiteY112" fmla="*/ 6979 h 10000"/>
              <a:gd name="connsiteX113" fmla="*/ 5097 w 9601"/>
              <a:gd name="connsiteY113" fmla="*/ 6993 h 10000"/>
              <a:gd name="connsiteX114" fmla="*/ 5228 w 9601"/>
              <a:gd name="connsiteY114" fmla="*/ 6981 h 10000"/>
              <a:gd name="connsiteX115" fmla="*/ 5425 w 9601"/>
              <a:gd name="connsiteY115" fmla="*/ 6995 h 10000"/>
              <a:gd name="connsiteX116" fmla="*/ 5449 w 9601"/>
              <a:gd name="connsiteY116" fmla="*/ 6989 h 10000"/>
              <a:gd name="connsiteX117" fmla="*/ 5601 w 9601"/>
              <a:gd name="connsiteY117" fmla="*/ 7056 h 10000"/>
              <a:gd name="connsiteX118" fmla="*/ 5714 w 9601"/>
              <a:gd name="connsiteY118" fmla="*/ 7032 h 10000"/>
              <a:gd name="connsiteX119" fmla="*/ 5723 w 9601"/>
              <a:gd name="connsiteY119" fmla="*/ 7010 h 10000"/>
              <a:gd name="connsiteX120" fmla="*/ 5827 w 9601"/>
              <a:gd name="connsiteY120" fmla="*/ 7048 h 10000"/>
              <a:gd name="connsiteX121" fmla="*/ 5964 w 9601"/>
              <a:gd name="connsiteY121" fmla="*/ 7069 h 10000"/>
              <a:gd name="connsiteX122" fmla="*/ 6018 w 9601"/>
              <a:gd name="connsiteY122" fmla="*/ 7030 h 10000"/>
              <a:gd name="connsiteX123" fmla="*/ 6062 w 9601"/>
              <a:gd name="connsiteY123" fmla="*/ 7052 h 10000"/>
              <a:gd name="connsiteX124" fmla="*/ 6126 w 9601"/>
              <a:gd name="connsiteY124" fmla="*/ 7126 h 10000"/>
              <a:gd name="connsiteX125" fmla="*/ 6259 w 9601"/>
              <a:gd name="connsiteY125" fmla="*/ 7144 h 10000"/>
              <a:gd name="connsiteX126" fmla="*/ 6799 w 9601"/>
              <a:gd name="connsiteY126" fmla="*/ 7034 h 10000"/>
              <a:gd name="connsiteX127" fmla="*/ 7065 w 9601"/>
              <a:gd name="connsiteY127" fmla="*/ 6879 h 10000"/>
              <a:gd name="connsiteX128" fmla="*/ 7127 w 9601"/>
              <a:gd name="connsiteY128" fmla="*/ 6765 h 10000"/>
              <a:gd name="connsiteX129" fmla="*/ 7031 w 9601"/>
              <a:gd name="connsiteY129" fmla="*/ 6663 h 10000"/>
              <a:gd name="connsiteX130" fmla="*/ 6829 w 9601"/>
              <a:gd name="connsiteY130" fmla="*/ 6602 h 10000"/>
              <a:gd name="connsiteX131" fmla="*/ 6685 w 9601"/>
              <a:gd name="connsiteY131" fmla="*/ 6502 h 10000"/>
              <a:gd name="connsiteX132" fmla="*/ 6819 w 9601"/>
              <a:gd name="connsiteY132" fmla="*/ 6498 h 10000"/>
              <a:gd name="connsiteX133" fmla="*/ 6810 w 9601"/>
              <a:gd name="connsiteY133" fmla="*/ 6474 h 10000"/>
              <a:gd name="connsiteX134" fmla="*/ 6462 w 9601"/>
              <a:gd name="connsiteY134" fmla="*/ 6403 h 10000"/>
              <a:gd name="connsiteX135" fmla="*/ 6448 w 9601"/>
              <a:gd name="connsiteY135" fmla="*/ 6339 h 10000"/>
              <a:gd name="connsiteX136" fmla="*/ 6381 w 9601"/>
              <a:gd name="connsiteY136" fmla="*/ 6272 h 10000"/>
              <a:gd name="connsiteX137" fmla="*/ 6106 w 9601"/>
              <a:gd name="connsiteY137" fmla="*/ 6284 h 10000"/>
              <a:gd name="connsiteX138" fmla="*/ 6008 w 9601"/>
              <a:gd name="connsiteY138" fmla="*/ 6213 h 10000"/>
              <a:gd name="connsiteX139" fmla="*/ 5951 w 9601"/>
              <a:gd name="connsiteY139" fmla="*/ 6209 h 10000"/>
              <a:gd name="connsiteX140" fmla="*/ 5951 w 9601"/>
              <a:gd name="connsiteY140" fmla="*/ 6238 h 10000"/>
              <a:gd name="connsiteX141" fmla="*/ 5827 w 9601"/>
              <a:gd name="connsiteY141" fmla="*/ 6358 h 10000"/>
              <a:gd name="connsiteX142" fmla="*/ 5693 w 9601"/>
              <a:gd name="connsiteY142" fmla="*/ 6429 h 10000"/>
              <a:gd name="connsiteX143" fmla="*/ 5276 w 9601"/>
              <a:gd name="connsiteY143" fmla="*/ 6551 h 10000"/>
              <a:gd name="connsiteX144" fmla="*/ 5129 w 9601"/>
              <a:gd name="connsiteY144" fmla="*/ 6547 h 10000"/>
              <a:gd name="connsiteX145" fmla="*/ 4928 w 9601"/>
              <a:gd name="connsiteY145" fmla="*/ 6565 h 10000"/>
              <a:gd name="connsiteX146" fmla="*/ 4816 w 9601"/>
              <a:gd name="connsiteY146" fmla="*/ 6547 h 10000"/>
              <a:gd name="connsiteX147" fmla="*/ 4963 w 9601"/>
              <a:gd name="connsiteY147" fmla="*/ 6513 h 10000"/>
              <a:gd name="connsiteX148" fmla="*/ 5155 w 9601"/>
              <a:gd name="connsiteY148" fmla="*/ 6498 h 10000"/>
              <a:gd name="connsiteX149" fmla="*/ 5313 w 9601"/>
              <a:gd name="connsiteY149" fmla="*/ 6441 h 10000"/>
              <a:gd name="connsiteX150" fmla="*/ 5468 w 9601"/>
              <a:gd name="connsiteY150" fmla="*/ 6415 h 10000"/>
              <a:gd name="connsiteX151" fmla="*/ 5759 w 9601"/>
              <a:gd name="connsiteY151" fmla="*/ 6317 h 10000"/>
              <a:gd name="connsiteX152" fmla="*/ 5814 w 9601"/>
              <a:gd name="connsiteY152" fmla="*/ 6252 h 10000"/>
              <a:gd name="connsiteX153" fmla="*/ 5818 w 9601"/>
              <a:gd name="connsiteY153" fmla="*/ 6168 h 10000"/>
              <a:gd name="connsiteX154" fmla="*/ 5685 w 9601"/>
              <a:gd name="connsiteY154" fmla="*/ 6154 h 10000"/>
              <a:gd name="connsiteX155" fmla="*/ 5744 w 9601"/>
              <a:gd name="connsiteY155" fmla="*/ 6103 h 10000"/>
              <a:gd name="connsiteX156" fmla="*/ 5763 w 9601"/>
              <a:gd name="connsiteY156" fmla="*/ 6038 h 10000"/>
              <a:gd name="connsiteX157" fmla="*/ 5707 w 9601"/>
              <a:gd name="connsiteY157" fmla="*/ 5977 h 10000"/>
              <a:gd name="connsiteX158" fmla="*/ 5675 w 9601"/>
              <a:gd name="connsiteY158" fmla="*/ 5533 h 10000"/>
              <a:gd name="connsiteX159" fmla="*/ 5754 w 9601"/>
              <a:gd name="connsiteY159" fmla="*/ 5437 h 10000"/>
              <a:gd name="connsiteX160" fmla="*/ 5734 w 9601"/>
              <a:gd name="connsiteY160" fmla="*/ 5398 h 10000"/>
              <a:gd name="connsiteX161" fmla="*/ 5964 w 9601"/>
              <a:gd name="connsiteY161" fmla="*/ 5455 h 10000"/>
              <a:gd name="connsiteX162" fmla="*/ 5980 w 9601"/>
              <a:gd name="connsiteY162" fmla="*/ 5402 h 10000"/>
              <a:gd name="connsiteX163" fmla="*/ 5930 w 9601"/>
              <a:gd name="connsiteY163" fmla="*/ 5264 h 10000"/>
              <a:gd name="connsiteX164" fmla="*/ 6096 w 9601"/>
              <a:gd name="connsiteY164" fmla="*/ 5019 h 10000"/>
              <a:gd name="connsiteX165" fmla="*/ 5994 w 9601"/>
              <a:gd name="connsiteY165" fmla="*/ 4960 h 10000"/>
              <a:gd name="connsiteX166" fmla="*/ 5955 w 9601"/>
              <a:gd name="connsiteY166" fmla="*/ 4905 h 10000"/>
              <a:gd name="connsiteX167" fmla="*/ 5968 w 9601"/>
              <a:gd name="connsiteY167" fmla="*/ 4816 h 10000"/>
              <a:gd name="connsiteX168" fmla="*/ 6212 w 9601"/>
              <a:gd name="connsiteY168" fmla="*/ 4875 h 10000"/>
              <a:gd name="connsiteX169" fmla="*/ 6220 w 9601"/>
              <a:gd name="connsiteY169" fmla="*/ 4858 h 10000"/>
              <a:gd name="connsiteX170" fmla="*/ 6287 w 9601"/>
              <a:gd name="connsiteY170" fmla="*/ 4842 h 10000"/>
              <a:gd name="connsiteX171" fmla="*/ 6381 w 9601"/>
              <a:gd name="connsiteY171" fmla="*/ 4785 h 10000"/>
              <a:gd name="connsiteX172" fmla="*/ 6396 w 9601"/>
              <a:gd name="connsiteY172" fmla="*/ 4769 h 10000"/>
              <a:gd name="connsiteX173" fmla="*/ 6376 w 9601"/>
              <a:gd name="connsiteY173" fmla="*/ 4748 h 10000"/>
              <a:gd name="connsiteX174" fmla="*/ 6426 w 9601"/>
              <a:gd name="connsiteY174" fmla="*/ 4647 h 10000"/>
              <a:gd name="connsiteX175" fmla="*/ 6366 w 9601"/>
              <a:gd name="connsiteY175" fmla="*/ 4581 h 10000"/>
              <a:gd name="connsiteX176" fmla="*/ 6376 w 9601"/>
              <a:gd name="connsiteY176" fmla="*/ 4528 h 10000"/>
              <a:gd name="connsiteX177" fmla="*/ 6410 w 9601"/>
              <a:gd name="connsiteY177" fmla="*/ 4590 h 10000"/>
              <a:gd name="connsiteX178" fmla="*/ 6543 w 9601"/>
              <a:gd name="connsiteY178" fmla="*/ 4636 h 10000"/>
              <a:gd name="connsiteX179" fmla="*/ 6598 w 9601"/>
              <a:gd name="connsiteY179" fmla="*/ 4630 h 10000"/>
              <a:gd name="connsiteX180" fmla="*/ 6685 w 9601"/>
              <a:gd name="connsiteY180" fmla="*/ 4569 h 10000"/>
              <a:gd name="connsiteX181" fmla="*/ 6780 w 9601"/>
              <a:gd name="connsiteY181" fmla="*/ 4594 h 10000"/>
              <a:gd name="connsiteX182" fmla="*/ 6805 w 9601"/>
              <a:gd name="connsiteY182" fmla="*/ 4545 h 10000"/>
              <a:gd name="connsiteX183" fmla="*/ 6869 w 9601"/>
              <a:gd name="connsiteY183" fmla="*/ 4512 h 10000"/>
              <a:gd name="connsiteX184" fmla="*/ 6696 w 9601"/>
              <a:gd name="connsiteY184" fmla="*/ 4477 h 10000"/>
              <a:gd name="connsiteX185" fmla="*/ 6819 w 9601"/>
              <a:gd name="connsiteY185" fmla="*/ 4484 h 10000"/>
              <a:gd name="connsiteX186" fmla="*/ 6945 w 9601"/>
              <a:gd name="connsiteY186" fmla="*/ 4447 h 10000"/>
              <a:gd name="connsiteX187" fmla="*/ 6941 w 9601"/>
              <a:gd name="connsiteY187" fmla="*/ 4422 h 10000"/>
              <a:gd name="connsiteX188" fmla="*/ 7060 w 9601"/>
              <a:gd name="connsiteY188" fmla="*/ 4398 h 10000"/>
              <a:gd name="connsiteX189" fmla="*/ 7070 w 9601"/>
              <a:gd name="connsiteY189" fmla="*/ 4337 h 10000"/>
              <a:gd name="connsiteX190" fmla="*/ 7163 w 9601"/>
              <a:gd name="connsiteY190" fmla="*/ 4325 h 10000"/>
              <a:gd name="connsiteX191" fmla="*/ 7171 w 9601"/>
              <a:gd name="connsiteY191" fmla="*/ 4253 h 10000"/>
              <a:gd name="connsiteX192" fmla="*/ 7270 w 9601"/>
              <a:gd name="connsiteY192" fmla="*/ 4245 h 10000"/>
              <a:gd name="connsiteX193" fmla="*/ 7422 w 9601"/>
              <a:gd name="connsiteY193" fmla="*/ 4260 h 10000"/>
              <a:gd name="connsiteX194" fmla="*/ 7589 w 9601"/>
              <a:gd name="connsiteY194" fmla="*/ 4202 h 10000"/>
              <a:gd name="connsiteX195" fmla="*/ 7648 w 9601"/>
              <a:gd name="connsiteY195" fmla="*/ 4137 h 10000"/>
              <a:gd name="connsiteX196" fmla="*/ 7855 w 9601"/>
              <a:gd name="connsiteY196" fmla="*/ 4070 h 10000"/>
              <a:gd name="connsiteX197" fmla="*/ 7957 w 9601"/>
              <a:gd name="connsiteY197" fmla="*/ 4111 h 10000"/>
              <a:gd name="connsiteX198" fmla="*/ 8115 w 9601"/>
              <a:gd name="connsiteY198" fmla="*/ 4066 h 10000"/>
              <a:gd name="connsiteX199" fmla="*/ 8152 w 9601"/>
              <a:gd name="connsiteY199" fmla="*/ 4009 h 10000"/>
              <a:gd name="connsiteX200" fmla="*/ 8272 w 9601"/>
              <a:gd name="connsiteY200" fmla="*/ 3970 h 10000"/>
              <a:gd name="connsiteX201" fmla="*/ 8374 w 9601"/>
              <a:gd name="connsiteY201" fmla="*/ 3987 h 10000"/>
              <a:gd name="connsiteX202" fmla="*/ 8438 w 9601"/>
              <a:gd name="connsiteY202" fmla="*/ 3958 h 10000"/>
              <a:gd name="connsiteX203" fmla="*/ 8615 w 9601"/>
              <a:gd name="connsiteY203" fmla="*/ 3917 h 10000"/>
              <a:gd name="connsiteX204" fmla="*/ 8688 w 9601"/>
              <a:gd name="connsiteY204" fmla="*/ 3864 h 10000"/>
              <a:gd name="connsiteX205" fmla="*/ 8788 w 9601"/>
              <a:gd name="connsiteY205" fmla="*/ 3842 h 10000"/>
              <a:gd name="connsiteX206" fmla="*/ 9332 w 9601"/>
              <a:gd name="connsiteY206" fmla="*/ 3522 h 10000"/>
              <a:gd name="connsiteX207" fmla="*/ 9573 w 9601"/>
              <a:gd name="connsiteY207" fmla="*/ 389 h 10000"/>
              <a:gd name="connsiteX208" fmla="*/ 8688 w 9601"/>
              <a:gd name="connsiteY208" fmla="*/ 26 h 10000"/>
              <a:gd name="connsiteX209" fmla="*/ 8659 w 9601"/>
              <a:gd name="connsiteY209" fmla="*/ 2 h 10000"/>
              <a:gd name="connsiteX210" fmla="*/ 8359 w 9601"/>
              <a:gd name="connsiteY210" fmla="*/ 0 h 10000"/>
              <a:gd name="connsiteX211" fmla="*/ 8292 w 9601"/>
              <a:gd name="connsiteY211" fmla="*/ 14 h 10000"/>
              <a:gd name="connsiteX212" fmla="*/ 8307 w 9601"/>
              <a:gd name="connsiteY212" fmla="*/ 61 h 10000"/>
              <a:gd name="connsiteX213" fmla="*/ 8365 w 9601"/>
              <a:gd name="connsiteY213" fmla="*/ 86 h 10000"/>
              <a:gd name="connsiteX214" fmla="*/ 8381 w 9601"/>
              <a:gd name="connsiteY214" fmla="*/ 139 h 10000"/>
              <a:gd name="connsiteX215" fmla="*/ 8359 w 9601"/>
              <a:gd name="connsiteY215" fmla="*/ 181 h 10000"/>
              <a:gd name="connsiteX216" fmla="*/ 8307 w 9601"/>
              <a:gd name="connsiteY216" fmla="*/ 208 h 10000"/>
              <a:gd name="connsiteX217" fmla="*/ 8266 w 9601"/>
              <a:gd name="connsiteY217" fmla="*/ 283 h 10000"/>
              <a:gd name="connsiteX218" fmla="*/ 8193 w 9601"/>
              <a:gd name="connsiteY218" fmla="*/ 336 h 10000"/>
              <a:gd name="connsiteX219" fmla="*/ 8209 w 9601"/>
              <a:gd name="connsiteY219" fmla="*/ 387 h 10000"/>
              <a:gd name="connsiteX220" fmla="*/ 8321 w 9601"/>
              <a:gd name="connsiteY220" fmla="*/ 434 h 10000"/>
              <a:gd name="connsiteX221" fmla="*/ 8248 w 9601"/>
              <a:gd name="connsiteY221" fmla="*/ 475 h 10000"/>
              <a:gd name="connsiteX222" fmla="*/ 8139 w 9601"/>
              <a:gd name="connsiteY222" fmla="*/ 485 h 10000"/>
              <a:gd name="connsiteX223" fmla="*/ 7236 w 9601"/>
              <a:gd name="connsiteY223" fmla="*/ 387 h 10000"/>
              <a:gd name="connsiteX224" fmla="*/ 7127 w 9601"/>
              <a:gd name="connsiteY224" fmla="*/ 395 h 10000"/>
              <a:gd name="connsiteX225" fmla="*/ 7065 w 9601"/>
              <a:gd name="connsiteY225" fmla="*/ 414 h 10000"/>
              <a:gd name="connsiteX226" fmla="*/ 6999 w 9601"/>
              <a:gd name="connsiteY226" fmla="*/ 462 h 10000"/>
              <a:gd name="connsiteX227" fmla="*/ 7011 w 9601"/>
              <a:gd name="connsiteY227" fmla="*/ 581 h 10000"/>
              <a:gd name="connsiteX228" fmla="*/ 6912 w 9601"/>
              <a:gd name="connsiteY228" fmla="*/ 735 h 10000"/>
              <a:gd name="connsiteX229" fmla="*/ 6790 w 9601"/>
              <a:gd name="connsiteY229" fmla="*/ 815 h 10000"/>
              <a:gd name="connsiteX230" fmla="*/ 6741 w 9601"/>
              <a:gd name="connsiteY230" fmla="*/ 805 h 10000"/>
              <a:gd name="connsiteX231" fmla="*/ 6628 w 9601"/>
              <a:gd name="connsiteY231" fmla="*/ 739 h 10000"/>
              <a:gd name="connsiteX232" fmla="*/ 6486 w 9601"/>
              <a:gd name="connsiteY232" fmla="*/ 705 h 10000"/>
              <a:gd name="connsiteX233" fmla="*/ 6331 w 9601"/>
              <a:gd name="connsiteY233" fmla="*/ 715 h 10000"/>
              <a:gd name="connsiteX234" fmla="*/ 5975 w 9601"/>
              <a:gd name="connsiteY234" fmla="*/ 866 h 10000"/>
              <a:gd name="connsiteX235" fmla="*/ 5881 w 9601"/>
              <a:gd name="connsiteY235" fmla="*/ 1017 h 10000"/>
              <a:gd name="connsiteX236" fmla="*/ 5612 w 9601"/>
              <a:gd name="connsiteY236" fmla="*/ 1153 h 10000"/>
              <a:gd name="connsiteX237" fmla="*/ 5563 w 9601"/>
              <a:gd name="connsiteY237" fmla="*/ 1222 h 10000"/>
              <a:gd name="connsiteX238" fmla="*/ 5703 w 9601"/>
              <a:gd name="connsiteY238" fmla="*/ 1344 h 10000"/>
              <a:gd name="connsiteX239" fmla="*/ 5718 w 9601"/>
              <a:gd name="connsiteY239" fmla="*/ 1412 h 10000"/>
              <a:gd name="connsiteX240" fmla="*/ 4983 w 9601"/>
              <a:gd name="connsiteY240" fmla="*/ 1813 h 10000"/>
              <a:gd name="connsiteX241" fmla="*/ 4757 w 9601"/>
              <a:gd name="connsiteY241" fmla="*/ 2070 h 10000"/>
              <a:gd name="connsiteX242" fmla="*/ 4514 w 9601"/>
              <a:gd name="connsiteY242" fmla="*/ 2135 h 10000"/>
              <a:gd name="connsiteX243" fmla="*/ 4359 w 9601"/>
              <a:gd name="connsiteY243" fmla="*/ 2131 h 10000"/>
              <a:gd name="connsiteX244" fmla="*/ 4266 w 9601"/>
              <a:gd name="connsiteY244" fmla="*/ 2153 h 10000"/>
              <a:gd name="connsiteX245" fmla="*/ 4011 w 9601"/>
              <a:gd name="connsiteY245" fmla="*/ 2793 h 10000"/>
              <a:gd name="connsiteX246" fmla="*/ 3423 w 9601"/>
              <a:gd name="connsiteY246" fmla="*/ 3166 h 10000"/>
              <a:gd name="connsiteX247" fmla="*/ 3427 w 9601"/>
              <a:gd name="connsiteY247" fmla="*/ 3225 h 10000"/>
              <a:gd name="connsiteX248" fmla="*/ 3688 w 9601"/>
              <a:gd name="connsiteY248" fmla="*/ 3392 h 10000"/>
              <a:gd name="connsiteX249" fmla="*/ 3603 w 9601"/>
              <a:gd name="connsiteY249" fmla="*/ 3573 h 10000"/>
              <a:gd name="connsiteX250" fmla="*/ 3451 w 9601"/>
              <a:gd name="connsiteY250" fmla="*/ 3640 h 10000"/>
              <a:gd name="connsiteX251" fmla="*/ 2994 w 9601"/>
              <a:gd name="connsiteY251" fmla="*/ 3595 h 10000"/>
              <a:gd name="connsiteX252" fmla="*/ 2680 w 9601"/>
              <a:gd name="connsiteY252" fmla="*/ 3620 h 10000"/>
              <a:gd name="connsiteX253" fmla="*/ 2427 w 9601"/>
              <a:gd name="connsiteY253" fmla="*/ 3673 h 10000"/>
              <a:gd name="connsiteX254" fmla="*/ 2018 w 9601"/>
              <a:gd name="connsiteY254" fmla="*/ 3840 h 10000"/>
              <a:gd name="connsiteX255" fmla="*/ 1802 w 9601"/>
              <a:gd name="connsiteY255" fmla="*/ 4042 h 10000"/>
              <a:gd name="connsiteX256" fmla="*/ 1820 w 9601"/>
              <a:gd name="connsiteY256" fmla="*/ 4154 h 10000"/>
              <a:gd name="connsiteX257" fmla="*/ 1896 w 9601"/>
              <a:gd name="connsiteY257" fmla="*/ 4241 h 10000"/>
              <a:gd name="connsiteX258" fmla="*/ 1953 w 9601"/>
              <a:gd name="connsiteY258" fmla="*/ 4276 h 10000"/>
              <a:gd name="connsiteX259" fmla="*/ 1847 w 9601"/>
              <a:gd name="connsiteY259" fmla="*/ 4331 h 10000"/>
              <a:gd name="connsiteX260" fmla="*/ 1616 w 9601"/>
              <a:gd name="connsiteY260" fmla="*/ 4710 h 10000"/>
              <a:gd name="connsiteX261" fmla="*/ 1660 w 9601"/>
              <a:gd name="connsiteY261" fmla="*/ 4732 h 10000"/>
              <a:gd name="connsiteX262" fmla="*/ 1694 w 9601"/>
              <a:gd name="connsiteY262" fmla="*/ 4828 h 10000"/>
              <a:gd name="connsiteX263" fmla="*/ 1586 w 9601"/>
              <a:gd name="connsiteY263" fmla="*/ 5227 h 10000"/>
              <a:gd name="connsiteX264" fmla="*/ 1694 w 9601"/>
              <a:gd name="connsiteY264" fmla="*/ 5329 h 10000"/>
              <a:gd name="connsiteX265" fmla="*/ 1988 w 9601"/>
              <a:gd name="connsiteY265" fmla="*/ 5441 h 10000"/>
              <a:gd name="connsiteX266" fmla="*/ 2002 w 9601"/>
              <a:gd name="connsiteY266" fmla="*/ 5578 h 10000"/>
              <a:gd name="connsiteX267" fmla="*/ 1876 w 9601"/>
              <a:gd name="connsiteY267" fmla="*/ 5690 h 10000"/>
              <a:gd name="connsiteX268" fmla="*/ 1694 w 9601"/>
              <a:gd name="connsiteY268" fmla="*/ 5759 h 10000"/>
              <a:gd name="connsiteX269" fmla="*/ 1453 w 9601"/>
              <a:gd name="connsiteY269" fmla="*/ 5787 h 10000"/>
              <a:gd name="connsiteX270" fmla="*/ 1390 w 9601"/>
              <a:gd name="connsiteY270" fmla="*/ 5826 h 10000"/>
              <a:gd name="connsiteX271" fmla="*/ 1530 w 9601"/>
              <a:gd name="connsiteY271" fmla="*/ 5920 h 10000"/>
              <a:gd name="connsiteX272" fmla="*/ 1611 w 9601"/>
              <a:gd name="connsiteY272" fmla="*/ 6142 h 10000"/>
              <a:gd name="connsiteX273" fmla="*/ 1429 w 9601"/>
              <a:gd name="connsiteY273" fmla="*/ 6333 h 10000"/>
              <a:gd name="connsiteX274" fmla="*/ 1492 w 9601"/>
              <a:gd name="connsiteY274" fmla="*/ 6392 h 10000"/>
              <a:gd name="connsiteX275" fmla="*/ 1434 w 9601"/>
              <a:gd name="connsiteY275" fmla="*/ 6492 h 10000"/>
              <a:gd name="connsiteX276" fmla="*/ 1317 w 9601"/>
              <a:gd name="connsiteY276" fmla="*/ 6561 h 10000"/>
              <a:gd name="connsiteX277" fmla="*/ 854 w 9601"/>
              <a:gd name="connsiteY277" fmla="*/ 6614 h 10000"/>
              <a:gd name="connsiteX278" fmla="*/ 826 w 9601"/>
              <a:gd name="connsiteY278" fmla="*/ 6706 h 10000"/>
              <a:gd name="connsiteX279" fmla="*/ 576 w 9601"/>
              <a:gd name="connsiteY279" fmla="*/ 6843 h 10000"/>
              <a:gd name="connsiteX280" fmla="*/ 609 w 9601"/>
              <a:gd name="connsiteY280" fmla="*/ 7040 h 10000"/>
              <a:gd name="connsiteX281" fmla="*/ 398 w 9601"/>
              <a:gd name="connsiteY281" fmla="*/ 7293 h 10000"/>
              <a:gd name="connsiteX282" fmla="*/ 255 w 9601"/>
              <a:gd name="connsiteY282" fmla="*/ 7323 h 10000"/>
              <a:gd name="connsiteX283" fmla="*/ 196 w 9601"/>
              <a:gd name="connsiteY283" fmla="*/ 7262 h 10000"/>
              <a:gd name="connsiteX284" fmla="*/ 123 w 9601"/>
              <a:gd name="connsiteY284" fmla="*/ 7354 h 10000"/>
              <a:gd name="connsiteX285" fmla="*/ 171 w 9601"/>
              <a:gd name="connsiteY285" fmla="*/ 7197 h 10000"/>
              <a:gd name="connsiteX286" fmla="*/ 141 w 9601"/>
              <a:gd name="connsiteY286" fmla="*/ 7166 h 1000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652 w 10000"/>
              <a:gd name="connsiteY211" fmla="*/ 71 h 10010"/>
              <a:gd name="connsiteX212" fmla="*/ 8713 w 10000"/>
              <a:gd name="connsiteY212" fmla="*/ 96 h 10010"/>
              <a:gd name="connsiteX213" fmla="*/ 8729 w 10000"/>
              <a:gd name="connsiteY213" fmla="*/ 149 h 10010"/>
              <a:gd name="connsiteX214" fmla="*/ 8706 w 10000"/>
              <a:gd name="connsiteY214" fmla="*/ 191 h 10010"/>
              <a:gd name="connsiteX215" fmla="*/ 8652 w 10000"/>
              <a:gd name="connsiteY215" fmla="*/ 218 h 10010"/>
              <a:gd name="connsiteX216" fmla="*/ 8610 w 10000"/>
              <a:gd name="connsiteY216" fmla="*/ 293 h 10010"/>
              <a:gd name="connsiteX217" fmla="*/ 8533 w 10000"/>
              <a:gd name="connsiteY217" fmla="*/ 346 h 10010"/>
              <a:gd name="connsiteX218" fmla="*/ 8550 w 10000"/>
              <a:gd name="connsiteY218" fmla="*/ 397 h 10010"/>
              <a:gd name="connsiteX219" fmla="*/ 8667 w 10000"/>
              <a:gd name="connsiteY219" fmla="*/ 444 h 10010"/>
              <a:gd name="connsiteX220" fmla="*/ 8591 w 10000"/>
              <a:gd name="connsiteY220" fmla="*/ 485 h 10010"/>
              <a:gd name="connsiteX221" fmla="*/ 8477 w 10000"/>
              <a:gd name="connsiteY221" fmla="*/ 495 h 10010"/>
              <a:gd name="connsiteX222" fmla="*/ 7537 w 10000"/>
              <a:gd name="connsiteY222" fmla="*/ 397 h 10010"/>
              <a:gd name="connsiteX223" fmla="*/ 7423 w 10000"/>
              <a:gd name="connsiteY223" fmla="*/ 405 h 10010"/>
              <a:gd name="connsiteX224" fmla="*/ 7359 w 10000"/>
              <a:gd name="connsiteY224" fmla="*/ 424 h 10010"/>
              <a:gd name="connsiteX225" fmla="*/ 7290 w 10000"/>
              <a:gd name="connsiteY225" fmla="*/ 472 h 10010"/>
              <a:gd name="connsiteX226" fmla="*/ 7302 w 10000"/>
              <a:gd name="connsiteY226" fmla="*/ 591 h 10010"/>
              <a:gd name="connsiteX227" fmla="*/ 7199 w 10000"/>
              <a:gd name="connsiteY227" fmla="*/ 745 h 10010"/>
              <a:gd name="connsiteX228" fmla="*/ 7072 w 10000"/>
              <a:gd name="connsiteY228" fmla="*/ 825 h 10010"/>
              <a:gd name="connsiteX229" fmla="*/ 7021 w 10000"/>
              <a:gd name="connsiteY229" fmla="*/ 815 h 10010"/>
              <a:gd name="connsiteX230" fmla="*/ 6903 w 10000"/>
              <a:gd name="connsiteY230" fmla="*/ 749 h 10010"/>
              <a:gd name="connsiteX231" fmla="*/ 6756 w 10000"/>
              <a:gd name="connsiteY231" fmla="*/ 715 h 10010"/>
              <a:gd name="connsiteX232" fmla="*/ 6594 w 10000"/>
              <a:gd name="connsiteY232" fmla="*/ 725 h 10010"/>
              <a:gd name="connsiteX233" fmla="*/ 6223 w 10000"/>
              <a:gd name="connsiteY233" fmla="*/ 876 h 10010"/>
              <a:gd name="connsiteX234" fmla="*/ 6125 w 10000"/>
              <a:gd name="connsiteY234" fmla="*/ 1027 h 10010"/>
              <a:gd name="connsiteX235" fmla="*/ 5845 w 10000"/>
              <a:gd name="connsiteY235" fmla="*/ 1163 h 10010"/>
              <a:gd name="connsiteX236" fmla="*/ 5794 w 10000"/>
              <a:gd name="connsiteY236" fmla="*/ 1232 h 10010"/>
              <a:gd name="connsiteX237" fmla="*/ 5940 w 10000"/>
              <a:gd name="connsiteY237" fmla="*/ 1354 h 10010"/>
              <a:gd name="connsiteX238" fmla="*/ 5956 w 10000"/>
              <a:gd name="connsiteY238" fmla="*/ 1422 h 10010"/>
              <a:gd name="connsiteX239" fmla="*/ 5190 w 10000"/>
              <a:gd name="connsiteY239" fmla="*/ 1823 h 10010"/>
              <a:gd name="connsiteX240" fmla="*/ 4955 w 10000"/>
              <a:gd name="connsiteY240" fmla="*/ 2080 h 10010"/>
              <a:gd name="connsiteX241" fmla="*/ 4702 w 10000"/>
              <a:gd name="connsiteY241" fmla="*/ 2145 h 10010"/>
              <a:gd name="connsiteX242" fmla="*/ 4540 w 10000"/>
              <a:gd name="connsiteY242" fmla="*/ 2141 h 10010"/>
              <a:gd name="connsiteX243" fmla="*/ 4443 w 10000"/>
              <a:gd name="connsiteY243" fmla="*/ 2163 h 10010"/>
              <a:gd name="connsiteX244" fmla="*/ 4178 w 10000"/>
              <a:gd name="connsiteY244" fmla="*/ 2803 h 10010"/>
              <a:gd name="connsiteX245" fmla="*/ 3565 w 10000"/>
              <a:gd name="connsiteY245" fmla="*/ 3176 h 10010"/>
              <a:gd name="connsiteX246" fmla="*/ 3569 w 10000"/>
              <a:gd name="connsiteY246" fmla="*/ 3235 h 10010"/>
              <a:gd name="connsiteX247" fmla="*/ 3841 w 10000"/>
              <a:gd name="connsiteY247" fmla="*/ 3402 h 10010"/>
              <a:gd name="connsiteX248" fmla="*/ 3753 w 10000"/>
              <a:gd name="connsiteY248" fmla="*/ 3583 h 10010"/>
              <a:gd name="connsiteX249" fmla="*/ 3594 w 10000"/>
              <a:gd name="connsiteY249" fmla="*/ 3650 h 10010"/>
              <a:gd name="connsiteX250" fmla="*/ 3118 w 10000"/>
              <a:gd name="connsiteY250" fmla="*/ 3605 h 10010"/>
              <a:gd name="connsiteX251" fmla="*/ 2791 w 10000"/>
              <a:gd name="connsiteY251" fmla="*/ 3630 h 10010"/>
              <a:gd name="connsiteX252" fmla="*/ 2528 w 10000"/>
              <a:gd name="connsiteY252" fmla="*/ 3683 h 10010"/>
              <a:gd name="connsiteX253" fmla="*/ 2102 w 10000"/>
              <a:gd name="connsiteY253" fmla="*/ 3850 h 10010"/>
              <a:gd name="connsiteX254" fmla="*/ 1877 w 10000"/>
              <a:gd name="connsiteY254" fmla="*/ 4052 h 10010"/>
              <a:gd name="connsiteX255" fmla="*/ 1896 w 10000"/>
              <a:gd name="connsiteY255" fmla="*/ 4164 h 10010"/>
              <a:gd name="connsiteX256" fmla="*/ 1975 w 10000"/>
              <a:gd name="connsiteY256" fmla="*/ 4251 h 10010"/>
              <a:gd name="connsiteX257" fmla="*/ 2034 w 10000"/>
              <a:gd name="connsiteY257" fmla="*/ 4286 h 10010"/>
              <a:gd name="connsiteX258" fmla="*/ 1924 w 10000"/>
              <a:gd name="connsiteY258" fmla="*/ 4341 h 10010"/>
              <a:gd name="connsiteX259" fmla="*/ 1683 w 10000"/>
              <a:gd name="connsiteY259" fmla="*/ 4720 h 10010"/>
              <a:gd name="connsiteX260" fmla="*/ 1729 w 10000"/>
              <a:gd name="connsiteY260" fmla="*/ 4742 h 10010"/>
              <a:gd name="connsiteX261" fmla="*/ 1764 w 10000"/>
              <a:gd name="connsiteY261" fmla="*/ 4838 h 10010"/>
              <a:gd name="connsiteX262" fmla="*/ 1652 w 10000"/>
              <a:gd name="connsiteY262" fmla="*/ 5237 h 10010"/>
              <a:gd name="connsiteX263" fmla="*/ 1764 w 10000"/>
              <a:gd name="connsiteY263" fmla="*/ 5339 h 10010"/>
              <a:gd name="connsiteX264" fmla="*/ 2071 w 10000"/>
              <a:gd name="connsiteY264" fmla="*/ 5451 h 10010"/>
              <a:gd name="connsiteX265" fmla="*/ 2085 w 10000"/>
              <a:gd name="connsiteY265" fmla="*/ 5588 h 10010"/>
              <a:gd name="connsiteX266" fmla="*/ 1954 w 10000"/>
              <a:gd name="connsiteY266" fmla="*/ 5700 h 10010"/>
              <a:gd name="connsiteX267" fmla="*/ 1764 w 10000"/>
              <a:gd name="connsiteY267" fmla="*/ 5769 h 10010"/>
              <a:gd name="connsiteX268" fmla="*/ 1513 w 10000"/>
              <a:gd name="connsiteY268" fmla="*/ 5797 h 10010"/>
              <a:gd name="connsiteX269" fmla="*/ 1448 w 10000"/>
              <a:gd name="connsiteY269" fmla="*/ 5836 h 10010"/>
              <a:gd name="connsiteX270" fmla="*/ 1594 w 10000"/>
              <a:gd name="connsiteY270" fmla="*/ 5930 h 10010"/>
              <a:gd name="connsiteX271" fmla="*/ 1678 w 10000"/>
              <a:gd name="connsiteY271" fmla="*/ 6152 h 10010"/>
              <a:gd name="connsiteX272" fmla="*/ 1488 w 10000"/>
              <a:gd name="connsiteY272" fmla="*/ 6343 h 10010"/>
              <a:gd name="connsiteX273" fmla="*/ 1554 w 10000"/>
              <a:gd name="connsiteY273" fmla="*/ 6402 h 10010"/>
              <a:gd name="connsiteX274" fmla="*/ 1494 w 10000"/>
              <a:gd name="connsiteY274" fmla="*/ 6502 h 10010"/>
              <a:gd name="connsiteX275" fmla="*/ 1372 w 10000"/>
              <a:gd name="connsiteY275" fmla="*/ 6571 h 10010"/>
              <a:gd name="connsiteX276" fmla="*/ 889 w 10000"/>
              <a:gd name="connsiteY276" fmla="*/ 6624 h 10010"/>
              <a:gd name="connsiteX277" fmla="*/ 860 w 10000"/>
              <a:gd name="connsiteY277" fmla="*/ 6716 h 10010"/>
              <a:gd name="connsiteX278" fmla="*/ 600 w 10000"/>
              <a:gd name="connsiteY278" fmla="*/ 6853 h 10010"/>
              <a:gd name="connsiteX279" fmla="*/ 634 w 10000"/>
              <a:gd name="connsiteY279" fmla="*/ 7050 h 10010"/>
              <a:gd name="connsiteX280" fmla="*/ 415 w 10000"/>
              <a:gd name="connsiteY280" fmla="*/ 7303 h 10010"/>
              <a:gd name="connsiteX281" fmla="*/ 266 w 10000"/>
              <a:gd name="connsiteY281" fmla="*/ 7333 h 10010"/>
              <a:gd name="connsiteX282" fmla="*/ 204 w 10000"/>
              <a:gd name="connsiteY282" fmla="*/ 7272 h 10010"/>
              <a:gd name="connsiteX283" fmla="*/ 128 w 10000"/>
              <a:gd name="connsiteY283" fmla="*/ 7364 h 10010"/>
              <a:gd name="connsiteX284" fmla="*/ 178 w 10000"/>
              <a:gd name="connsiteY284" fmla="*/ 7207 h 10010"/>
              <a:gd name="connsiteX285" fmla="*/ 147 w 10000"/>
              <a:gd name="connsiteY285"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13 w 10000"/>
              <a:gd name="connsiteY211" fmla="*/ 96 h 10010"/>
              <a:gd name="connsiteX212" fmla="*/ 8729 w 10000"/>
              <a:gd name="connsiteY212" fmla="*/ 149 h 10010"/>
              <a:gd name="connsiteX213" fmla="*/ 8706 w 10000"/>
              <a:gd name="connsiteY213" fmla="*/ 191 h 10010"/>
              <a:gd name="connsiteX214" fmla="*/ 8652 w 10000"/>
              <a:gd name="connsiteY214" fmla="*/ 218 h 10010"/>
              <a:gd name="connsiteX215" fmla="*/ 8610 w 10000"/>
              <a:gd name="connsiteY215" fmla="*/ 293 h 10010"/>
              <a:gd name="connsiteX216" fmla="*/ 8533 w 10000"/>
              <a:gd name="connsiteY216" fmla="*/ 346 h 10010"/>
              <a:gd name="connsiteX217" fmla="*/ 8550 w 10000"/>
              <a:gd name="connsiteY217" fmla="*/ 397 h 10010"/>
              <a:gd name="connsiteX218" fmla="*/ 8667 w 10000"/>
              <a:gd name="connsiteY218" fmla="*/ 444 h 10010"/>
              <a:gd name="connsiteX219" fmla="*/ 8591 w 10000"/>
              <a:gd name="connsiteY219" fmla="*/ 485 h 10010"/>
              <a:gd name="connsiteX220" fmla="*/ 8477 w 10000"/>
              <a:gd name="connsiteY220" fmla="*/ 495 h 10010"/>
              <a:gd name="connsiteX221" fmla="*/ 7537 w 10000"/>
              <a:gd name="connsiteY221" fmla="*/ 397 h 10010"/>
              <a:gd name="connsiteX222" fmla="*/ 7423 w 10000"/>
              <a:gd name="connsiteY222" fmla="*/ 405 h 10010"/>
              <a:gd name="connsiteX223" fmla="*/ 7359 w 10000"/>
              <a:gd name="connsiteY223" fmla="*/ 424 h 10010"/>
              <a:gd name="connsiteX224" fmla="*/ 7290 w 10000"/>
              <a:gd name="connsiteY224" fmla="*/ 472 h 10010"/>
              <a:gd name="connsiteX225" fmla="*/ 7302 w 10000"/>
              <a:gd name="connsiteY225" fmla="*/ 591 h 10010"/>
              <a:gd name="connsiteX226" fmla="*/ 7199 w 10000"/>
              <a:gd name="connsiteY226" fmla="*/ 745 h 10010"/>
              <a:gd name="connsiteX227" fmla="*/ 7072 w 10000"/>
              <a:gd name="connsiteY227" fmla="*/ 825 h 10010"/>
              <a:gd name="connsiteX228" fmla="*/ 7021 w 10000"/>
              <a:gd name="connsiteY228" fmla="*/ 815 h 10010"/>
              <a:gd name="connsiteX229" fmla="*/ 6903 w 10000"/>
              <a:gd name="connsiteY229" fmla="*/ 749 h 10010"/>
              <a:gd name="connsiteX230" fmla="*/ 6756 w 10000"/>
              <a:gd name="connsiteY230" fmla="*/ 715 h 10010"/>
              <a:gd name="connsiteX231" fmla="*/ 6594 w 10000"/>
              <a:gd name="connsiteY231" fmla="*/ 725 h 10010"/>
              <a:gd name="connsiteX232" fmla="*/ 6223 w 10000"/>
              <a:gd name="connsiteY232" fmla="*/ 876 h 10010"/>
              <a:gd name="connsiteX233" fmla="*/ 6125 w 10000"/>
              <a:gd name="connsiteY233" fmla="*/ 1027 h 10010"/>
              <a:gd name="connsiteX234" fmla="*/ 5845 w 10000"/>
              <a:gd name="connsiteY234" fmla="*/ 1163 h 10010"/>
              <a:gd name="connsiteX235" fmla="*/ 5794 w 10000"/>
              <a:gd name="connsiteY235" fmla="*/ 1232 h 10010"/>
              <a:gd name="connsiteX236" fmla="*/ 5940 w 10000"/>
              <a:gd name="connsiteY236" fmla="*/ 1354 h 10010"/>
              <a:gd name="connsiteX237" fmla="*/ 5956 w 10000"/>
              <a:gd name="connsiteY237" fmla="*/ 1422 h 10010"/>
              <a:gd name="connsiteX238" fmla="*/ 5190 w 10000"/>
              <a:gd name="connsiteY238" fmla="*/ 1823 h 10010"/>
              <a:gd name="connsiteX239" fmla="*/ 4955 w 10000"/>
              <a:gd name="connsiteY239" fmla="*/ 2080 h 10010"/>
              <a:gd name="connsiteX240" fmla="*/ 4702 w 10000"/>
              <a:gd name="connsiteY240" fmla="*/ 2145 h 10010"/>
              <a:gd name="connsiteX241" fmla="*/ 4540 w 10000"/>
              <a:gd name="connsiteY241" fmla="*/ 2141 h 10010"/>
              <a:gd name="connsiteX242" fmla="*/ 4443 w 10000"/>
              <a:gd name="connsiteY242" fmla="*/ 2163 h 10010"/>
              <a:gd name="connsiteX243" fmla="*/ 4178 w 10000"/>
              <a:gd name="connsiteY243" fmla="*/ 2803 h 10010"/>
              <a:gd name="connsiteX244" fmla="*/ 3565 w 10000"/>
              <a:gd name="connsiteY244" fmla="*/ 3176 h 10010"/>
              <a:gd name="connsiteX245" fmla="*/ 3569 w 10000"/>
              <a:gd name="connsiteY245" fmla="*/ 3235 h 10010"/>
              <a:gd name="connsiteX246" fmla="*/ 3841 w 10000"/>
              <a:gd name="connsiteY246" fmla="*/ 3402 h 10010"/>
              <a:gd name="connsiteX247" fmla="*/ 3753 w 10000"/>
              <a:gd name="connsiteY247" fmla="*/ 3583 h 10010"/>
              <a:gd name="connsiteX248" fmla="*/ 3594 w 10000"/>
              <a:gd name="connsiteY248" fmla="*/ 3650 h 10010"/>
              <a:gd name="connsiteX249" fmla="*/ 3118 w 10000"/>
              <a:gd name="connsiteY249" fmla="*/ 3605 h 10010"/>
              <a:gd name="connsiteX250" fmla="*/ 2791 w 10000"/>
              <a:gd name="connsiteY250" fmla="*/ 3630 h 10010"/>
              <a:gd name="connsiteX251" fmla="*/ 2528 w 10000"/>
              <a:gd name="connsiteY251" fmla="*/ 3683 h 10010"/>
              <a:gd name="connsiteX252" fmla="*/ 2102 w 10000"/>
              <a:gd name="connsiteY252" fmla="*/ 3850 h 10010"/>
              <a:gd name="connsiteX253" fmla="*/ 1877 w 10000"/>
              <a:gd name="connsiteY253" fmla="*/ 4052 h 10010"/>
              <a:gd name="connsiteX254" fmla="*/ 1896 w 10000"/>
              <a:gd name="connsiteY254" fmla="*/ 4164 h 10010"/>
              <a:gd name="connsiteX255" fmla="*/ 1975 w 10000"/>
              <a:gd name="connsiteY255" fmla="*/ 4251 h 10010"/>
              <a:gd name="connsiteX256" fmla="*/ 2034 w 10000"/>
              <a:gd name="connsiteY256" fmla="*/ 4286 h 10010"/>
              <a:gd name="connsiteX257" fmla="*/ 1924 w 10000"/>
              <a:gd name="connsiteY257" fmla="*/ 4341 h 10010"/>
              <a:gd name="connsiteX258" fmla="*/ 1683 w 10000"/>
              <a:gd name="connsiteY258" fmla="*/ 4720 h 10010"/>
              <a:gd name="connsiteX259" fmla="*/ 1729 w 10000"/>
              <a:gd name="connsiteY259" fmla="*/ 4742 h 10010"/>
              <a:gd name="connsiteX260" fmla="*/ 1764 w 10000"/>
              <a:gd name="connsiteY260" fmla="*/ 4838 h 10010"/>
              <a:gd name="connsiteX261" fmla="*/ 1652 w 10000"/>
              <a:gd name="connsiteY261" fmla="*/ 5237 h 10010"/>
              <a:gd name="connsiteX262" fmla="*/ 1764 w 10000"/>
              <a:gd name="connsiteY262" fmla="*/ 5339 h 10010"/>
              <a:gd name="connsiteX263" fmla="*/ 2071 w 10000"/>
              <a:gd name="connsiteY263" fmla="*/ 5451 h 10010"/>
              <a:gd name="connsiteX264" fmla="*/ 2085 w 10000"/>
              <a:gd name="connsiteY264" fmla="*/ 5588 h 10010"/>
              <a:gd name="connsiteX265" fmla="*/ 1954 w 10000"/>
              <a:gd name="connsiteY265" fmla="*/ 5700 h 10010"/>
              <a:gd name="connsiteX266" fmla="*/ 1764 w 10000"/>
              <a:gd name="connsiteY266" fmla="*/ 5769 h 10010"/>
              <a:gd name="connsiteX267" fmla="*/ 1513 w 10000"/>
              <a:gd name="connsiteY267" fmla="*/ 5797 h 10010"/>
              <a:gd name="connsiteX268" fmla="*/ 1448 w 10000"/>
              <a:gd name="connsiteY268" fmla="*/ 5836 h 10010"/>
              <a:gd name="connsiteX269" fmla="*/ 1594 w 10000"/>
              <a:gd name="connsiteY269" fmla="*/ 5930 h 10010"/>
              <a:gd name="connsiteX270" fmla="*/ 1678 w 10000"/>
              <a:gd name="connsiteY270" fmla="*/ 6152 h 10010"/>
              <a:gd name="connsiteX271" fmla="*/ 1488 w 10000"/>
              <a:gd name="connsiteY271" fmla="*/ 6343 h 10010"/>
              <a:gd name="connsiteX272" fmla="*/ 1554 w 10000"/>
              <a:gd name="connsiteY272" fmla="*/ 6402 h 10010"/>
              <a:gd name="connsiteX273" fmla="*/ 1494 w 10000"/>
              <a:gd name="connsiteY273" fmla="*/ 6502 h 10010"/>
              <a:gd name="connsiteX274" fmla="*/ 1372 w 10000"/>
              <a:gd name="connsiteY274" fmla="*/ 6571 h 10010"/>
              <a:gd name="connsiteX275" fmla="*/ 889 w 10000"/>
              <a:gd name="connsiteY275" fmla="*/ 6624 h 10010"/>
              <a:gd name="connsiteX276" fmla="*/ 860 w 10000"/>
              <a:gd name="connsiteY276" fmla="*/ 6716 h 10010"/>
              <a:gd name="connsiteX277" fmla="*/ 600 w 10000"/>
              <a:gd name="connsiteY277" fmla="*/ 6853 h 10010"/>
              <a:gd name="connsiteX278" fmla="*/ 634 w 10000"/>
              <a:gd name="connsiteY278" fmla="*/ 7050 h 10010"/>
              <a:gd name="connsiteX279" fmla="*/ 415 w 10000"/>
              <a:gd name="connsiteY279" fmla="*/ 7303 h 10010"/>
              <a:gd name="connsiteX280" fmla="*/ 266 w 10000"/>
              <a:gd name="connsiteY280" fmla="*/ 7333 h 10010"/>
              <a:gd name="connsiteX281" fmla="*/ 204 w 10000"/>
              <a:gd name="connsiteY281" fmla="*/ 7272 h 10010"/>
              <a:gd name="connsiteX282" fmla="*/ 128 w 10000"/>
              <a:gd name="connsiteY282" fmla="*/ 7364 h 10010"/>
              <a:gd name="connsiteX283" fmla="*/ 178 w 10000"/>
              <a:gd name="connsiteY283" fmla="*/ 7207 h 10010"/>
              <a:gd name="connsiteX284" fmla="*/ 147 w 10000"/>
              <a:gd name="connsiteY284"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29 w 10000"/>
              <a:gd name="connsiteY211" fmla="*/ 149 h 10010"/>
              <a:gd name="connsiteX212" fmla="*/ 8706 w 10000"/>
              <a:gd name="connsiteY212" fmla="*/ 191 h 10010"/>
              <a:gd name="connsiteX213" fmla="*/ 8652 w 10000"/>
              <a:gd name="connsiteY213" fmla="*/ 218 h 10010"/>
              <a:gd name="connsiteX214" fmla="*/ 8610 w 10000"/>
              <a:gd name="connsiteY214" fmla="*/ 293 h 10010"/>
              <a:gd name="connsiteX215" fmla="*/ 8533 w 10000"/>
              <a:gd name="connsiteY215" fmla="*/ 346 h 10010"/>
              <a:gd name="connsiteX216" fmla="*/ 8550 w 10000"/>
              <a:gd name="connsiteY216" fmla="*/ 397 h 10010"/>
              <a:gd name="connsiteX217" fmla="*/ 8667 w 10000"/>
              <a:gd name="connsiteY217" fmla="*/ 444 h 10010"/>
              <a:gd name="connsiteX218" fmla="*/ 8591 w 10000"/>
              <a:gd name="connsiteY218" fmla="*/ 485 h 10010"/>
              <a:gd name="connsiteX219" fmla="*/ 8477 w 10000"/>
              <a:gd name="connsiteY219" fmla="*/ 495 h 10010"/>
              <a:gd name="connsiteX220" fmla="*/ 7537 w 10000"/>
              <a:gd name="connsiteY220" fmla="*/ 397 h 10010"/>
              <a:gd name="connsiteX221" fmla="*/ 7423 w 10000"/>
              <a:gd name="connsiteY221" fmla="*/ 405 h 10010"/>
              <a:gd name="connsiteX222" fmla="*/ 7359 w 10000"/>
              <a:gd name="connsiteY222" fmla="*/ 424 h 10010"/>
              <a:gd name="connsiteX223" fmla="*/ 7290 w 10000"/>
              <a:gd name="connsiteY223" fmla="*/ 472 h 10010"/>
              <a:gd name="connsiteX224" fmla="*/ 7302 w 10000"/>
              <a:gd name="connsiteY224" fmla="*/ 591 h 10010"/>
              <a:gd name="connsiteX225" fmla="*/ 7199 w 10000"/>
              <a:gd name="connsiteY225" fmla="*/ 745 h 10010"/>
              <a:gd name="connsiteX226" fmla="*/ 7072 w 10000"/>
              <a:gd name="connsiteY226" fmla="*/ 825 h 10010"/>
              <a:gd name="connsiteX227" fmla="*/ 7021 w 10000"/>
              <a:gd name="connsiteY227" fmla="*/ 815 h 10010"/>
              <a:gd name="connsiteX228" fmla="*/ 6903 w 10000"/>
              <a:gd name="connsiteY228" fmla="*/ 749 h 10010"/>
              <a:gd name="connsiteX229" fmla="*/ 6756 w 10000"/>
              <a:gd name="connsiteY229" fmla="*/ 715 h 10010"/>
              <a:gd name="connsiteX230" fmla="*/ 6594 w 10000"/>
              <a:gd name="connsiteY230" fmla="*/ 725 h 10010"/>
              <a:gd name="connsiteX231" fmla="*/ 6223 w 10000"/>
              <a:gd name="connsiteY231" fmla="*/ 876 h 10010"/>
              <a:gd name="connsiteX232" fmla="*/ 6125 w 10000"/>
              <a:gd name="connsiteY232" fmla="*/ 1027 h 10010"/>
              <a:gd name="connsiteX233" fmla="*/ 5845 w 10000"/>
              <a:gd name="connsiteY233" fmla="*/ 1163 h 10010"/>
              <a:gd name="connsiteX234" fmla="*/ 5794 w 10000"/>
              <a:gd name="connsiteY234" fmla="*/ 1232 h 10010"/>
              <a:gd name="connsiteX235" fmla="*/ 5940 w 10000"/>
              <a:gd name="connsiteY235" fmla="*/ 1354 h 10010"/>
              <a:gd name="connsiteX236" fmla="*/ 5956 w 10000"/>
              <a:gd name="connsiteY236" fmla="*/ 1422 h 10010"/>
              <a:gd name="connsiteX237" fmla="*/ 5190 w 10000"/>
              <a:gd name="connsiteY237" fmla="*/ 1823 h 10010"/>
              <a:gd name="connsiteX238" fmla="*/ 4955 w 10000"/>
              <a:gd name="connsiteY238" fmla="*/ 2080 h 10010"/>
              <a:gd name="connsiteX239" fmla="*/ 4702 w 10000"/>
              <a:gd name="connsiteY239" fmla="*/ 2145 h 10010"/>
              <a:gd name="connsiteX240" fmla="*/ 4540 w 10000"/>
              <a:gd name="connsiteY240" fmla="*/ 2141 h 10010"/>
              <a:gd name="connsiteX241" fmla="*/ 4443 w 10000"/>
              <a:gd name="connsiteY241" fmla="*/ 2163 h 10010"/>
              <a:gd name="connsiteX242" fmla="*/ 4178 w 10000"/>
              <a:gd name="connsiteY242" fmla="*/ 2803 h 10010"/>
              <a:gd name="connsiteX243" fmla="*/ 3565 w 10000"/>
              <a:gd name="connsiteY243" fmla="*/ 3176 h 10010"/>
              <a:gd name="connsiteX244" fmla="*/ 3569 w 10000"/>
              <a:gd name="connsiteY244" fmla="*/ 3235 h 10010"/>
              <a:gd name="connsiteX245" fmla="*/ 3841 w 10000"/>
              <a:gd name="connsiteY245" fmla="*/ 3402 h 10010"/>
              <a:gd name="connsiteX246" fmla="*/ 3753 w 10000"/>
              <a:gd name="connsiteY246" fmla="*/ 3583 h 10010"/>
              <a:gd name="connsiteX247" fmla="*/ 3594 w 10000"/>
              <a:gd name="connsiteY247" fmla="*/ 3650 h 10010"/>
              <a:gd name="connsiteX248" fmla="*/ 3118 w 10000"/>
              <a:gd name="connsiteY248" fmla="*/ 3605 h 10010"/>
              <a:gd name="connsiteX249" fmla="*/ 2791 w 10000"/>
              <a:gd name="connsiteY249" fmla="*/ 3630 h 10010"/>
              <a:gd name="connsiteX250" fmla="*/ 2528 w 10000"/>
              <a:gd name="connsiteY250" fmla="*/ 3683 h 10010"/>
              <a:gd name="connsiteX251" fmla="*/ 2102 w 10000"/>
              <a:gd name="connsiteY251" fmla="*/ 3850 h 10010"/>
              <a:gd name="connsiteX252" fmla="*/ 1877 w 10000"/>
              <a:gd name="connsiteY252" fmla="*/ 4052 h 10010"/>
              <a:gd name="connsiteX253" fmla="*/ 1896 w 10000"/>
              <a:gd name="connsiteY253" fmla="*/ 4164 h 10010"/>
              <a:gd name="connsiteX254" fmla="*/ 1975 w 10000"/>
              <a:gd name="connsiteY254" fmla="*/ 4251 h 10010"/>
              <a:gd name="connsiteX255" fmla="*/ 2034 w 10000"/>
              <a:gd name="connsiteY255" fmla="*/ 4286 h 10010"/>
              <a:gd name="connsiteX256" fmla="*/ 1924 w 10000"/>
              <a:gd name="connsiteY256" fmla="*/ 4341 h 10010"/>
              <a:gd name="connsiteX257" fmla="*/ 1683 w 10000"/>
              <a:gd name="connsiteY257" fmla="*/ 4720 h 10010"/>
              <a:gd name="connsiteX258" fmla="*/ 1729 w 10000"/>
              <a:gd name="connsiteY258" fmla="*/ 4742 h 10010"/>
              <a:gd name="connsiteX259" fmla="*/ 1764 w 10000"/>
              <a:gd name="connsiteY259" fmla="*/ 4838 h 10010"/>
              <a:gd name="connsiteX260" fmla="*/ 1652 w 10000"/>
              <a:gd name="connsiteY260" fmla="*/ 5237 h 10010"/>
              <a:gd name="connsiteX261" fmla="*/ 1764 w 10000"/>
              <a:gd name="connsiteY261" fmla="*/ 5339 h 10010"/>
              <a:gd name="connsiteX262" fmla="*/ 2071 w 10000"/>
              <a:gd name="connsiteY262" fmla="*/ 5451 h 10010"/>
              <a:gd name="connsiteX263" fmla="*/ 2085 w 10000"/>
              <a:gd name="connsiteY263" fmla="*/ 5588 h 10010"/>
              <a:gd name="connsiteX264" fmla="*/ 1954 w 10000"/>
              <a:gd name="connsiteY264" fmla="*/ 5700 h 10010"/>
              <a:gd name="connsiteX265" fmla="*/ 1764 w 10000"/>
              <a:gd name="connsiteY265" fmla="*/ 5769 h 10010"/>
              <a:gd name="connsiteX266" fmla="*/ 1513 w 10000"/>
              <a:gd name="connsiteY266" fmla="*/ 5797 h 10010"/>
              <a:gd name="connsiteX267" fmla="*/ 1448 w 10000"/>
              <a:gd name="connsiteY267" fmla="*/ 5836 h 10010"/>
              <a:gd name="connsiteX268" fmla="*/ 1594 w 10000"/>
              <a:gd name="connsiteY268" fmla="*/ 5930 h 10010"/>
              <a:gd name="connsiteX269" fmla="*/ 1678 w 10000"/>
              <a:gd name="connsiteY269" fmla="*/ 6152 h 10010"/>
              <a:gd name="connsiteX270" fmla="*/ 1488 w 10000"/>
              <a:gd name="connsiteY270" fmla="*/ 6343 h 10010"/>
              <a:gd name="connsiteX271" fmla="*/ 1554 w 10000"/>
              <a:gd name="connsiteY271" fmla="*/ 6402 h 10010"/>
              <a:gd name="connsiteX272" fmla="*/ 1494 w 10000"/>
              <a:gd name="connsiteY272" fmla="*/ 6502 h 10010"/>
              <a:gd name="connsiteX273" fmla="*/ 1372 w 10000"/>
              <a:gd name="connsiteY273" fmla="*/ 6571 h 10010"/>
              <a:gd name="connsiteX274" fmla="*/ 889 w 10000"/>
              <a:gd name="connsiteY274" fmla="*/ 6624 h 10010"/>
              <a:gd name="connsiteX275" fmla="*/ 860 w 10000"/>
              <a:gd name="connsiteY275" fmla="*/ 6716 h 10010"/>
              <a:gd name="connsiteX276" fmla="*/ 600 w 10000"/>
              <a:gd name="connsiteY276" fmla="*/ 6853 h 10010"/>
              <a:gd name="connsiteX277" fmla="*/ 634 w 10000"/>
              <a:gd name="connsiteY277" fmla="*/ 7050 h 10010"/>
              <a:gd name="connsiteX278" fmla="*/ 415 w 10000"/>
              <a:gd name="connsiteY278" fmla="*/ 7303 h 10010"/>
              <a:gd name="connsiteX279" fmla="*/ 266 w 10000"/>
              <a:gd name="connsiteY279" fmla="*/ 7333 h 10010"/>
              <a:gd name="connsiteX280" fmla="*/ 204 w 10000"/>
              <a:gd name="connsiteY280" fmla="*/ 7272 h 10010"/>
              <a:gd name="connsiteX281" fmla="*/ 128 w 10000"/>
              <a:gd name="connsiteY281" fmla="*/ 7364 h 10010"/>
              <a:gd name="connsiteX282" fmla="*/ 178 w 10000"/>
              <a:gd name="connsiteY282" fmla="*/ 7207 h 10010"/>
              <a:gd name="connsiteX283" fmla="*/ 147 w 10000"/>
              <a:gd name="connsiteY283"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06 w 10000"/>
              <a:gd name="connsiteY211" fmla="*/ 191 h 10010"/>
              <a:gd name="connsiteX212" fmla="*/ 8652 w 10000"/>
              <a:gd name="connsiteY212" fmla="*/ 218 h 10010"/>
              <a:gd name="connsiteX213" fmla="*/ 8610 w 10000"/>
              <a:gd name="connsiteY213" fmla="*/ 293 h 10010"/>
              <a:gd name="connsiteX214" fmla="*/ 8533 w 10000"/>
              <a:gd name="connsiteY214" fmla="*/ 346 h 10010"/>
              <a:gd name="connsiteX215" fmla="*/ 8550 w 10000"/>
              <a:gd name="connsiteY215" fmla="*/ 397 h 10010"/>
              <a:gd name="connsiteX216" fmla="*/ 8667 w 10000"/>
              <a:gd name="connsiteY216" fmla="*/ 444 h 10010"/>
              <a:gd name="connsiteX217" fmla="*/ 8591 w 10000"/>
              <a:gd name="connsiteY217" fmla="*/ 485 h 10010"/>
              <a:gd name="connsiteX218" fmla="*/ 8477 w 10000"/>
              <a:gd name="connsiteY218" fmla="*/ 495 h 10010"/>
              <a:gd name="connsiteX219" fmla="*/ 7537 w 10000"/>
              <a:gd name="connsiteY219" fmla="*/ 397 h 10010"/>
              <a:gd name="connsiteX220" fmla="*/ 7423 w 10000"/>
              <a:gd name="connsiteY220" fmla="*/ 405 h 10010"/>
              <a:gd name="connsiteX221" fmla="*/ 7359 w 10000"/>
              <a:gd name="connsiteY221" fmla="*/ 424 h 10010"/>
              <a:gd name="connsiteX222" fmla="*/ 7290 w 10000"/>
              <a:gd name="connsiteY222" fmla="*/ 472 h 10010"/>
              <a:gd name="connsiteX223" fmla="*/ 7302 w 10000"/>
              <a:gd name="connsiteY223" fmla="*/ 591 h 10010"/>
              <a:gd name="connsiteX224" fmla="*/ 7199 w 10000"/>
              <a:gd name="connsiteY224" fmla="*/ 745 h 10010"/>
              <a:gd name="connsiteX225" fmla="*/ 7072 w 10000"/>
              <a:gd name="connsiteY225" fmla="*/ 825 h 10010"/>
              <a:gd name="connsiteX226" fmla="*/ 7021 w 10000"/>
              <a:gd name="connsiteY226" fmla="*/ 815 h 10010"/>
              <a:gd name="connsiteX227" fmla="*/ 6903 w 10000"/>
              <a:gd name="connsiteY227" fmla="*/ 749 h 10010"/>
              <a:gd name="connsiteX228" fmla="*/ 6756 w 10000"/>
              <a:gd name="connsiteY228" fmla="*/ 715 h 10010"/>
              <a:gd name="connsiteX229" fmla="*/ 6594 w 10000"/>
              <a:gd name="connsiteY229" fmla="*/ 725 h 10010"/>
              <a:gd name="connsiteX230" fmla="*/ 6223 w 10000"/>
              <a:gd name="connsiteY230" fmla="*/ 876 h 10010"/>
              <a:gd name="connsiteX231" fmla="*/ 6125 w 10000"/>
              <a:gd name="connsiteY231" fmla="*/ 1027 h 10010"/>
              <a:gd name="connsiteX232" fmla="*/ 5845 w 10000"/>
              <a:gd name="connsiteY232" fmla="*/ 1163 h 10010"/>
              <a:gd name="connsiteX233" fmla="*/ 5794 w 10000"/>
              <a:gd name="connsiteY233" fmla="*/ 1232 h 10010"/>
              <a:gd name="connsiteX234" fmla="*/ 5940 w 10000"/>
              <a:gd name="connsiteY234" fmla="*/ 1354 h 10010"/>
              <a:gd name="connsiteX235" fmla="*/ 5956 w 10000"/>
              <a:gd name="connsiteY235" fmla="*/ 1422 h 10010"/>
              <a:gd name="connsiteX236" fmla="*/ 5190 w 10000"/>
              <a:gd name="connsiteY236" fmla="*/ 1823 h 10010"/>
              <a:gd name="connsiteX237" fmla="*/ 4955 w 10000"/>
              <a:gd name="connsiteY237" fmla="*/ 2080 h 10010"/>
              <a:gd name="connsiteX238" fmla="*/ 4702 w 10000"/>
              <a:gd name="connsiteY238" fmla="*/ 2145 h 10010"/>
              <a:gd name="connsiteX239" fmla="*/ 4540 w 10000"/>
              <a:gd name="connsiteY239" fmla="*/ 2141 h 10010"/>
              <a:gd name="connsiteX240" fmla="*/ 4443 w 10000"/>
              <a:gd name="connsiteY240" fmla="*/ 2163 h 10010"/>
              <a:gd name="connsiteX241" fmla="*/ 4178 w 10000"/>
              <a:gd name="connsiteY241" fmla="*/ 2803 h 10010"/>
              <a:gd name="connsiteX242" fmla="*/ 3565 w 10000"/>
              <a:gd name="connsiteY242" fmla="*/ 3176 h 10010"/>
              <a:gd name="connsiteX243" fmla="*/ 3569 w 10000"/>
              <a:gd name="connsiteY243" fmla="*/ 3235 h 10010"/>
              <a:gd name="connsiteX244" fmla="*/ 3841 w 10000"/>
              <a:gd name="connsiteY244" fmla="*/ 3402 h 10010"/>
              <a:gd name="connsiteX245" fmla="*/ 3753 w 10000"/>
              <a:gd name="connsiteY245" fmla="*/ 3583 h 10010"/>
              <a:gd name="connsiteX246" fmla="*/ 3594 w 10000"/>
              <a:gd name="connsiteY246" fmla="*/ 3650 h 10010"/>
              <a:gd name="connsiteX247" fmla="*/ 3118 w 10000"/>
              <a:gd name="connsiteY247" fmla="*/ 3605 h 10010"/>
              <a:gd name="connsiteX248" fmla="*/ 2791 w 10000"/>
              <a:gd name="connsiteY248" fmla="*/ 3630 h 10010"/>
              <a:gd name="connsiteX249" fmla="*/ 2528 w 10000"/>
              <a:gd name="connsiteY249" fmla="*/ 3683 h 10010"/>
              <a:gd name="connsiteX250" fmla="*/ 2102 w 10000"/>
              <a:gd name="connsiteY250" fmla="*/ 3850 h 10010"/>
              <a:gd name="connsiteX251" fmla="*/ 1877 w 10000"/>
              <a:gd name="connsiteY251" fmla="*/ 4052 h 10010"/>
              <a:gd name="connsiteX252" fmla="*/ 1896 w 10000"/>
              <a:gd name="connsiteY252" fmla="*/ 4164 h 10010"/>
              <a:gd name="connsiteX253" fmla="*/ 1975 w 10000"/>
              <a:gd name="connsiteY253" fmla="*/ 4251 h 10010"/>
              <a:gd name="connsiteX254" fmla="*/ 2034 w 10000"/>
              <a:gd name="connsiteY254" fmla="*/ 4286 h 10010"/>
              <a:gd name="connsiteX255" fmla="*/ 1924 w 10000"/>
              <a:gd name="connsiteY255" fmla="*/ 4341 h 10010"/>
              <a:gd name="connsiteX256" fmla="*/ 1683 w 10000"/>
              <a:gd name="connsiteY256" fmla="*/ 4720 h 10010"/>
              <a:gd name="connsiteX257" fmla="*/ 1729 w 10000"/>
              <a:gd name="connsiteY257" fmla="*/ 4742 h 10010"/>
              <a:gd name="connsiteX258" fmla="*/ 1764 w 10000"/>
              <a:gd name="connsiteY258" fmla="*/ 4838 h 10010"/>
              <a:gd name="connsiteX259" fmla="*/ 1652 w 10000"/>
              <a:gd name="connsiteY259" fmla="*/ 5237 h 10010"/>
              <a:gd name="connsiteX260" fmla="*/ 1764 w 10000"/>
              <a:gd name="connsiteY260" fmla="*/ 5339 h 10010"/>
              <a:gd name="connsiteX261" fmla="*/ 2071 w 10000"/>
              <a:gd name="connsiteY261" fmla="*/ 5451 h 10010"/>
              <a:gd name="connsiteX262" fmla="*/ 2085 w 10000"/>
              <a:gd name="connsiteY262" fmla="*/ 5588 h 10010"/>
              <a:gd name="connsiteX263" fmla="*/ 1954 w 10000"/>
              <a:gd name="connsiteY263" fmla="*/ 5700 h 10010"/>
              <a:gd name="connsiteX264" fmla="*/ 1764 w 10000"/>
              <a:gd name="connsiteY264" fmla="*/ 5769 h 10010"/>
              <a:gd name="connsiteX265" fmla="*/ 1513 w 10000"/>
              <a:gd name="connsiteY265" fmla="*/ 5797 h 10010"/>
              <a:gd name="connsiteX266" fmla="*/ 1448 w 10000"/>
              <a:gd name="connsiteY266" fmla="*/ 5836 h 10010"/>
              <a:gd name="connsiteX267" fmla="*/ 1594 w 10000"/>
              <a:gd name="connsiteY267" fmla="*/ 5930 h 10010"/>
              <a:gd name="connsiteX268" fmla="*/ 1678 w 10000"/>
              <a:gd name="connsiteY268" fmla="*/ 6152 h 10010"/>
              <a:gd name="connsiteX269" fmla="*/ 1488 w 10000"/>
              <a:gd name="connsiteY269" fmla="*/ 6343 h 10010"/>
              <a:gd name="connsiteX270" fmla="*/ 1554 w 10000"/>
              <a:gd name="connsiteY270" fmla="*/ 6402 h 10010"/>
              <a:gd name="connsiteX271" fmla="*/ 1494 w 10000"/>
              <a:gd name="connsiteY271" fmla="*/ 6502 h 10010"/>
              <a:gd name="connsiteX272" fmla="*/ 1372 w 10000"/>
              <a:gd name="connsiteY272" fmla="*/ 6571 h 10010"/>
              <a:gd name="connsiteX273" fmla="*/ 889 w 10000"/>
              <a:gd name="connsiteY273" fmla="*/ 6624 h 10010"/>
              <a:gd name="connsiteX274" fmla="*/ 860 w 10000"/>
              <a:gd name="connsiteY274" fmla="*/ 6716 h 10010"/>
              <a:gd name="connsiteX275" fmla="*/ 600 w 10000"/>
              <a:gd name="connsiteY275" fmla="*/ 6853 h 10010"/>
              <a:gd name="connsiteX276" fmla="*/ 634 w 10000"/>
              <a:gd name="connsiteY276" fmla="*/ 7050 h 10010"/>
              <a:gd name="connsiteX277" fmla="*/ 415 w 10000"/>
              <a:gd name="connsiteY277" fmla="*/ 7303 h 10010"/>
              <a:gd name="connsiteX278" fmla="*/ 266 w 10000"/>
              <a:gd name="connsiteY278" fmla="*/ 7333 h 10010"/>
              <a:gd name="connsiteX279" fmla="*/ 204 w 10000"/>
              <a:gd name="connsiteY279" fmla="*/ 7272 h 10010"/>
              <a:gd name="connsiteX280" fmla="*/ 128 w 10000"/>
              <a:gd name="connsiteY280" fmla="*/ 7364 h 10010"/>
              <a:gd name="connsiteX281" fmla="*/ 178 w 10000"/>
              <a:gd name="connsiteY281" fmla="*/ 7207 h 10010"/>
              <a:gd name="connsiteX282" fmla="*/ 147 w 10000"/>
              <a:gd name="connsiteY282"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706 w 10000"/>
              <a:gd name="connsiteY210" fmla="*/ 191 h 10010"/>
              <a:gd name="connsiteX211" fmla="*/ 8652 w 10000"/>
              <a:gd name="connsiteY211" fmla="*/ 218 h 10010"/>
              <a:gd name="connsiteX212" fmla="*/ 8610 w 10000"/>
              <a:gd name="connsiteY212" fmla="*/ 293 h 10010"/>
              <a:gd name="connsiteX213" fmla="*/ 8533 w 10000"/>
              <a:gd name="connsiteY213" fmla="*/ 346 h 10010"/>
              <a:gd name="connsiteX214" fmla="*/ 8550 w 10000"/>
              <a:gd name="connsiteY214" fmla="*/ 397 h 10010"/>
              <a:gd name="connsiteX215" fmla="*/ 8667 w 10000"/>
              <a:gd name="connsiteY215" fmla="*/ 444 h 10010"/>
              <a:gd name="connsiteX216" fmla="*/ 8591 w 10000"/>
              <a:gd name="connsiteY216" fmla="*/ 485 h 10010"/>
              <a:gd name="connsiteX217" fmla="*/ 8477 w 10000"/>
              <a:gd name="connsiteY217" fmla="*/ 495 h 10010"/>
              <a:gd name="connsiteX218" fmla="*/ 7537 w 10000"/>
              <a:gd name="connsiteY218" fmla="*/ 397 h 10010"/>
              <a:gd name="connsiteX219" fmla="*/ 7423 w 10000"/>
              <a:gd name="connsiteY219" fmla="*/ 405 h 10010"/>
              <a:gd name="connsiteX220" fmla="*/ 7359 w 10000"/>
              <a:gd name="connsiteY220" fmla="*/ 424 h 10010"/>
              <a:gd name="connsiteX221" fmla="*/ 7290 w 10000"/>
              <a:gd name="connsiteY221" fmla="*/ 472 h 10010"/>
              <a:gd name="connsiteX222" fmla="*/ 7302 w 10000"/>
              <a:gd name="connsiteY222" fmla="*/ 591 h 10010"/>
              <a:gd name="connsiteX223" fmla="*/ 7199 w 10000"/>
              <a:gd name="connsiteY223" fmla="*/ 745 h 10010"/>
              <a:gd name="connsiteX224" fmla="*/ 7072 w 10000"/>
              <a:gd name="connsiteY224" fmla="*/ 825 h 10010"/>
              <a:gd name="connsiteX225" fmla="*/ 7021 w 10000"/>
              <a:gd name="connsiteY225" fmla="*/ 815 h 10010"/>
              <a:gd name="connsiteX226" fmla="*/ 6903 w 10000"/>
              <a:gd name="connsiteY226" fmla="*/ 749 h 10010"/>
              <a:gd name="connsiteX227" fmla="*/ 6756 w 10000"/>
              <a:gd name="connsiteY227" fmla="*/ 715 h 10010"/>
              <a:gd name="connsiteX228" fmla="*/ 6594 w 10000"/>
              <a:gd name="connsiteY228" fmla="*/ 725 h 10010"/>
              <a:gd name="connsiteX229" fmla="*/ 6223 w 10000"/>
              <a:gd name="connsiteY229" fmla="*/ 876 h 10010"/>
              <a:gd name="connsiteX230" fmla="*/ 6125 w 10000"/>
              <a:gd name="connsiteY230" fmla="*/ 1027 h 10010"/>
              <a:gd name="connsiteX231" fmla="*/ 5845 w 10000"/>
              <a:gd name="connsiteY231" fmla="*/ 1163 h 10010"/>
              <a:gd name="connsiteX232" fmla="*/ 5794 w 10000"/>
              <a:gd name="connsiteY232" fmla="*/ 1232 h 10010"/>
              <a:gd name="connsiteX233" fmla="*/ 5940 w 10000"/>
              <a:gd name="connsiteY233" fmla="*/ 1354 h 10010"/>
              <a:gd name="connsiteX234" fmla="*/ 5956 w 10000"/>
              <a:gd name="connsiteY234" fmla="*/ 1422 h 10010"/>
              <a:gd name="connsiteX235" fmla="*/ 5190 w 10000"/>
              <a:gd name="connsiteY235" fmla="*/ 1823 h 10010"/>
              <a:gd name="connsiteX236" fmla="*/ 4955 w 10000"/>
              <a:gd name="connsiteY236" fmla="*/ 2080 h 10010"/>
              <a:gd name="connsiteX237" fmla="*/ 4702 w 10000"/>
              <a:gd name="connsiteY237" fmla="*/ 2145 h 10010"/>
              <a:gd name="connsiteX238" fmla="*/ 4540 w 10000"/>
              <a:gd name="connsiteY238" fmla="*/ 2141 h 10010"/>
              <a:gd name="connsiteX239" fmla="*/ 4443 w 10000"/>
              <a:gd name="connsiteY239" fmla="*/ 2163 h 10010"/>
              <a:gd name="connsiteX240" fmla="*/ 4178 w 10000"/>
              <a:gd name="connsiteY240" fmla="*/ 2803 h 10010"/>
              <a:gd name="connsiteX241" fmla="*/ 3565 w 10000"/>
              <a:gd name="connsiteY241" fmla="*/ 3176 h 10010"/>
              <a:gd name="connsiteX242" fmla="*/ 3569 w 10000"/>
              <a:gd name="connsiteY242" fmla="*/ 3235 h 10010"/>
              <a:gd name="connsiteX243" fmla="*/ 3841 w 10000"/>
              <a:gd name="connsiteY243" fmla="*/ 3402 h 10010"/>
              <a:gd name="connsiteX244" fmla="*/ 3753 w 10000"/>
              <a:gd name="connsiteY244" fmla="*/ 3583 h 10010"/>
              <a:gd name="connsiteX245" fmla="*/ 3594 w 10000"/>
              <a:gd name="connsiteY245" fmla="*/ 3650 h 10010"/>
              <a:gd name="connsiteX246" fmla="*/ 3118 w 10000"/>
              <a:gd name="connsiteY246" fmla="*/ 3605 h 10010"/>
              <a:gd name="connsiteX247" fmla="*/ 2791 w 10000"/>
              <a:gd name="connsiteY247" fmla="*/ 3630 h 10010"/>
              <a:gd name="connsiteX248" fmla="*/ 2528 w 10000"/>
              <a:gd name="connsiteY248" fmla="*/ 3683 h 10010"/>
              <a:gd name="connsiteX249" fmla="*/ 2102 w 10000"/>
              <a:gd name="connsiteY249" fmla="*/ 3850 h 10010"/>
              <a:gd name="connsiteX250" fmla="*/ 1877 w 10000"/>
              <a:gd name="connsiteY250" fmla="*/ 4052 h 10010"/>
              <a:gd name="connsiteX251" fmla="*/ 1896 w 10000"/>
              <a:gd name="connsiteY251" fmla="*/ 4164 h 10010"/>
              <a:gd name="connsiteX252" fmla="*/ 1975 w 10000"/>
              <a:gd name="connsiteY252" fmla="*/ 4251 h 10010"/>
              <a:gd name="connsiteX253" fmla="*/ 2034 w 10000"/>
              <a:gd name="connsiteY253" fmla="*/ 4286 h 10010"/>
              <a:gd name="connsiteX254" fmla="*/ 1924 w 10000"/>
              <a:gd name="connsiteY254" fmla="*/ 4341 h 10010"/>
              <a:gd name="connsiteX255" fmla="*/ 1683 w 10000"/>
              <a:gd name="connsiteY255" fmla="*/ 4720 h 10010"/>
              <a:gd name="connsiteX256" fmla="*/ 1729 w 10000"/>
              <a:gd name="connsiteY256" fmla="*/ 4742 h 10010"/>
              <a:gd name="connsiteX257" fmla="*/ 1764 w 10000"/>
              <a:gd name="connsiteY257" fmla="*/ 4838 h 10010"/>
              <a:gd name="connsiteX258" fmla="*/ 1652 w 10000"/>
              <a:gd name="connsiteY258" fmla="*/ 5237 h 10010"/>
              <a:gd name="connsiteX259" fmla="*/ 1764 w 10000"/>
              <a:gd name="connsiteY259" fmla="*/ 5339 h 10010"/>
              <a:gd name="connsiteX260" fmla="*/ 2071 w 10000"/>
              <a:gd name="connsiteY260" fmla="*/ 5451 h 10010"/>
              <a:gd name="connsiteX261" fmla="*/ 2085 w 10000"/>
              <a:gd name="connsiteY261" fmla="*/ 5588 h 10010"/>
              <a:gd name="connsiteX262" fmla="*/ 1954 w 10000"/>
              <a:gd name="connsiteY262" fmla="*/ 5700 h 10010"/>
              <a:gd name="connsiteX263" fmla="*/ 1764 w 10000"/>
              <a:gd name="connsiteY263" fmla="*/ 5769 h 10010"/>
              <a:gd name="connsiteX264" fmla="*/ 1513 w 10000"/>
              <a:gd name="connsiteY264" fmla="*/ 5797 h 10010"/>
              <a:gd name="connsiteX265" fmla="*/ 1448 w 10000"/>
              <a:gd name="connsiteY265" fmla="*/ 5836 h 10010"/>
              <a:gd name="connsiteX266" fmla="*/ 1594 w 10000"/>
              <a:gd name="connsiteY266" fmla="*/ 5930 h 10010"/>
              <a:gd name="connsiteX267" fmla="*/ 1678 w 10000"/>
              <a:gd name="connsiteY267" fmla="*/ 6152 h 10010"/>
              <a:gd name="connsiteX268" fmla="*/ 1488 w 10000"/>
              <a:gd name="connsiteY268" fmla="*/ 6343 h 10010"/>
              <a:gd name="connsiteX269" fmla="*/ 1554 w 10000"/>
              <a:gd name="connsiteY269" fmla="*/ 6402 h 10010"/>
              <a:gd name="connsiteX270" fmla="*/ 1494 w 10000"/>
              <a:gd name="connsiteY270" fmla="*/ 6502 h 10010"/>
              <a:gd name="connsiteX271" fmla="*/ 1372 w 10000"/>
              <a:gd name="connsiteY271" fmla="*/ 6571 h 10010"/>
              <a:gd name="connsiteX272" fmla="*/ 889 w 10000"/>
              <a:gd name="connsiteY272" fmla="*/ 6624 h 10010"/>
              <a:gd name="connsiteX273" fmla="*/ 860 w 10000"/>
              <a:gd name="connsiteY273" fmla="*/ 6716 h 10010"/>
              <a:gd name="connsiteX274" fmla="*/ 600 w 10000"/>
              <a:gd name="connsiteY274" fmla="*/ 6853 h 10010"/>
              <a:gd name="connsiteX275" fmla="*/ 634 w 10000"/>
              <a:gd name="connsiteY275" fmla="*/ 7050 h 10010"/>
              <a:gd name="connsiteX276" fmla="*/ 415 w 10000"/>
              <a:gd name="connsiteY276" fmla="*/ 7303 h 10010"/>
              <a:gd name="connsiteX277" fmla="*/ 266 w 10000"/>
              <a:gd name="connsiteY277" fmla="*/ 7333 h 10010"/>
              <a:gd name="connsiteX278" fmla="*/ 204 w 10000"/>
              <a:gd name="connsiteY278" fmla="*/ 7272 h 10010"/>
              <a:gd name="connsiteX279" fmla="*/ 128 w 10000"/>
              <a:gd name="connsiteY279" fmla="*/ 7364 h 10010"/>
              <a:gd name="connsiteX280" fmla="*/ 178 w 10000"/>
              <a:gd name="connsiteY280" fmla="*/ 7207 h 10010"/>
              <a:gd name="connsiteX281" fmla="*/ 147 w 10000"/>
              <a:gd name="connsiteY281"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610 w 10000"/>
              <a:gd name="connsiteY211" fmla="*/ 293 h 10010"/>
              <a:gd name="connsiteX212" fmla="*/ 8533 w 10000"/>
              <a:gd name="connsiteY212" fmla="*/ 346 h 10010"/>
              <a:gd name="connsiteX213" fmla="*/ 8550 w 10000"/>
              <a:gd name="connsiteY213" fmla="*/ 397 h 10010"/>
              <a:gd name="connsiteX214" fmla="*/ 8667 w 10000"/>
              <a:gd name="connsiteY214" fmla="*/ 444 h 10010"/>
              <a:gd name="connsiteX215" fmla="*/ 8591 w 10000"/>
              <a:gd name="connsiteY215" fmla="*/ 485 h 10010"/>
              <a:gd name="connsiteX216" fmla="*/ 8477 w 10000"/>
              <a:gd name="connsiteY216" fmla="*/ 495 h 10010"/>
              <a:gd name="connsiteX217" fmla="*/ 7537 w 10000"/>
              <a:gd name="connsiteY217" fmla="*/ 397 h 10010"/>
              <a:gd name="connsiteX218" fmla="*/ 7423 w 10000"/>
              <a:gd name="connsiteY218" fmla="*/ 405 h 10010"/>
              <a:gd name="connsiteX219" fmla="*/ 7359 w 10000"/>
              <a:gd name="connsiteY219" fmla="*/ 424 h 10010"/>
              <a:gd name="connsiteX220" fmla="*/ 7290 w 10000"/>
              <a:gd name="connsiteY220" fmla="*/ 472 h 10010"/>
              <a:gd name="connsiteX221" fmla="*/ 7302 w 10000"/>
              <a:gd name="connsiteY221" fmla="*/ 591 h 10010"/>
              <a:gd name="connsiteX222" fmla="*/ 7199 w 10000"/>
              <a:gd name="connsiteY222" fmla="*/ 745 h 10010"/>
              <a:gd name="connsiteX223" fmla="*/ 7072 w 10000"/>
              <a:gd name="connsiteY223" fmla="*/ 825 h 10010"/>
              <a:gd name="connsiteX224" fmla="*/ 7021 w 10000"/>
              <a:gd name="connsiteY224" fmla="*/ 815 h 10010"/>
              <a:gd name="connsiteX225" fmla="*/ 6903 w 10000"/>
              <a:gd name="connsiteY225" fmla="*/ 749 h 10010"/>
              <a:gd name="connsiteX226" fmla="*/ 6756 w 10000"/>
              <a:gd name="connsiteY226" fmla="*/ 715 h 10010"/>
              <a:gd name="connsiteX227" fmla="*/ 6594 w 10000"/>
              <a:gd name="connsiteY227" fmla="*/ 725 h 10010"/>
              <a:gd name="connsiteX228" fmla="*/ 6223 w 10000"/>
              <a:gd name="connsiteY228" fmla="*/ 876 h 10010"/>
              <a:gd name="connsiteX229" fmla="*/ 6125 w 10000"/>
              <a:gd name="connsiteY229" fmla="*/ 1027 h 10010"/>
              <a:gd name="connsiteX230" fmla="*/ 5845 w 10000"/>
              <a:gd name="connsiteY230" fmla="*/ 1163 h 10010"/>
              <a:gd name="connsiteX231" fmla="*/ 5794 w 10000"/>
              <a:gd name="connsiteY231" fmla="*/ 1232 h 10010"/>
              <a:gd name="connsiteX232" fmla="*/ 5940 w 10000"/>
              <a:gd name="connsiteY232" fmla="*/ 1354 h 10010"/>
              <a:gd name="connsiteX233" fmla="*/ 5956 w 10000"/>
              <a:gd name="connsiteY233" fmla="*/ 1422 h 10010"/>
              <a:gd name="connsiteX234" fmla="*/ 5190 w 10000"/>
              <a:gd name="connsiteY234" fmla="*/ 1823 h 10010"/>
              <a:gd name="connsiteX235" fmla="*/ 4955 w 10000"/>
              <a:gd name="connsiteY235" fmla="*/ 2080 h 10010"/>
              <a:gd name="connsiteX236" fmla="*/ 4702 w 10000"/>
              <a:gd name="connsiteY236" fmla="*/ 2145 h 10010"/>
              <a:gd name="connsiteX237" fmla="*/ 4540 w 10000"/>
              <a:gd name="connsiteY237" fmla="*/ 2141 h 10010"/>
              <a:gd name="connsiteX238" fmla="*/ 4443 w 10000"/>
              <a:gd name="connsiteY238" fmla="*/ 2163 h 10010"/>
              <a:gd name="connsiteX239" fmla="*/ 4178 w 10000"/>
              <a:gd name="connsiteY239" fmla="*/ 2803 h 10010"/>
              <a:gd name="connsiteX240" fmla="*/ 3565 w 10000"/>
              <a:gd name="connsiteY240" fmla="*/ 3176 h 10010"/>
              <a:gd name="connsiteX241" fmla="*/ 3569 w 10000"/>
              <a:gd name="connsiteY241" fmla="*/ 3235 h 10010"/>
              <a:gd name="connsiteX242" fmla="*/ 3841 w 10000"/>
              <a:gd name="connsiteY242" fmla="*/ 3402 h 10010"/>
              <a:gd name="connsiteX243" fmla="*/ 3753 w 10000"/>
              <a:gd name="connsiteY243" fmla="*/ 3583 h 10010"/>
              <a:gd name="connsiteX244" fmla="*/ 3594 w 10000"/>
              <a:gd name="connsiteY244" fmla="*/ 3650 h 10010"/>
              <a:gd name="connsiteX245" fmla="*/ 3118 w 10000"/>
              <a:gd name="connsiteY245" fmla="*/ 3605 h 10010"/>
              <a:gd name="connsiteX246" fmla="*/ 2791 w 10000"/>
              <a:gd name="connsiteY246" fmla="*/ 3630 h 10010"/>
              <a:gd name="connsiteX247" fmla="*/ 2528 w 10000"/>
              <a:gd name="connsiteY247" fmla="*/ 3683 h 10010"/>
              <a:gd name="connsiteX248" fmla="*/ 2102 w 10000"/>
              <a:gd name="connsiteY248" fmla="*/ 3850 h 10010"/>
              <a:gd name="connsiteX249" fmla="*/ 1877 w 10000"/>
              <a:gd name="connsiteY249" fmla="*/ 4052 h 10010"/>
              <a:gd name="connsiteX250" fmla="*/ 1896 w 10000"/>
              <a:gd name="connsiteY250" fmla="*/ 4164 h 10010"/>
              <a:gd name="connsiteX251" fmla="*/ 1975 w 10000"/>
              <a:gd name="connsiteY251" fmla="*/ 4251 h 10010"/>
              <a:gd name="connsiteX252" fmla="*/ 2034 w 10000"/>
              <a:gd name="connsiteY252" fmla="*/ 4286 h 10010"/>
              <a:gd name="connsiteX253" fmla="*/ 1924 w 10000"/>
              <a:gd name="connsiteY253" fmla="*/ 4341 h 10010"/>
              <a:gd name="connsiteX254" fmla="*/ 1683 w 10000"/>
              <a:gd name="connsiteY254" fmla="*/ 4720 h 10010"/>
              <a:gd name="connsiteX255" fmla="*/ 1729 w 10000"/>
              <a:gd name="connsiteY255" fmla="*/ 4742 h 10010"/>
              <a:gd name="connsiteX256" fmla="*/ 1764 w 10000"/>
              <a:gd name="connsiteY256" fmla="*/ 4838 h 10010"/>
              <a:gd name="connsiteX257" fmla="*/ 1652 w 10000"/>
              <a:gd name="connsiteY257" fmla="*/ 5237 h 10010"/>
              <a:gd name="connsiteX258" fmla="*/ 1764 w 10000"/>
              <a:gd name="connsiteY258" fmla="*/ 5339 h 10010"/>
              <a:gd name="connsiteX259" fmla="*/ 2071 w 10000"/>
              <a:gd name="connsiteY259" fmla="*/ 5451 h 10010"/>
              <a:gd name="connsiteX260" fmla="*/ 2085 w 10000"/>
              <a:gd name="connsiteY260" fmla="*/ 5588 h 10010"/>
              <a:gd name="connsiteX261" fmla="*/ 1954 w 10000"/>
              <a:gd name="connsiteY261" fmla="*/ 5700 h 10010"/>
              <a:gd name="connsiteX262" fmla="*/ 1764 w 10000"/>
              <a:gd name="connsiteY262" fmla="*/ 5769 h 10010"/>
              <a:gd name="connsiteX263" fmla="*/ 1513 w 10000"/>
              <a:gd name="connsiteY263" fmla="*/ 5797 h 10010"/>
              <a:gd name="connsiteX264" fmla="*/ 1448 w 10000"/>
              <a:gd name="connsiteY264" fmla="*/ 5836 h 10010"/>
              <a:gd name="connsiteX265" fmla="*/ 1594 w 10000"/>
              <a:gd name="connsiteY265" fmla="*/ 5930 h 10010"/>
              <a:gd name="connsiteX266" fmla="*/ 1678 w 10000"/>
              <a:gd name="connsiteY266" fmla="*/ 6152 h 10010"/>
              <a:gd name="connsiteX267" fmla="*/ 1488 w 10000"/>
              <a:gd name="connsiteY267" fmla="*/ 6343 h 10010"/>
              <a:gd name="connsiteX268" fmla="*/ 1554 w 10000"/>
              <a:gd name="connsiteY268" fmla="*/ 6402 h 10010"/>
              <a:gd name="connsiteX269" fmla="*/ 1494 w 10000"/>
              <a:gd name="connsiteY269" fmla="*/ 6502 h 10010"/>
              <a:gd name="connsiteX270" fmla="*/ 1372 w 10000"/>
              <a:gd name="connsiteY270" fmla="*/ 6571 h 10010"/>
              <a:gd name="connsiteX271" fmla="*/ 889 w 10000"/>
              <a:gd name="connsiteY271" fmla="*/ 6624 h 10010"/>
              <a:gd name="connsiteX272" fmla="*/ 860 w 10000"/>
              <a:gd name="connsiteY272" fmla="*/ 6716 h 10010"/>
              <a:gd name="connsiteX273" fmla="*/ 600 w 10000"/>
              <a:gd name="connsiteY273" fmla="*/ 6853 h 10010"/>
              <a:gd name="connsiteX274" fmla="*/ 634 w 10000"/>
              <a:gd name="connsiteY274" fmla="*/ 7050 h 10010"/>
              <a:gd name="connsiteX275" fmla="*/ 415 w 10000"/>
              <a:gd name="connsiteY275" fmla="*/ 7303 h 10010"/>
              <a:gd name="connsiteX276" fmla="*/ 266 w 10000"/>
              <a:gd name="connsiteY276" fmla="*/ 7333 h 10010"/>
              <a:gd name="connsiteX277" fmla="*/ 204 w 10000"/>
              <a:gd name="connsiteY277" fmla="*/ 7272 h 10010"/>
              <a:gd name="connsiteX278" fmla="*/ 128 w 10000"/>
              <a:gd name="connsiteY278" fmla="*/ 7364 h 10010"/>
              <a:gd name="connsiteX279" fmla="*/ 178 w 10000"/>
              <a:gd name="connsiteY279" fmla="*/ 7207 h 10010"/>
              <a:gd name="connsiteX280" fmla="*/ 147 w 10000"/>
              <a:gd name="connsiteY280"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33 w 10000"/>
              <a:gd name="connsiteY211" fmla="*/ 346 h 10010"/>
              <a:gd name="connsiteX212" fmla="*/ 8550 w 10000"/>
              <a:gd name="connsiteY212" fmla="*/ 397 h 10010"/>
              <a:gd name="connsiteX213" fmla="*/ 8667 w 10000"/>
              <a:gd name="connsiteY213" fmla="*/ 444 h 10010"/>
              <a:gd name="connsiteX214" fmla="*/ 8591 w 10000"/>
              <a:gd name="connsiteY214" fmla="*/ 485 h 10010"/>
              <a:gd name="connsiteX215" fmla="*/ 8477 w 10000"/>
              <a:gd name="connsiteY215" fmla="*/ 495 h 10010"/>
              <a:gd name="connsiteX216" fmla="*/ 7537 w 10000"/>
              <a:gd name="connsiteY216" fmla="*/ 397 h 10010"/>
              <a:gd name="connsiteX217" fmla="*/ 7423 w 10000"/>
              <a:gd name="connsiteY217" fmla="*/ 405 h 10010"/>
              <a:gd name="connsiteX218" fmla="*/ 7359 w 10000"/>
              <a:gd name="connsiteY218" fmla="*/ 424 h 10010"/>
              <a:gd name="connsiteX219" fmla="*/ 7290 w 10000"/>
              <a:gd name="connsiteY219" fmla="*/ 472 h 10010"/>
              <a:gd name="connsiteX220" fmla="*/ 7302 w 10000"/>
              <a:gd name="connsiteY220" fmla="*/ 591 h 10010"/>
              <a:gd name="connsiteX221" fmla="*/ 7199 w 10000"/>
              <a:gd name="connsiteY221" fmla="*/ 745 h 10010"/>
              <a:gd name="connsiteX222" fmla="*/ 7072 w 10000"/>
              <a:gd name="connsiteY222" fmla="*/ 825 h 10010"/>
              <a:gd name="connsiteX223" fmla="*/ 7021 w 10000"/>
              <a:gd name="connsiteY223" fmla="*/ 815 h 10010"/>
              <a:gd name="connsiteX224" fmla="*/ 6903 w 10000"/>
              <a:gd name="connsiteY224" fmla="*/ 749 h 10010"/>
              <a:gd name="connsiteX225" fmla="*/ 6756 w 10000"/>
              <a:gd name="connsiteY225" fmla="*/ 715 h 10010"/>
              <a:gd name="connsiteX226" fmla="*/ 6594 w 10000"/>
              <a:gd name="connsiteY226" fmla="*/ 725 h 10010"/>
              <a:gd name="connsiteX227" fmla="*/ 6223 w 10000"/>
              <a:gd name="connsiteY227" fmla="*/ 876 h 10010"/>
              <a:gd name="connsiteX228" fmla="*/ 6125 w 10000"/>
              <a:gd name="connsiteY228" fmla="*/ 1027 h 10010"/>
              <a:gd name="connsiteX229" fmla="*/ 5845 w 10000"/>
              <a:gd name="connsiteY229" fmla="*/ 1163 h 10010"/>
              <a:gd name="connsiteX230" fmla="*/ 5794 w 10000"/>
              <a:gd name="connsiteY230" fmla="*/ 1232 h 10010"/>
              <a:gd name="connsiteX231" fmla="*/ 5940 w 10000"/>
              <a:gd name="connsiteY231" fmla="*/ 1354 h 10010"/>
              <a:gd name="connsiteX232" fmla="*/ 5956 w 10000"/>
              <a:gd name="connsiteY232" fmla="*/ 1422 h 10010"/>
              <a:gd name="connsiteX233" fmla="*/ 5190 w 10000"/>
              <a:gd name="connsiteY233" fmla="*/ 1823 h 10010"/>
              <a:gd name="connsiteX234" fmla="*/ 4955 w 10000"/>
              <a:gd name="connsiteY234" fmla="*/ 2080 h 10010"/>
              <a:gd name="connsiteX235" fmla="*/ 4702 w 10000"/>
              <a:gd name="connsiteY235" fmla="*/ 2145 h 10010"/>
              <a:gd name="connsiteX236" fmla="*/ 4540 w 10000"/>
              <a:gd name="connsiteY236" fmla="*/ 2141 h 10010"/>
              <a:gd name="connsiteX237" fmla="*/ 4443 w 10000"/>
              <a:gd name="connsiteY237" fmla="*/ 2163 h 10010"/>
              <a:gd name="connsiteX238" fmla="*/ 4178 w 10000"/>
              <a:gd name="connsiteY238" fmla="*/ 2803 h 10010"/>
              <a:gd name="connsiteX239" fmla="*/ 3565 w 10000"/>
              <a:gd name="connsiteY239" fmla="*/ 3176 h 10010"/>
              <a:gd name="connsiteX240" fmla="*/ 3569 w 10000"/>
              <a:gd name="connsiteY240" fmla="*/ 3235 h 10010"/>
              <a:gd name="connsiteX241" fmla="*/ 3841 w 10000"/>
              <a:gd name="connsiteY241" fmla="*/ 3402 h 10010"/>
              <a:gd name="connsiteX242" fmla="*/ 3753 w 10000"/>
              <a:gd name="connsiteY242" fmla="*/ 3583 h 10010"/>
              <a:gd name="connsiteX243" fmla="*/ 3594 w 10000"/>
              <a:gd name="connsiteY243" fmla="*/ 3650 h 10010"/>
              <a:gd name="connsiteX244" fmla="*/ 3118 w 10000"/>
              <a:gd name="connsiteY244" fmla="*/ 3605 h 10010"/>
              <a:gd name="connsiteX245" fmla="*/ 2791 w 10000"/>
              <a:gd name="connsiteY245" fmla="*/ 3630 h 10010"/>
              <a:gd name="connsiteX246" fmla="*/ 2528 w 10000"/>
              <a:gd name="connsiteY246" fmla="*/ 3683 h 10010"/>
              <a:gd name="connsiteX247" fmla="*/ 2102 w 10000"/>
              <a:gd name="connsiteY247" fmla="*/ 3850 h 10010"/>
              <a:gd name="connsiteX248" fmla="*/ 1877 w 10000"/>
              <a:gd name="connsiteY248" fmla="*/ 4052 h 10010"/>
              <a:gd name="connsiteX249" fmla="*/ 1896 w 10000"/>
              <a:gd name="connsiteY249" fmla="*/ 4164 h 10010"/>
              <a:gd name="connsiteX250" fmla="*/ 1975 w 10000"/>
              <a:gd name="connsiteY250" fmla="*/ 4251 h 10010"/>
              <a:gd name="connsiteX251" fmla="*/ 2034 w 10000"/>
              <a:gd name="connsiteY251" fmla="*/ 4286 h 10010"/>
              <a:gd name="connsiteX252" fmla="*/ 1924 w 10000"/>
              <a:gd name="connsiteY252" fmla="*/ 4341 h 10010"/>
              <a:gd name="connsiteX253" fmla="*/ 1683 w 10000"/>
              <a:gd name="connsiteY253" fmla="*/ 4720 h 10010"/>
              <a:gd name="connsiteX254" fmla="*/ 1729 w 10000"/>
              <a:gd name="connsiteY254" fmla="*/ 4742 h 10010"/>
              <a:gd name="connsiteX255" fmla="*/ 1764 w 10000"/>
              <a:gd name="connsiteY255" fmla="*/ 4838 h 10010"/>
              <a:gd name="connsiteX256" fmla="*/ 1652 w 10000"/>
              <a:gd name="connsiteY256" fmla="*/ 5237 h 10010"/>
              <a:gd name="connsiteX257" fmla="*/ 1764 w 10000"/>
              <a:gd name="connsiteY257" fmla="*/ 5339 h 10010"/>
              <a:gd name="connsiteX258" fmla="*/ 2071 w 10000"/>
              <a:gd name="connsiteY258" fmla="*/ 5451 h 10010"/>
              <a:gd name="connsiteX259" fmla="*/ 2085 w 10000"/>
              <a:gd name="connsiteY259" fmla="*/ 5588 h 10010"/>
              <a:gd name="connsiteX260" fmla="*/ 1954 w 10000"/>
              <a:gd name="connsiteY260" fmla="*/ 5700 h 10010"/>
              <a:gd name="connsiteX261" fmla="*/ 1764 w 10000"/>
              <a:gd name="connsiteY261" fmla="*/ 5769 h 10010"/>
              <a:gd name="connsiteX262" fmla="*/ 1513 w 10000"/>
              <a:gd name="connsiteY262" fmla="*/ 5797 h 10010"/>
              <a:gd name="connsiteX263" fmla="*/ 1448 w 10000"/>
              <a:gd name="connsiteY263" fmla="*/ 5836 h 10010"/>
              <a:gd name="connsiteX264" fmla="*/ 1594 w 10000"/>
              <a:gd name="connsiteY264" fmla="*/ 5930 h 10010"/>
              <a:gd name="connsiteX265" fmla="*/ 1678 w 10000"/>
              <a:gd name="connsiteY265" fmla="*/ 6152 h 10010"/>
              <a:gd name="connsiteX266" fmla="*/ 1488 w 10000"/>
              <a:gd name="connsiteY266" fmla="*/ 6343 h 10010"/>
              <a:gd name="connsiteX267" fmla="*/ 1554 w 10000"/>
              <a:gd name="connsiteY267" fmla="*/ 6402 h 10010"/>
              <a:gd name="connsiteX268" fmla="*/ 1494 w 10000"/>
              <a:gd name="connsiteY268" fmla="*/ 6502 h 10010"/>
              <a:gd name="connsiteX269" fmla="*/ 1372 w 10000"/>
              <a:gd name="connsiteY269" fmla="*/ 6571 h 10010"/>
              <a:gd name="connsiteX270" fmla="*/ 889 w 10000"/>
              <a:gd name="connsiteY270" fmla="*/ 6624 h 10010"/>
              <a:gd name="connsiteX271" fmla="*/ 860 w 10000"/>
              <a:gd name="connsiteY271" fmla="*/ 6716 h 10010"/>
              <a:gd name="connsiteX272" fmla="*/ 600 w 10000"/>
              <a:gd name="connsiteY272" fmla="*/ 6853 h 10010"/>
              <a:gd name="connsiteX273" fmla="*/ 634 w 10000"/>
              <a:gd name="connsiteY273" fmla="*/ 7050 h 10010"/>
              <a:gd name="connsiteX274" fmla="*/ 415 w 10000"/>
              <a:gd name="connsiteY274" fmla="*/ 7303 h 10010"/>
              <a:gd name="connsiteX275" fmla="*/ 266 w 10000"/>
              <a:gd name="connsiteY275" fmla="*/ 7333 h 10010"/>
              <a:gd name="connsiteX276" fmla="*/ 204 w 10000"/>
              <a:gd name="connsiteY276" fmla="*/ 7272 h 10010"/>
              <a:gd name="connsiteX277" fmla="*/ 128 w 10000"/>
              <a:gd name="connsiteY277" fmla="*/ 7364 h 10010"/>
              <a:gd name="connsiteX278" fmla="*/ 178 w 10000"/>
              <a:gd name="connsiteY278" fmla="*/ 7207 h 10010"/>
              <a:gd name="connsiteX279" fmla="*/ 147 w 10000"/>
              <a:gd name="connsiteY279"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50 w 10000"/>
              <a:gd name="connsiteY211" fmla="*/ 397 h 10010"/>
              <a:gd name="connsiteX212" fmla="*/ 8667 w 10000"/>
              <a:gd name="connsiteY212" fmla="*/ 444 h 10010"/>
              <a:gd name="connsiteX213" fmla="*/ 8591 w 10000"/>
              <a:gd name="connsiteY213" fmla="*/ 485 h 10010"/>
              <a:gd name="connsiteX214" fmla="*/ 8477 w 10000"/>
              <a:gd name="connsiteY214" fmla="*/ 495 h 10010"/>
              <a:gd name="connsiteX215" fmla="*/ 7537 w 10000"/>
              <a:gd name="connsiteY215" fmla="*/ 397 h 10010"/>
              <a:gd name="connsiteX216" fmla="*/ 7423 w 10000"/>
              <a:gd name="connsiteY216" fmla="*/ 405 h 10010"/>
              <a:gd name="connsiteX217" fmla="*/ 7359 w 10000"/>
              <a:gd name="connsiteY217" fmla="*/ 424 h 10010"/>
              <a:gd name="connsiteX218" fmla="*/ 7290 w 10000"/>
              <a:gd name="connsiteY218" fmla="*/ 472 h 10010"/>
              <a:gd name="connsiteX219" fmla="*/ 7302 w 10000"/>
              <a:gd name="connsiteY219" fmla="*/ 591 h 10010"/>
              <a:gd name="connsiteX220" fmla="*/ 7199 w 10000"/>
              <a:gd name="connsiteY220" fmla="*/ 745 h 10010"/>
              <a:gd name="connsiteX221" fmla="*/ 7072 w 10000"/>
              <a:gd name="connsiteY221" fmla="*/ 825 h 10010"/>
              <a:gd name="connsiteX222" fmla="*/ 7021 w 10000"/>
              <a:gd name="connsiteY222" fmla="*/ 815 h 10010"/>
              <a:gd name="connsiteX223" fmla="*/ 6903 w 10000"/>
              <a:gd name="connsiteY223" fmla="*/ 749 h 10010"/>
              <a:gd name="connsiteX224" fmla="*/ 6756 w 10000"/>
              <a:gd name="connsiteY224" fmla="*/ 715 h 10010"/>
              <a:gd name="connsiteX225" fmla="*/ 6594 w 10000"/>
              <a:gd name="connsiteY225" fmla="*/ 725 h 10010"/>
              <a:gd name="connsiteX226" fmla="*/ 6223 w 10000"/>
              <a:gd name="connsiteY226" fmla="*/ 876 h 10010"/>
              <a:gd name="connsiteX227" fmla="*/ 6125 w 10000"/>
              <a:gd name="connsiteY227" fmla="*/ 1027 h 10010"/>
              <a:gd name="connsiteX228" fmla="*/ 5845 w 10000"/>
              <a:gd name="connsiteY228" fmla="*/ 1163 h 10010"/>
              <a:gd name="connsiteX229" fmla="*/ 5794 w 10000"/>
              <a:gd name="connsiteY229" fmla="*/ 1232 h 10010"/>
              <a:gd name="connsiteX230" fmla="*/ 5940 w 10000"/>
              <a:gd name="connsiteY230" fmla="*/ 1354 h 10010"/>
              <a:gd name="connsiteX231" fmla="*/ 5956 w 10000"/>
              <a:gd name="connsiteY231" fmla="*/ 1422 h 10010"/>
              <a:gd name="connsiteX232" fmla="*/ 5190 w 10000"/>
              <a:gd name="connsiteY232" fmla="*/ 1823 h 10010"/>
              <a:gd name="connsiteX233" fmla="*/ 4955 w 10000"/>
              <a:gd name="connsiteY233" fmla="*/ 2080 h 10010"/>
              <a:gd name="connsiteX234" fmla="*/ 4702 w 10000"/>
              <a:gd name="connsiteY234" fmla="*/ 2145 h 10010"/>
              <a:gd name="connsiteX235" fmla="*/ 4540 w 10000"/>
              <a:gd name="connsiteY235" fmla="*/ 2141 h 10010"/>
              <a:gd name="connsiteX236" fmla="*/ 4443 w 10000"/>
              <a:gd name="connsiteY236" fmla="*/ 2163 h 10010"/>
              <a:gd name="connsiteX237" fmla="*/ 4178 w 10000"/>
              <a:gd name="connsiteY237" fmla="*/ 2803 h 10010"/>
              <a:gd name="connsiteX238" fmla="*/ 3565 w 10000"/>
              <a:gd name="connsiteY238" fmla="*/ 3176 h 10010"/>
              <a:gd name="connsiteX239" fmla="*/ 3569 w 10000"/>
              <a:gd name="connsiteY239" fmla="*/ 3235 h 10010"/>
              <a:gd name="connsiteX240" fmla="*/ 3841 w 10000"/>
              <a:gd name="connsiteY240" fmla="*/ 3402 h 10010"/>
              <a:gd name="connsiteX241" fmla="*/ 3753 w 10000"/>
              <a:gd name="connsiteY241" fmla="*/ 3583 h 10010"/>
              <a:gd name="connsiteX242" fmla="*/ 3594 w 10000"/>
              <a:gd name="connsiteY242" fmla="*/ 3650 h 10010"/>
              <a:gd name="connsiteX243" fmla="*/ 3118 w 10000"/>
              <a:gd name="connsiteY243" fmla="*/ 3605 h 10010"/>
              <a:gd name="connsiteX244" fmla="*/ 2791 w 10000"/>
              <a:gd name="connsiteY244" fmla="*/ 3630 h 10010"/>
              <a:gd name="connsiteX245" fmla="*/ 2528 w 10000"/>
              <a:gd name="connsiteY245" fmla="*/ 3683 h 10010"/>
              <a:gd name="connsiteX246" fmla="*/ 2102 w 10000"/>
              <a:gd name="connsiteY246" fmla="*/ 3850 h 10010"/>
              <a:gd name="connsiteX247" fmla="*/ 1877 w 10000"/>
              <a:gd name="connsiteY247" fmla="*/ 4052 h 10010"/>
              <a:gd name="connsiteX248" fmla="*/ 1896 w 10000"/>
              <a:gd name="connsiteY248" fmla="*/ 4164 h 10010"/>
              <a:gd name="connsiteX249" fmla="*/ 1975 w 10000"/>
              <a:gd name="connsiteY249" fmla="*/ 4251 h 10010"/>
              <a:gd name="connsiteX250" fmla="*/ 2034 w 10000"/>
              <a:gd name="connsiteY250" fmla="*/ 4286 h 10010"/>
              <a:gd name="connsiteX251" fmla="*/ 1924 w 10000"/>
              <a:gd name="connsiteY251" fmla="*/ 4341 h 10010"/>
              <a:gd name="connsiteX252" fmla="*/ 1683 w 10000"/>
              <a:gd name="connsiteY252" fmla="*/ 4720 h 10010"/>
              <a:gd name="connsiteX253" fmla="*/ 1729 w 10000"/>
              <a:gd name="connsiteY253" fmla="*/ 4742 h 10010"/>
              <a:gd name="connsiteX254" fmla="*/ 1764 w 10000"/>
              <a:gd name="connsiteY254" fmla="*/ 4838 h 10010"/>
              <a:gd name="connsiteX255" fmla="*/ 1652 w 10000"/>
              <a:gd name="connsiteY255" fmla="*/ 5237 h 10010"/>
              <a:gd name="connsiteX256" fmla="*/ 1764 w 10000"/>
              <a:gd name="connsiteY256" fmla="*/ 5339 h 10010"/>
              <a:gd name="connsiteX257" fmla="*/ 2071 w 10000"/>
              <a:gd name="connsiteY257" fmla="*/ 5451 h 10010"/>
              <a:gd name="connsiteX258" fmla="*/ 2085 w 10000"/>
              <a:gd name="connsiteY258" fmla="*/ 5588 h 10010"/>
              <a:gd name="connsiteX259" fmla="*/ 1954 w 10000"/>
              <a:gd name="connsiteY259" fmla="*/ 5700 h 10010"/>
              <a:gd name="connsiteX260" fmla="*/ 1764 w 10000"/>
              <a:gd name="connsiteY260" fmla="*/ 5769 h 10010"/>
              <a:gd name="connsiteX261" fmla="*/ 1513 w 10000"/>
              <a:gd name="connsiteY261" fmla="*/ 5797 h 10010"/>
              <a:gd name="connsiteX262" fmla="*/ 1448 w 10000"/>
              <a:gd name="connsiteY262" fmla="*/ 5836 h 10010"/>
              <a:gd name="connsiteX263" fmla="*/ 1594 w 10000"/>
              <a:gd name="connsiteY263" fmla="*/ 5930 h 10010"/>
              <a:gd name="connsiteX264" fmla="*/ 1678 w 10000"/>
              <a:gd name="connsiteY264" fmla="*/ 6152 h 10010"/>
              <a:gd name="connsiteX265" fmla="*/ 1488 w 10000"/>
              <a:gd name="connsiteY265" fmla="*/ 6343 h 10010"/>
              <a:gd name="connsiteX266" fmla="*/ 1554 w 10000"/>
              <a:gd name="connsiteY266" fmla="*/ 6402 h 10010"/>
              <a:gd name="connsiteX267" fmla="*/ 1494 w 10000"/>
              <a:gd name="connsiteY267" fmla="*/ 6502 h 10010"/>
              <a:gd name="connsiteX268" fmla="*/ 1372 w 10000"/>
              <a:gd name="connsiteY268" fmla="*/ 6571 h 10010"/>
              <a:gd name="connsiteX269" fmla="*/ 889 w 10000"/>
              <a:gd name="connsiteY269" fmla="*/ 6624 h 10010"/>
              <a:gd name="connsiteX270" fmla="*/ 860 w 10000"/>
              <a:gd name="connsiteY270" fmla="*/ 6716 h 10010"/>
              <a:gd name="connsiteX271" fmla="*/ 600 w 10000"/>
              <a:gd name="connsiteY271" fmla="*/ 6853 h 10010"/>
              <a:gd name="connsiteX272" fmla="*/ 634 w 10000"/>
              <a:gd name="connsiteY272" fmla="*/ 7050 h 10010"/>
              <a:gd name="connsiteX273" fmla="*/ 415 w 10000"/>
              <a:gd name="connsiteY273" fmla="*/ 7303 h 10010"/>
              <a:gd name="connsiteX274" fmla="*/ 266 w 10000"/>
              <a:gd name="connsiteY274" fmla="*/ 7333 h 10010"/>
              <a:gd name="connsiteX275" fmla="*/ 204 w 10000"/>
              <a:gd name="connsiteY275" fmla="*/ 7272 h 10010"/>
              <a:gd name="connsiteX276" fmla="*/ 128 w 10000"/>
              <a:gd name="connsiteY276" fmla="*/ 7364 h 10010"/>
              <a:gd name="connsiteX277" fmla="*/ 178 w 10000"/>
              <a:gd name="connsiteY277" fmla="*/ 7207 h 10010"/>
              <a:gd name="connsiteX278" fmla="*/ 147 w 10000"/>
              <a:gd name="connsiteY278"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667 w 10000"/>
              <a:gd name="connsiteY211" fmla="*/ 444 h 10010"/>
              <a:gd name="connsiteX212" fmla="*/ 8591 w 10000"/>
              <a:gd name="connsiteY212" fmla="*/ 485 h 10010"/>
              <a:gd name="connsiteX213" fmla="*/ 8477 w 10000"/>
              <a:gd name="connsiteY213" fmla="*/ 495 h 10010"/>
              <a:gd name="connsiteX214" fmla="*/ 7537 w 10000"/>
              <a:gd name="connsiteY214" fmla="*/ 397 h 10010"/>
              <a:gd name="connsiteX215" fmla="*/ 7423 w 10000"/>
              <a:gd name="connsiteY215" fmla="*/ 405 h 10010"/>
              <a:gd name="connsiteX216" fmla="*/ 7359 w 10000"/>
              <a:gd name="connsiteY216" fmla="*/ 424 h 10010"/>
              <a:gd name="connsiteX217" fmla="*/ 7290 w 10000"/>
              <a:gd name="connsiteY217" fmla="*/ 472 h 10010"/>
              <a:gd name="connsiteX218" fmla="*/ 7302 w 10000"/>
              <a:gd name="connsiteY218" fmla="*/ 591 h 10010"/>
              <a:gd name="connsiteX219" fmla="*/ 7199 w 10000"/>
              <a:gd name="connsiteY219" fmla="*/ 745 h 10010"/>
              <a:gd name="connsiteX220" fmla="*/ 7072 w 10000"/>
              <a:gd name="connsiteY220" fmla="*/ 825 h 10010"/>
              <a:gd name="connsiteX221" fmla="*/ 7021 w 10000"/>
              <a:gd name="connsiteY221" fmla="*/ 815 h 10010"/>
              <a:gd name="connsiteX222" fmla="*/ 6903 w 10000"/>
              <a:gd name="connsiteY222" fmla="*/ 749 h 10010"/>
              <a:gd name="connsiteX223" fmla="*/ 6756 w 10000"/>
              <a:gd name="connsiteY223" fmla="*/ 715 h 10010"/>
              <a:gd name="connsiteX224" fmla="*/ 6594 w 10000"/>
              <a:gd name="connsiteY224" fmla="*/ 725 h 10010"/>
              <a:gd name="connsiteX225" fmla="*/ 6223 w 10000"/>
              <a:gd name="connsiteY225" fmla="*/ 876 h 10010"/>
              <a:gd name="connsiteX226" fmla="*/ 6125 w 10000"/>
              <a:gd name="connsiteY226" fmla="*/ 1027 h 10010"/>
              <a:gd name="connsiteX227" fmla="*/ 5845 w 10000"/>
              <a:gd name="connsiteY227" fmla="*/ 1163 h 10010"/>
              <a:gd name="connsiteX228" fmla="*/ 5794 w 10000"/>
              <a:gd name="connsiteY228" fmla="*/ 1232 h 10010"/>
              <a:gd name="connsiteX229" fmla="*/ 5940 w 10000"/>
              <a:gd name="connsiteY229" fmla="*/ 1354 h 10010"/>
              <a:gd name="connsiteX230" fmla="*/ 5956 w 10000"/>
              <a:gd name="connsiteY230" fmla="*/ 1422 h 10010"/>
              <a:gd name="connsiteX231" fmla="*/ 5190 w 10000"/>
              <a:gd name="connsiteY231" fmla="*/ 1823 h 10010"/>
              <a:gd name="connsiteX232" fmla="*/ 4955 w 10000"/>
              <a:gd name="connsiteY232" fmla="*/ 2080 h 10010"/>
              <a:gd name="connsiteX233" fmla="*/ 4702 w 10000"/>
              <a:gd name="connsiteY233" fmla="*/ 2145 h 10010"/>
              <a:gd name="connsiteX234" fmla="*/ 4540 w 10000"/>
              <a:gd name="connsiteY234" fmla="*/ 2141 h 10010"/>
              <a:gd name="connsiteX235" fmla="*/ 4443 w 10000"/>
              <a:gd name="connsiteY235" fmla="*/ 2163 h 10010"/>
              <a:gd name="connsiteX236" fmla="*/ 4178 w 10000"/>
              <a:gd name="connsiteY236" fmla="*/ 2803 h 10010"/>
              <a:gd name="connsiteX237" fmla="*/ 3565 w 10000"/>
              <a:gd name="connsiteY237" fmla="*/ 3176 h 10010"/>
              <a:gd name="connsiteX238" fmla="*/ 3569 w 10000"/>
              <a:gd name="connsiteY238" fmla="*/ 3235 h 10010"/>
              <a:gd name="connsiteX239" fmla="*/ 3841 w 10000"/>
              <a:gd name="connsiteY239" fmla="*/ 3402 h 10010"/>
              <a:gd name="connsiteX240" fmla="*/ 3753 w 10000"/>
              <a:gd name="connsiteY240" fmla="*/ 3583 h 10010"/>
              <a:gd name="connsiteX241" fmla="*/ 3594 w 10000"/>
              <a:gd name="connsiteY241" fmla="*/ 3650 h 10010"/>
              <a:gd name="connsiteX242" fmla="*/ 3118 w 10000"/>
              <a:gd name="connsiteY242" fmla="*/ 3605 h 10010"/>
              <a:gd name="connsiteX243" fmla="*/ 2791 w 10000"/>
              <a:gd name="connsiteY243" fmla="*/ 3630 h 10010"/>
              <a:gd name="connsiteX244" fmla="*/ 2528 w 10000"/>
              <a:gd name="connsiteY244" fmla="*/ 3683 h 10010"/>
              <a:gd name="connsiteX245" fmla="*/ 2102 w 10000"/>
              <a:gd name="connsiteY245" fmla="*/ 3850 h 10010"/>
              <a:gd name="connsiteX246" fmla="*/ 1877 w 10000"/>
              <a:gd name="connsiteY246" fmla="*/ 4052 h 10010"/>
              <a:gd name="connsiteX247" fmla="*/ 1896 w 10000"/>
              <a:gd name="connsiteY247" fmla="*/ 4164 h 10010"/>
              <a:gd name="connsiteX248" fmla="*/ 1975 w 10000"/>
              <a:gd name="connsiteY248" fmla="*/ 4251 h 10010"/>
              <a:gd name="connsiteX249" fmla="*/ 2034 w 10000"/>
              <a:gd name="connsiteY249" fmla="*/ 4286 h 10010"/>
              <a:gd name="connsiteX250" fmla="*/ 1924 w 10000"/>
              <a:gd name="connsiteY250" fmla="*/ 4341 h 10010"/>
              <a:gd name="connsiteX251" fmla="*/ 1683 w 10000"/>
              <a:gd name="connsiteY251" fmla="*/ 4720 h 10010"/>
              <a:gd name="connsiteX252" fmla="*/ 1729 w 10000"/>
              <a:gd name="connsiteY252" fmla="*/ 4742 h 10010"/>
              <a:gd name="connsiteX253" fmla="*/ 1764 w 10000"/>
              <a:gd name="connsiteY253" fmla="*/ 4838 h 10010"/>
              <a:gd name="connsiteX254" fmla="*/ 1652 w 10000"/>
              <a:gd name="connsiteY254" fmla="*/ 5237 h 10010"/>
              <a:gd name="connsiteX255" fmla="*/ 1764 w 10000"/>
              <a:gd name="connsiteY255" fmla="*/ 5339 h 10010"/>
              <a:gd name="connsiteX256" fmla="*/ 2071 w 10000"/>
              <a:gd name="connsiteY256" fmla="*/ 5451 h 10010"/>
              <a:gd name="connsiteX257" fmla="*/ 2085 w 10000"/>
              <a:gd name="connsiteY257" fmla="*/ 5588 h 10010"/>
              <a:gd name="connsiteX258" fmla="*/ 1954 w 10000"/>
              <a:gd name="connsiteY258" fmla="*/ 5700 h 10010"/>
              <a:gd name="connsiteX259" fmla="*/ 1764 w 10000"/>
              <a:gd name="connsiteY259" fmla="*/ 5769 h 10010"/>
              <a:gd name="connsiteX260" fmla="*/ 1513 w 10000"/>
              <a:gd name="connsiteY260" fmla="*/ 5797 h 10010"/>
              <a:gd name="connsiteX261" fmla="*/ 1448 w 10000"/>
              <a:gd name="connsiteY261" fmla="*/ 5836 h 10010"/>
              <a:gd name="connsiteX262" fmla="*/ 1594 w 10000"/>
              <a:gd name="connsiteY262" fmla="*/ 5930 h 10010"/>
              <a:gd name="connsiteX263" fmla="*/ 1678 w 10000"/>
              <a:gd name="connsiteY263" fmla="*/ 6152 h 10010"/>
              <a:gd name="connsiteX264" fmla="*/ 1488 w 10000"/>
              <a:gd name="connsiteY264" fmla="*/ 6343 h 10010"/>
              <a:gd name="connsiteX265" fmla="*/ 1554 w 10000"/>
              <a:gd name="connsiteY265" fmla="*/ 6402 h 10010"/>
              <a:gd name="connsiteX266" fmla="*/ 1494 w 10000"/>
              <a:gd name="connsiteY266" fmla="*/ 6502 h 10010"/>
              <a:gd name="connsiteX267" fmla="*/ 1372 w 10000"/>
              <a:gd name="connsiteY267" fmla="*/ 6571 h 10010"/>
              <a:gd name="connsiteX268" fmla="*/ 889 w 10000"/>
              <a:gd name="connsiteY268" fmla="*/ 6624 h 10010"/>
              <a:gd name="connsiteX269" fmla="*/ 860 w 10000"/>
              <a:gd name="connsiteY269" fmla="*/ 6716 h 10010"/>
              <a:gd name="connsiteX270" fmla="*/ 600 w 10000"/>
              <a:gd name="connsiteY270" fmla="*/ 6853 h 10010"/>
              <a:gd name="connsiteX271" fmla="*/ 634 w 10000"/>
              <a:gd name="connsiteY271" fmla="*/ 7050 h 10010"/>
              <a:gd name="connsiteX272" fmla="*/ 415 w 10000"/>
              <a:gd name="connsiteY272" fmla="*/ 7303 h 10010"/>
              <a:gd name="connsiteX273" fmla="*/ 266 w 10000"/>
              <a:gd name="connsiteY273" fmla="*/ 7333 h 10010"/>
              <a:gd name="connsiteX274" fmla="*/ 204 w 10000"/>
              <a:gd name="connsiteY274" fmla="*/ 7272 h 10010"/>
              <a:gd name="connsiteX275" fmla="*/ 128 w 10000"/>
              <a:gd name="connsiteY275" fmla="*/ 7364 h 10010"/>
              <a:gd name="connsiteX276" fmla="*/ 178 w 10000"/>
              <a:gd name="connsiteY276" fmla="*/ 7207 h 10010"/>
              <a:gd name="connsiteX277" fmla="*/ 147 w 10000"/>
              <a:gd name="connsiteY277"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91 w 10000"/>
              <a:gd name="connsiteY211" fmla="*/ 485 h 10010"/>
              <a:gd name="connsiteX212" fmla="*/ 8477 w 10000"/>
              <a:gd name="connsiteY212" fmla="*/ 495 h 10010"/>
              <a:gd name="connsiteX213" fmla="*/ 7537 w 10000"/>
              <a:gd name="connsiteY213" fmla="*/ 397 h 10010"/>
              <a:gd name="connsiteX214" fmla="*/ 7423 w 10000"/>
              <a:gd name="connsiteY214" fmla="*/ 405 h 10010"/>
              <a:gd name="connsiteX215" fmla="*/ 7359 w 10000"/>
              <a:gd name="connsiteY215" fmla="*/ 424 h 10010"/>
              <a:gd name="connsiteX216" fmla="*/ 7290 w 10000"/>
              <a:gd name="connsiteY216" fmla="*/ 472 h 10010"/>
              <a:gd name="connsiteX217" fmla="*/ 7302 w 10000"/>
              <a:gd name="connsiteY217" fmla="*/ 591 h 10010"/>
              <a:gd name="connsiteX218" fmla="*/ 7199 w 10000"/>
              <a:gd name="connsiteY218" fmla="*/ 745 h 10010"/>
              <a:gd name="connsiteX219" fmla="*/ 7072 w 10000"/>
              <a:gd name="connsiteY219" fmla="*/ 825 h 10010"/>
              <a:gd name="connsiteX220" fmla="*/ 7021 w 10000"/>
              <a:gd name="connsiteY220" fmla="*/ 815 h 10010"/>
              <a:gd name="connsiteX221" fmla="*/ 6903 w 10000"/>
              <a:gd name="connsiteY221" fmla="*/ 749 h 10010"/>
              <a:gd name="connsiteX222" fmla="*/ 6756 w 10000"/>
              <a:gd name="connsiteY222" fmla="*/ 715 h 10010"/>
              <a:gd name="connsiteX223" fmla="*/ 6594 w 10000"/>
              <a:gd name="connsiteY223" fmla="*/ 725 h 10010"/>
              <a:gd name="connsiteX224" fmla="*/ 6223 w 10000"/>
              <a:gd name="connsiteY224" fmla="*/ 876 h 10010"/>
              <a:gd name="connsiteX225" fmla="*/ 6125 w 10000"/>
              <a:gd name="connsiteY225" fmla="*/ 1027 h 10010"/>
              <a:gd name="connsiteX226" fmla="*/ 5845 w 10000"/>
              <a:gd name="connsiteY226" fmla="*/ 1163 h 10010"/>
              <a:gd name="connsiteX227" fmla="*/ 5794 w 10000"/>
              <a:gd name="connsiteY227" fmla="*/ 1232 h 10010"/>
              <a:gd name="connsiteX228" fmla="*/ 5940 w 10000"/>
              <a:gd name="connsiteY228" fmla="*/ 1354 h 10010"/>
              <a:gd name="connsiteX229" fmla="*/ 5956 w 10000"/>
              <a:gd name="connsiteY229" fmla="*/ 1422 h 10010"/>
              <a:gd name="connsiteX230" fmla="*/ 5190 w 10000"/>
              <a:gd name="connsiteY230" fmla="*/ 1823 h 10010"/>
              <a:gd name="connsiteX231" fmla="*/ 4955 w 10000"/>
              <a:gd name="connsiteY231" fmla="*/ 2080 h 10010"/>
              <a:gd name="connsiteX232" fmla="*/ 4702 w 10000"/>
              <a:gd name="connsiteY232" fmla="*/ 2145 h 10010"/>
              <a:gd name="connsiteX233" fmla="*/ 4540 w 10000"/>
              <a:gd name="connsiteY233" fmla="*/ 2141 h 10010"/>
              <a:gd name="connsiteX234" fmla="*/ 4443 w 10000"/>
              <a:gd name="connsiteY234" fmla="*/ 2163 h 10010"/>
              <a:gd name="connsiteX235" fmla="*/ 4178 w 10000"/>
              <a:gd name="connsiteY235" fmla="*/ 2803 h 10010"/>
              <a:gd name="connsiteX236" fmla="*/ 3565 w 10000"/>
              <a:gd name="connsiteY236" fmla="*/ 3176 h 10010"/>
              <a:gd name="connsiteX237" fmla="*/ 3569 w 10000"/>
              <a:gd name="connsiteY237" fmla="*/ 3235 h 10010"/>
              <a:gd name="connsiteX238" fmla="*/ 3841 w 10000"/>
              <a:gd name="connsiteY238" fmla="*/ 3402 h 10010"/>
              <a:gd name="connsiteX239" fmla="*/ 3753 w 10000"/>
              <a:gd name="connsiteY239" fmla="*/ 3583 h 10010"/>
              <a:gd name="connsiteX240" fmla="*/ 3594 w 10000"/>
              <a:gd name="connsiteY240" fmla="*/ 3650 h 10010"/>
              <a:gd name="connsiteX241" fmla="*/ 3118 w 10000"/>
              <a:gd name="connsiteY241" fmla="*/ 3605 h 10010"/>
              <a:gd name="connsiteX242" fmla="*/ 2791 w 10000"/>
              <a:gd name="connsiteY242" fmla="*/ 3630 h 10010"/>
              <a:gd name="connsiteX243" fmla="*/ 2528 w 10000"/>
              <a:gd name="connsiteY243" fmla="*/ 3683 h 10010"/>
              <a:gd name="connsiteX244" fmla="*/ 2102 w 10000"/>
              <a:gd name="connsiteY244" fmla="*/ 3850 h 10010"/>
              <a:gd name="connsiteX245" fmla="*/ 1877 w 10000"/>
              <a:gd name="connsiteY245" fmla="*/ 4052 h 10010"/>
              <a:gd name="connsiteX246" fmla="*/ 1896 w 10000"/>
              <a:gd name="connsiteY246" fmla="*/ 4164 h 10010"/>
              <a:gd name="connsiteX247" fmla="*/ 1975 w 10000"/>
              <a:gd name="connsiteY247" fmla="*/ 4251 h 10010"/>
              <a:gd name="connsiteX248" fmla="*/ 2034 w 10000"/>
              <a:gd name="connsiteY248" fmla="*/ 4286 h 10010"/>
              <a:gd name="connsiteX249" fmla="*/ 1924 w 10000"/>
              <a:gd name="connsiteY249" fmla="*/ 4341 h 10010"/>
              <a:gd name="connsiteX250" fmla="*/ 1683 w 10000"/>
              <a:gd name="connsiteY250" fmla="*/ 4720 h 10010"/>
              <a:gd name="connsiteX251" fmla="*/ 1729 w 10000"/>
              <a:gd name="connsiteY251" fmla="*/ 4742 h 10010"/>
              <a:gd name="connsiteX252" fmla="*/ 1764 w 10000"/>
              <a:gd name="connsiteY252" fmla="*/ 4838 h 10010"/>
              <a:gd name="connsiteX253" fmla="*/ 1652 w 10000"/>
              <a:gd name="connsiteY253" fmla="*/ 5237 h 10010"/>
              <a:gd name="connsiteX254" fmla="*/ 1764 w 10000"/>
              <a:gd name="connsiteY254" fmla="*/ 5339 h 10010"/>
              <a:gd name="connsiteX255" fmla="*/ 2071 w 10000"/>
              <a:gd name="connsiteY255" fmla="*/ 5451 h 10010"/>
              <a:gd name="connsiteX256" fmla="*/ 2085 w 10000"/>
              <a:gd name="connsiteY256" fmla="*/ 5588 h 10010"/>
              <a:gd name="connsiteX257" fmla="*/ 1954 w 10000"/>
              <a:gd name="connsiteY257" fmla="*/ 5700 h 10010"/>
              <a:gd name="connsiteX258" fmla="*/ 1764 w 10000"/>
              <a:gd name="connsiteY258" fmla="*/ 5769 h 10010"/>
              <a:gd name="connsiteX259" fmla="*/ 1513 w 10000"/>
              <a:gd name="connsiteY259" fmla="*/ 5797 h 10010"/>
              <a:gd name="connsiteX260" fmla="*/ 1448 w 10000"/>
              <a:gd name="connsiteY260" fmla="*/ 5836 h 10010"/>
              <a:gd name="connsiteX261" fmla="*/ 1594 w 10000"/>
              <a:gd name="connsiteY261" fmla="*/ 5930 h 10010"/>
              <a:gd name="connsiteX262" fmla="*/ 1678 w 10000"/>
              <a:gd name="connsiteY262" fmla="*/ 6152 h 10010"/>
              <a:gd name="connsiteX263" fmla="*/ 1488 w 10000"/>
              <a:gd name="connsiteY263" fmla="*/ 6343 h 10010"/>
              <a:gd name="connsiteX264" fmla="*/ 1554 w 10000"/>
              <a:gd name="connsiteY264" fmla="*/ 6402 h 10010"/>
              <a:gd name="connsiteX265" fmla="*/ 1494 w 10000"/>
              <a:gd name="connsiteY265" fmla="*/ 6502 h 10010"/>
              <a:gd name="connsiteX266" fmla="*/ 1372 w 10000"/>
              <a:gd name="connsiteY266" fmla="*/ 6571 h 10010"/>
              <a:gd name="connsiteX267" fmla="*/ 889 w 10000"/>
              <a:gd name="connsiteY267" fmla="*/ 6624 h 10010"/>
              <a:gd name="connsiteX268" fmla="*/ 860 w 10000"/>
              <a:gd name="connsiteY268" fmla="*/ 6716 h 10010"/>
              <a:gd name="connsiteX269" fmla="*/ 600 w 10000"/>
              <a:gd name="connsiteY269" fmla="*/ 6853 h 10010"/>
              <a:gd name="connsiteX270" fmla="*/ 634 w 10000"/>
              <a:gd name="connsiteY270" fmla="*/ 7050 h 10010"/>
              <a:gd name="connsiteX271" fmla="*/ 415 w 10000"/>
              <a:gd name="connsiteY271" fmla="*/ 7303 h 10010"/>
              <a:gd name="connsiteX272" fmla="*/ 266 w 10000"/>
              <a:gd name="connsiteY272" fmla="*/ 7333 h 10010"/>
              <a:gd name="connsiteX273" fmla="*/ 204 w 10000"/>
              <a:gd name="connsiteY273" fmla="*/ 7272 h 10010"/>
              <a:gd name="connsiteX274" fmla="*/ 128 w 10000"/>
              <a:gd name="connsiteY274" fmla="*/ 7364 h 10010"/>
              <a:gd name="connsiteX275" fmla="*/ 178 w 10000"/>
              <a:gd name="connsiteY275" fmla="*/ 7207 h 10010"/>
              <a:gd name="connsiteX276" fmla="*/ 147 w 10000"/>
              <a:gd name="connsiteY276"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477 w 10000"/>
              <a:gd name="connsiteY211" fmla="*/ 495 h 10010"/>
              <a:gd name="connsiteX212" fmla="*/ 7537 w 10000"/>
              <a:gd name="connsiteY212" fmla="*/ 397 h 10010"/>
              <a:gd name="connsiteX213" fmla="*/ 7423 w 10000"/>
              <a:gd name="connsiteY213" fmla="*/ 405 h 10010"/>
              <a:gd name="connsiteX214" fmla="*/ 7359 w 10000"/>
              <a:gd name="connsiteY214" fmla="*/ 424 h 10010"/>
              <a:gd name="connsiteX215" fmla="*/ 7290 w 10000"/>
              <a:gd name="connsiteY215" fmla="*/ 472 h 10010"/>
              <a:gd name="connsiteX216" fmla="*/ 7302 w 10000"/>
              <a:gd name="connsiteY216" fmla="*/ 591 h 10010"/>
              <a:gd name="connsiteX217" fmla="*/ 7199 w 10000"/>
              <a:gd name="connsiteY217" fmla="*/ 745 h 10010"/>
              <a:gd name="connsiteX218" fmla="*/ 7072 w 10000"/>
              <a:gd name="connsiteY218" fmla="*/ 825 h 10010"/>
              <a:gd name="connsiteX219" fmla="*/ 7021 w 10000"/>
              <a:gd name="connsiteY219" fmla="*/ 815 h 10010"/>
              <a:gd name="connsiteX220" fmla="*/ 6903 w 10000"/>
              <a:gd name="connsiteY220" fmla="*/ 749 h 10010"/>
              <a:gd name="connsiteX221" fmla="*/ 6756 w 10000"/>
              <a:gd name="connsiteY221" fmla="*/ 715 h 10010"/>
              <a:gd name="connsiteX222" fmla="*/ 6594 w 10000"/>
              <a:gd name="connsiteY222" fmla="*/ 725 h 10010"/>
              <a:gd name="connsiteX223" fmla="*/ 6223 w 10000"/>
              <a:gd name="connsiteY223" fmla="*/ 876 h 10010"/>
              <a:gd name="connsiteX224" fmla="*/ 6125 w 10000"/>
              <a:gd name="connsiteY224" fmla="*/ 1027 h 10010"/>
              <a:gd name="connsiteX225" fmla="*/ 5845 w 10000"/>
              <a:gd name="connsiteY225" fmla="*/ 1163 h 10010"/>
              <a:gd name="connsiteX226" fmla="*/ 5794 w 10000"/>
              <a:gd name="connsiteY226" fmla="*/ 1232 h 10010"/>
              <a:gd name="connsiteX227" fmla="*/ 5940 w 10000"/>
              <a:gd name="connsiteY227" fmla="*/ 1354 h 10010"/>
              <a:gd name="connsiteX228" fmla="*/ 5956 w 10000"/>
              <a:gd name="connsiteY228" fmla="*/ 1422 h 10010"/>
              <a:gd name="connsiteX229" fmla="*/ 5190 w 10000"/>
              <a:gd name="connsiteY229" fmla="*/ 1823 h 10010"/>
              <a:gd name="connsiteX230" fmla="*/ 4955 w 10000"/>
              <a:gd name="connsiteY230" fmla="*/ 2080 h 10010"/>
              <a:gd name="connsiteX231" fmla="*/ 4702 w 10000"/>
              <a:gd name="connsiteY231" fmla="*/ 2145 h 10010"/>
              <a:gd name="connsiteX232" fmla="*/ 4540 w 10000"/>
              <a:gd name="connsiteY232" fmla="*/ 2141 h 10010"/>
              <a:gd name="connsiteX233" fmla="*/ 4443 w 10000"/>
              <a:gd name="connsiteY233" fmla="*/ 2163 h 10010"/>
              <a:gd name="connsiteX234" fmla="*/ 4178 w 10000"/>
              <a:gd name="connsiteY234" fmla="*/ 2803 h 10010"/>
              <a:gd name="connsiteX235" fmla="*/ 3565 w 10000"/>
              <a:gd name="connsiteY235" fmla="*/ 3176 h 10010"/>
              <a:gd name="connsiteX236" fmla="*/ 3569 w 10000"/>
              <a:gd name="connsiteY236" fmla="*/ 3235 h 10010"/>
              <a:gd name="connsiteX237" fmla="*/ 3841 w 10000"/>
              <a:gd name="connsiteY237" fmla="*/ 3402 h 10010"/>
              <a:gd name="connsiteX238" fmla="*/ 3753 w 10000"/>
              <a:gd name="connsiteY238" fmla="*/ 3583 h 10010"/>
              <a:gd name="connsiteX239" fmla="*/ 3594 w 10000"/>
              <a:gd name="connsiteY239" fmla="*/ 3650 h 10010"/>
              <a:gd name="connsiteX240" fmla="*/ 3118 w 10000"/>
              <a:gd name="connsiteY240" fmla="*/ 3605 h 10010"/>
              <a:gd name="connsiteX241" fmla="*/ 2791 w 10000"/>
              <a:gd name="connsiteY241" fmla="*/ 3630 h 10010"/>
              <a:gd name="connsiteX242" fmla="*/ 2528 w 10000"/>
              <a:gd name="connsiteY242" fmla="*/ 3683 h 10010"/>
              <a:gd name="connsiteX243" fmla="*/ 2102 w 10000"/>
              <a:gd name="connsiteY243" fmla="*/ 3850 h 10010"/>
              <a:gd name="connsiteX244" fmla="*/ 1877 w 10000"/>
              <a:gd name="connsiteY244" fmla="*/ 4052 h 10010"/>
              <a:gd name="connsiteX245" fmla="*/ 1896 w 10000"/>
              <a:gd name="connsiteY245" fmla="*/ 4164 h 10010"/>
              <a:gd name="connsiteX246" fmla="*/ 1975 w 10000"/>
              <a:gd name="connsiteY246" fmla="*/ 4251 h 10010"/>
              <a:gd name="connsiteX247" fmla="*/ 2034 w 10000"/>
              <a:gd name="connsiteY247" fmla="*/ 4286 h 10010"/>
              <a:gd name="connsiteX248" fmla="*/ 1924 w 10000"/>
              <a:gd name="connsiteY248" fmla="*/ 4341 h 10010"/>
              <a:gd name="connsiteX249" fmla="*/ 1683 w 10000"/>
              <a:gd name="connsiteY249" fmla="*/ 4720 h 10010"/>
              <a:gd name="connsiteX250" fmla="*/ 1729 w 10000"/>
              <a:gd name="connsiteY250" fmla="*/ 4742 h 10010"/>
              <a:gd name="connsiteX251" fmla="*/ 1764 w 10000"/>
              <a:gd name="connsiteY251" fmla="*/ 4838 h 10010"/>
              <a:gd name="connsiteX252" fmla="*/ 1652 w 10000"/>
              <a:gd name="connsiteY252" fmla="*/ 5237 h 10010"/>
              <a:gd name="connsiteX253" fmla="*/ 1764 w 10000"/>
              <a:gd name="connsiteY253" fmla="*/ 5339 h 10010"/>
              <a:gd name="connsiteX254" fmla="*/ 2071 w 10000"/>
              <a:gd name="connsiteY254" fmla="*/ 5451 h 10010"/>
              <a:gd name="connsiteX255" fmla="*/ 2085 w 10000"/>
              <a:gd name="connsiteY255" fmla="*/ 5588 h 10010"/>
              <a:gd name="connsiteX256" fmla="*/ 1954 w 10000"/>
              <a:gd name="connsiteY256" fmla="*/ 5700 h 10010"/>
              <a:gd name="connsiteX257" fmla="*/ 1764 w 10000"/>
              <a:gd name="connsiteY257" fmla="*/ 5769 h 10010"/>
              <a:gd name="connsiteX258" fmla="*/ 1513 w 10000"/>
              <a:gd name="connsiteY258" fmla="*/ 5797 h 10010"/>
              <a:gd name="connsiteX259" fmla="*/ 1448 w 10000"/>
              <a:gd name="connsiteY259" fmla="*/ 5836 h 10010"/>
              <a:gd name="connsiteX260" fmla="*/ 1594 w 10000"/>
              <a:gd name="connsiteY260" fmla="*/ 5930 h 10010"/>
              <a:gd name="connsiteX261" fmla="*/ 1678 w 10000"/>
              <a:gd name="connsiteY261" fmla="*/ 6152 h 10010"/>
              <a:gd name="connsiteX262" fmla="*/ 1488 w 10000"/>
              <a:gd name="connsiteY262" fmla="*/ 6343 h 10010"/>
              <a:gd name="connsiteX263" fmla="*/ 1554 w 10000"/>
              <a:gd name="connsiteY263" fmla="*/ 6402 h 10010"/>
              <a:gd name="connsiteX264" fmla="*/ 1494 w 10000"/>
              <a:gd name="connsiteY264" fmla="*/ 6502 h 10010"/>
              <a:gd name="connsiteX265" fmla="*/ 1372 w 10000"/>
              <a:gd name="connsiteY265" fmla="*/ 6571 h 10010"/>
              <a:gd name="connsiteX266" fmla="*/ 889 w 10000"/>
              <a:gd name="connsiteY266" fmla="*/ 6624 h 10010"/>
              <a:gd name="connsiteX267" fmla="*/ 860 w 10000"/>
              <a:gd name="connsiteY267" fmla="*/ 6716 h 10010"/>
              <a:gd name="connsiteX268" fmla="*/ 600 w 10000"/>
              <a:gd name="connsiteY268" fmla="*/ 6853 h 10010"/>
              <a:gd name="connsiteX269" fmla="*/ 634 w 10000"/>
              <a:gd name="connsiteY269" fmla="*/ 7050 h 10010"/>
              <a:gd name="connsiteX270" fmla="*/ 415 w 10000"/>
              <a:gd name="connsiteY270" fmla="*/ 7303 h 10010"/>
              <a:gd name="connsiteX271" fmla="*/ 266 w 10000"/>
              <a:gd name="connsiteY271" fmla="*/ 7333 h 10010"/>
              <a:gd name="connsiteX272" fmla="*/ 204 w 10000"/>
              <a:gd name="connsiteY272" fmla="*/ 7272 h 10010"/>
              <a:gd name="connsiteX273" fmla="*/ 128 w 10000"/>
              <a:gd name="connsiteY273" fmla="*/ 7364 h 10010"/>
              <a:gd name="connsiteX274" fmla="*/ 178 w 10000"/>
              <a:gd name="connsiteY274" fmla="*/ 7207 h 10010"/>
              <a:gd name="connsiteX275" fmla="*/ 147 w 10000"/>
              <a:gd name="connsiteY275"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7537 w 10000"/>
              <a:gd name="connsiteY211" fmla="*/ 397 h 10010"/>
              <a:gd name="connsiteX212" fmla="*/ 7423 w 10000"/>
              <a:gd name="connsiteY212" fmla="*/ 405 h 10010"/>
              <a:gd name="connsiteX213" fmla="*/ 7359 w 10000"/>
              <a:gd name="connsiteY213" fmla="*/ 424 h 10010"/>
              <a:gd name="connsiteX214" fmla="*/ 7290 w 10000"/>
              <a:gd name="connsiteY214" fmla="*/ 472 h 10010"/>
              <a:gd name="connsiteX215" fmla="*/ 7302 w 10000"/>
              <a:gd name="connsiteY215" fmla="*/ 591 h 10010"/>
              <a:gd name="connsiteX216" fmla="*/ 7199 w 10000"/>
              <a:gd name="connsiteY216" fmla="*/ 745 h 10010"/>
              <a:gd name="connsiteX217" fmla="*/ 7072 w 10000"/>
              <a:gd name="connsiteY217" fmla="*/ 825 h 10010"/>
              <a:gd name="connsiteX218" fmla="*/ 7021 w 10000"/>
              <a:gd name="connsiteY218" fmla="*/ 815 h 10010"/>
              <a:gd name="connsiteX219" fmla="*/ 6903 w 10000"/>
              <a:gd name="connsiteY219" fmla="*/ 749 h 10010"/>
              <a:gd name="connsiteX220" fmla="*/ 6756 w 10000"/>
              <a:gd name="connsiteY220" fmla="*/ 715 h 10010"/>
              <a:gd name="connsiteX221" fmla="*/ 6594 w 10000"/>
              <a:gd name="connsiteY221" fmla="*/ 725 h 10010"/>
              <a:gd name="connsiteX222" fmla="*/ 6223 w 10000"/>
              <a:gd name="connsiteY222" fmla="*/ 876 h 10010"/>
              <a:gd name="connsiteX223" fmla="*/ 6125 w 10000"/>
              <a:gd name="connsiteY223" fmla="*/ 1027 h 10010"/>
              <a:gd name="connsiteX224" fmla="*/ 5845 w 10000"/>
              <a:gd name="connsiteY224" fmla="*/ 1163 h 10010"/>
              <a:gd name="connsiteX225" fmla="*/ 5794 w 10000"/>
              <a:gd name="connsiteY225" fmla="*/ 1232 h 10010"/>
              <a:gd name="connsiteX226" fmla="*/ 5940 w 10000"/>
              <a:gd name="connsiteY226" fmla="*/ 1354 h 10010"/>
              <a:gd name="connsiteX227" fmla="*/ 5956 w 10000"/>
              <a:gd name="connsiteY227" fmla="*/ 1422 h 10010"/>
              <a:gd name="connsiteX228" fmla="*/ 5190 w 10000"/>
              <a:gd name="connsiteY228" fmla="*/ 1823 h 10010"/>
              <a:gd name="connsiteX229" fmla="*/ 4955 w 10000"/>
              <a:gd name="connsiteY229" fmla="*/ 2080 h 10010"/>
              <a:gd name="connsiteX230" fmla="*/ 4702 w 10000"/>
              <a:gd name="connsiteY230" fmla="*/ 2145 h 10010"/>
              <a:gd name="connsiteX231" fmla="*/ 4540 w 10000"/>
              <a:gd name="connsiteY231" fmla="*/ 2141 h 10010"/>
              <a:gd name="connsiteX232" fmla="*/ 4443 w 10000"/>
              <a:gd name="connsiteY232" fmla="*/ 2163 h 10010"/>
              <a:gd name="connsiteX233" fmla="*/ 4178 w 10000"/>
              <a:gd name="connsiteY233" fmla="*/ 2803 h 10010"/>
              <a:gd name="connsiteX234" fmla="*/ 3565 w 10000"/>
              <a:gd name="connsiteY234" fmla="*/ 3176 h 10010"/>
              <a:gd name="connsiteX235" fmla="*/ 3569 w 10000"/>
              <a:gd name="connsiteY235" fmla="*/ 3235 h 10010"/>
              <a:gd name="connsiteX236" fmla="*/ 3841 w 10000"/>
              <a:gd name="connsiteY236" fmla="*/ 3402 h 10010"/>
              <a:gd name="connsiteX237" fmla="*/ 3753 w 10000"/>
              <a:gd name="connsiteY237" fmla="*/ 3583 h 10010"/>
              <a:gd name="connsiteX238" fmla="*/ 3594 w 10000"/>
              <a:gd name="connsiteY238" fmla="*/ 3650 h 10010"/>
              <a:gd name="connsiteX239" fmla="*/ 3118 w 10000"/>
              <a:gd name="connsiteY239" fmla="*/ 3605 h 10010"/>
              <a:gd name="connsiteX240" fmla="*/ 2791 w 10000"/>
              <a:gd name="connsiteY240" fmla="*/ 3630 h 10010"/>
              <a:gd name="connsiteX241" fmla="*/ 2528 w 10000"/>
              <a:gd name="connsiteY241" fmla="*/ 3683 h 10010"/>
              <a:gd name="connsiteX242" fmla="*/ 2102 w 10000"/>
              <a:gd name="connsiteY242" fmla="*/ 3850 h 10010"/>
              <a:gd name="connsiteX243" fmla="*/ 1877 w 10000"/>
              <a:gd name="connsiteY243" fmla="*/ 4052 h 10010"/>
              <a:gd name="connsiteX244" fmla="*/ 1896 w 10000"/>
              <a:gd name="connsiteY244" fmla="*/ 4164 h 10010"/>
              <a:gd name="connsiteX245" fmla="*/ 1975 w 10000"/>
              <a:gd name="connsiteY245" fmla="*/ 4251 h 10010"/>
              <a:gd name="connsiteX246" fmla="*/ 2034 w 10000"/>
              <a:gd name="connsiteY246" fmla="*/ 4286 h 10010"/>
              <a:gd name="connsiteX247" fmla="*/ 1924 w 10000"/>
              <a:gd name="connsiteY247" fmla="*/ 4341 h 10010"/>
              <a:gd name="connsiteX248" fmla="*/ 1683 w 10000"/>
              <a:gd name="connsiteY248" fmla="*/ 4720 h 10010"/>
              <a:gd name="connsiteX249" fmla="*/ 1729 w 10000"/>
              <a:gd name="connsiteY249" fmla="*/ 4742 h 10010"/>
              <a:gd name="connsiteX250" fmla="*/ 1764 w 10000"/>
              <a:gd name="connsiteY250" fmla="*/ 4838 h 10010"/>
              <a:gd name="connsiteX251" fmla="*/ 1652 w 10000"/>
              <a:gd name="connsiteY251" fmla="*/ 5237 h 10010"/>
              <a:gd name="connsiteX252" fmla="*/ 1764 w 10000"/>
              <a:gd name="connsiteY252" fmla="*/ 5339 h 10010"/>
              <a:gd name="connsiteX253" fmla="*/ 2071 w 10000"/>
              <a:gd name="connsiteY253" fmla="*/ 5451 h 10010"/>
              <a:gd name="connsiteX254" fmla="*/ 2085 w 10000"/>
              <a:gd name="connsiteY254" fmla="*/ 5588 h 10010"/>
              <a:gd name="connsiteX255" fmla="*/ 1954 w 10000"/>
              <a:gd name="connsiteY255" fmla="*/ 5700 h 10010"/>
              <a:gd name="connsiteX256" fmla="*/ 1764 w 10000"/>
              <a:gd name="connsiteY256" fmla="*/ 5769 h 10010"/>
              <a:gd name="connsiteX257" fmla="*/ 1513 w 10000"/>
              <a:gd name="connsiteY257" fmla="*/ 5797 h 10010"/>
              <a:gd name="connsiteX258" fmla="*/ 1448 w 10000"/>
              <a:gd name="connsiteY258" fmla="*/ 5836 h 10010"/>
              <a:gd name="connsiteX259" fmla="*/ 1594 w 10000"/>
              <a:gd name="connsiteY259" fmla="*/ 5930 h 10010"/>
              <a:gd name="connsiteX260" fmla="*/ 1678 w 10000"/>
              <a:gd name="connsiteY260" fmla="*/ 6152 h 10010"/>
              <a:gd name="connsiteX261" fmla="*/ 1488 w 10000"/>
              <a:gd name="connsiteY261" fmla="*/ 6343 h 10010"/>
              <a:gd name="connsiteX262" fmla="*/ 1554 w 10000"/>
              <a:gd name="connsiteY262" fmla="*/ 6402 h 10010"/>
              <a:gd name="connsiteX263" fmla="*/ 1494 w 10000"/>
              <a:gd name="connsiteY263" fmla="*/ 6502 h 10010"/>
              <a:gd name="connsiteX264" fmla="*/ 1372 w 10000"/>
              <a:gd name="connsiteY264" fmla="*/ 6571 h 10010"/>
              <a:gd name="connsiteX265" fmla="*/ 889 w 10000"/>
              <a:gd name="connsiteY265" fmla="*/ 6624 h 10010"/>
              <a:gd name="connsiteX266" fmla="*/ 860 w 10000"/>
              <a:gd name="connsiteY266" fmla="*/ 6716 h 10010"/>
              <a:gd name="connsiteX267" fmla="*/ 600 w 10000"/>
              <a:gd name="connsiteY267" fmla="*/ 6853 h 10010"/>
              <a:gd name="connsiteX268" fmla="*/ 634 w 10000"/>
              <a:gd name="connsiteY268" fmla="*/ 7050 h 10010"/>
              <a:gd name="connsiteX269" fmla="*/ 415 w 10000"/>
              <a:gd name="connsiteY269" fmla="*/ 7303 h 10010"/>
              <a:gd name="connsiteX270" fmla="*/ 266 w 10000"/>
              <a:gd name="connsiteY270" fmla="*/ 7333 h 10010"/>
              <a:gd name="connsiteX271" fmla="*/ 204 w 10000"/>
              <a:gd name="connsiteY271" fmla="*/ 7272 h 10010"/>
              <a:gd name="connsiteX272" fmla="*/ 128 w 10000"/>
              <a:gd name="connsiteY272" fmla="*/ 7364 h 10010"/>
              <a:gd name="connsiteX273" fmla="*/ 178 w 10000"/>
              <a:gd name="connsiteY273" fmla="*/ 7207 h 10010"/>
              <a:gd name="connsiteX274" fmla="*/ 147 w 10000"/>
              <a:gd name="connsiteY274"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7537 w 10000"/>
              <a:gd name="connsiteY210" fmla="*/ 397 h 10010"/>
              <a:gd name="connsiteX211" fmla="*/ 7423 w 10000"/>
              <a:gd name="connsiteY211" fmla="*/ 405 h 10010"/>
              <a:gd name="connsiteX212" fmla="*/ 7359 w 10000"/>
              <a:gd name="connsiteY212" fmla="*/ 424 h 10010"/>
              <a:gd name="connsiteX213" fmla="*/ 7290 w 10000"/>
              <a:gd name="connsiteY213" fmla="*/ 472 h 10010"/>
              <a:gd name="connsiteX214" fmla="*/ 7302 w 10000"/>
              <a:gd name="connsiteY214" fmla="*/ 591 h 10010"/>
              <a:gd name="connsiteX215" fmla="*/ 7199 w 10000"/>
              <a:gd name="connsiteY215" fmla="*/ 745 h 10010"/>
              <a:gd name="connsiteX216" fmla="*/ 7072 w 10000"/>
              <a:gd name="connsiteY216" fmla="*/ 825 h 10010"/>
              <a:gd name="connsiteX217" fmla="*/ 7021 w 10000"/>
              <a:gd name="connsiteY217" fmla="*/ 815 h 10010"/>
              <a:gd name="connsiteX218" fmla="*/ 6903 w 10000"/>
              <a:gd name="connsiteY218" fmla="*/ 749 h 10010"/>
              <a:gd name="connsiteX219" fmla="*/ 6756 w 10000"/>
              <a:gd name="connsiteY219" fmla="*/ 715 h 10010"/>
              <a:gd name="connsiteX220" fmla="*/ 6594 w 10000"/>
              <a:gd name="connsiteY220" fmla="*/ 725 h 10010"/>
              <a:gd name="connsiteX221" fmla="*/ 6223 w 10000"/>
              <a:gd name="connsiteY221" fmla="*/ 876 h 10010"/>
              <a:gd name="connsiteX222" fmla="*/ 6125 w 10000"/>
              <a:gd name="connsiteY222" fmla="*/ 1027 h 10010"/>
              <a:gd name="connsiteX223" fmla="*/ 5845 w 10000"/>
              <a:gd name="connsiteY223" fmla="*/ 1163 h 10010"/>
              <a:gd name="connsiteX224" fmla="*/ 5794 w 10000"/>
              <a:gd name="connsiteY224" fmla="*/ 1232 h 10010"/>
              <a:gd name="connsiteX225" fmla="*/ 5940 w 10000"/>
              <a:gd name="connsiteY225" fmla="*/ 1354 h 10010"/>
              <a:gd name="connsiteX226" fmla="*/ 5956 w 10000"/>
              <a:gd name="connsiteY226" fmla="*/ 1422 h 10010"/>
              <a:gd name="connsiteX227" fmla="*/ 5190 w 10000"/>
              <a:gd name="connsiteY227" fmla="*/ 1823 h 10010"/>
              <a:gd name="connsiteX228" fmla="*/ 4955 w 10000"/>
              <a:gd name="connsiteY228" fmla="*/ 2080 h 10010"/>
              <a:gd name="connsiteX229" fmla="*/ 4702 w 10000"/>
              <a:gd name="connsiteY229" fmla="*/ 2145 h 10010"/>
              <a:gd name="connsiteX230" fmla="*/ 4540 w 10000"/>
              <a:gd name="connsiteY230" fmla="*/ 2141 h 10010"/>
              <a:gd name="connsiteX231" fmla="*/ 4443 w 10000"/>
              <a:gd name="connsiteY231" fmla="*/ 2163 h 10010"/>
              <a:gd name="connsiteX232" fmla="*/ 4178 w 10000"/>
              <a:gd name="connsiteY232" fmla="*/ 2803 h 10010"/>
              <a:gd name="connsiteX233" fmla="*/ 3565 w 10000"/>
              <a:gd name="connsiteY233" fmla="*/ 3176 h 10010"/>
              <a:gd name="connsiteX234" fmla="*/ 3569 w 10000"/>
              <a:gd name="connsiteY234" fmla="*/ 3235 h 10010"/>
              <a:gd name="connsiteX235" fmla="*/ 3841 w 10000"/>
              <a:gd name="connsiteY235" fmla="*/ 3402 h 10010"/>
              <a:gd name="connsiteX236" fmla="*/ 3753 w 10000"/>
              <a:gd name="connsiteY236" fmla="*/ 3583 h 10010"/>
              <a:gd name="connsiteX237" fmla="*/ 3594 w 10000"/>
              <a:gd name="connsiteY237" fmla="*/ 3650 h 10010"/>
              <a:gd name="connsiteX238" fmla="*/ 3118 w 10000"/>
              <a:gd name="connsiteY238" fmla="*/ 3605 h 10010"/>
              <a:gd name="connsiteX239" fmla="*/ 2791 w 10000"/>
              <a:gd name="connsiteY239" fmla="*/ 3630 h 10010"/>
              <a:gd name="connsiteX240" fmla="*/ 2528 w 10000"/>
              <a:gd name="connsiteY240" fmla="*/ 3683 h 10010"/>
              <a:gd name="connsiteX241" fmla="*/ 2102 w 10000"/>
              <a:gd name="connsiteY241" fmla="*/ 3850 h 10010"/>
              <a:gd name="connsiteX242" fmla="*/ 1877 w 10000"/>
              <a:gd name="connsiteY242" fmla="*/ 4052 h 10010"/>
              <a:gd name="connsiteX243" fmla="*/ 1896 w 10000"/>
              <a:gd name="connsiteY243" fmla="*/ 4164 h 10010"/>
              <a:gd name="connsiteX244" fmla="*/ 1975 w 10000"/>
              <a:gd name="connsiteY244" fmla="*/ 4251 h 10010"/>
              <a:gd name="connsiteX245" fmla="*/ 2034 w 10000"/>
              <a:gd name="connsiteY245" fmla="*/ 4286 h 10010"/>
              <a:gd name="connsiteX246" fmla="*/ 1924 w 10000"/>
              <a:gd name="connsiteY246" fmla="*/ 4341 h 10010"/>
              <a:gd name="connsiteX247" fmla="*/ 1683 w 10000"/>
              <a:gd name="connsiteY247" fmla="*/ 4720 h 10010"/>
              <a:gd name="connsiteX248" fmla="*/ 1729 w 10000"/>
              <a:gd name="connsiteY248" fmla="*/ 4742 h 10010"/>
              <a:gd name="connsiteX249" fmla="*/ 1764 w 10000"/>
              <a:gd name="connsiteY249" fmla="*/ 4838 h 10010"/>
              <a:gd name="connsiteX250" fmla="*/ 1652 w 10000"/>
              <a:gd name="connsiteY250" fmla="*/ 5237 h 10010"/>
              <a:gd name="connsiteX251" fmla="*/ 1764 w 10000"/>
              <a:gd name="connsiteY251" fmla="*/ 5339 h 10010"/>
              <a:gd name="connsiteX252" fmla="*/ 2071 w 10000"/>
              <a:gd name="connsiteY252" fmla="*/ 5451 h 10010"/>
              <a:gd name="connsiteX253" fmla="*/ 2085 w 10000"/>
              <a:gd name="connsiteY253" fmla="*/ 5588 h 10010"/>
              <a:gd name="connsiteX254" fmla="*/ 1954 w 10000"/>
              <a:gd name="connsiteY254" fmla="*/ 5700 h 10010"/>
              <a:gd name="connsiteX255" fmla="*/ 1764 w 10000"/>
              <a:gd name="connsiteY255" fmla="*/ 5769 h 10010"/>
              <a:gd name="connsiteX256" fmla="*/ 1513 w 10000"/>
              <a:gd name="connsiteY256" fmla="*/ 5797 h 10010"/>
              <a:gd name="connsiteX257" fmla="*/ 1448 w 10000"/>
              <a:gd name="connsiteY257" fmla="*/ 5836 h 10010"/>
              <a:gd name="connsiteX258" fmla="*/ 1594 w 10000"/>
              <a:gd name="connsiteY258" fmla="*/ 5930 h 10010"/>
              <a:gd name="connsiteX259" fmla="*/ 1678 w 10000"/>
              <a:gd name="connsiteY259" fmla="*/ 6152 h 10010"/>
              <a:gd name="connsiteX260" fmla="*/ 1488 w 10000"/>
              <a:gd name="connsiteY260" fmla="*/ 6343 h 10010"/>
              <a:gd name="connsiteX261" fmla="*/ 1554 w 10000"/>
              <a:gd name="connsiteY261" fmla="*/ 6402 h 10010"/>
              <a:gd name="connsiteX262" fmla="*/ 1494 w 10000"/>
              <a:gd name="connsiteY262" fmla="*/ 6502 h 10010"/>
              <a:gd name="connsiteX263" fmla="*/ 1372 w 10000"/>
              <a:gd name="connsiteY263" fmla="*/ 6571 h 10010"/>
              <a:gd name="connsiteX264" fmla="*/ 889 w 10000"/>
              <a:gd name="connsiteY264" fmla="*/ 6624 h 10010"/>
              <a:gd name="connsiteX265" fmla="*/ 860 w 10000"/>
              <a:gd name="connsiteY265" fmla="*/ 6716 h 10010"/>
              <a:gd name="connsiteX266" fmla="*/ 600 w 10000"/>
              <a:gd name="connsiteY266" fmla="*/ 6853 h 10010"/>
              <a:gd name="connsiteX267" fmla="*/ 634 w 10000"/>
              <a:gd name="connsiteY267" fmla="*/ 7050 h 10010"/>
              <a:gd name="connsiteX268" fmla="*/ 415 w 10000"/>
              <a:gd name="connsiteY268" fmla="*/ 7303 h 10010"/>
              <a:gd name="connsiteX269" fmla="*/ 266 w 10000"/>
              <a:gd name="connsiteY269" fmla="*/ 7333 h 10010"/>
              <a:gd name="connsiteX270" fmla="*/ 204 w 10000"/>
              <a:gd name="connsiteY270" fmla="*/ 7272 h 10010"/>
              <a:gd name="connsiteX271" fmla="*/ 128 w 10000"/>
              <a:gd name="connsiteY271" fmla="*/ 7364 h 10010"/>
              <a:gd name="connsiteX272" fmla="*/ 178 w 10000"/>
              <a:gd name="connsiteY272" fmla="*/ 7207 h 10010"/>
              <a:gd name="connsiteX273" fmla="*/ 147 w 10000"/>
              <a:gd name="connsiteY273" fmla="*/ 7176 h 10010"/>
              <a:gd name="connsiteX0" fmla="*/ 147 w 10000"/>
              <a:gd name="connsiteY0" fmla="*/ 7140 h 9974"/>
              <a:gd name="connsiteX1" fmla="*/ 0 w 10000"/>
              <a:gd name="connsiteY1" fmla="*/ 7222 h 9974"/>
              <a:gd name="connsiteX2" fmla="*/ 0 w 10000"/>
              <a:gd name="connsiteY2" fmla="*/ 7625 h 9974"/>
              <a:gd name="connsiteX3" fmla="*/ 81 w 10000"/>
              <a:gd name="connsiteY3" fmla="*/ 7637 h 9974"/>
              <a:gd name="connsiteX4" fmla="*/ 100 w 10000"/>
              <a:gd name="connsiteY4" fmla="*/ 7668 h 9974"/>
              <a:gd name="connsiteX5" fmla="*/ 96 w 10000"/>
              <a:gd name="connsiteY5" fmla="*/ 7723 h 9974"/>
              <a:gd name="connsiteX6" fmla="*/ 66 w 10000"/>
              <a:gd name="connsiteY6" fmla="*/ 7747 h 9974"/>
              <a:gd name="connsiteX7" fmla="*/ 190 w 10000"/>
              <a:gd name="connsiteY7" fmla="*/ 7701 h 9974"/>
              <a:gd name="connsiteX8" fmla="*/ 242 w 10000"/>
              <a:gd name="connsiteY8" fmla="*/ 7654 h 9974"/>
              <a:gd name="connsiteX9" fmla="*/ 306 w 10000"/>
              <a:gd name="connsiteY9" fmla="*/ 7686 h 9974"/>
              <a:gd name="connsiteX10" fmla="*/ 235 w 10000"/>
              <a:gd name="connsiteY10" fmla="*/ 7752 h 9974"/>
              <a:gd name="connsiteX11" fmla="*/ 311 w 10000"/>
              <a:gd name="connsiteY11" fmla="*/ 7754 h 9974"/>
              <a:gd name="connsiteX12" fmla="*/ 348 w 10000"/>
              <a:gd name="connsiteY12" fmla="*/ 7770 h 9974"/>
              <a:gd name="connsiteX13" fmla="*/ 250 w 10000"/>
              <a:gd name="connsiteY13" fmla="*/ 7792 h 9974"/>
              <a:gd name="connsiteX14" fmla="*/ 96 w 10000"/>
              <a:gd name="connsiteY14" fmla="*/ 7860 h 9974"/>
              <a:gd name="connsiteX15" fmla="*/ 370 w 10000"/>
              <a:gd name="connsiteY15" fmla="*/ 7912 h 9974"/>
              <a:gd name="connsiteX16" fmla="*/ 404 w 10000"/>
              <a:gd name="connsiteY16" fmla="*/ 7988 h 9974"/>
              <a:gd name="connsiteX17" fmla="*/ 311 w 10000"/>
              <a:gd name="connsiteY17" fmla="*/ 8100 h 9974"/>
              <a:gd name="connsiteX18" fmla="*/ 511 w 10000"/>
              <a:gd name="connsiteY18" fmla="*/ 8092 h 9974"/>
              <a:gd name="connsiteX19" fmla="*/ 526 w 10000"/>
              <a:gd name="connsiteY19" fmla="*/ 8177 h 9974"/>
              <a:gd name="connsiteX20" fmla="*/ 393 w 10000"/>
              <a:gd name="connsiteY20" fmla="*/ 8234 h 9974"/>
              <a:gd name="connsiteX21" fmla="*/ 415 w 10000"/>
              <a:gd name="connsiteY21" fmla="*/ 8344 h 9974"/>
              <a:gd name="connsiteX22" fmla="*/ 364 w 10000"/>
              <a:gd name="connsiteY22" fmla="*/ 8430 h 9974"/>
              <a:gd name="connsiteX23" fmla="*/ 521 w 10000"/>
              <a:gd name="connsiteY23" fmla="*/ 8438 h 9974"/>
              <a:gd name="connsiteX24" fmla="*/ 676 w 10000"/>
              <a:gd name="connsiteY24" fmla="*/ 8766 h 9974"/>
              <a:gd name="connsiteX25" fmla="*/ 853 w 10000"/>
              <a:gd name="connsiteY25" fmla="*/ 8850 h 9974"/>
              <a:gd name="connsiteX26" fmla="*/ 931 w 10000"/>
              <a:gd name="connsiteY26" fmla="*/ 8939 h 9974"/>
              <a:gd name="connsiteX27" fmla="*/ 1125 w 10000"/>
              <a:gd name="connsiteY27" fmla="*/ 9004 h 9974"/>
              <a:gd name="connsiteX28" fmla="*/ 1249 w 10000"/>
              <a:gd name="connsiteY28" fmla="*/ 9086 h 9974"/>
              <a:gd name="connsiteX29" fmla="*/ 1233 w 10000"/>
              <a:gd name="connsiteY29" fmla="*/ 9145 h 9974"/>
              <a:gd name="connsiteX30" fmla="*/ 1110 w 10000"/>
              <a:gd name="connsiteY30" fmla="*/ 9167 h 9974"/>
              <a:gd name="connsiteX31" fmla="*/ 976 w 10000"/>
              <a:gd name="connsiteY31" fmla="*/ 9153 h 9974"/>
              <a:gd name="connsiteX32" fmla="*/ 935 w 10000"/>
              <a:gd name="connsiteY32" fmla="*/ 9178 h 9974"/>
              <a:gd name="connsiteX33" fmla="*/ 1037 w 10000"/>
              <a:gd name="connsiteY33" fmla="*/ 9306 h 9974"/>
              <a:gd name="connsiteX34" fmla="*/ 894 w 10000"/>
              <a:gd name="connsiteY34" fmla="*/ 9296 h 9974"/>
              <a:gd name="connsiteX35" fmla="*/ 773 w 10000"/>
              <a:gd name="connsiteY35" fmla="*/ 9265 h 9974"/>
              <a:gd name="connsiteX36" fmla="*/ 750 w 10000"/>
              <a:gd name="connsiteY36" fmla="*/ 9312 h 9974"/>
              <a:gd name="connsiteX37" fmla="*/ 1155 w 10000"/>
              <a:gd name="connsiteY37" fmla="*/ 9750 h 9974"/>
              <a:gd name="connsiteX38" fmla="*/ 1091 w 10000"/>
              <a:gd name="connsiteY38" fmla="*/ 9791 h 9974"/>
              <a:gd name="connsiteX39" fmla="*/ 1045 w 10000"/>
              <a:gd name="connsiteY39" fmla="*/ 9876 h 9974"/>
              <a:gd name="connsiteX40" fmla="*/ 987 w 10000"/>
              <a:gd name="connsiteY40" fmla="*/ 9882 h 9974"/>
              <a:gd name="connsiteX41" fmla="*/ 951 w 10000"/>
              <a:gd name="connsiteY41" fmla="*/ 9919 h 9974"/>
              <a:gd name="connsiteX42" fmla="*/ 1195 w 10000"/>
              <a:gd name="connsiteY42" fmla="*/ 9923 h 9974"/>
              <a:gd name="connsiteX43" fmla="*/ 1410 w 10000"/>
              <a:gd name="connsiteY43" fmla="*/ 9960 h 9974"/>
              <a:gd name="connsiteX44" fmla="*/ 1769 w 10000"/>
              <a:gd name="connsiteY44" fmla="*/ 9921 h 9974"/>
              <a:gd name="connsiteX45" fmla="*/ 2091 w 10000"/>
              <a:gd name="connsiteY45" fmla="*/ 9927 h 9974"/>
              <a:gd name="connsiteX46" fmla="*/ 2280 w 10000"/>
              <a:gd name="connsiteY46" fmla="*/ 9974 h 9974"/>
              <a:gd name="connsiteX47" fmla="*/ 2385 w 10000"/>
              <a:gd name="connsiteY47" fmla="*/ 9943 h 9974"/>
              <a:gd name="connsiteX48" fmla="*/ 2485 w 10000"/>
              <a:gd name="connsiteY48" fmla="*/ 9842 h 9974"/>
              <a:gd name="connsiteX49" fmla="*/ 2459 w 10000"/>
              <a:gd name="connsiteY49" fmla="*/ 9677 h 9974"/>
              <a:gd name="connsiteX50" fmla="*/ 2704 w 10000"/>
              <a:gd name="connsiteY50" fmla="*/ 9491 h 9974"/>
              <a:gd name="connsiteX51" fmla="*/ 2883 w 10000"/>
              <a:gd name="connsiteY51" fmla="*/ 9520 h 9974"/>
              <a:gd name="connsiteX52" fmla="*/ 2987 w 10000"/>
              <a:gd name="connsiteY52" fmla="*/ 9446 h 9974"/>
              <a:gd name="connsiteX53" fmla="*/ 3186 w 10000"/>
              <a:gd name="connsiteY53" fmla="*/ 9404 h 9974"/>
              <a:gd name="connsiteX54" fmla="*/ 3457 w 10000"/>
              <a:gd name="connsiteY54" fmla="*/ 9414 h 9974"/>
              <a:gd name="connsiteX55" fmla="*/ 3620 w 10000"/>
              <a:gd name="connsiteY55" fmla="*/ 9444 h 9974"/>
              <a:gd name="connsiteX56" fmla="*/ 3837 w 10000"/>
              <a:gd name="connsiteY56" fmla="*/ 9430 h 9974"/>
              <a:gd name="connsiteX57" fmla="*/ 4056 w 10000"/>
              <a:gd name="connsiteY57" fmla="*/ 9463 h 9974"/>
              <a:gd name="connsiteX58" fmla="*/ 4275 w 10000"/>
              <a:gd name="connsiteY58" fmla="*/ 9467 h 9974"/>
              <a:gd name="connsiteX59" fmla="*/ 4765 w 10000"/>
              <a:gd name="connsiteY59" fmla="*/ 9035 h 9974"/>
              <a:gd name="connsiteX60" fmla="*/ 4889 w 10000"/>
              <a:gd name="connsiteY60" fmla="*/ 8685 h 9974"/>
              <a:gd name="connsiteX61" fmla="*/ 5088 w 10000"/>
              <a:gd name="connsiteY61" fmla="*/ 8528 h 9974"/>
              <a:gd name="connsiteX62" fmla="*/ 5088 w 10000"/>
              <a:gd name="connsiteY62" fmla="*/ 8446 h 9974"/>
              <a:gd name="connsiteX63" fmla="*/ 5016 w 10000"/>
              <a:gd name="connsiteY63" fmla="*/ 8399 h 9974"/>
              <a:gd name="connsiteX64" fmla="*/ 5133 w 10000"/>
              <a:gd name="connsiteY64" fmla="*/ 8326 h 9974"/>
              <a:gd name="connsiteX65" fmla="*/ 5112 w 10000"/>
              <a:gd name="connsiteY65" fmla="*/ 8263 h 9974"/>
              <a:gd name="connsiteX66" fmla="*/ 5032 w 10000"/>
              <a:gd name="connsiteY66" fmla="*/ 8210 h 9974"/>
              <a:gd name="connsiteX67" fmla="*/ 5016 w 10000"/>
              <a:gd name="connsiteY67" fmla="*/ 8173 h 9974"/>
              <a:gd name="connsiteX68" fmla="*/ 5036 w 10000"/>
              <a:gd name="connsiteY68" fmla="*/ 8143 h 9974"/>
              <a:gd name="connsiteX69" fmla="*/ 5144 w 10000"/>
              <a:gd name="connsiteY69" fmla="*/ 8167 h 9974"/>
              <a:gd name="connsiteX70" fmla="*/ 5230 w 10000"/>
              <a:gd name="connsiteY70" fmla="*/ 8165 h 9974"/>
              <a:gd name="connsiteX71" fmla="*/ 5184 w 10000"/>
              <a:gd name="connsiteY71" fmla="*/ 8114 h 9974"/>
              <a:gd name="connsiteX72" fmla="*/ 5198 w 10000"/>
              <a:gd name="connsiteY72" fmla="*/ 8086 h 9974"/>
              <a:gd name="connsiteX73" fmla="*/ 5262 w 10000"/>
              <a:gd name="connsiteY73" fmla="*/ 8043 h 9974"/>
              <a:gd name="connsiteX74" fmla="*/ 5250 w 10000"/>
              <a:gd name="connsiteY74" fmla="*/ 8008 h 9974"/>
              <a:gd name="connsiteX75" fmla="*/ 5309 w 10000"/>
              <a:gd name="connsiteY75" fmla="*/ 7890 h 9974"/>
              <a:gd name="connsiteX76" fmla="*/ 5293 w 10000"/>
              <a:gd name="connsiteY76" fmla="*/ 7855 h 9974"/>
              <a:gd name="connsiteX77" fmla="*/ 4996 w 10000"/>
              <a:gd name="connsiteY77" fmla="*/ 7766 h 9974"/>
              <a:gd name="connsiteX78" fmla="*/ 5036 w 10000"/>
              <a:gd name="connsiteY78" fmla="*/ 7762 h 9974"/>
              <a:gd name="connsiteX79" fmla="*/ 5194 w 10000"/>
              <a:gd name="connsiteY79" fmla="*/ 7786 h 9974"/>
              <a:gd name="connsiteX80" fmla="*/ 5365 w 10000"/>
              <a:gd name="connsiteY80" fmla="*/ 7778 h 9974"/>
              <a:gd name="connsiteX81" fmla="*/ 5415 w 10000"/>
              <a:gd name="connsiteY81" fmla="*/ 7745 h 9974"/>
              <a:gd name="connsiteX82" fmla="*/ 5250 w 10000"/>
              <a:gd name="connsiteY82" fmla="*/ 7684 h 9974"/>
              <a:gd name="connsiteX83" fmla="*/ 4761 w 10000"/>
              <a:gd name="connsiteY83" fmla="*/ 7644 h 9974"/>
              <a:gd name="connsiteX84" fmla="*/ 4794 w 10000"/>
              <a:gd name="connsiteY84" fmla="*/ 7625 h 9974"/>
              <a:gd name="connsiteX85" fmla="*/ 5194 w 10000"/>
              <a:gd name="connsiteY85" fmla="*/ 7613 h 9974"/>
              <a:gd name="connsiteX86" fmla="*/ 5415 w 10000"/>
              <a:gd name="connsiteY86" fmla="*/ 7650 h 9974"/>
              <a:gd name="connsiteX87" fmla="*/ 5542 w 10000"/>
              <a:gd name="connsiteY87" fmla="*/ 7625 h 9974"/>
              <a:gd name="connsiteX88" fmla="*/ 5589 w 10000"/>
              <a:gd name="connsiteY88" fmla="*/ 7562 h 9974"/>
              <a:gd name="connsiteX89" fmla="*/ 5819 w 10000"/>
              <a:gd name="connsiteY89" fmla="*/ 7562 h 9974"/>
              <a:gd name="connsiteX90" fmla="*/ 6131 w 10000"/>
              <a:gd name="connsiteY90" fmla="*/ 7436 h 9974"/>
              <a:gd name="connsiteX91" fmla="*/ 6142 w 10000"/>
              <a:gd name="connsiteY91" fmla="*/ 7352 h 9974"/>
              <a:gd name="connsiteX92" fmla="*/ 6274 w 10000"/>
              <a:gd name="connsiteY92" fmla="*/ 7371 h 9974"/>
              <a:gd name="connsiteX93" fmla="*/ 6268 w 10000"/>
              <a:gd name="connsiteY93" fmla="*/ 7456 h 9974"/>
              <a:gd name="connsiteX94" fmla="*/ 6478 w 10000"/>
              <a:gd name="connsiteY94" fmla="*/ 7450 h 9974"/>
              <a:gd name="connsiteX95" fmla="*/ 6616 w 10000"/>
              <a:gd name="connsiteY95" fmla="*/ 7362 h 9974"/>
              <a:gd name="connsiteX96" fmla="*/ 6872 w 10000"/>
              <a:gd name="connsiteY96" fmla="*/ 7283 h 9974"/>
              <a:gd name="connsiteX97" fmla="*/ 6832 w 10000"/>
              <a:gd name="connsiteY97" fmla="*/ 7193 h 9974"/>
              <a:gd name="connsiteX98" fmla="*/ 6908 w 10000"/>
              <a:gd name="connsiteY98" fmla="*/ 7228 h 9974"/>
              <a:gd name="connsiteX99" fmla="*/ 7025 w 10000"/>
              <a:gd name="connsiteY99" fmla="*/ 7228 h 9974"/>
              <a:gd name="connsiteX100" fmla="*/ 7025 w 10000"/>
              <a:gd name="connsiteY100" fmla="*/ 7187 h 9974"/>
              <a:gd name="connsiteX101" fmla="*/ 7134 w 10000"/>
              <a:gd name="connsiteY101" fmla="*/ 7155 h 9974"/>
              <a:gd name="connsiteX102" fmla="*/ 7119 w 10000"/>
              <a:gd name="connsiteY102" fmla="*/ 7122 h 9974"/>
              <a:gd name="connsiteX103" fmla="*/ 6198 w 10000"/>
              <a:gd name="connsiteY103" fmla="*/ 7189 h 9974"/>
              <a:gd name="connsiteX104" fmla="*/ 5983 w 10000"/>
              <a:gd name="connsiteY104" fmla="*/ 7169 h 9974"/>
              <a:gd name="connsiteX105" fmla="*/ 5895 w 10000"/>
              <a:gd name="connsiteY105" fmla="*/ 7193 h 9974"/>
              <a:gd name="connsiteX106" fmla="*/ 5866 w 10000"/>
              <a:gd name="connsiteY106" fmla="*/ 7147 h 9974"/>
              <a:gd name="connsiteX107" fmla="*/ 5764 w 10000"/>
              <a:gd name="connsiteY107" fmla="*/ 7106 h 9974"/>
              <a:gd name="connsiteX108" fmla="*/ 5354 w 10000"/>
              <a:gd name="connsiteY108" fmla="*/ 7026 h 9974"/>
              <a:gd name="connsiteX109" fmla="*/ 5112 w 10000"/>
              <a:gd name="connsiteY109" fmla="*/ 7039 h 9974"/>
              <a:gd name="connsiteX110" fmla="*/ 5016 w 10000"/>
              <a:gd name="connsiteY110" fmla="*/ 7016 h 9974"/>
              <a:gd name="connsiteX111" fmla="*/ 5118 w 10000"/>
              <a:gd name="connsiteY111" fmla="*/ 6996 h 9974"/>
              <a:gd name="connsiteX112" fmla="*/ 5194 w 10000"/>
              <a:gd name="connsiteY112" fmla="*/ 6953 h 9974"/>
              <a:gd name="connsiteX113" fmla="*/ 5309 w 10000"/>
              <a:gd name="connsiteY113" fmla="*/ 6967 h 9974"/>
              <a:gd name="connsiteX114" fmla="*/ 5445 w 10000"/>
              <a:gd name="connsiteY114" fmla="*/ 6955 h 9974"/>
              <a:gd name="connsiteX115" fmla="*/ 5650 w 10000"/>
              <a:gd name="connsiteY115" fmla="*/ 6969 h 9974"/>
              <a:gd name="connsiteX116" fmla="*/ 5675 w 10000"/>
              <a:gd name="connsiteY116" fmla="*/ 6963 h 9974"/>
              <a:gd name="connsiteX117" fmla="*/ 5834 w 10000"/>
              <a:gd name="connsiteY117" fmla="*/ 7030 h 9974"/>
              <a:gd name="connsiteX118" fmla="*/ 5951 w 10000"/>
              <a:gd name="connsiteY118" fmla="*/ 7006 h 9974"/>
              <a:gd name="connsiteX119" fmla="*/ 5961 w 10000"/>
              <a:gd name="connsiteY119" fmla="*/ 6984 h 9974"/>
              <a:gd name="connsiteX120" fmla="*/ 6069 w 10000"/>
              <a:gd name="connsiteY120" fmla="*/ 7022 h 9974"/>
              <a:gd name="connsiteX121" fmla="*/ 6212 w 10000"/>
              <a:gd name="connsiteY121" fmla="*/ 7043 h 9974"/>
              <a:gd name="connsiteX122" fmla="*/ 6268 w 10000"/>
              <a:gd name="connsiteY122" fmla="*/ 7004 h 9974"/>
              <a:gd name="connsiteX123" fmla="*/ 6314 w 10000"/>
              <a:gd name="connsiteY123" fmla="*/ 7026 h 9974"/>
              <a:gd name="connsiteX124" fmla="*/ 6381 w 10000"/>
              <a:gd name="connsiteY124" fmla="*/ 7100 h 9974"/>
              <a:gd name="connsiteX125" fmla="*/ 6519 w 10000"/>
              <a:gd name="connsiteY125" fmla="*/ 7118 h 9974"/>
              <a:gd name="connsiteX126" fmla="*/ 7082 w 10000"/>
              <a:gd name="connsiteY126" fmla="*/ 7008 h 9974"/>
              <a:gd name="connsiteX127" fmla="*/ 7359 w 10000"/>
              <a:gd name="connsiteY127" fmla="*/ 6853 h 9974"/>
              <a:gd name="connsiteX128" fmla="*/ 7423 w 10000"/>
              <a:gd name="connsiteY128" fmla="*/ 6739 h 9974"/>
              <a:gd name="connsiteX129" fmla="*/ 7323 w 10000"/>
              <a:gd name="connsiteY129" fmla="*/ 6637 h 9974"/>
              <a:gd name="connsiteX130" fmla="*/ 7113 w 10000"/>
              <a:gd name="connsiteY130" fmla="*/ 6576 h 9974"/>
              <a:gd name="connsiteX131" fmla="*/ 6963 w 10000"/>
              <a:gd name="connsiteY131" fmla="*/ 6476 h 9974"/>
              <a:gd name="connsiteX132" fmla="*/ 7102 w 10000"/>
              <a:gd name="connsiteY132" fmla="*/ 6472 h 9974"/>
              <a:gd name="connsiteX133" fmla="*/ 7093 w 10000"/>
              <a:gd name="connsiteY133" fmla="*/ 6448 h 9974"/>
              <a:gd name="connsiteX134" fmla="*/ 6731 w 10000"/>
              <a:gd name="connsiteY134" fmla="*/ 6377 h 9974"/>
              <a:gd name="connsiteX135" fmla="*/ 6716 w 10000"/>
              <a:gd name="connsiteY135" fmla="*/ 6313 h 9974"/>
              <a:gd name="connsiteX136" fmla="*/ 6646 w 10000"/>
              <a:gd name="connsiteY136" fmla="*/ 6246 h 9974"/>
              <a:gd name="connsiteX137" fmla="*/ 6360 w 10000"/>
              <a:gd name="connsiteY137" fmla="*/ 6258 h 9974"/>
              <a:gd name="connsiteX138" fmla="*/ 6258 w 10000"/>
              <a:gd name="connsiteY138" fmla="*/ 6187 h 9974"/>
              <a:gd name="connsiteX139" fmla="*/ 6198 w 10000"/>
              <a:gd name="connsiteY139" fmla="*/ 6183 h 9974"/>
              <a:gd name="connsiteX140" fmla="*/ 6198 w 10000"/>
              <a:gd name="connsiteY140" fmla="*/ 6212 h 9974"/>
              <a:gd name="connsiteX141" fmla="*/ 6069 w 10000"/>
              <a:gd name="connsiteY141" fmla="*/ 6332 h 9974"/>
              <a:gd name="connsiteX142" fmla="*/ 5930 w 10000"/>
              <a:gd name="connsiteY142" fmla="*/ 6403 h 9974"/>
              <a:gd name="connsiteX143" fmla="*/ 5495 w 10000"/>
              <a:gd name="connsiteY143" fmla="*/ 6525 h 9974"/>
              <a:gd name="connsiteX144" fmla="*/ 5342 w 10000"/>
              <a:gd name="connsiteY144" fmla="*/ 6521 h 9974"/>
              <a:gd name="connsiteX145" fmla="*/ 5133 w 10000"/>
              <a:gd name="connsiteY145" fmla="*/ 6539 h 9974"/>
              <a:gd name="connsiteX146" fmla="*/ 5016 w 10000"/>
              <a:gd name="connsiteY146" fmla="*/ 6521 h 9974"/>
              <a:gd name="connsiteX147" fmla="*/ 5169 w 10000"/>
              <a:gd name="connsiteY147" fmla="*/ 6487 h 9974"/>
              <a:gd name="connsiteX148" fmla="*/ 5369 w 10000"/>
              <a:gd name="connsiteY148" fmla="*/ 6472 h 9974"/>
              <a:gd name="connsiteX149" fmla="*/ 5534 w 10000"/>
              <a:gd name="connsiteY149" fmla="*/ 6415 h 9974"/>
              <a:gd name="connsiteX150" fmla="*/ 5695 w 10000"/>
              <a:gd name="connsiteY150" fmla="*/ 6389 h 9974"/>
              <a:gd name="connsiteX151" fmla="*/ 5998 w 10000"/>
              <a:gd name="connsiteY151" fmla="*/ 6291 h 9974"/>
              <a:gd name="connsiteX152" fmla="*/ 6056 w 10000"/>
              <a:gd name="connsiteY152" fmla="*/ 6226 h 9974"/>
              <a:gd name="connsiteX153" fmla="*/ 6060 w 10000"/>
              <a:gd name="connsiteY153" fmla="*/ 6142 h 9974"/>
              <a:gd name="connsiteX154" fmla="*/ 5921 w 10000"/>
              <a:gd name="connsiteY154" fmla="*/ 6128 h 9974"/>
              <a:gd name="connsiteX155" fmla="*/ 5983 w 10000"/>
              <a:gd name="connsiteY155" fmla="*/ 6077 h 9974"/>
              <a:gd name="connsiteX156" fmla="*/ 6002 w 10000"/>
              <a:gd name="connsiteY156" fmla="*/ 6012 h 9974"/>
              <a:gd name="connsiteX157" fmla="*/ 5944 w 10000"/>
              <a:gd name="connsiteY157" fmla="*/ 5951 h 9974"/>
              <a:gd name="connsiteX158" fmla="*/ 5911 w 10000"/>
              <a:gd name="connsiteY158" fmla="*/ 5507 h 9974"/>
              <a:gd name="connsiteX159" fmla="*/ 5993 w 10000"/>
              <a:gd name="connsiteY159" fmla="*/ 5411 h 9974"/>
              <a:gd name="connsiteX160" fmla="*/ 5972 w 10000"/>
              <a:gd name="connsiteY160" fmla="*/ 5372 h 9974"/>
              <a:gd name="connsiteX161" fmla="*/ 6212 w 10000"/>
              <a:gd name="connsiteY161" fmla="*/ 5429 h 9974"/>
              <a:gd name="connsiteX162" fmla="*/ 6229 w 10000"/>
              <a:gd name="connsiteY162" fmla="*/ 5376 h 9974"/>
              <a:gd name="connsiteX163" fmla="*/ 6176 w 10000"/>
              <a:gd name="connsiteY163" fmla="*/ 5238 h 9974"/>
              <a:gd name="connsiteX164" fmla="*/ 6349 w 10000"/>
              <a:gd name="connsiteY164" fmla="*/ 4993 h 9974"/>
              <a:gd name="connsiteX165" fmla="*/ 6243 w 10000"/>
              <a:gd name="connsiteY165" fmla="*/ 4934 h 9974"/>
              <a:gd name="connsiteX166" fmla="*/ 6202 w 10000"/>
              <a:gd name="connsiteY166" fmla="*/ 4879 h 9974"/>
              <a:gd name="connsiteX167" fmla="*/ 6216 w 10000"/>
              <a:gd name="connsiteY167" fmla="*/ 4790 h 9974"/>
              <a:gd name="connsiteX168" fmla="*/ 6470 w 10000"/>
              <a:gd name="connsiteY168" fmla="*/ 4849 h 9974"/>
              <a:gd name="connsiteX169" fmla="*/ 6478 w 10000"/>
              <a:gd name="connsiteY169" fmla="*/ 4832 h 9974"/>
              <a:gd name="connsiteX170" fmla="*/ 6548 w 10000"/>
              <a:gd name="connsiteY170" fmla="*/ 4816 h 9974"/>
              <a:gd name="connsiteX171" fmla="*/ 6646 w 10000"/>
              <a:gd name="connsiteY171" fmla="*/ 4759 h 9974"/>
              <a:gd name="connsiteX172" fmla="*/ 6662 w 10000"/>
              <a:gd name="connsiteY172" fmla="*/ 4743 h 9974"/>
              <a:gd name="connsiteX173" fmla="*/ 6641 w 10000"/>
              <a:gd name="connsiteY173" fmla="*/ 4722 h 9974"/>
              <a:gd name="connsiteX174" fmla="*/ 6693 w 10000"/>
              <a:gd name="connsiteY174" fmla="*/ 4621 h 9974"/>
              <a:gd name="connsiteX175" fmla="*/ 6631 w 10000"/>
              <a:gd name="connsiteY175" fmla="*/ 4555 h 9974"/>
              <a:gd name="connsiteX176" fmla="*/ 6641 w 10000"/>
              <a:gd name="connsiteY176" fmla="*/ 4502 h 9974"/>
              <a:gd name="connsiteX177" fmla="*/ 6676 w 10000"/>
              <a:gd name="connsiteY177" fmla="*/ 4564 h 9974"/>
              <a:gd name="connsiteX178" fmla="*/ 6815 w 10000"/>
              <a:gd name="connsiteY178" fmla="*/ 4610 h 9974"/>
              <a:gd name="connsiteX179" fmla="*/ 6872 w 10000"/>
              <a:gd name="connsiteY179" fmla="*/ 4604 h 9974"/>
              <a:gd name="connsiteX180" fmla="*/ 6963 w 10000"/>
              <a:gd name="connsiteY180" fmla="*/ 4543 h 9974"/>
              <a:gd name="connsiteX181" fmla="*/ 7062 w 10000"/>
              <a:gd name="connsiteY181" fmla="*/ 4568 h 9974"/>
              <a:gd name="connsiteX182" fmla="*/ 7088 w 10000"/>
              <a:gd name="connsiteY182" fmla="*/ 4519 h 9974"/>
              <a:gd name="connsiteX183" fmla="*/ 7154 w 10000"/>
              <a:gd name="connsiteY183" fmla="*/ 4486 h 9974"/>
              <a:gd name="connsiteX184" fmla="*/ 6974 w 10000"/>
              <a:gd name="connsiteY184" fmla="*/ 4451 h 9974"/>
              <a:gd name="connsiteX185" fmla="*/ 7102 w 10000"/>
              <a:gd name="connsiteY185" fmla="*/ 4458 h 9974"/>
              <a:gd name="connsiteX186" fmla="*/ 7234 w 10000"/>
              <a:gd name="connsiteY186" fmla="*/ 4421 h 9974"/>
              <a:gd name="connsiteX187" fmla="*/ 7229 w 10000"/>
              <a:gd name="connsiteY187" fmla="*/ 4396 h 9974"/>
              <a:gd name="connsiteX188" fmla="*/ 7353 w 10000"/>
              <a:gd name="connsiteY188" fmla="*/ 4372 h 9974"/>
              <a:gd name="connsiteX189" fmla="*/ 7364 w 10000"/>
              <a:gd name="connsiteY189" fmla="*/ 4311 h 9974"/>
              <a:gd name="connsiteX190" fmla="*/ 7461 w 10000"/>
              <a:gd name="connsiteY190" fmla="*/ 4299 h 9974"/>
              <a:gd name="connsiteX191" fmla="*/ 7469 w 10000"/>
              <a:gd name="connsiteY191" fmla="*/ 4227 h 9974"/>
              <a:gd name="connsiteX192" fmla="*/ 7572 w 10000"/>
              <a:gd name="connsiteY192" fmla="*/ 4219 h 9974"/>
              <a:gd name="connsiteX193" fmla="*/ 7730 w 10000"/>
              <a:gd name="connsiteY193" fmla="*/ 4234 h 9974"/>
              <a:gd name="connsiteX194" fmla="*/ 7904 w 10000"/>
              <a:gd name="connsiteY194" fmla="*/ 4176 h 9974"/>
              <a:gd name="connsiteX195" fmla="*/ 7966 w 10000"/>
              <a:gd name="connsiteY195" fmla="*/ 4111 h 9974"/>
              <a:gd name="connsiteX196" fmla="*/ 8181 w 10000"/>
              <a:gd name="connsiteY196" fmla="*/ 4044 h 9974"/>
              <a:gd name="connsiteX197" fmla="*/ 8288 w 10000"/>
              <a:gd name="connsiteY197" fmla="*/ 4085 h 9974"/>
              <a:gd name="connsiteX198" fmla="*/ 8452 w 10000"/>
              <a:gd name="connsiteY198" fmla="*/ 4040 h 9974"/>
              <a:gd name="connsiteX199" fmla="*/ 8491 w 10000"/>
              <a:gd name="connsiteY199" fmla="*/ 3983 h 9974"/>
              <a:gd name="connsiteX200" fmla="*/ 8616 w 10000"/>
              <a:gd name="connsiteY200" fmla="*/ 3944 h 9974"/>
              <a:gd name="connsiteX201" fmla="*/ 8722 w 10000"/>
              <a:gd name="connsiteY201" fmla="*/ 3961 h 9974"/>
              <a:gd name="connsiteX202" fmla="*/ 8789 w 10000"/>
              <a:gd name="connsiteY202" fmla="*/ 3932 h 9974"/>
              <a:gd name="connsiteX203" fmla="*/ 8973 w 10000"/>
              <a:gd name="connsiteY203" fmla="*/ 3891 h 9974"/>
              <a:gd name="connsiteX204" fmla="*/ 9049 w 10000"/>
              <a:gd name="connsiteY204" fmla="*/ 3838 h 9974"/>
              <a:gd name="connsiteX205" fmla="*/ 9153 w 10000"/>
              <a:gd name="connsiteY205" fmla="*/ 3816 h 9974"/>
              <a:gd name="connsiteX206" fmla="*/ 9720 w 10000"/>
              <a:gd name="connsiteY206" fmla="*/ 3496 h 9974"/>
              <a:gd name="connsiteX207" fmla="*/ 9971 w 10000"/>
              <a:gd name="connsiteY207" fmla="*/ 363 h 9974"/>
              <a:gd name="connsiteX208" fmla="*/ 9049 w 10000"/>
              <a:gd name="connsiteY208" fmla="*/ 0 h 9974"/>
              <a:gd name="connsiteX209" fmla="*/ 7537 w 10000"/>
              <a:gd name="connsiteY209" fmla="*/ 361 h 9974"/>
              <a:gd name="connsiteX210" fmla="*/ 7423 w 10000"/>
              <a:gd name="connsiteY210" fmla="*/ 369 h 9974"/>
              <a:gd name="connsiteX211" fmla="*/ 7359 w 10000"/>
              <a:gd name="connsiteY211" fmla="*/ 388 h 9974"/>
              <a:gd name="connsiteX212" fmla="*/ 7290 w 10000"/>
              <a:gd name="connsiteY212" fmla="*/ 436 h 9974"/>
              <a:gd name="connsiteX213" fmla="*/ 7302 w 10000"/>
              <a:gd name="connsiteY213" fmla="*/ 555 h 9974"/>
              <a:gd name="connsiteX214" fmla="*/ 7199 w 10000"/>
              <a:gd name="connsiteY214" fmla="*/ 709 h 9974"/>
              <a:gd name="connsiteX215" fmla="*/ 7072 w 10000"/>
              <a:gd name="connsiteY215" fmla="*/ 789 h 9974"/>
              <a:gd name="connsiteX216" fmla="*/ 7021 w 10000"/>
              <a:gd name="connsiteY216" fmla="*/ 779 h 9974"/>
              <a:gd name="connsiteX217" fmla="*/ 6903 w 10000"/>
              <a:gd name="connsiteY217" fmla="*/ 713 h 9974"/>
              <a:gd name="connsiteX218" fmla="*/ 6756 w 10000"/>
              <a:gd name="connsiteY218" fmla="*/ 679 h 9974"/>
              <a:gd name="connsiteX219" fmla="*/ 6594 w 10000"/>
              <a:gd name="connsiteY219" fmla="*/ 689 h 9974"/>
              <a:gd name="connsiteX220" fmla="*/ 6223 w 10000"/>
              <a:gd name="connsiteY220" fmla="*/ 840 h 9974"/>
              <a:gd name="connsiteX221" fmla="*/ 6125 w 10000"/>
              <a:gd name="connsiteY221" fmla="*/ 991 h 9974"/>
              <a:gd name="connsiteX222" fmla="*/ 5845 w 10000"/>
              <a:gd name="connsiteY222" fmla="*/ 1127 h 9974"/>
              <a:gd name="connsiteX223" fmla="*/ 5794 w 10000"/>
              <a:gd name="connsiteY223" fmla="*/ 1196 h 9974"/>
              <a:gd name="connsiteX224" fmla="*/ 5940 w 10000"/>
              <a:gd name="connsiteY224" fmla="*/ 1318 h 9974"/>
              <a:gd name="connsiteX225" fmla="*/ 5956 w 10000"/>
              <a:gd name="connsiteY225" fmla="*/ 1386 h 9974"/>
              <a:gd name="connsiteX226" fmla="*/ 5190 w 10000"/>
              <a:gd name="connsiteY226" fmla="*/ 1787 h 9974"/>
              <a:gd name="connsiteX227" fmla="*/ 4955 w 10000"/>
              <a:gd name="connsiteY227" fmla="*/ 2044 h 9974"/>
              <a:gd name="connsiteX228" fmla="*/ 4702 w 10000"/>
              <a:gd name="connsiteY228" fmla="*/ 2109 h 9974"/>
              <a:gd name="connsiteX229" fmla="*/ 4540 w 10000"/>
              <a:gd name="connsiteY229" fmla="*/ 2105 h 9974"/>
              <a:gd name="connsiteX230" fmla="*/ 4443 w 10000"/>
              <a:gd name="connsiteY230" fmla="*/ 2127 h 9974"/>
              <a:gd name="connsiteX231" fmla="*/ 4178 w 10000"/>
              <a:gd name="connsiteY231" fmla="*/ 2767 h 9974"/>
              <a:gd name="connsiteX232" fmla="*/ 3565 w 10000"/>
              <a:gd name="connsiteY232" fmla="*/ 3140 h 9974"/>
              <a:gd name="connsiteX233" fmla="*/ 3569 w 10000"/>
              <a:gd name="connsiteY233" fmla="*/ 3199 h 9974"/>
              <a:gd name="connsiteX234" fmla="*/ 3841 w 10000"/>
              <a:gd name="connsiteY234" fmla="*/ 3366 h 9974"/>
              <a:gd name="connsiteX235" fmla="*/ 3753 w 10000"/>
              <a:gd name="connsiteY235" fmla="*/ 3547 h 9974"/>
              <a:gd name="connsiteX236" fmla="*/ 3594 w 10000"/>
              <a:gd name="connsiteY236" fmla="*/ 3614 h 9974"/>
              <a:gd name="connsiteX237" fmla="*/ 3118 w 10000"/>
              <a:gd name="connsiteY237" fmla="*/ 3569 h 9974"/>
              <a:gd name="connsiteX238" fmla="*/ 2791 w 10000"/>
              <a:gd name="connsiteY238" fmla="*/ 3594 h 9974"/>
              <a:gd name="connsiteX239" fmla="*/ 2528 w 10000"/>
              <a:gd name="connsiteY239" fmla="*/ 3647 h 9974"/>
              <a:gd name="connsiteX240" fmla="*/ 2102 w 10000"/>
              <a:gd name="connsiteY240" fmla="*/ 3814 h 9974"/>
              <a:gd name="connsiteX241" fmla="*/ 1877 w 10000"/>
              <a:gd name="connsiteY241" fmla="*/ 4016 h 9974"/>
              <a:gd name="connsiteX242" fmla="*/ 1896 w 10000"/>
              <a:gd name="connsiteY242" fmla="*/ 4128 h 9974"/>
              <a:gd name="connsiteX243" fmla="*/ 1975 w 10000"/>
              <a:gd name="connsiteY243" fmla="*/ 4215 h 9974"/>
              <a:gd name="connsiteX244" fmla="*/ 2034 w 10000"/>
              <a:gd name="connsiteY244" fmla="*/ 4250 h 9974"/>
              <a:gd name="connsiteX245" fmla="*/ 1924 w 10000"/>
              <a:gd name="connsiteY245" fmla="*/ 4305 h 9974"/>
              <a:gd name="connsiteX246" fmla="*/ 1683 w 10000"/>
              <a:gd name="connsiteY246" fmla="*/ 4684 h 9974"/>
              <a:gd name="connsiteX247" fmla="*/ 1729 w 10000"/>
              <a:gd name="connsiteY247" fmla="*/ 4706 h 9974"/>
              <a:gd name="connsiteX248" fmla="*/ 1764 w 10000"/>
              <a:gd name="connsiteY248" fmla="*/ 4802 h 9974"/>
              <a:gd name="connsiteX249" fmla="*/ 1652 w 10000"/>
              <a:gd name="connsiteY249" fmla="*/ 5201 h 9974"/>
              <a:gd name="connsiteX250" fmla="*/ 1764 w 10000"/>
              <a:gd name="connsiteY250" fmla="*/ 5303 h 9974"/>
              <a:gd name="connsiteX251" fmla="*/ 2071 w 10000"/>
              <a:gd name="connsiteY251" fmla="*/ 5415 h 9974"/>
              <a:gd name="connsiteX252" fmla="*/ 2085 w 10000"/>
              <a:gd name="connsiteY252" fmla="*/ 5552 h 9974"/>
              <a:gd name="connsiteX253" fmla="*/ 1954 w 10000"/>
              <a:gd name="connsiteY253" fmla="*/ 5664 h 9974"/>
              <a:gd name="connsiteX254" fmla="*/ 1764 w 10000"/>
              <a:gd name="connsiteY254" fmla="*/ 5733 h 9974"/>
              <a:gd name="connsiteX255" fmla="*/ 1513 w 10000"/>
              <a:gd name="connsiteY255" fmla="*/ 5761 h 9974"/>
              <a:gd name="connsiteX256" fmla="*/ 1448 w 10000"/>
              <a:gd name="connsiteY256" fmla="*/ 5800 h 9974"/>
              <a:gd name="connsiteX257" fmla="*/ 1594 w 10000"/>
              <a:gd name="connsiteY257" fmla="*/ 5894 h 9974"/>
              <a:gd name="connsiteX258" fmla="*/ 1678 w 10000"/>
              <a:gd name="connsiteY258" fmla="*/ 6116 h 9974"/>
              <a:gd name="connsiteX259" fmla="*/ 1488 w 10000"/>
              <a:gd name="connsiteY259" fmla="*/ 6307 h 9974"/>
              <a:gd name="connsiteX260" fmla="*/ 1554 w 10000"/>
              <a:gd name="connsiteY260" fmla="*/ 6366 h 9974"/>
              <a:gd name="connsiteX261" fmla="*/ 1494 w 10000"/>
              <a:gd name="connsiteY261" fmla="*/ 6466 h 9974"/>
              <a:gd name="connsiteX262" fmla="*/ 1372 w 10000"/>
              <a:gd name="connsiteY262" fmla="*/ 6535 h 9974"/>
              <a:gd name="connsiteX263" fmla="*/ 889 w 10000"/>
              <a:gd name="connsiteY263" fmla="*/ 6588 h 9974"/>
              <a:gd name="connsiteX264" fmla="*/ 860 w 10000"/>
              <a:gd name="connsiteY264" fmla="*/ 6680 h 9974"/>
              <a:gd name="connsiteX265" fmla="*/ 600 w 10000"/>
              <a:gd name="connsiteY265" fmla="*/ 6817 h 9974"/>
              <a:gd name="connsiteX266" fmla="*/ 634 w 10000"/>
              <a:gd name="connsiteY266" fmla="*/ 7014 h 9974"/>
              <a:gd name="connsiteX267" fmla="*/ 415 w 10000"/>
              <a:gd name="connsiteY267" fmla="*/ 7267 h 9974"/>
              <a:gd name="connsiteX268" fmla="*/ 266 w 10000"/>
              <a:gd name="connsiteY268" fmla="*/ 7297 h 9974"/>
              <a:gd name="connsiteX269" fmla="*/ 204 w 10000"/>
              <a:gd name="connsiteY269" fmla="*/ 7236 h 9974"/>
              <a:gd name="connsiteX270" fmla="*/ 128 w 10000"/>
              <a:gd name="connsiteY270" fmla="*/ 7328 h 9974"/>
              <a:gd name="connsiteX271" fmla="*/ 178 w 10000"/>
              <a:gd name="connsiteY271" fmla="*/ 7171 h 9974"/>
              <a:gd name="connsiteX272" fmla="*/ 147 w 10000"/>
              <a:gd name="connsiteY272" fmla="*/ 7140 h 9974"/>
              <a:gd name="connsiteX0" fmla="*/ 147 w 10000"/>
              <a:gd name="connsiteY0" fmla="*/ 6797 h 9638"/>
              <a:gd name="connsiteX1" fmla="*/ 0 w 10000"/>
              <a:gd name="connsiteY1" fmla="*/ 6879 h 9638"/>
              <a:gd name="connsiteX2" fmla="*/ 0 w 10000"/>
              <a:gd name="connsiteY2" fmla="*/ 7283 h 9638"/>
              <a:gd name="connsiteX3" fmla="*/ 81 w 10000"/>
              <a:gd name="connsiteY3" fmla="*/ 7295 h 9638"/>
              <a:gd name="connsiteX4" fmla="*/ 100 w 10000"/>
              <a:gd name="connsiteY4" fmla="*/ 7326 h 9638"/>
              <a:gd name="connsiteX5" fmla="*/ 96 w 10000"/>
              <a:gd name="connsiteY5" fmla="*/ 7381 h 9638"/>
              <a:gd name="connsiteX6" fmla="*/ 66 w 10000"/>
              <a:gd name="connsiteY6" fmla="*/ 7405 h 9638"/>
              <a:gd name="connsiteX7" fmla="*/ 190 w 10000"/>
              <a:gd name="connsiteY7" fmla="*/ 7359 h 9638"/>
              <a:gd name="connsiteX8" fmla="*/ 242 w 10000"/>
              <a:gd name="connsiteY8" fmla="*/ 7312 h 9638"/>
              <a:gd name="connsiteX9" fmla="*/ 306 w 10000"/>
              <a:gd name="connsiteY9" fmla="*/ 7344 h 9638"/>
              <a:gd name="connsiteX10" fmla="*/ 235 w 10000"/>
              <a:gd name="connsiteY10" fmla="*/ 7410 h 9638"/>
              <a:gd name="connsiteX11" fmla="*/ 311 w 10000"/>
              <a:gd name="connsiteY11" fmla="*/ 7412 h 9638"/>
              <a:gd name="connsiteX12" fmla="*/ 348 w 10000"/>
              <a:gd name="connsiteY12" fmla="*/ 7428 h 9638"/>
              <a:gd name="connsiteX13" fmla="*/ 250 w 10000"/>
              <a:gd name="connsiteY13" fmla="*/ 7450 h 9638"/>
              <a:gd name="connsiteX14" fmla="*/ 96 w 10000"/>
              <a:gd name="connsiteY14" fmla="*/ 7518 h 9638"/>
              <a:gd name="connsiteX15" fmla="*/ 370 w 10000"/>
              <a:gd name="connsiteY15" fmla="*/ 7571 h 9638"/>
              <a:gd name="connsiteX16" fmla="*/ 404 w 10000"/>
              <a:gd name="connsiteY16" fmla="*/ 7647 h 9638"/>
              <a:gd name="connsiteX17" fmla="*/ 311 w 10000"/>
              <a:gd name="connsiteY17" fmla="*/ 7759 h 9638"/>
              <a:gd name="connsiteX18" fmla="*/ 511 w 10000"/>
              <a:gd name="connsiteY18" fmla="*/ 7751 h 9638"/>
              <a:gd name="connsiteX19" fmla="*/ 526 w 10000"/>
              <a:gd name="connsiteY19" fmla="*/ 7836 h 9638"/>
              <a:gd name="connsiteX20" fmla="*/ 393 w 10000"/>
              <a:gd name="connsiteY20" fmla="*/ 7893 h 9638"/>
              <a:gd name="connsiteX21" fmla="*/ 415 w 10000"/>
              <a:gd name="connsiteY21" fmla="*/ 8004 h 9638"/>
              <a:gd name="connsiteX22" fmla="*/ 364 w 10000"/>
              <a:gd name="connsiteY22" fmla="*/ 8090 h 9638"/>
              <a:gd name="connsiteX23" fmla="*/ 521 w 10000"/>
              <a:gd name="connsiteY23" fmla="*/ 8098 h 9638"/>
              <a:gd name="connsiteX24" fmla="*/ 676 w 10000"/>
              <a:gd name="connsiteY24" fmla="*/ 8427 h 9638"/>
              <a:gd name="connsiteX25" fmla="*/ 853 w 10000"/>
              <a:gd name="connsiteY25" fmla="*/ 8511 h 9638"/>
              <a:gd name="connsiteX26" fmla="*/ 931 w 10000"/>
              <a:gd name="connsiteY26" fmla="*/ 8600 h 9638"/>
              <a:gd name="connsiteX27" fmla="*/ 1125 w 10000"/>
              <a:gd name="connsiteY27" fmla="*/ 8665 h 9638"/>
              <a:gd name="connsiteX28" fmla="*/ 1249 w 10000"/>
              <a:gd name="connsiteY28" fmla="*/ 8748 h 9638"/>
              <a:gd name="connsiteX29" fmla="*/ 1233 w 10000"/>
              <a:gd name="connsiteY29" fmla="*/ 8807 h 9638"/>
              <a:gd name="connsiteX30" fmla="*/ 1110 w 10000"/>
              <a:gd name="connsiteY30" fmla="*/ 8829 h 9638"/>
              <a:gd name="connsiteX31" fmla="*/ 976 w 10000"/>
              <a:gd name="connsiteY31" fmla="*/ 8815 h 9638"/>
              <a:gd name="connsiteX32" fmla="*/ 935 w 10000"/>
              <a:gd name="connsiteY32" fmla="*/ 8840 h 9638"/>
              <a:gd name="connsiteX33" fmla="*/ 1037 w 10000"/>
              <a:gd name="connsiteY33" fmla="*/ 8968 h 9638"/>
              <a:gd name="connsiteX34" fmla="*/ 894 w 10000"/>
              <a:gd name="connsiteY34" fmla="*/ 8958 h 9638"/>
              <a:gd name="connsiteX35" fmla="*/ 773 w 10000"/>
              <a:gd name="connsiteY35" fmla="*/ 8927 h 9638"/>
              <a:gd name="connsiteX36" fmla="*/ 750 w 10000"/>
              <a:gd name="connsiteY36" fmla="*/ 8974 h 9638"/>
              <a:gd name="connsiteX37" fmla="*/ 1155 w 10000"/>
              <a:gd name="connsiteY37" fmla="*/ 9413 h 9638"/>
              <a:gd name="connsiteX38" fmla="*/ 1091 w 10000"/>
              <a:gd name="connsiteY38" fmla="*/ 9455 h 9638"/>
              <a:gd name="connsiteX39" fmla="*/ 1045 w 10000"/>
              <a:gd name="connsiteY39" fmla="*/ 9540 h 9638"/>
              <a:gd name="connsiteX40" fmla="*/ 987 w 10000"/>
              <a:gd name="connsiteY40" fmla="*/ 9546 h 9638"/>
              <a:gd name="connsiteX41" fmla="*/ 951 w 10000"/>
              <a:gd name="connsiteY41" fmla="*/ 9583 h 9638"/>
              <a:gd name="connsiteX42" fmla="*/ 1195 w 10000"/>
              <a:gd name="connsiteY42" fmla="*/ 9587 h 9638"/>
              <a:gd name="connsiteX43" fmla="*/ 1410 w 10000"/>
              <a:gd name="connsiteY43" fmla="*/ 9624 h 9638"/>
              <a:gd name="connsiteX44" fmla="*/ 1769 w 10000"/>
              <a:gd name="connsiteY44" fmla="*/ 9585 h 9638"/>
              <a:gd name="connsiteX45" fmla="*/ 2091 w 10000"/>
              <a:gd name="connsiteY45" fmla="*/ 9591 h 9638"/>
              <a:gd name="connsiteX46" fmla="*/ 2280 w 10000"/>
              <a:gd name="connsiteY46" fmla="*/ 9638 h 9638"/>
              <a:gd name="connsiteX47" fmla="*/ 2385 w 10000"/>
              <a:gd name="connsiteY47" fmla="*/ 9607 h 9638"/>
              <a:gd name="connsiteX48" fmla="*/ 2485 w 10000"/>
              <a:gd name="connsiteY48" fmla="*/ 9506 h 9638"/>
              <a:gd name="connsiteX49" fmla="*/ 2459 w 10000"/>
              <a:gd name="connsiteY49" fmla="*/ 9340 h 9638"/>
              <a:gd name="connsiteX50" fmla="*/ 2704 w 10000"/>
              <a:gd name="connsiteY50" fmla="*/ 9154 h 9638"/>
              <a:gd name="connsiteX51" fmla="*/ 2883 w 10000"/>
              <a:gd name="connsiteY51" fmla="*/ 9183 h 9638"/>
              <a:gd name="connsiteX52" fmla="*/ 2987 w 10000"/>
              <a:gd name="connsiteY52" fmla="*/ 9109 h 9638"/>
              <a:gd name="connsiteX53" fmla="*/ 3186 w 10000"/>
              <a:gd name="connsiteY53" fmla="*/ 9067 h 9638"/>
              <a:gd name="connsiteX54" fmla="*/ 3457 w 10000"/>
              <a:gd name="connsiteY54" fmla="*/ 9077 h 9638"/>
              <a:gd name="connsiteX55" fmla="*/ 3620 w 10000"/>
              <a:gd name="connsiteY55" fmla="*/ 9107 h 9638"/>
              <a:gd name="connsiteX56" fmla="*/ 3837 w 10000"/>
              <a:gd name="connsiteY56" fmla="*/ 9093 h 9638"/>
              <a:gd name="connsiteX57" fmla="*/ 4056 w 10000"/>
              <a:gd name="connsiteY57" fmla="*/ 9126 h 9638"/>
              <a:gd name="connsiteX58" fmla="*/ 4275 w 10000"/>
              <a:gd name="connsiteY58" fmla="*/ 9130 h 9638"/>
              <a:gd name="connsiteX59" fmla="*/ 4765 w 10000"/>
              <a:gd name="connsiteY59" fmla="*/ 8697 h 9638"/>
              <a:gd name="connsiteX60" fmla="*/ 4889 w 10000"/>
              <a:gd name="connsiteY60" fmla="*/ 8346 h 9638"/>
              <a:gd name="connsiteX61" fmla="*/ 5088 w 10000"/>
              <a:gd name="connsiteY61" fmla="*/ 8188 h 9638"/>
              <a:gd name="connsiteX62" fmla="*/ 5088 w 10000"/>
              <a:gd name="connsiteY62" fmla="*/ 8106 h 9638"/>
              <a:gd name="connsiteX63" fmla="*/ 5016 w 10000"/>
              <a:gd name="connsiteY63" fmla="*/ 8059 h 9638"/>
              <a:gd name="connsiteX64" fmla="*/ 5133 w 10000"/>
              <a:gd name="connsiteY64" fmla="*/ 7986 h 9638"/>
              <a:gd name="connsiteX65" fmla="*/ 5112 w 10000"/>
              <a:gd name="connsiteY65" fmla="*/ 7923 h 9638"/>
              <a:gd name="connsiteX66" fmla="*/ 5032 w 10000"/>
              <a:gd name="connsiteY66" fmla="*/ 7869 h 9638"/>
              <a:gd name="connsiteX67" fmla="*/ 5016 w 10000"/>
              <a:gd name="connsiteY67" fmla="*/ 7832 h 9638"/>
              <a:gd name="connsiteX68" fmla="*/ 5036 w 10000"/>
              <a:gd name="connsiteY68" fmla="*/ 7802 h 9638"/>
              <a:gd name="connsiteX69" fmla="*/ 5144 w 10000"/>
              <a:gd name="connsiteY69" fmla="*/ 7826 h 9638"/>
              <a:gd name="connsiteX70" fmla="*/ 5230 w 10000"/>
              <a:gd name="connsiteY70" fmla="*/ 7824 h 9638"/>
              <a:gd name="connsiteX71" fmla="*/ 5184 w 10000"/>
              <a:gd name="connsiteY71" fmla="*/ 7773 h 9638"/>
              <a:gd name="connsiteX72" fmla="*/ 5198 w 10000"/>
              <a:gd name="connsiteY72" fmla="*/ 7745 h 9638"/>
              <a:gd name="connsiteX73" fmla="*/ 5262 w 10000"/>
              <a:gd name="connsiteY73" fmla="*/ 7702 h 9638"/>
              <a:gd name="connsiteX74" fmla="*/ 5250 w 10000"/>
              <a:gd name="connsiteY74" fmla="*/ 7667 h 9638"/>
              <a:gd name="connsiteX75" fmla="*/ 5309 w 10000"/>
              <a:gd name="connsiteY75" fmla="*/ 7549 h 9638"/>
              <a:gd name="connsiteX76" fmla="*/ 5293 w 10000"/>
              <a:gd name="connsiteY76" fmla="*/ 7513 h 9638"/>
              <a:gd name="connsiteX77" fmla="*/ 4996 w 10000"/>
              <a:gd name="connsiteY77" fmla="*/ 7424 h 9638"/>
              <a:gd name="connsiteX78" fmla="*/ 5036 w 10000"/>
              <a:gd name="connsiteY78" fmla="*/ 7420 h 9638"/>
              <a:gd name="connsiteX79" fmla="*/ 5194 w 10000"/>
              <a:gd name="connsiteY79" fmla="*/ 7444 h 9638"/>
              <a:gd name="connsiteX80" fmla="*/ 5365 w 10000"/>
              <a:gd name="connsiteY80" fmla="*/ 7436 h 9638"/>
              <a:gd name="connsiteX81" fmla="*/ 5415 w 10000"/>
              <a:gd name="connsiteY81" fmla="*/ 7403 h 9638"/>
              <a:gd name="connsiteX82" fmla="*/ 5250 w 10000"/>
              <a:gd name="connsiteY82" fmla="*/ 7342 h 9638"/>
              <a:gd name="connsiteX83" fmla="*/ 4761 w 10000"/>
              <a:gd name="connsiteY83" fmla="*/ 7302 h 9638"/>
              <a:gd name="connsiteX84" fmla="*/ 4794 w 10000"/>
              <a:gd name="connsiteY84" fmla="*/ 7283 h 9638"/>
              <a:gd name="connsiteX85" fmla="*/ 5194 w 10000"/>
              <a:gd name="connsiteY85" fmla="*/ 7271 h 9638"/>
              <a:gd name="connsiteX86" fmla="*/ 5415 w 10000"/>
              <a:gd name="connsiteY86" fmla="*/ 7308 h 9638"/>
              <a:gd name="connsiteX87" fmla="*/ 5542 w 10000"/>
              <a:gd name="connsiteY87" fmla="*/ 7283 h 9638"/>
              <a:gd name="connsiteX88" fmla="*/ 5589 w 10000"/>
              <a:gd name="connsiteY88" fmla="*/ 7220 h 9638"/>
              <a:gd name="connsiteX89" fmla="*/ 5819 w 10000"/>
              <a:gd name="connsiteY89" fmla="*/ 7220 h 9638"/>
              <a:gd name="connsiteX90" fmla="*/ 6131 w 10000"/>
              <a:gd name="connsiteY90" fmla="*/ 7093 h 9638"/>
              <a:gd name="connsiteX91" fmla="*/ 6142 w 10000"/>
              <a:gd name="connsiteY91" fmla="*/ 7009 h 9638"/>
              <a:gd name="connsiteX92" fmla="*/ 6274 w 10000"/>
              <a:gd name="connsiteY92" fmla="*/ 7028 h 9638"/>
              <a:gd name="connsiteX93" fmla="*/ 6268 w 10000"/>
              <a:gd name="connsiteY93" fmla="*/ 7113 h 9638"/>
              <a:gd name="connsiteX94" fmla="*/ 6478 w 10000"/>
              <a:gd name="connsiteY94" fmla="*/ 7107 h 9638"/>
              <a:gd name="connsiteX95" fmla="*/ 6616 w 10000"/>
              <a:gd name="connsiteY95" fmla="*/ 7019 h 9638"/>
              <a:gd name="connsiteX96" fmla="*/ 6872 w 10000"/>
              <a:gd name="connsiteY96" fmla="*/ 6940 h 9638"/>
              <a:gd name="connsiteX97" fmla="*/ 6832 w 10000"/>
              <a:gd name="connsiteY97" fmla="*/ 6850 h 9638"/>
              <a:gd name="connsiteX98" fmla="*/ 6908 w 10000"/>
              <a:gd name="connsiteY98" fmla="*/ 6885 h 9638"/>
              <a:gd name="connsiteX99" fmla="*/ 7025 w 10000"/>
              <a:gd name="connsiteY99" fmla="*/ 6885 h 9638"/>
              <a:gd name="connsiteX100" fmla="*/ 7025 w 10000"/>
              <a:gd name="connsiteY100" fmla="*/ 6844 h 9638"/>
              <a:gd name="connsiteX101" fmla="*/ 7134 w 10000"/>
              <a:gd name="connsiteY101" fmla="*/ 6812 h 9638"/>
              <a:gd name="connsiteX102" fmla="*/ 7119 w 10000"/>
              <a:gd name="connsiteY102" fmla="*/ 6779 h 9638"/>
              <a:gd name="connsiteX103" fmla="*/ 6198 w 10000"/>
              <a:gd name="connsiteY103" fmla="*/ 6846 h 9638"/>
              <a:gd name="connsiteX104" fmla="*/ 5983 w 10000"/>
              <a:gd name="connsiteY104" fmla="*/ 6826 h 9638"/>
              <a:gd name="connsiteX105" fmla="*/ 5895 w 10000"/>
              <a:gd name="connsiteY105" fmla="*/ 6850 h 9638"/>
              <a:gd name="connsiteX106" fmla="*/ 5866 w 10000"/>
              <a:gd name="connsiteY106" fmla="*/ 6804 h 9638"/>
              <a:gd name="connsiteX107" fmla="*/ 5764 w 10000"/>
              <a:gd name="connsiteY107" fmla="*/ 6763 h 9638"/>
              <a:gd name="connsiteX108" fmla="*/ 5354 w 10000"/>
              <a:gd name="connsiteY108" fmla="*/ 6682 h 9638"/>
              <a:gd name="connsiteX109" fmla="*/ 5112 w 10000"/>
              <a:gd name="connsiteY109" fmla="*/ 6695 h 9638"/>
              <a:gd name="connsiteX110" fmla="*/ 5016 w 10000"/>
              <a:gd name="connsiteY110" fmla="*/ 6672 h 9638"/>
              <a:gd name="connsiteX111" fmla="*/ 5118 w 10000"/>
              <a:gd name="connsiteY111" fmla="*/ 6652 h 9638"/>
              <a:gd name="connsiteX112" fmla="*/ 5194 w 10000"/>
              <a:gd name="connsiteY112" fmla="*/ 6609 h 9638"/>
              <a:gd name="connsiteX113" fmla="*/ 5309 w 10000"/>
              <a:gd name="connsiteY113" fmla="*/ 6623 h 9638"/>
              <a:gd name="connsiteX114" fmla="*/ 5445 w 10000"/>
              <a:gd name="connsiteY114" fmla="*/ 6611 h 9638"/>
              <a:gd name="connsiteX115" fmla="*/ 5650 w 10000"/>
              <a:gd name="connsiteY115" fmla="*/ 6625 h 9638"/>
              <a:gd name="connsiteX116" fmla="*/ 5675 w 10000"/>
              <a:gd name="connsiteY116" fmla="*/ 6619 h 9638"/>
              <a:gd name="connsiteX117" fmla="*/ 5834 w 10000"/>
              <a:gd name="connsiteY117" fmla="*/ 6686 h 9638"/>
              <a:gd name="connsiteX118" fmla="*/ 5951 w 10000"/>
              <a:gd name="connsiteY118" fmla="*/ 6662 h 9638"/>
              <a:gd name="connsiteX119" fmla="*/ 5961 w 10000"/>
              <a:gd name="connsiteY119" fmla="*/ 6640 h 9638"/>
              <a:gd name="connsiteX120" fmla="*/ 6069 w 10000"/>
              <a:gd name="connsiteY120" fmla="*/ 6678 h 9638"/>
              <a:gd name="connsiteX121" fmla="*/ 6212 w 10000"/>
              <a:gd name="connsiteY121" fmla="*/ 6699 h 9638"/>
              <a:gd name="connsiteX122" fmla="*/ 6268 w 10000"/>
              <a:gd name="connsiteY122" fmla="*/ 6660 h 9638"/>
              <a:gd name="connsiteX123" fmla="*/ 6314 w 10000"/>
              <a:gd name="connsiteY123" fmla="*/ 6682 h 9638"/>
              <a:gd name="connsiteX124" fmla="*/ 6381 w 10000"/>
              <a:gd name="connsiteY124" fmla="*/ 6757 h 9638"/>
              <a:gd name="connsiteX125" fmla="*/ 6519 w 10000"/>
              <a:gd name="connsiteY125" fmla="*/ 6775 h 9638"/>
              <a:gd name="connsiteX126" fmla="*/ 7082 w 10000"/>
              <a:gd name="connsiteY126" fmla="*/ 6664 h 9638"/>
              <a:gd name="connsiteX127" fmla="*/ 7359 w 10000"/>
              <a:gd name="connsiteY127" fmla="*/ 6509 h 9638"/>
              <a:gd name="connsiteX128" fmla="*/ 7423 w 10000"/>
              <a:gd name="connsiteY128" fmla="*/ 6395 h 9638"/>
              <a:gd name="connsiteX129" fmla="*/ 7323 w 10000"/>
              <a:gd name="connsiteY129" fmla="*/ 6292 h 9638"/>
              <a:gd name="connsiteX130" fmla="*/ 7113 w 10000"/>
              <a:gd name="connsiteY130" fmla="*/ 6231 h 9638"/>
              <a:gd name="connsiteX131" fmla="*/ 6963 w 10000"/>
              <a:gd name="connsiteY131" fmla="*/ 6131 h 9638"/>
              <a:gd name="connsiteX132" fmla="*/ 7102 w 10000"/>
              <a:gd name="connsiteY132" fmla="*/ 6127 h 9638"/>
              <a:gd name="connsiteX133" fmla="*/ 7093 w 10000"/>
              <a:gd name="connsiteY133" fmla="*/ 6103 h 9638"/>
              <a:gd name="connsiteX134" fmla="*/ 6731 w 10000"/>
              <a:gd name="connsiteY134" fmla="*/ 6032 h 9638"/>
              <a:gd name="connsiteX135" fmla="*/ 6716 w 10000"/>
              <a:gd name="connsiteY135" fmla="*/ 5967 h 9638"/>
              <a:gd name="connsiteX136" fmla="*/ 6646 w 10000"/>
              <a:gd name="connsiteY136" fmla="*/ 5900 h 9638"/>
              <a:gd name="connsiteX137" fmla="*/ 6360 w 10000"/>
              <a:gd name="connsiteY137" fmla="*/ 5912 h 9638"/>
              <a:gd name="connsiteX138" fmla="*/ 6258 w 10000"/>
              <a:gd name="connsiteY138" fmla="*/ 5841 h 9638"/>
              <a:gd name="connsiteX139" fmla="*/ 6198 w 10000"/>
              <a:gd name="connsiteY139" fmla="*/ 5837 h 9638"/>
              <a:gd name="connsiteX140" fmla="*/ 6198 w 10000"/>
              <a:gd name="connsiteY140" fmla="*/ 5866 h 9638"/>
              <a:gd name="connsiteX141" fmla="*/ 6069 w 10000"/>
              <a:gd name="connsiteY141" fmla="*/ 5987 h 9638"/>
              <a:gd name="connsiteX142" fmla="*/ 5930 w 10000"/>
              <a:gd name="connsiteY142" fmla="*/ 6058 h 9638"/>
              <a:gd name="connsiteX143" fmla="*/ 5495 w 10000"/>
              <a:gd name="connsiteY143" fmla="*/ 6180 h 9638"/>
              <a:gd name="connsiteX144" fmla="*/ 5342 w 10000"/>
              <a:gd name="connsiteY144" fmla="*/ 6176 h 9638"/>
              <a:gd name="connsiteX145" fmla="*/ 5133 w 10000"/>
              <a:gd name="connsiteY145" fmla="*/ 6194 h 9638"/>
              <a:gd name="connsiteX146" fmla="*/ 5016 w 10000"/>
              <a:gd name="connsiteY146" fmla="*/ 6176 h 9638"/>
              <a:gd name="connsiteX147" fmla="*/ 5169 w 10000"/>
              <a:gd name="connsiteY147" fmla="*/ 6142 h 9638"/>
              <a:gd name="connsiteX148" fmla="*/ 5369 w 10000"/>
              <a:gd name="connsiteY148" fmla="*/ 6127 h 9638"/>
              <a:gd name="connsiteX149" fmla="*/ 5534 w 10000"/>
              <a:gd name="connsiteY149" fmla="*/ 6070 h 9638"/>
              <a:gd name="connsiteX150" fmla="*/ 5695 w 10000"/>
              <a:gd name="connsiteY150" fmla="*/ 6044 h 9638"/>
              <a:gd name="connsiteX151" fmla="*/ 5998 w 10000"/>
              <a:gd name="connsiteY151" fmla="*/ 5945 h 9638"/>
              <a:gd name="connsiteX152" fmla="*/ 6056 w 10000"/>
              <a:gd name="connsiteY152" fmla="*/ 5880 h 9638"/>
              <a:gd name="connsiteX153" fmla="*/ 6060 w 10000"/>
              <a:gd name="connsiteY153" fmla="*/ 5796 h 9638"/>
              <a:gd name="connsiteX154" fmla="*/ 5921 w 10000"/>
              <a:gd name="connsiteY154" fmla="*/ 5782 h 9638"/>
              <a:gd name="connsiteX155" fmla="*/ 5983 w 10000"/>
              <a:gd name="connsiteY155" fmla="*/ 5731 h 9638"/>
              <a:gd name="connsiteX156" fmla="*/ 6002 w 10000"/>
              <a:gd name="connsiteY156" fmla="*/ 5666 h 9638"/>
              <a:gd name="connsiteX157" fmla="*/ 5944 w 10000"/>
              <a:gd name="connsiteY157" fmla="*/ 5605 h 9638"/>
              <a:gd name="connsiteX158" fmla="*/ 5911 w 10000"/>
              <a:gd name="connsiteY158" fmla="*/ 5159 h 9638"/>
              <a:gd name="connsiteX159" fmla="*/ 5993 w 10000"/>
              <a:gd name="connsiteY159" fmla="*/ 5063 h 9638"/>
              <a:gd name="connsiteX160" fmla="*/ 5972 w 10000"/>
              <a:gd name="connsiteY160" fmla="*/ 5024 h 9638"/>
              <a:gd name="connsiteX161" fmla="*/ 6212 w 10000"/>
              <a:gd name="connsiteY161" fmla="*/ 5081 h 9638"/>
              <a:gd name="connsiteX162" fmla="*/ 6229 w 10000"/>
              <a:gd name="connsiteY162" fmla="*/ 5028 h 9638"/>
              <a:gd name="connsiteX163" fmla="*/ 6176 w 10000"/>
              <a:gd name="connsiteY163" fmla="*/ 4890 h 9638"/>
              <a:gd name="connsiteX164" fmla="*/ 6349 w 10000"/>
              <a:gd name="connsiteY164" fmla="*/ 4644 h 9638"/>
              <a:gd name="connsiteX165" fmla="*/ 6243 w 10000"/>
              <a:gd name="connsiteY165" fmla="*/ 4585 h 9638"/>
              <a:gd name="connsiteX166" fmla="*/ 6202 w 10000"/>
              <a:gd name="connsiteY166" fmla="*/ 4530 h 9638"/>
              <a:gd name="connsiteX167" fmla="*/ 6216 w 10000"/>
              <a:gd name="connsiteY167" fmla="*/ 4440 h 9638"/>
              <a:gd name="connsiteX168" fmla="*/ 6470 w 10000"/>
              <a:gd name="connsiteY168" fmla="*/ 4500 h 9638"/>
              <a:gd name="connsiteX169" fmla="*/ 6478 w 10000"/>
              <a:gd name="connsiteY169" fmla="*/ 4483 h 9638"/>
              <a:gd name="connsiteX170" fmla="*/ 6548 w 10000"/>
              <a:gd name="connsiteY170" fmla="*/ 4467 h 9638"/>
              <a:gd name="connsiteX171" fmla="*/ 6646 w 10000"/>
              <a:gd name="connsiteY171" fmla="*/ 4409 h 9638"/>
              <a:gd name="connsiteX172" fmla="*/ 6662 w 10000"/>
              <a:gd name="connsiteY172" fmla="*/ 4393 h 9638"/>
              <a:gd name="connsiteX173" fmla="*/ 6641 w 10000"/>
              <a:gd name="connsiteY173" fmla="*/ 4372 h 9638"/>
              <a:gd name="connsiteX174" fmla="*/ 6693 w 10000"/>
              <a:gd name="connsiteY174" fmla="*/ 4271 h 9638"/>
              <a:gd name="connsiteX175" fmla="*/ 6631 w 10000"/>
              <a:gd name="connsiteY175" fmla="*/ 4205 h 9638"/>
              <a:gd name="connsiteX176" fmla="*/ 6641 w 10000"/>
              <a:gd name="connsiteY176" fmla="*/ 4152 h 9638"/>
              <a:gd name="connsiteX177" fmla="*/ 6676 w 10000"/>
              <a:gd name="connsiteY177" fmla="*/ 4214 h 9638"/>
              <a:gd name="connsiteX178" fmla="*/ 6815 w 10000"/>
              <a:gd name="connsiteY178" fmla="*/ 4260 h 9638"/>
              <a:gd name="connsiteX179" fmla="*/ 6872 w 10000"/>
              <a:gd name="connsiteY179" fmla="*/ 4254 h 9638"/>
              <a:gd name="connsiteX180" fmla="*/ 6963 w 10000"/>
              <a:gd name="connsiteY180" fmla="*/ 4193 h 9638"/>
              <a:gd name="connsiteX181" fmla="*/ 7062 w 10000"/>
              <a:gd name="connsiteY181" fmla="*/ 4218 h 9638"/>
              <a:gd name="connsiteX182" fmla="*/ 7088 w 10000"/>
              <a:gd name="connsiteY182" fmla="*/ 4169 h 9638"/>
              <a:gd name="connsiteX183" fmla="*/ 7154 w 10000"/>
              <a:gd name="connsiteY183" fmla="*/ 4136 h 9638"/>
              <a:gd name="connsiteX184" fmla="*/ 6974 w 10000"/>
              <a:gd name="connsiteY184" fmla="*/ 4101 h 9638"/>
              <a:gd name="connsiteX185" fmla="*/ 7102 w 10000"/>
              <a:gd name="connsiteY185" fmla="*/ 4108 h 9638"/>
              <a:gd name="connsiteX186" fmla="*/ 7234 w 10000"/>
              <a:gd name="connsiteY186" fmla="*/ 4071 h 9638"/>
              <a:gd name="connsiteX187" fmla="*/ 7229 w 10000"/>
              <a:gd name="connsiteY187" fmla="*/ 4045 h 9638"/>
              <a:gd name="connsiteX188" fmla="*/ 7353 w 10000"/>
              <a:gd name="connsiteY188" fmla="*/ 4021 h 9638"/>
              <a:gd name="connsiteX189" fmla="*/ 7364 w 10000"/>
              <a:gd name="connsiteY189" fmla="*/ 3960 h 9638"/>
              <a:gd name="connsiteX190" fmla="*/ 7461 w 10000"/>
              <a:gd name="connsiteY190" fmla="*/ 3948 h 9638"/>
              <a:gd name="connsiteX191" fmla="*/ 7469 w 10000"/>
              <a:gd name="connsiteY191" fmla="*/ 3876 h 9638"/>
              <a:gd name="connsiteX192" fmla="*/ 7572 w 10000"/>
              <a:gd name="connsiteY192" fmla="*/ 3868 h 9638"/>
              <a:gd name="connsiteX193" fmla="*/ 7730 w 10000"/>
              <a:gd name="connsiteY193" fmla="*/ 3883 h 9638"/>
              <a:gd name="connsiteX194" fmla="*/ 7904 w 10000"/>
              <a:gd name="connsiteY194" fmla="*/ 3825 h 9638"/>
              <a:gd name="connsiteX195" fmla="*/ 7966 w 10000"/>
              <a:gd name="connsiteY195" fmla="*/ 3760 h 9638"/>
              <a:gd name="connsiteX196" fmla="*/ 8181 w 10000"/>
              <a:gd name="connsiteY196" fmla="*/ 3693 h 9638"/>
              <a:gd name="connsiteX197" fmla="*/ 8288 w 10000"/>
              <a:gd name="connsiteY197" fmla="*/ 3734 h 9638"/>
              <a:gd name="connsiteX198" fmla="*/ 8452 w 10000"/>
              <a:gd name="connsiteY198" fmla="*/ 3689 h 9638"/>
              <a:gd name="connsiteX199" fmla="*/ 8491 w 10000"/>
              <a:gd name="connsiteY199" fmla="*/ 3631 h 9638"/>
              <a:gd name="connsiteX200" fmla="*/ 8616 w 10000"/>
              <a:gd name="connsiteY200" fmla="*/ 3592 h 9638"/>
              <a:gd name="connsiteX201" fmla="*/ 8722 w 10000"/>
              <a:gd name="connsiteY201" fmla="*/ 3609 h 9638"/>
              <a:gd name="connsiteX202" fmla="*/ 8789 w 10000"/>
              <a:gd name="connsiteY202" fmla="*/ 3580 h 9638"/>
              <a:gd name="connsiteX203" fmla="*/ 8973 w 10000"/>
              <a:gd name="connsiteY203" fmla="*/ 3539 h 9638"/>
              <a:gd name="connsiteX204" fmla="*/ 9049 w 10000"/>
              <a:gd name="connsiteY204" fmla="*/ 3486 h 9638"/>
              <a:gd name="connsiteX205" fmla="*/ 9153 w 10000"/>
              <a:gd name="connsiteY205" fmla="*/ 3464 h 9638"/>
              <a:gd name="connsiteX206" fmla="*/ 9720 w 10000"/>
              <a:gd name="connsiteY206" fmla="*/ 3143 h 9638"/>
              <a:gd name="connsiteX207" fmla="*/ 9971 w 10000"/>
              <a:gd name="connsiteY207" fmla="*/ 2 h 9638"/>
              <a:gd name="connsiteX208" fmla="*/ 7537 w 10000"/>
              <a:gd name="connsiteY208" fmla="*/ 0 h 9638"/>
              <a:gd name="connsiteX209" fmla="*/ 7423 w 10000"/>
              <a:gd name="connsiteY209" fmla="*/ 8 h 9638"/>
              <a:gd name="connsiteX210" fmla="*/ 7359 w 10000"/>
              <a:gd name="connsiteY210" fmla="*/ 27 h 9638"/>
              <a:gd name="connsiteX211" fmla="*/ 7290 w 10000"/>
              <a:gd name="connsiteY211" fmla="*/ 75 h 9638"/>
              <a:gd name="connsiteX212" fmla="*/ 7302 w 10000"/>
              <a:gd name="connsiteY212" fmla="*/ 194 h 9638"/>
              <a:gd name="connsiteX213" fmla="*/ 7199 w 10000"/>
              <a:gd name="connsiteY213" fmla="*/ 349 h 9638"/>
              <a:gd name="connsiteX214" fmla="*/ 7072 w 10000"/>
              <a:gd name="connsiteY214" fmla="*/ 429 h 9638"/>
              <a:gd name="connsiteX215" fmla="*/ 7021 w 10000"/>
              <a:gd name="connsiteY215" fmla="*/ 419 h 9638"/>
              <a:gd name="connsiteX216" fmla="*/ 6903 w 10000"/>
              <a:gd name="connsiteY216" fmla="*/ 353 h 9638"/>
              <a:gd name="connsiteX217" fmla="*/ 6756 w 10000"/>
              <a:gd name="connsiteY217" fmla="*/ 319 h 9638"/>
              <a:gd name="connsiteX218" fmla="*/ 6594 w 10000"/>
              <a:gd name="connsiteY218" fmla="*/ 329 h 9638"/>
              <a:gd name="connsiteX219" fmla="*/ 6223 w 10000"/>
              <a:gd name="connsiteY219" fmla="*/ 480 h 9638"/>
              <a:gd name="connsiteX220" fmla="*/ 6125 w 10000"/>
              <a:gd name="connsiteY220" fmla="*/ 632 h 9638"/>
              <a:gd name="connsiteX221" fmla="*/ 5845 w 10000"/>
              <a:gd name="connsiteY221" fmla="*/ 768 h 9638"/>
              <a:gd name="connsiteX222" fmla="*/ 5794 w 10000"/>
              <a:gd name="connsiteY222" fmla="*/ 837 h 9638"/>
              <a:gd name="connsiteX223" fmla="*/ 5940 w 10000"/>
              <a:gd name="connsiteY223" fmla="*/ 959 h 9638"/>
              <a:gd name="connsiteX224" fmla="*/ 5956 w 10000"/>
              <a:gd name="connsiteY224" fmla="*/ 1028 h 9638"/>
              <a:gd name="connsiteX225" fmla="*/ 5190 w 10000"/>
              <a:gd name="connsiteY225" fmla="*/ 1430 h 9638"/>
              <a:gd name="connsiteX226" fmla="*/ 4955 w 10000"/>
              <a:gd name="connsiteY226" fmla="*/ 1687 h 9638"/>
              <a:gd name="connsiteX227" fmla="*/ 4702 w 10000"/>
              <a:gd name="connsiteY227" fmla="*/ 1752 h 9638"/>
              <a:gd name="connsiteX228" fmla="*/ 4540 w 10000"/>
              <a:gd name="connsiteY228" fmla="*/ 1748 h 9638"/>
              <a:gd name="connsiteX229" fmla="*/ 4443 w 10000"/>
              <a:gd name="connsiteY229" fmla="*/ 1771 h 9638"/>
              <a:gd name="connsiteX230" fmla="*/ 4178 w 10000"/>
              <a:gd name="connsiteY230" fmla="*/ 2412 h 9638"/>
              <a:gd name="connsiteX231" fmla="*/ 3565 w 10000"/>
              <a:gd name="connsiteY231" fmla="*/ 2786 h 9638"/>
              <a:gd name="connsiteX232" fmla="*/ 3569 w 10000"/>
              <a:gd name="connsiteY232" fmla="*/ 2845 h 9638"/>
              <a:gd name="connsiteX233" fmla="*/ 3841 w 10000"/>
              <a:gd name="connsiteY233" fmla="*/ 3013 h 9638"/>
              <a:gd name="connsiteX234" fmla="*/ 3753 w 10000"/>
              <a:gd name="connsiteY234" fmla="*/ 3194 h 9638"/>
              <a:gd name="connsiteX235" fmla="*/ 3594 w 10000"/>
              <a:gd name="connsiteY235" fmla="*/ 3261 h 9638"/>
              <a:gd name="connsiteX236" fmla="*/ 3118 w 10000"/>
              <a:gd name="connsiteY236" fmla="*/ 3216 h 9638"/>
              <a:gd name="connsiteX237" fmla="*/ 2791 w 10000"/>
              <a:gd name="connsiteY237" fmla="*/ 3241 h 9638"/>
              <a:gd name="connsiteX238" fmla="*/ 2528 w 10000"/>
              <a:gd name="connsiteY238" fmla="*/ 3295 h 9638"/>
              <a:gd name="connsiteX239" fmla="*/ 2102 w 10000"/>
              <a:gd name="connsiteY239" fmla="*/ 3462 h 9638"/>
              <a:gd name="connsiteX240" fmla="*/ 1877 w 10000"/>
              <a:gd name="connsiteY240" fmla="*/ 3664 h 9638"/>
              <a:gd name="connsiteX241" fmla="*/ 1896 w 10000"/>
              <a:gd name="connsiteY241" fmla="*/ 3777 h 9638"/>
              <a:gd name="connsiteX242" fmla="*/ 1975 w 10000"/>
              <a:gd name="connsiteY242" fmla="*/ 3864 h 9638"/>
              <a:gd name="connsiteX243" fmla="*/ 2034 w 10000"/>
              <a:gd name="connsiteY243" fmla="*/ 3899 h 9638"/>
              <a:gd name="connsiteX244" fmla="*/ 1924 w 10000"/>
              <a:gd name="connsiteY244" fmla="*/ 3954 h 9638"/>
              <a:gd name="connsiteX245" fmla="*/ 1683 w 10000"/>
              <a:gd name="connsiteY245" fmla="*/ 4334 h 9638"/>
              <a:gd name="connsiteX246" fmla="*/ 1729 w 10000"/>
              <a:gd name="connsiteY246" fmla="*/ 4356 h 9638"/>
              <a:gd name="connsiteX247" fmla="*/ 1764 w 10000"/>
              <a:gd name="connsiteY247" fmla="*/ 4453 h 9638"/>
              <a:gd name="connsiteX248" fmla="*/ 1652 w 10000"/>
              <a:gd name="connsiteY248" fmla="*/ 4853 h 9638"/>
              <a:gd name="connsiteX249" fmla="*/ 1764 w 10000"/>
              <a:gd name="connsiteY249" fmla="*/ 4955 h 9638"/>
              <a:gd name="connsiteX250" fmla="*/ 2071 w 10000"/>
              <a:gd name="connsiteY250" fmla="*/ 5067 h 9638"/>
              <a:gd name="connsiteX251" fmla="*/ 2085 w 10000"/>
              <a:gd name="connsiteY251" fmla="*/ 5204 h 9638"/>
              <a:gd name="connsiteX252" fmla="*/ 1954 w 10000"/>
              <a:gd name="connsiteY252" fmla="*/ 5317 h 9638"/>
              <a:gd name="connsiteX253" fmla="*/ 1764 w 10000"/>
              <a:gd name="connsiteY253" fmla="*/ 5386 h 9638"/>
              <a:gd name="connsiteX254" fmla="*/ 1513 w 10000"/>
              <a:gd name="connsiteY254" fmla="*/ 5414 h 9638"/>
              <a:gd name="connsiteX255" fmla="*/ 1448 w 10000"/>
              <a:gd name="connsiteY255" fmla="*/ 5453 h 9638"/>
              <a:gd name="connsiteX256" fmla="*/ 1594 w 10000"/>
              <a:gd name="connsiteY256" fmla="*/ 5547 h 9638"/>
              <a:gd name="connsiteX257" fmla="*/ 1678 w 10000"/>
              <a:gd name="connsiteY257" fmla="*/ 5770 h 9638"/>
              <a:gd name="connsiteX258" fmla="*/ 1488 w 10000"/>
              <a:gd name="connsiteY258" fmla="*/ 5961 h 9638"/>
              <a:gd name="connsiteX259" fmla="*/ 1554 w 10000"/>
              <a:gd name="connsiteY259" fmla="*/ 6021 h 9638"/>
              <a:gd name="connsiteX260" fmla="*/ 1494 w 10000"/>
              <a:gd name="connsiteY260" fmla="*/ 6121 h 9638"/>
              <a:gd name="connsiteX261" fmla="*/ 1372 w 10000"/>
              <a:gd name="connsiteY261" fmla="*/ 6190 h 9638"/>
              <a:gd name="connsiteX262" fmla="*/ 889 w 10000"/>
              <a:gd name="connsiteY262" fmla="*/ 6243 h 9638"/>
              <a:gd name="connsiteX263" fmla="*/ 860 w 10000"/>
              <a:gd name="connsiteY263" fmla="*/ 6335 h 9638"/>
              <a:gd name="connsiteX264" fmla="*/ 600 w 10000"/>
              <a:gd name="connsiteY264" fmla="*/ 6473 h 9638"/>
              <a:gd name="connsiteX265" fmla="*/ 634 w 10000"/>
              <a:gd name="connsiteY265" fmla="*/ 6670 h 9638"/>
              <a:gd name="connsiteX266" fmla="*/ 415 w 10000"/>
              <a:gd name="connsiteY266" fmla="*/ 6924 h 9638"/>
              <a:gd name="connsiteX267" fmla="*/ 266 w 10000"/>
              <a:gd name="connsiteY267" fmla="*/ 6954 h 9638"/>
              <a:gd name="connsiteX268" fmla="*/ 204 w 10000"/>
              <a:gd name="connsiteY268" fmla="*/ 6893 h 9638"/>
              <a:gd name="connsiteX269" fmla="*/ 128 w 10000"/>
              <a:gd name="connsiteY269" fmla="*/ 6985 h 9638"/>
              <a:gd name="connsiteX270" fmla="*/ 178 w 10000"/>
              <a:gd name="connsiteY270" fmla="*/ 6828 h 9638"/>
              <a:gd name="connsiteX271" fmla="*/ 147 w 10000"/>
              <a:gd name="connsiteY271" fmla="*/ 6797 h 9638"/>
              <a:gd name="connsiteX0" fmla="*/ 147 w 9720"/>
              <a:gd name="connsiteY0" fmla="*/ 7052 h 10000"/>
              <a:gd name="connsiteX1" fmla="*/ 0 w 9720"/>
              <a:gd name="connsiteY1" fmla="*/ 7137 h 10000"/>
              <a:gd name="connsiteX2" fmla="*/ 0 w 9720"/>
              <a:gd name="connsiteY2" fmla="*/ 7557 h 10000"/>
              <a:gd name="connsiteX3" fmla="*/ 81 w 9720"/>
              <a:gd name="connsiteY3" fmla="*/ 7569 h 10000"/>
              <a:gd name="connsiteX4" fmla="*/ 100 w 9720"/>
              <a:gd name="connsiteY4" fmla="*/ 7601 h 10000"/>
              <a:gd name="connsiteX5" fmla="*/ 96 w 9720"/>
              <a:gd name="connsiteY5" fmla="*/ 7658 h 10000"/>
              <a:gd name="connsiteX6" fmla="*/ 66 w 9720"/>
              <a:gd name="connsiteY6" fmla="*/ 7683 h 10000"/>
              <a:gd name="connsiteX7" fmla="*/ 190 w 9720"/>
              <a:gd name="connsiteY7" fmla="*/ 7635 h 10000"/>
              <a:gd name="connsiteX8" fmla="*/ 242 w 9720"/>
              <a:gd name="connsiteY8" fmla="*/ 7587 h 10000"/>
              <a:gd name="connsiteX9" fmla="*/ 306 w 9720"/>
              <a:gd name="connsiteY9" fmla="*/ 7620 h 10000"/>
              <a:gd name="connsiteX10" fmla="*/ 235 w 9720"/>
              <a:gd name="connsiteY10" fmla="*/ 7688 h 10000"/>
              <a:gd name="connsiteX11" fmla="*/ 311 w 9720"/>
              <a:gd name="connsiteY11" fmla="*/ 7690 h 10000"/>
              <a:gd name="connsiteX12" fmla="*/ 348 w 9720"/>
              <a:gd name="connsiteY12" fmla="*/ 7707 h 10000"/>
              <a:gd name="connsiteX13" fmla="*/ 250 w 9720"/>
              <a:gd name="connsiteY13" fmla="*/ 7730 h 10000"/>
              <a:gd name="connsiteX14" fmla="*/ 96 w 9720"/>
              <a:gd name="connsiteY14" fmla="*/ 7800 h 10000"/>
              <a:gd name="connsiteX15" fmla="*/ 370 w 9720"/>
              <a:gd name="connsiteY15" fmla="*/ 7855 h 10000"/>
              <a:gd name="connsiteX16" fmla="*/ 404 w 9720"/>
              <a:gd name="connsiteY16" fmla="*/ 7934 h 10000"/>
              <a:gd name="connsiteX17" fmla="*/ 311 w 9720"/>
              <a:gd name="connsiteY17" fmla="*/ 8050 h 10000"/>
              <a:gd name="connsiteX18" fmla="*/ 511 w 9720"/>
              <a:gd name="connsiteY18" fmla="*/ 8042 h 10000"/>
              <a:gd name="connsiteX19" fmla="*/ 526 w 9720"/>
              <a:gd name="connsiteY19" fmla="*/ 8130 h 10000"/>
              <a:gd name="connsiteX20" fmla="*/ 393 w 9720"/>
              <a:gd name="connsiteY20" fmla="*/ 8189 h 10000"/>
              <a:gd name="connsiteX21" fmla="*/ 415 w 9720"/>
              <a:gd name="connsiteY21" fmla="*/ 8305 h 10000"/>
              <a:gd name="connsiteX22" fmla="*/ 364 w 9720"/>
              <a:gd name="connsiteY22" fmla="*/ 8394 h 10000"/>
              <a:gd name="connsiteX23" fmla="*/ 521 w 9720"/>
              <a:gd name="connsiteY23" fmla="*/ 8402 h 10000"/>
              <a:gd name="connsiteX24" fmla="*/ 676 w 9720"/>
              <a:gd name="connsiteY24" fmla="*/ 8744 h 10000"/>
              <a:gd name="connsiteX25" fmla="*/ 853 w 9720"/>
              <a:gd name="connsiteY25" fmla="*/ 8831 h 10000"/>
              <a:gd name="connsiteX26" fmla="*/ 931 w 9720"/>
              <a:gd name="connsiteY26" fmla="*/ 8923 h 10000"/>
              <a:gd name="connsiteX27" fmla="*/ 1125 w 9720"/>
              <a:gd name="connsiteY27" fmla="*/ 8990 h 10000"/>
              <a:gd name="connsiteX28" fmla="*/ 1249 w 9720"/>
              <a:gd name="connsiteY28" fmla="*/ 9077 h 10000"/>
              <a:gd name="connsiteX29" fmla="*/ 1233 w 9720"/>
              <a:gd name="connsiteY29" fmla="*/ 9138 h 10000"/>
              <a:gd name="connsiteX30" fmla="*/ 1110 w 9720"/>
              <a:gd name="connsiteY30" fmla="*/ 9161 h 10000"/>
              <a:gd name="connsiteX31" fmla="*/ 976 w 9720"/>
              <a:gd name="connsiteY31" fmla="*/ 9146 h 10000"/>
              <a:gd name="connsiteX32" fmla="*/ 935 w 9720"/>
              <a:gd name="connsiteY32" fmla="*/ 9172 h 10000"/>
              <a:gd name="connsiteX33" fmla="*/ 1037 w 9720"/>
              <a:gd name="connsiteY33" fmla="*/ 9305 h 10000"/>
              <a:gd name="connsiteX34" fmla="*/ 894 w 9720"/>
              <a:gd name="connsiteY34" fmla="*/ 9294 h 10000"/>
              <a:gd name="connsiteX35" fmla="*/ 773 w 9720"/>
              <a:gd name="connsiteY35" fmla="*/ 9262 h 10000"/>
              <a:gd name="connsiteX36" fmla="*/ 750 w 9720"/>
              <a:gd name="connsiteY36" fmla="*/ 9311 h 10000"/>
              <a:gd name="connsiteX37" fmla="*/ 1155 w 9720"/>
              <a:gd name="connsiteY37" fmla="*/ 9767 h 10000"/>
              <a:gd name="connsiteX38" fmla="*/ 1091 w 9720"/>
              <a:gd name="connsiteY38" fmla="*/ 9810 h 10000"/>
              <a:gd name="connsiteX39" fmla="*/ 1045 w 9720"/>
              <a:gd name="connsiteY39" fmla="*/ 9898 h 10000"/>
              <a:gd name="connsiteX40" fmla="*/ 987 w 9720"/>
              <a:gd name="connsiteY40" fmla="*/ 9905 h 10000"/>
              <a:gd name="connsiteX41" fmla="*/ 951 w 9720"/>
              <a:gd name="connsiteY41" fmla="*/ 9943 h 10000"/>
              <a:gd name="connsiteX42" fmla="*/ 1195 w 9720"/>
              <a:gd name="connsiteY42" fmla="*/ 9947 h 10000"/>
              <a:gd name="connsiteX43" fmla="*/ 1410 w 9720"/>
              <a:gd name="connsiteY43" fmla="*/ 9985 h 10000"/>
              <a:gd name="connsiteX44" fmla="*/ 1769 w 9720"/>
              <a:gd name="connsiteY44" fmla="*/ 9945 h 10000"/>
              <a:gd name="connsiteX45" fmla="*/ 2091 w 9720"/>
              <a:gd name="connsiteY45" fmla="*/ 9951 h 10000"/>
              <a:gd name="connsiteX46" fmla="*/ 2280 w 9720"/>
              <a:gd name="connsiteY46" fmla="*/ 10000 h 10000"/>
              <a:gd name="connsiteX47" fmla="*/ 2385 w 9720"/>
              <a:gd name="connsiteY47" fmla="*/ 9968 h 10000"/>
              <a:gd name="connsiteX48" fmla="*/ 2485 w 9720"/>
              <a:gd name="connsiteY48" fmla="*/ 9863 h 10000"/>
              <a:gd name="connsiteX49" fmla="*/ 2459 w 9720"/>
              <a:gd name="connsiteY49" fmla="*/ 9691 h 10000"/>
              <a:gd name="connsiteX50" fmla="*/ 2704 w 9720"/>
              <a:gd name="connsiteY50" fmla="*/ 9498 h 10000"/>
              <a:gd name="connsiteX51" fmla="*/ 2883 w 9720"/>
              <a:gd name="connsiteY51" fmla="*/ 9528 h 10000"/>
              <a:gd name="connsiteX52" fmla="*/ 2987 w 9720"/>
              <a:gd name="connsiteY52" fmla="*/ 9451 h 10000"/>
              <a:gd name="connsiteX53" fmla="*/ 3186 w 9720"/>
              <a:gd name="connsiteY53" fmla="*/ 9408 h 10000"/>
              <a:gd name="connsiteX54" fmla="*/ 3457 w 9720"/>
              <a:gd name="connsiteY54" fmla="*/ 9418 h 10000"/>
              <a:gd name="connsiteX55" fmla="*/ 3620 w 9720"/>
              <a:gd name="connsiteY55" fmla="*/ 9449 h 10000"/>
              <a:gd name="connsiteX56" fmla="*/ 3837 w 9720"/>
              <a:gd name="connsiteY56" fmla="*/ 9435 h 10000"/>
              <a:gd name="connsiteX57" fmla="*/ 4056 w 9720"/>
              <a:gd name="connsiteY57" fmla="*/ 9469 h 10000"/>
              <a:gd name="connsiteX58" fmla="*/ 4275 w 9720"/>
              <a:gd name="connsiteY58" fmla="*/ 9473 h 10000"/>
              <a:gd name="connsiteX59" fmla="*/ 4765 w 9720"/>
              <a:gd name="connsiteY59" fmla="*/ 9024 h 10000"/>
              <a:gd name="connsiteX60" fmla="*/ 4889 w 9720"/>
              <a:gd name="connsiteY60" fmla="*/ 8659 h 10000"/>
              <a:gd name="connsiteX61" fmla="*/ 5088 w 9720"/>
              <a:gd name="connsiteY61" fmla="*/ 8496 h 10000"/>
              <a:gd name="connsiteX62" fmla="*/ 5088 w 9720"/>
              <a:gd name="connsiteY62" fmla="*/ 8410 h 10000"/>
              <a:gd name="connsiteX63" fmla="*/ 5016 w 9720"/>
              <a:gd name="connsiteY63" fmla="*/ 8362 h 10000"/>
              <a:gd name="connsiteX64" fmla="*/ 5133 w 9720"/>
              <a:gd name="connsiteY64" fmla="*/ 8286 h 10000"/>
              <a:gd name="connsiteX65" fmla="*/ 5112 w 9720"/>
              <a:gd name="connsiteY65" fmla="*/ 8221 h 10000"/>
              <a:gd name="connsiteX66" fmla="*/ 5032 w 9720"/>
              <a:gd name="connsiteY66" fmla="*/ 8165 h 10000"/>
              <a:gd name="connsiteX67" fmla="*/ 5016 w 9720"/>
              <a:gd name="connsiteY67" fmla="*/ 8126 h 10000"/>
              <a:gd name="connsiteX68" fmla="*/ 5036 w 9720"/>
              <a:gd name="connsiteY68" fmla="*/ 8095 h 10000"/>
              <a:gd name="connsiteX69" fmla="*/ 5144 w 9720"/>
              <a:gd name="connsiteY69" fmla="*/ 8120 h 10000"/>
              <a:gd name="connsiteX70" fmla="*/ 5230 w 9720"/>
              <a:gd name="connsiteY70" fmla="*/ 8118 h 10000"/>
              <a:gd name="connsiteX71" fmla="*/ 5184 w 9720"/>
              <a:gd name="connsiteY71" fmla="*/ 8065 h 10000"/>
              <a:gd name="connsiteX72" fmla="*/ 5198 w 9720"/>
              <a:gd name="connsiteY72" fmla="*/ 8036 h 10000"/>
              <a:gd name="connsiteX73" fmla="*/ 5262 w 9720"/>
              <a:gd name="connsiteY73" fmla="*/ 7991 h 10000"/>
              <a:gd name="connsiteX74" fmla="*/ 5250 w 9720"/>
              <a:gd name="connsiteY74" fmla="*/ 7955 h 10000"/>
              <a:gd name="connsiteX75" fmla="*/ 5309 w 9720"/>
              <a:gd name="connsiteY75" fmla="*/ 7833 h 10000"/>
              <a:gd name="connsiteX76" fmla="*/ 5293 w 9720"/>
              <a:gd name="connsiteY76" fmla="*/ 7795 h 10000"/>
              <a:gd name="connsiteX77" fmla="*/ 4996 w 9720"/>
              <a:gd name="connsiteY77" fmla="*/ 7703 h 10000"/>
              <a:gd name="connsiteX78" fmla="*/ 5036 w 9720"/>
              <a:gd name="connsiteY78" fmla="*/ 7699 h 10000"/>
              <a:gd name="connsiteX79" fmla="*/ 5194 w 9720"/>
              <a:gd name="connsiteY79" fmla="*/ 7724 h 10000"/>
              <a:gd name="connsiteX80" fmla="*/ 5365 w 9720"/>
              <a:gd name="connsiteY80" fmla="*/ 7715 h 10000"/>
              <a:gd name="connsiteX81" fmla="*/ 5415 w 9720"/>
              <a:gd name="connsiteY81" fmla="*/ 7681 h 10000"/>
              <a:gd name="connsiteX82" fmla="*/ 5250 w 9720"/>
              <a:gd name="connsiteY82" fmla="*/ 7618 h 10000"/>
              <a:gd name="connsiteX83" fmla="*/ 4761 w 9720"/>
              <a:gd name="connsiteY83" fmla="*/ 7576 h 10000"/>
              <a:gd name="connsiteX84" fmla="*/ 4794 w 9720"/>
              <a:gd name="connsiteY84" fmla="*/ 7557 h 10000"/>
              <a:gd name="connsiteX85" fmla="*/ 5194 w 9720"/>
              <a:gd name="connsiteY85" fmla="*/ 7544 h 10000"/>
              <a:gd name="connsiteX86" fmla="*/ 5415 w 9720"/>
              <a:gd name="connsiteY86" fmla="*/ 7582 h 10000"/>
              <a:gd name="connsiteX87" fmla="*/ 5542 w 9720"/>
              <a:gd name="connsiteY87" fmla="*/ 7557 h 10000"/>
              <a:gd name="connsiteX88" fmla="*/ 5589 w 9720"/>
              <a:gd name="connsiteY88" fmla="*/ 7491 h 10000"/>
              <a:gd name="connsiteX89" fmla="*/ 5819 w 9720"/>
              <a:gd name="connsiteY89" fmla="*/ 7491 h 10000"/>
              <a:gd name="connsiteX90" fmla="*/ 6131 w 9720"/>
              <a:gd name="connsiteY90" fmla="*/ 7359 h 10000"/>
              <a:gd name="connsiteX91" fmla="*/ 6142 w 9720"/>
              <a:gd name="connsiteY91" fmla="*/ 7272 h 10000"/>
              <a:gd name="connsiteX92" fmla="*/ 6274 w 9720"/>
              <a:gd name="connsiteY92" fmla="*/ 7292 h 10000"/>
              <a:gd name="connsiteX93" fmla="*/ 6268 w 9720"/>
              <a:gd name="connsiteY93" fmla="*/ 7380 h 10000"/>
              <a:gd name="connsiteX94" fmla="*/ 6478 w 9720"/>
              <a:gd name="connsiteY94" fmla="*/ 7374 h 10000"/>
              <a:gd name="connsiteX95" fmla="*/ 6616 w 9720"/>
              <a:gd name="connsiteY95" fmla="*/ 7283 h 10000"/>
              <a:gd name="connsiteX96" fmla="*/ 6872 w 9720"/>
              <a:gd name="connsiteY96" fmla="*/ 7201 h 10000"/>
              <a:gd name="connsiteX97" fmla="*/ 6832 w 9720"/>
              <a:gd name="connsiteY97" fmla="*/ 7107 h 10000"/>
              <a:gd name="connsiteX98" fmla="*/ 6908 w 9720"/>
              <a:gd name="connsiteY98" fmla="*/ 7144 h 10000"/>
              <a:gd name="connsiteX99" fmla="*/ 7025 w 9720"/>
              <a:gd name="connsiteY99" fmla="*/ 7144 h 10000"/>
              <a:gd name="connsiteX100" fmla="*/ 7025 w 9720"/>
              <a:gd name="connsiteY100" fmla="*/ 7101 h 10000"/>
              <a:gd name="connsiteX101" fmla="*/ 7134 w 9720"/>
              <a:gd name="connsiteY101" fmla="*/ 7068 h 10000"/>
              <a:gd name="connsiteX102" fmla="*/ 7119 w 9720"/>
              <a:gd name="connsiteY102" fmla="*/ 7034 h 10000"/>
              <a:gd name="connsiteX103" fmla="*/ 6198 w 9720"/>
              <a:gd name="connsiteY103" fmla="*/ 7103 h 10000"/>
              <a:gd name="connsiteX104" fmla="*/ 5983 w 9720"/>
              <a:gd name="connsiteY104" fmla="*/ 7082 h 10000"/>
              <a:gd name="connsiteX105" fmla="*/ 5895 w 9720"/>
              <a:gd name="connsiteY105" fmla="*/ 7107 h 10000"/>
              <a:gd name="connsiteX106" fmla="*/ 5866 w 9720"/>
              <a:gd name="connsiteY106" fmla="*/ 7060 h 10000"/>
              <a:gd name="connsiteX107" fmla="*/ 5764 w 9720"/>
              <a:gd name="connsiteY107" fmla="*/ 7017 h 10000"/>
              <a:gd name="connsiteX108" fmla="*/ 5354 w 9720"/>
              <a:gd name="connsiteY108" fmla="*/ 6933 h 10000"/>
              <a:gd name="connsiteX109" fmla="*/ 5112 w 9720"/>
              <a:gd name="connsiteY109" fmla="*/ 6946 h 10000"/>
              <a:gd name="connsiteX110" fmla="*/ 5016 w 9720"/>
              <a:gd name="connsiteY110" fmla="*/ 6923 h 10000"/>
              <a:gd name="connsiteX111" fmla="*/ 5118 w 9720"/>
              <a:gd name="connsiteY111" fmla="*/ 6902 h 10000"/>
              <a:gd name="connsiteX112" fmla="*/ 5194 w 9720"/>
              <a:gd name="connsiteY112" fmla="*/ 6857 h 10000"/>
              <a:gd name="connsiteX113" fmla="*/ 5309 w 9720"/>
              <a:gd name="connsiteY113" fmla="*/ 6872 h 10000"/>
              <a:gd name="connsiteX114" fmla="*/ 5445 w 9720"/>
              <a:gd name="connsiteY114" fmla="*/ 6859 h 10000"/>
              <a:gd name="connsiteX115" fmla="*/ 5650 w 9720"/>
              <a:gd name="connsiteY115" fmla="*/ 6874 h 10000"/>
              <a:gd name="connsiteX116" fmla="*/ 5675 w 9720"/>
              <a:gd name="connsiteY116" fmla="*/ 6868 h 10000"/>
              <a:gd name="connsiteX117" fmla="*/ 5834 w 9720"/>
              <a:gd name="connsiteY117" fmla="*/ 6937 h 10000"/>
              <a:gd name="connsiteX118" fmla="*/ 5951 w 9720"/>
              <a:gd name="connsiteY118" fmla="*/ 6912 h 10000"/>
              <a:gd name="connsiteX119" fmla="*/ 5961 w 9720"/>
              <a:gd name="connsiteY119" fmla="*/ 6889 h 10000"/>
              <a:gd name="connsiteX120" fmla="*/ 6069 w 9720"/>
              <a:gd name="connsiteY120" fmla="*/ 6929 h 10000"/>
              <a:gd name="connsiteX121" fmla="*/ 6212 w 9720"/>
              <a:gd name="connsiteY121" fmla="*/ 6951 h 10000"/>
              <a:gd name="connsiteX122" fmla="*/ 6268 w 9720"/>
              <a:gd name="connsiteY122" fmla="*/ 6910 h 10000"/>
              <a:gd name="connsiteX123" fmla="*/ 6314 w 9720"/>
              <a:gd name="connsiteY123" fmla="*/ 6933 h 10000"/>
              <a:gd name="connsiteX124" fmla="*/ 6381 w 9720"/>
              <a:gd name="connsiteY124" fmla="*/ 7011 h 10000"/>
              <a:gd name="connsiteX125" fmla="*/ 6519 w 9720"/>
              <a:gd name="connsiteY125" fmla="*/ 7029 h 10000"/>
              <a:gd name="connsiteX126" fmla="*/ 7082 w 9720"/>
              <a:gd name="connsiteY126" fmla="*/ 6914 h 10000"/>
              <a:gd name="connsiteX127" fmla="*/ 7359 w 9720"/>
              <a:gd name="connsiteY127" fmla="*/ 6753 h 10000"/>
              <a:gd name="connsiteX128" fmla="*/ 7423 w 9720"/>
              <a:gd name="connsiteY128" fmla="*/ 6635 h 10000"/>
              <a:gd name="connsiteX129" fmla="*/ 7323 w 9720"/>
              <a:gd name="connsiteY129" fmla="*/ 6528 h 10000"/>
              <a:gd name="connsiteX130" fmla="*/ 7113 w 9720"/>
              <a:gd name="connsiteY130" fmla="*/ 6465 h 10000"/>
              <a:gd name="connsiteX131" fmla="*/ 6963 w 9720"/>
              <a:gd name="connsiteY131" fmla="*/ 6361 h 10000"/>
              <a:gd name="connsiteX132" fmla="*/ 7102 w 9720"/>
              <a:gd name="connsiteY132" fmla="*/ 6357 h 10000"/>
              <a:gd name="connsiteX133" fmla="*/ 7093 w 9720"/>
              <a:gd name="connsiteY133" fmla="*/ 6332 h 10000"/>
              <a:gd name="connsiteX134" fmla="*/ 6731 w 9720"/>
              <a:gd name="connsiteY134" fmla="*/ 6259 h 10000"/>
              <a:gd name="connsiteX135" fmla="*/ 6716 w 9720"/>
              <a:gd name="connsiteY135" fmla="*/ 6191 h 10000"/>
              <a:gd name="connsiteX136" fmla="*/ 6646 w 9720"/>
              <a:gd name="connsiteY136" fmla="*/ 6122 h 10000"/>
              <a:gd name="connsiteX137" fmla="*/ 6360 w 9720"/>
              <a:gd name="connsiteY137" fmla="*/ 6134 h 10000"/>
              <a:gd name="connsiteX138" fmla="*/ 6258 w 9720"/>
              <a:gd name="connsiteY138" fmla="*/ 6060 h 10000"/>
              <a:gd name="connsiteX139" fmla="*/ 6198 w 9720"/>
              <a:gd name="connsiteY139" fmla="*/ 6056 h 10000"/>
              <a:gd name="connsiteX140" fmla="*/ 6198 w 9720"/>
              <a:gd name="connsiteY140" fmla="*/ 6086 h 10000"/>
              <a:gd name="connsiteX141" fmla="*/ 6069 w 9720"/>
              <a:gd name="connsiteY141" fmla="*/ 6212 h 10000"/>
              <a:gd name="connsiteX142" fmla="*/ 5930 w 9720"/>
              <a:gd name="connsiteY142" fmla="*/ 6286 h 10000"/>
              <a:gd name="connsiteX143" fmla="*/ 5495 w 9720"/>
              <a:gd name="connsiteY143" fmla="*/ 6412 h 10000"/>
              <a:gd name="connsiteX144" fmla="*/ 5342 w 9720"/>
              <a:gd name="connsiteY144" fmla="*/ 6408 h 10000"/>
              <a:gd name="connsiteX145" fmla="*/ 5133 w 9720"/>
              <a:gd name="connsiteY145" fmla="*/ 6427 h 10000"/>
              <a:gd name="connsiteX146" fmla="*/ 5016 w 9720"/>
              <a:gd name="connsiteY146" fmla="*/ 6408 h 10000"/>
              <a:gd name="connsiteX147" fmla="*/ 5169 w 9720"/>
              <a:gd name="connsiteY147" fmla="*/ 6373 h 10000"/>
              <a:gd name="connsiteX148" fmla="*/ 5369 w 9720"/>
              <a:gd name="connsiteY148" fmla="*/ 6357 h 10000"/>
              <a:gd name="connsiteX149" fmla="*/ 5534 w 9720"/>
              <a:gd name="connsiteY149" fmla="*/ 6298 h 10000"/>
              <a:gd name="connsiteX150" fmla="*/ 5695 w 9720"/>
              <a:gd name="connsiteY150" fmla="*/ 6271 h 10000"/>
              <a:gd name="connsiteX151" fmla="*/ 5998 w 9720"/>
              <a:gd name="connsiteY151" fmla="*/ 6168 h 10000"/>
              <a:gd name="connsiteX152" fmla="*/ 6056 w 9720"/>
              <a:gd name="connsiteY152" fmla="*/ 6101 h 10000"/>
              <a:gd name="connsiteX153" fmla="*/ 6060 w 9720"/>
              <a:gd name="connsiteY153" fmla="*/ 6014 h 10000"/>
              <a:gd name="connsiteX154" fmla="*/ 5921 w 9720"/>
              <a:gd name="connsiteY154" fmla="*/ 5999 h 10000"/>
              <a:gd name="connsiteX155" fmla="*/ 5983 w 9720"/>
              <a:gd name="connsiteY155" fmla="*/ 5946 h 10000"/>
              <a:gd name="connsiteX156" fmla="*/ 6002 w 9720"/>
              <a:gd name="connsiteY156" fmla="*/ 5879 h 10000"/>
              <a:gd name="connsiteX157" fmla="*/ 5944 w 9720"/>
              <a:gd name="connsiteY157" fmla="*/ 5816 h 10000"/>
              <a:gd name="connsiteX158" fmla="*/ 5911 w 9720"/>
              <a:gd name="connsiteY158" fmla="*/ 5353 h 10000"/>
              <a:gd name="connsiteX159" fmla="*/ 5993 w 9720"/>
              <a:gd name="connsiteY159" fmla="*/ 5253 h 10000"/>
              <a:gd name="connsiteX160" fmla="*/ 5972 w 9720"/>
              <a:gd name="connsiteY160" fmla="*/ 5213 h 10000"/>
              <a:gd name="connsiteX161" fmla="*/ 6212 w 9720"/>
              <a:gd name="connsiteY161" fmla="*/ 5272 h 10000"/>
              <a:gd name="connsiteX162" fmla="*/ 6229 w 9720"/>
              <a:gd name="connsiteY162" fmla="*/ 5217 h 10000"/>
              <a:gd name="connsiteX163" fmla="*/ 6176 w 9720"/>
              <a:gd name="connsiteY163" fmla="*/ 5074 h 10000"/>
              <a:gd name="connsiteX164" fmla="*/ 6349 w 9720"/>
              <a:gd name="connsiteY164" fmla="*/ 4818 h 10000"/>
              <a:gd name="connsiteX165" fmla="*/ 6243 w 9720"/>
              <a:gd name="connsiteY165" fmla="*/ 4757 h 10000"/>
              <a:gd name="connsiteX166" fmla="*/ 6202 w 9720"/>
              <a:gd name="connsiteY166" fmla="*/ 4700 h 10000"/>
              <a:gd name="connsiteX167" fmla="*/ 6216 w 9720"/>
              <a:gd name="connsiteY167" fmla="*/ 4607 h 10000"/>
              <a:gd name="connsiteX168" fmla="*/ 6470 w 9720"/>
              <a:gd name="connsiteY168" fmla="*/ 4669 h 10000"/>
              <a:gd name="connsiteX169" fmla="*/ 6478 w 9720"/>
              <a:gd name="connsiteY169" fmla="*/ 4651 h 10000"/>
              <a:gd name="connsiteX170" fmla="*/ 6548 w 9720"/>
              <a:gd name="connsiteY170" fmla="*/ 4635 h 10000"/>
              <a:gd name="connsiteX171" fmla="*/ 6646 w 9720"/>
              <a:gd name="connsiteY171" fmla="*/ 4575 h 10000"/>
              <a:gd name="connsiteX172" fmla="*/ 6662 w 9720"/>
              <a:gd name="connsiteY172" fmla="*/ 4558 h 10000"/>
              <a:gd name="connsiteX173" fmla="*/ 6641 w 9720"/>
              <a:gd name="connsiteY173" fmla="*/ 4536 h 10000"/>
              <a:gd name="connsiteX174" fmla="*/ 6693 w 9720"/>
              <a:gd name="connsiteY174" fmla="*/ 4431 h 10000"/>
              <a:gd name="connsiteX175" fmla="*/ 6631 w 9720"/>
              <a:gd name="connsiteY175" fmla="*/ 4363 h 10000"/>
              <a:gd name="connsiteX176" fmla="*/ 6641 w 9720"/>
              <a:gd name="connsiteY176" fmla="*/ 4308 h 10000"/>
              <a:gd name="connsiteX177" fmla="*/ 6676 w 9720"/>
              <a:gd name="connsiteY177" fmla="*/ 4372 h 10000"/>
              <a:gd name="connsiteX178" fmla="*/ 6815 w 9720"/>
              <a:gd name="connsiteY178" fmla="*/ 4420 h 10000"/>
              <a:gd name="connsiteX179" fmla="*/ 6872 w 9720"/>
              <a:gd name="connsiteY179" fmla="*/ 4414 h 10000"/>
              <a:gd name="connsiteX180" fmla="*/ 6963 w 9720"/>
              <a:gd name="connsiteY180" fmla="*/ 4350 h 10000"/>
              <a:gd name="connsiteX181" fmla="*/ 7062 w 9720"/>
              <a:gd name="connsiteY181" fmla="*/ 4376 h 10000"/>
              <a:gd name="connsiteX182" fmla="*/ 7088 w 9720"/>
              <a:gd name="connsiteY182" fmla="*/ 4326 h 10000"/>
              <a:gd name="connsiteX183" fmla="*/ 7154 w 9720"/>
              <a:gd name="connsiteY183" fmla="*/ 4291 h 10000"/>
              <a:gd name="connsiteX184" fmla="*/ 6974 w 9720"/>
              <a:gd name="connsiteY184" fmla="*/ 4255 h 10000"/>
              <a:gd name="connsiteX185" fmla="*/ 7102 w 9720"/>
              <a:gd name="connsiteY185" fmla="*/ 4262 h 10000"/>
              <a:gd name="connsiteX186" fmla="*/ 7234 w 9720"/>
              <a:gd name="connsiteY186" fmla="*/ 4224 h 10000"/>
              <a:gd name="connsiteX187" fmla="*/ 7229 w 9720"/>
              <a:gd name="connsiteY187" fmla="*/ 4197 h 10000"/>
              <a:gd name="connsiteX188" fmla="*/ 7353 w 9720"/>
              <a:gd name="connsiteY188" fmla="*/ 4172 h 10000"/>
              <a:gd name="connsiteX189" fmla="*/ 7364 w 9720"/>
              <a:gd name="connsiteY189" fmla="*/ 4109 h 10000"/>
              <a:gd name="connsiteX190" fmla="*/ 7461 w 9720"/>
              <a:gd name="connsiteY190" fmla="*/ 4096 h 10000"/>
              <a:gd name="connsiteX191" fmla="*/ 7469 w 9720"/>
              <a:gd name="connsiteY191" fmla="*/ 4022 h 10000"/>
              <a:gd name="connsiteX192" fmla="*/ 7572 w 9720"/>
              <a:gd name="connsiteY192" fmla="*/ 4013 h 10000"/>
              <a:gd name="connsiteX193" fmla="*/ 7730 w 9720"/>
              <a:gd name="connsiteY193" fmla="*/ 4029 h 10000"/>
              <a:gd name="connsiteX194" fmla="*/ 7904 w 9720"/>
              <a:gd name="connsiteY194" fmla="*/ 3969 h 10000"/>
              <a:gd name="connsiteX195" fmla="*/ 7966 w 9720"/>
              <a:gd name="connsiteY195" fmla="*/ 3901 h 10000"/>
              <a:gd name="connsiteX196" fmla="*/ 8181 w 9720"/>
              <a:gd name="connsiteY196" fmla="*/ 3832 h 10000"/>
              <a:gd name="connsiteX197" fmla="*/ 8288 w 9720"/>
              <a:gd name="connsiteY197" fmla="*/ 3874 h 10000"/>
              <a:gd name="connsiteX198" fmla="*/ 8452 w 9720"/>
              <a:gd name="connsiteY198" fmla="*/ 3828 h 10000"/>
              <a:gd name="connsiteX199" fmla="*/ 8491 w 9720"/>
              <a:gd name="connsiteY199" fmla="*/ 3767 h 10000"/>
              <a:gd name="connsiteX200" fmla="*/ 8616 w 9720"/>
              <a:gd name="connsiteY200" fmla="*/ 3727 h 10000"/>
              <a:gd name="connsiteX201" fmla="*/ 8722 w 9720"/>
              <a:gd name="connsiteY201" fmla="*/ 3745 h 10000"/>
              <a:gd name="connsiteX202" fmla="*/ 8789 w 9720"/>
              <a:gd name="connsiteY202" fmla="*/ 3714 h 10000"/>
              <a:gd name="connsiteX203" fmla="*/ 8973 w 9720"/>
              <a:gd name="connsiteY203" fmla="*/ 3672 h 10000"/>
              <a:gd name="connsiteX204" fmla="*/ 9049 w 9720"/>
              <a:gd name="connsiteY204" fmla="*/ 3617 h 10000"/>
              <a:gd name="connsiteX205" fmla="*/ 9153 w 9720"/>
              <a:gd name="connsiteY205" fmla="*/ 3594 h 10000"/>
              <a:gd name="connsiteX206" fmla="*/ 9720 w 9720"/>
              <a:gd name="connsiteY206" fmla="*/ 3261 h 10000"/>
              <a:gd name="connsiteX207" fmla="*/ 7537 w 9720"/>
              <a:gd name="connsiteY207" fmla="*/ 0 h 10000"/>
              <a:gd name="connsiteX208" fmla="*/ 7423 w 9720"/>
              <a:gd name="connsiteY208" fmla="*/ 8 h 10000"/>
              <a:gd name="connsiteX209" fmla="*/ 7359 w 9720"/>
              <a:gd name="connsiteY209" fmla="*/ 28 h 10000"/>
              <a:gd name="connsiteX210" fmla="*/ 7290 w 9720"/>
              <a:gd name="connsiteY210" fmla="*/ 78 h 10000"/>
              <a:gd name="connsiteX211" fmla="*/ 7302 w 9720"/>
              <a:gd name="connsiteY211" fmla="*/ 201 h 10000"/>
              <a:gd name="connsiteX212" fmla="*/ 7199 w 9720"/>
              <a:gd name="connsiteY212" fmla="*/ 362 h 10000"/>
              <a:gd name="connsiteX213" fmla="*/ 7072 w 9720"/>
              <a:gd name="connsiteY213" fmla="*/ 445 h 10000"/>
              <a:gd name="connsiteX214" fmla="*/ 7021 w 9720"/>
              <a:gd name="connsiteY214" fmla="*/ 435 h 10000"/>
              <a:gd name="connsiteX215" fmla="*/ 6903 w 9720"/>
              <a:gd name="connsiteY215" fmla="*/ 366 h 10000"/>
              <a:gd name="connsiteX216" fmla="*/ 6756 w 9720"/>
              <a:gd name="connsiteY216" fmla="*/ 331 h 10000"/>
              <a:gd name="connsiteX217" fmla="*/ 6594 w 9720"/>
              <a:gd name="connsiteY217" fmla="*/ 341 h 10000"/>
              <a:gd name="connsiteX218" fmla="*/ 6223 w 9720"/>
              <a:gd name="connsiteY218" fmla="*/ 498 h 10000"/>
              <a:gd name="connsiteX219" fmla="*/ 6125 w 9720"/>
              <a:gd name="connsiteY219" fmla="*/ 656 h 10000"/>
              <a:gd name="connsiteX220" fmla="*/ 5845 w 9720"/>
              <a:gd name="connsiteY220" fmla="*/ 797 h 10000"/>
              <a:gd name="connsiteX221" fmla="*/ 5794 w 9720"/>
              <a:gd name="connsiteY221" fmla="*/ 868 h 10000"/>
              <a:gd name="connsiteX222" fmla="*/ 5940 w 9720"/>
              <a:gd name="connsiteY222" fmla="*/ 995 h 10000"/>
              <a:gd name="connsiteX223" fmla="*/ 5956 w 9720"/>
              <a:gd name="connsiteY223" fmla="*/ 1067 h 10000"/>
              <a:gd name="connsiteX224" fmla="*/ 5190 w 9720"/>
              <a:gd name="connsiteY224" fmla="*/ 1484 h 10000"/>
              <a:gd name="connsiteX225" fmla="*/ 4955 w 9720"/>
              <a:gd name="connsiteY225" fmla="*/ 1750 h 10000"/>
              <a:gd name="connsiteX226" fmla="*/ 4702 w 9720"/>
              <a:gd name="connsiteY226" fmla="*/ 1818 h 10000"/>
              <a:gd name="connsiteX227" fmla="*/ 4540 w 9720"/>
              <a:gd name="connsiteY227" fmla="*/ 1814 h 10000"/>
              <a:gd name="connsiteX228" fmla="*/ 4443 w 9720"/>
              <a:gd name="connsiteY228" fmla="*/ 1838 h 10000"/>
              <a:gd name="connsiteX229" fmla="*/ 4178 w 9720"/>
              <a:gd name="connsiteY229" fmla="*/ 2503 h 10000"/>
              <a:gd name="connsiteX230" fmla="*/ 3565 w 9720"/>
              <a:gd name="connsiteY230" fmla="*/ 2891 h 10000"/>
              <a:gd name="connsiteX231" fmla="*/ 3569 w 9720"/>
              <a:gd name="connsiteY231" fmla="*/ 2952 h 10000"/>
              <a:gd name="connsiteX232" fmla="*/ 3841 w 9720"/>
              <a:gd name="connsiteY232" fmla="*/ 3126 h 10000"/>
              <a:gd name="connsiteX233" fmla="*/ 3753 w 9720"/>
              <a:gd name="connsiteY233" fmla="*/ 3314 h 10000"/>
              <a:gd name="connsiteX234" fmla="*/ 3594 w 9720"/>
              <a:gd name="connsiteY234" fmla="*/ 3383 h 10000"/>
              <a:gd name="connsiteX235" fmla="*/ 3118 w 9720"/>
              <a:gd name="connsiteY235" fmla="*/ 3337 h 10000"/>
              <a:gd name="connsiteX236" fmla="*/ 2791 w 9720"/>
              <a:gd name="connsiteY236" fmla="*/ 3363 h 10000"/>
              <a:gd name="connsiteX237" fmla="*/ 2528 w 9720"/>
              <a:gd name="connsiteY237" fmla="*/ 3419 h 10000"/>
              <a:gd name="connsiteX238" fmla="*/ 2102 w 9720"/>
              <a:gd name="connsiteY238" fmla="*/ 3592 h 10000"/>
              <a:gd name="connsiteX239" fmla="*/ 1877 w 9720"/>
              <a:gd name="connsiteY239" fmla="*/ 3802 h 10000"/>
              <a:gd name="connsiteX240" fmla="*/ 1896 w 9720"/>
              <a:gd name="connsiteY240" fmla="*/ 3919 h 10000"/>
              <a:gd name="connsiteX241" fmla="*/ 1975 w 9720"/>
              <a:gd name="connsiteY241" fmla="*/ 4009 h 10000"/>
              <a:gd name="connsiteX242" fmla="*/ 2034 w 9720"/>
              <a:gd name="connsiteY242" fmla="*/ 4045 h 10000"/>
              <a:gd name="connsiteX243" fmla="*/ 1924 w 9720"/>
              <a:gd name="connsiteY243" fmla="*/ 4103 h 10000"/>
              <a:gd name="connsiteX244" fmla="*/ 1683 w 9720"/>
              <a:gd name="connsiteY244" fmla="*/ 4497 h 10000"/>
              <a:gd name="connsiteX245" fmla="*/ 1729 w 9720"/>
              <a:gd name="connsiteY245" fmla="*/ 4520 h 10000"/>
              <a:gd name="connsiteX246" fmla="*/ 1764 w 9720"/>
              <a:gd name="connsiteY246" fmla="*/ 4620 h 10000"/>
              <a:gd name="connsiteX247" fmla="*/ 1652 w 9720"/>
              <a:gd name="connsiteY247" fmla="*/ 5035 h 10000"/>
              <a:gd name="connsiteX248" fmla="*/ 1764 w 9720"/>
              <a:gd name="connsiteY248" fmla="*/ 5141 h 10000"/>
              <a:gd name="connsiteX249" fmla="*/ 2071 w 9720"/>
              <a:gd name="connsiteY249" fmla="*/ 5257 h 10000"/>
              <a:gd name="connsiteX250" fmla="*/ 2085 w 9720"/>
              <a:gd name="connsiteY250" fmla="*/ 5399 h 10000"/>
              <a:gd name="connsiteX251" fmla="*/ 1954 w 9720"/>
              <a:gd name="connsiteY251" fmla="*/ 5517 h 10000"/>
              <a:gd name="connsiteX252" fmla="*/ 1764 w 9720"/>
              <a:gd name="connsiteY252" fmla="*/ 5588 h 10000"/>
              <a:gd name="connsiteX253" fmla="*/ 1513 w 9720"/>
              <a:gd name="connsiteY253" fmla="*/ 5617 h 10000"/>
              <a:gd name="connsiteX254" fmla="*/ 1448 w 9720"/>
              <a:gd name="connsiteY254" fmla="*/ 5658 h 10000"/>
              <a:gd name="connsiteX255" fmla="*/ 1594 w 9720"/>
              <a:gd name="connsiteY255" fmla="*/ 5755 h 10000"/>
              <a:gd name="connsiteX256" fmla="*/ 1678 w 9720"/>
              <a:gd name="connsiteY256" fmla="*/ 5987 h 10000"/>
              <a:gd name="connsiteX257" fmla="*/ 1488 w 9720"/>
              <a:gd name="connsiteY257" fmla="*/ 6185 h 10000"/>
              <a:gd name="connsiteX258" fmla="*/ 1554 w 9720"/>
              <a:gd name="connsiteY258" fmla="*/ 6247 h 10000"/>
              <a:gd name="connsiteX259" fmla="*/ 1494 w 9720"/>
              <a:gd name="connsiteY259" fmla="*/ 6351 h 10000"/>
              <a:gd name="connsiteX260" fmla="*/ 1372 w 9720"/>
              <a:gd name="connsiteY260" fmla="*/ 6422 h 10000"/>
              <a:gd name="connsiteX261" fmla="*/ 889 w 9720"/>
              <a:gd name="connsiteY261" fmla="*/ 6477 h 10000"/>
              <a:gd name="connsiteX262" fmla="*/ 860 w 9720"/>
              <a:gd name="connsiteY262" fmla="*/ 6573 h 10000"/>
              <a:gd name="connsiteX263" fmla="*/ 600 w 9720"/>
              <a:gd name="connsiteY263" fmla="*/ 6716 h 10000"/>
              <a:gd name="connsiteX264" fmla="*/ 634 w 9720"/>
              <a:gd name="connsiteY264" fmla="*/ 6921 h 10000"/>
              <a:gd name="connsiteX265" fmla="*/ 415 w 9720"/>
              <a:gd name="connsiteY265" fmla="*/ 7184 h 10000"/>
              <a:gd name="connsiteX266" fmla="*/ 266 w 9720"/>
              <a:gd name="connsiteY266" fmla="*/ 7215 h 10000"/>
              <a:gd name="connsiteX267" fmla="*/ 204 w 9720"/>
              <a:gd name="connsiteY267" fmla="*/ 7152 h 10000"/>
              <a:gd name="connsiteX268" fmla="*/ 128 w 9720"/>
              <a:gd name="connsiteY268" fmla="*/ 7247 h 10000"/>
              <a:gd name="connsiteX269" fmla="*/ 178 w 9720"/>
              <a:gd name="connsiteY269" fmla="*/ 7084 h 10000"/>
              <a:gd name="connsiteX270" fmla="*/ 147 w 9720"/>
              <a:gd name="connsiteY270"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6111 w 10000"/>
              <a:gd name="connsiteY222" fmla="*/ 995 h 10000"/>
              <a:gd name="connsiteX223" fmla="*/ 6128 w 10000"/>
              <a:gd name="connsiteY223" fmla="*/ 1067 h 10000"/>
              <a:gd name="connsiteX224" fmla="*/ 5098 w 10000"/>
              <a:gd name="connsiteY224" fmla="*/ 1750 h 10000"/>
              <a:gd name="connsiteX225" fmla="*/ 4837 w 10000"/>
              <a:gd name="connsiteY225" fmla="*/ 1818 h 10000"/>
              <a:gd name="connsiteX226" fmla="*/ 4671 w 10000"/>
              <a:gd name="connsiteY226" fmla="*/ 1814 h 10000"/>
              <a:gd name="connsiteX227" fmla="*/ 4571 w 10000"/>
              <a:gd name="connsiteY227" fmla="*/ 1838 h 10000"/>
              <a:gd name="connsiteX228" fmla="*/ 4298 w 10000"/>
              <a:gd name="connsiteY228" fmla="*/ 2503 h 10000"/>
              <a:gd name="connsiteX229" fmla="*/ 3668 w 10000"/>
              <a:gd name="connsiteY229" fmla="*/ 2891 h 10000"/>
              <a:gd name="connsiteX230" fmla="*/ 3672 w 10000"/>
              <a:gd name="connsiteY230" fmla="*/ 2952 h 10000"/>
              <a:gd name="connsiteX231" fmla="*/ 3952 w 10000"/>
              <a:gd name="connsiteY231" fmla="*/ 3126 h 10000"/>
              <a:gd name="connsiteX232" fmla="*/ 3861 w 10000"/>
              <a:gd name="connsiteY232" fmla="*/ 3314 h 10000"/>
              <a:gd name="connsiteX233" fmla="*/ 3698 w 10000"/>
              <a:gd name="connsiteY233" fmla="*/ 3383 h 10000"/>
              <a:gd name="connsiteX234" fmla="*/ 3208 w 10000"/>
              <a:gd name="connsiteY234" fmla="*/ 3337 h 10000"/>
              <a:gd name="connsiteX235" fmla="*/ 2871 w 10000"/>
              <a:gd name="connsiteY235" fmla="*/ 3363 h 10000"/>
              <a:gd name="connsiteX236" fmla="*/ 2601 w 10000"/>
              <a:gd name="connsiteY236" fmla="*/ 3419 h 10000"/>
              <a:gd name="connsiteX237" fmla="*/ 2163 w 10000"/>
              <a:gd name="connsiteY237" fmla="*/ 3592 h 10000"/>
              <a:gd name="connsiteX238" fmla="*/ 1931 w 10000"/>
              <a:gd name="connsiteY238" fmla="*/ 3802 h 10000"/>
              <a:gd name="connsiteX239" fmla="*/ 1951 w 10000"/>
              <a:gd name="connsiteY239" fmla="*/ 3919 h 10000"/>
              <a:gd name="connsiteX240" fmla="*/ 2032 w 10000"/>
              <a:gd name="connsiteY240" fmla="*/ 4009 h 10000"/>
              <a:gd name="connsiteX241" fmla="*/ 2093 w 10000"/>
              <a:gd name="connsiteY241" fmla="*/ 4045 h 10000"/>
              <a:gd name="connsiteX242" fmla="*/ 1979 w 10000"/>
              <a:gd name="connsiteY242" fmla="*/ 4103 h 10000"/>
              <a:gd name="connsiteX243" fmla="*/ 1731 w 10000"/>
              <a:gd name="connsiteY243" fmla="*/ 4497 h 10000"/>
              <a:gd name="connsiteX244" fmla="*/ 1779 w 10000"/>
              <a:gd name="connsiteY244" fmla="*/ 4520 h 10000"/>
              <a:gd name="connsiteX245" fmla="*/ 1815 w 10000"/>
              <a:gd name="connsiteY245" fmla="*/ 4620 h 10000"/>
              <a:gd name="connsiteX246" fmla="*/ 1700 w 10000"/>
              <a:gd name="connsiteY246" fmla="*/ 5035 h 10000"/>
              <a:gd name="connsiteX247" fmla="*/ 1815 w 10000"/>
              <a:gd name="connsiteY247" fmla="*/ 5141 h 10000"/>
              <a:gd name="connsiteX248" fmla="*/ 2131 w 10000"/>
              <a:gd name="connsiteY248" fmla="*/ 5257 h 10000"/>
              <a:gd name="connsiteX249" fmla="*/ 2145 w 10000"/>
              <a:gd name="connsiteY249" fmla="*/ 5399 h 10000"/>
              <a:gd name="connsiteX250" fmla="*/ 2010 w 10000"/>
              <a:gd name="connsiteY250" fmla="*/ 5517 h 10000"/>
              <a:gd name="connsiteX251" fmla="*/ 1815 w 10000"/>
              <a:gd name="connsiteY251" fmla="*/ 5588 h 10000"/>
              <a:gd name="connsiteX252" fmla="*/ 1557 w 10000"/>
              <a:gd name="connsiteY252" fmla="*/ 5617 h 10000"/>
              <a:gd name="connsiteX253" fmla="*/ 1490 w 10000"/>
              <a:gd name="connsiteY253" fmla="*/ 5658 h 10000"/>
              <a:gd name="connsiteX254" fmla="*/ 1640 w 10000"/>
              <a:gd name="connsiteY254" fmla="*/ 5755 h 10000"/>
              <a:gd name="connsiteX255" fmla="*/ 1726 w 10000"/>
              <a:gd name="connsiteY255" fmla="*/ 5987 h 10000"/>
              <a:gd name="connsiteX256" fmla="*/ 1531 w 10000"/>
              <a:gd name="connsiteY256" fmla="*/ 6185 h 10000"/>
              <a:gd name="connsiteX257" fmla="*/ 1599 w 10000"/>
              <a:gd name="connsiteY257" fmla="*/ 6247 h 10000"/>
              <a:gd name="connsiteX258" fmla="*/ 1537 w 10000"/>
              <a:gd name="connsiteY258" fmla="*/ 6351 h 10000"/>
              <a:gd name="connsiteX259" fmla="*/ 1412 w 10000"/>
              <a:gd name="connsiteY259" fmla="*/ 6422 h 10000"/>
              <a:gd name="connsiteX260" fmla="*/ 915 w 10000"/>
              <a:gd name="connsiteY260" fmla="*/ 6477 h 10000"/>
              <a:gd name="connsiteX261" fmla="*/ 885 w 10000"/>
              <a:gd name="connsiteY261" fmla="*/ 6573 h 10000"/>
              <a:gd name="connsiteX262" fmla="*/ 617 w 10000"/>
              <a:gd name="connsiteY262" fmla="*/ 6716 h 10000"/>
              <a:gd name="connsiteX263" fmla="*/ 652 w 10000"/>
              <a:gd name="connsiteY263" fmla="*/ 6921 h 10000"/>
              <a:gd name="connsiteX264" fmla="*/ 427 w 10000"/>
              <a:gd name="connsiteY264" fmla="*/ 7184 h 10000"/>
              <a:gd name="connsiteX265" fmla="*/ 274 w 10000"/>
              <a:gd name="connsiteY265" fmla="*/ 7215 h 10000"/>
              <a:gd name="connsiteX266" fmla="*/ 210 w 10000"/>
              <a:gd name="connsiteY266" fmla="*/ 7152 h 10000"/>
              <a:gd name="connsiteX267" fmla="*/ 132 w 10000"/>
              <a:gd name="connsiteY267" fmla="*/ 7247 h 10000"/>
              <a:gd name="connsiteX268" fmla="*/ 183 w 10000"/>
              <a:gd name="connsiteY268" fmla="*/ 7084 h 10000"/>
              <a:gd name="connsiteX269" fmla="*/ 151 w 10000"/>
              <a:gd name="connsiteY269"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6111 w 10000"/>
              <a:gd name="connsiteY222" fmla="*/ 995 h 10000"/>
              <a:gd name="connsiteX223" fmla="*/ 5098 w 10000"/>
              <a:gd name="connsiteY223" fmla="*/ 1750 h 10000"/>
              <a:gd name="connsiteX224" fmla="*/ 4837 w 10000"/>
              <a:gd name="connsiteY224" fmla="*/ 1818 h 10000"/>
              <a:gd name="connsiteX225" fmla="*/ 4671 w 10000"/>
              <a:gd name="connsiteY225" fmla="*/ 1814 h 10000"/>
              <a:gd name="connsiteX226" fmla="*/ 4571 w 10000"/>
              <a:gd name="connsiteY226" fmla="*/ 1838 h 10000"/>
              <a:gd name="connsiteX227" fmla="*/ 4298 w 10000"/>
              <a:gd name="connsiteY227" fmla="*/ 2503 h 10000"/>
              <a:gd name="connsiteX228" fmla="*/ 3668 w 10000"/>
              <a:gd name="connsiteY228" fmla="*/ 2891 h 10000"/>
              <a:gd name="connsiteX229" fmla="*/ 3672 w 10000"/>
              <a:gd name="connsiteY229" fmla="*/ 2952 h 10000"/>
              <a:gd name="connsiteX230" fmla="*/ 3952 w 10000"/>
              <a:gd name="connsiteY230" fmla="*/ 3126 h 10000"/>
              <a:gd name="connsiteX231" fmla="*/ 3861 w 10000"/>
              <a:gd name="connsiteY231" fmla="*/ 3314 h 10000"/>
              <a:gd name="connsiteX232" fmla="*/ 3698 w 10000"/>
              <a:gd name="connsiteY232" fmla="*/ 3383 h 10000"/>
              <a:gd name="connsiteX233" fmla="*/ 3208 w 10000"/>
              <a:gd name="connsiteY233" fmla="*/ 3337 h 10000"/>
              <a:gd name="connsiteX234" fmla="*/ 2871 w 10000"/>
              <a:gd name="connsiteY234" fmla="*/ 3363 h 10000"/>
              <a:gd name="connsiteX235" fmla="*/ 2601 w 10000"/>
              <a:gd name="connsiteY235" fmla="*/ 3419 h 10000"/>
              <a:gd name="connsiteX236" fmla="*/ 2163 w 10000"/>
              <a:gd name="connsiteY236" fmla="*/ 3592 h 10000"/>
              <a:gd name="connsiteX237" fmla="*/ 1931 w 10000"/>
              <a:gd name="connsiteY237" fmla="*/ 3802 h 10000"/>
              <a:gd name="connsiteX238" fmla="*/ 1951 w 10000"/>
              <a:gd name="connsiteY238" fmla="*/ 3919 h 10000"/>
              <a:gd name="connsiteX239" fmla="*/ 2032 w 10000"/>
              <a:gd name="connsiteY239" fmla="*/ 4009 h 10000"/>
              <a:gd name="connsiteX240" fmla="*/ 2093 w 10000"/>
              <a:gd name="connsiteY240" fmla="*/ 4045 h 10000"/>
              <a:gd name="connsiteX241" fmla="*/ 1979 w 10000"/>
              <a:gd name="connsiteY241" fmla="*/ 4103 h 10000"/>
              <a:gd name="connsiteX242" fmla="*/ 1731 w 10000"/>
              <a:gd name="connsiteY242" fmla="*/ 4497 h 10000"/>
              <a:gd name="connsiteX243" fmla="*/ 1779 w 10000"/>
              <a:gd name="connsiteY243" fmla="*/ 4520 h 10000"/>
              <a:gd name="connsiteX244" fmla="*/ 1815 w 10000"/>
              <a:gd name="connsiteY244" fmla="*/ 4620 h 10000"/>
              <a:gd name="connsiteX245" fmla="*/ 1700 w 10000"/>
              <a:gd name="connsiteY245" fmla="*/ 5035 h 10000"/>
              <a:gd name="connsiteX246" fmla="*/ 1815 w 10000"/>
              <a:gd name="connsiteY246" fmla="*/ 5141 h 10000"/>
              <a:gd name="connsiteX247" fmla="*/ 2131 w 10000"/>
              <a:gd name="connsiteY247" fmla="*/ 5257 h 10000"/>
              <a:gd name="connsiteX248" fmla="*/ 2145 w 10000"/>
              <a:gd name="connsiteY248" fmla="*/ 5399 h 10000"/>
              <a:gd name="connsiteX249" fmla="*/ 2010 w 10000"/>
              <a:gd name="connsiteY249" fmla="*/ 5517 h 10000"/>
              <a:gd name="connsiteX250" fmla="*/ 1815 w 10000"/>
              <a:gd name="connsiteY250" fmla="*/ 5588 h 10000"/>
              <a:gd name="connsiteX251" fmla="*/ 1557 w 10000"/>
              <a:gd name="connsiteY251" fmla="*/ 5617 h 10000"/>
              <a:gd name="connsiteX252" fmla="*/ 1490 w 10000"/>
              <a:gd name="connsiteY252" fmla="*/ 5658 h 10000"/>
              <a:gd name="connsiteX253" fmla="*/ 1640 w 10000"/>
              <a:gd name="connsiteY253" fmla="*/ 5755 h 10000"/>
              <a:gd name="connsiteX254" fmla="*/ 1726 w 10000"/>
              <a:gd name="connsiteY254" fmla="*/ 5987 h 10000"/>
              <a:gd name="connsiteX255" fmla="*/ 1531 w 10000"/>
              <a:gd name="connsiteY255" fmla="*/ 6185 h 10000"/>
              <a:gd name="connsiteX256" fmla="*/ 1599 w 10000"/>
              <a:gd name="connsiteY256" fmla="*/ 6247 h 10000"/>
              <a:gd name="connsiteX257" fmla="*/ 1537 w 10000"/>
              <a:gd name="connsiteY257" fmla="*/ 6351 h 10000"/>
              <a:gd name="connsiteX258" fmla="*/ 1412 w 10000"/>
              <a:gd name="connsiteY258" fmla="*/ 6422 h 10000"/>
              <a:gd name="connsiteX259" fmla="*/ 915 w 10000"/>
              <a:gd name="connsiteY259" fmla="*/ 6477 h 10000"/>
              <a:gd name="connsiteX260" fmla="*/ 885 w 10000"/>
              <a:gd name="connsiteY260" fmla="*/ 6573 h 10000"/>
              <a:gd name="connsiteX261" fmla="*/ 617 w 10000"/>
              <a:gd name="connsiteY261" fmla="*/ 6716 h 10000"/>
              <a:gd name="connsiteX262" fmla="*/ 652 w 10000"/>
              <a:gd name="connsiteY262" fmla="*/ 6921 h 10000"/>
              <a:gd name="connsiteX263" fmla="*/ 427 w 10000"/>
              <a:gd name="connsiteY263" fmla="*/ 7184 h 10000"/>
              <a:gd name="connsiteX264" fmla="*/ 274 w 10000"/>
              <a:gd name="connsiteY264" fmla="*/ 7215 h 10000"/>
              <a:gd name="connsiteX265" fmla="*/ 210 w 10000"/>
              <a:gd name="connsiteY265" fmla="*/ 7152 h 10000"/>
              <a:gd name="connsiteX266" fmla="*/ 132 w 10000"/>
              <a:gd name="connsiteY266" fmla="*/ 7247 h 10000"/>
              <a:gd name="connsiteX267" fmla="*/ 183 w 10000"/>
              <a:gd name="connsiteY267" fmla="*/ 7084 h 10000"/>
              <a:gd name="connsiteX268" fmla="*/ 151 w 10000"/>
              <a:gd name="connsiteY268"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5098 w 10000"/>
              <a:gd name="connsiteY222" fmla="*/ 1750 h 10000"/>
              <a:gd name="connsiteX223" fmla="*/ 4837 w 10000"/>
              <a:gd name="connsiteY223" fmla="*/ 1818 h 10000"/>
              <a:gd name="connsiteX224" fmla="*/ 4671 w 10000"/>
              <a:gd name="connsiteY224" fmla="*/ 1814 h 10000"/>
              <a:gd name="connsiteX225" fmla="*/ 4571 w 10000"/>
              <a:gd name="connsiteY225" fmla="*/ 1838 h 10000"/>
              <a:gd name="connsiteX226" fmla="*/ 4298 w 10000"/>
              <a:gd name="connsiteY226" fmla="*/ 2503 h 10000"/>
              <a:gd name="connsiteX227" fmla="*/ 3668 w 10000"/>
              <a:gd name="connsiteY227" fmla="*/ 2891 h 10000"/>
              <a:gd name="connsiteX228" fmla="*/ 3672 w 10000"/>
              <a:gd name="connsiteY228" fmla="*/ 2952 h 10000"/>
              <a:gd name="connsiteX229" fmla="*/ 3952 w 10000"/>
              <a:gd name="connsiteY229" fmla="*/ 3126 h 10000"/>
              <a:gd name="connsiteX230" fmla="*/ 3861 w 10000"/>
              <a:gd name="connsiteY230" fmla="*/ 3314 h 10000"/>
              <a:gd name="connsiteX231" fmla="*/ 3698 w 10000"/>
              <a:gd name="connsiteY231" fmla="*/ 3383 h 10000"/>
              <a:gd name="connsiteX232" fmla="*/ 3208 w 10000"/>
              <a:gd name="connsiteY232" fmla="*/ 3337 h 10000"/>
              <a:gd name="connsiteX233" fmla="*/ 2871 w 10000"/>
              <a:gd name="connsiteY233" fmla="*/ 3363 h 10000"/>
              <a:gd name="connsiteX234" fmla="*/ 2601 w 10000"/>
              <a:gd name="connsiteY234" fmla="*/ 3419 h 10000"/>
              <a:gd name="connsiteX235" fmla="*/ 2163 w 10000"/>
              <a:gd name="connsiteY235" fmla="*/ 3592 h 10000"/>
              <a:gd name="connsiteX236" fmla="*/ 1931 w 10000"/>
              <a:gd name="connsiteY236" fmla="*/ 3802 h 10000"/>
              <a:gd name="connsiteX237" fmla="*/ 1951 w 10000"/>
              <a:gd name="connsiteY237" fmla="*/ 3919 h 10000"/>
              <a:gd name="connsiteX238" fmla="*/ 2032 w 10000"/>
              <a:gd name="connsiteY238" fmla="*/ 4009 h 10000"/>
              <a:gd name="connsiteX239" fmla="*/ 2093 w 10000"/>
              <a:gd name="connsiteY239" fmla="*/ 4045 h 10000"/>
              <a:gd name="connsiteX240" fmla="*/ 1979 w 10000"/>
              <a:gd name="connsiteY240" fmla="*/ 4103 h 10000"/>
              <a:gd name="connsiteX241" fmla="*/ 1731 w 10000"/>
              <a:gd name="connsiteY241" fmla="*/ 4497 h 10000"/>
              <a:gd name="connsiteX242" fmla="*/ 1779 w 10000"/>
              <a:gd name="connsiteY242" fmla="*/ 4520 h 10000"/>
              <a:gd name="connsiteX243" fmla="*/ 1815 w 10000"/>
              <a:gd name="connsiteY243" fmla="*/ 4620 h 10000"/>
              <a:gd name="connsiteX244" fmla="*/ 1700 w 10000"/>
              <a:gd name="connsiteY244" fmla="*/ 5035 h 10000"/>
              <a:gd name="connsiteX245" fmla="*/ 1815 w 10000"/>
              <a:gd name="connsiteY245" fmla="*/ 5141 h 10000"/>
              <a:gd name="connsiteX246" fmla="*/ 2131 w 10000"/>
              <a:gd name="connsiteY246" fmla="*/ 5257 h 10000"/>
              <a:gd name="connsiteX247" fmla="*/ 2145 w 10000"/>
              <a:gd name="connsiteY247" fmla="*/ 5399 h 10000"/>
              <a:gd name="connsiteX248" fmla="*/ 2010 w 10000"/>
              <a:gd name="connsiteY248" fmla="*/ 5517 h 10000"/>
              <a:gd name="connsiteX249" fmla="*/ 1815 w 10000"/>
              <a:gd name="connsiteY249" fmla="*/ 5588 h 10000"/>
              <a:gd name="connsiteX250" fmla="*/ 1557 w 10000"/>
              <a:gd name="connsiteY250" fmla="*/ 5617 h 10000"/>
              <a:gd name="connsiteX251" fmla="*/ 1490 w 10000"/>
              <a:gd name="connsiteY251" fmla="*/ 5658 h 10000"/>
              <a:gd name="connsiteX252" fmla="*/ 1640 w 10000"/>
              <a:gd name="connsiteY252" fmla="*/ 5755 h 10000"/>
              <a:gd name="connsiteX253" fmla="*/ 1726 w 10000"/>
              <a:gd name="connsiteY253" fmla="*/ 5987 h 10000"/>
              <a:gd name="connsiteX254" fmla="*/ 1531 w 10000"/>
              <a:gd name="connsiteY254" fmla="*/ 6185 h 10000"/>
              <a:gd name="connsiteX255" fmla="*/ 1599 w 10000"/>
              <a:gd name="connsiteY255" fmla="*/ 6247 h 10000"/>
              <a:gd name="connsiteX256" fmla="*/ 1537 w 10000"/>
              <a:gd name="connsiteY256" fmla="*/ 6351 h 10000"/>
              <a:gd name="connsiteX257" fmla="*/ 1412 w 10000"/>
              <a:gd name="connsiteY257" fmla="*/ 6422 h 10000"/>
              <a:gd name="connsiteX258" fmla="*/ 915 w 10000"/>
              <a:gd name="connsiteY258" fmla="*/ 6477 h 10000"/>
              <a:gd name="connsiteX259" fmla="*/ 885 w 10000"/>
              <a:gd name="connsiteY259" fmla="*/ 6573 h 10000"/>
              <a:gd name="connsiteX260" fmla="*/ 617 w 10000"/>
              <a:gd name="connsiteY260" fmla="*/ 6716 h 10000"/>
              <a:gd name="connsiteX261" fmla="*/ 652 w 10000"/>
              <a:gd name="connsiteY261" fmla="*/ 6921 h 10000"/>
              <a:gd name="connsiteX262" fmla="*/ 427 w 10000"/>
              <a:gd name="connsiteY262" fmla="*/ 7184 h 10000"/>
              <a:gd name="connsiteX263" fmla="*/ 274 w 10000"/>
              <a:gd name="connsiteY263" fmla="*/ 7215 h 10000"/>
              <a:gd name="connsiteX264" fmla="*/ 210 w 10000"/>
              <a:gd name="connsiteY264" fmla="*/ 7152 h 10000"/>
              <a:gd name="connsiteX265" fmla="*/ 132 w 10000"/>
              <a:gd name="connsiteY265" fmla="*/ 7247 h 10000"/>
              <a:gd name="connsiteX266" fmla="*/ 183 w 10000"/>
              <a:gd name="connsiteY266" fmla="*/ 7084 h 10000"/>
              <a:gd name="connsiteX267" fmla="*/ 151 w 10000"/>
              <a:gd name="connsiteY267"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098 w 10000"/>
              <a:gd name="connsiteY221" fmla="*/ 1750 h 10000"/>
              <a:gd name="connsiteX222" fmla="*/ 4837 w 10000"/>
              <a:gd name="connsiteY222" fmla="*/ 1818 h 10000"/>
              <a:gd name="connsiteX223" fmla="*/ 4671 w 10000"/>
              <a:gd name="connsiteY223" fmla="*/ 1814 h 10000"/>
              <a:gd name="connsiteX224" fmla="*/ 4571 w 10000"/>
              <a:gd name="connsiteY224" fmla="*/ 1838 h 10000"/>
              <a:gd name="connsiteX225" fmla="*/ 4298 w 10000"/>
              <a:gd name="connsiteY225" fmla="*/ 2503 h 10000"/>
              <a:gd name="connsiteX226" fmla="*/ 3668 w 10000"/>
              <a:gd name="connsiteY226" fmla="*/ 2891 h 10000"/>
              <a:gd name="connsiteX227" fmla="*/ 3672 w 10000"/>
              <a:gd name="connsiteY227" fmla="*/ 2952 h 10000"/>
              <a:gd name="connsiteX228" fmla="*/ 3952 w 10000"/>
              <a:gd name="connsiteY228" fmla="*/ 3126 h 10000"/>
              <a:gd name="connsiteX229" fmla="*/ 3861 w 10000"/>
              <a:gd name="connsiteY229" fmla="*/ 3314 h 10000"/>
              <a:gd name="connsiteX230" fmla="*/ 3698 w 10000"/>
              <a:gd name="connsiteY230" fmla="*/ 3383 h 10000"/>
              <a:gd name="connsiteX231" fmla="*/ 3208 w 10000"/>
              <a:gd name="connsiteY231" fmla="*/ 3337 h 10000"/>
              <a:gd name="connsiteX232" fmla="*/ 2871 w 10000"/>
              <a:gd name="connsiteY232" fmla="*/ 3363 h 10000"/>
              <a:gd name="connsiteX233" fmla="*/ 2601 w 10000"/>
              <a:gd name="connsiteY233" fmla="*/ 3419 h 10000"/>
              <a:gd name="connsiteX234" fmla="*/ 2163 w 10000"/>
              <a:gd name="connsiteY234" fmla="*/ 3592 h 10000"/>
              <a:gd name="connsiteX235" fmla="*/ 1931 w 10000"/>
              <a:gd name="connsiteY235" fmla="*/ 3802 h 10000"/>
              <a:gd name="connsiteX236" fmla="*/ 1951 w 10000"/>
              <a:gd name="connsiteY236" fmla="*/ 3919 h 10000"/>
              <a:gd name="connsiteX237" fmla="*/ 2032 w 10000"/>
              <a:gd name="connsiteY237" fmla="*/ 4009 h 10000"/>
              <a:gd name="connsiteX238" fmla="*/ 2093 w 10000"/>
              <a:gd name="connsiteY238" fmla="*/ 4045 h 10000"/>
              <a:gd name="connsiteX239" fmla="*/ 1979 w 10000"/>
              <a:gd name="connsiteY239" fmla="*/ 4103 h 10000"/>
              <a:gd name="connsiteX240" fmla="*/ 1731 w 10000"/>
              <a:gd name="connsiteY240" fmla="*/ 4497 h 10000"/>
              <a:gd name="connsiteX241" fmla="*/ 1779 w 10000"/>
              <a:gd name="connsiteY241" fmla="*/ 4520 h 10000"/>
              <a:gd name="connsiteX242" fmla="*/ 1815 w 10000"/>
              <a:gd name="connsiteY242" fmla="*/ 4620 h 10000"/>
              <a:gd name="connsiteX243" fmla="*/ 1700 w 10000"/>
              <a:gd name="connsiteY243" fmla="*/ 5035 h 10000"/>
              <a:gd name="connsiteX244" fmla="*/ 1815 w 10000"/>
              <a:gd name="connsiteY244" fmla="*/ 5141 h 10000"/>
              <a:gd name="connsiteX245" fmla="*/ 2131 w 10000"/>
              <a:gd name="connsiteY245" fmla="*/ 5257 h 10000"/>
              <a:gd name="connsiteX246" fmla="*/ 2145 w 10000"/>
              <a:gd name="connsiteY246" fmla="*/ 5399 h 10000"/>
              <a:gd name="connsiteX247" fmla="*/ 2010 w 10000"/>
              <a:gd name="connsiteY247" fmla="*/ 5517 h 10000"/>
              <a:gd name="connsiteX248" fmla="*/ 1815 w 10000"/>
              <a:gd name="connsiteY248" fmla="*/ 5588 h 10000"/>
              <a:gd name="connsiteX249" fmla="*/ 1557 w 10000"/>
              <a:gd name="connsiteY249" fmla="*/ 5617 h 10000"/>
              <a:gd name="connsiteX250" fmla="*/ 1490 w 10000"/>
              <a:gd name="connsiteY250" fmla="*/ 5658 h 10000"/>
              <a:gd name="connsiteX251" fmla="*/ 1640 w 10000"/>
              <a:gd name="connsiteY251" fmla="*/ 5755 h 10000"/>
              <a:gd name="connsiteX252" fmla="*/ 1726 w 10000"/>
              <a:gd name="connsiteY252" fmla="*/ 5987 h 10000"/>
              <a:gd name="connsiteX253" fmla="*/ 1531 w 10000"/>
              <a:gd name="connsiteY253" fmla="*/ 6185 h 10000"/>
              <a:gd name="connsiteX254" fmla="*/ 1599 w 10000"/>
              <a:gd name="connsiteY254" fmla="*/ 6247 h 10000"/>
              <a:gd name="connsiteX255" fmla="*/ 1537 w 10000"/>
              <a:gd name="connsiteY255" fmla="*/ 6351 h 10000"/>
              <a:gd name="connsiteX256" fmla="*/ 1412 w 10000"/>
              <a:gd name="connsiteY256" fmla="*/ 6422 h 10000"/>
              <a:gd name="connsiteX257" fmla="*/ 915 w 10000"/>
              <a:gd name="connsiteY257" fmla="*/ 6477 h 10000"/>
              <a:gd name="connsiteX258" fmla="*/ 885 w 10000"/>
              <a:gd name="connsiteY258" fmla="*/ 6573 h 10000"/>
              <a:gd name="connsiteX259" fmla="*/ 617 w 10000"/>
              <a:gd name="connsiteY259" fmla="*/ 6716 h 10000"/>
              <a:gd name="connsiteX260" fmla="*/ 652 w 10000"/>
              <a:gd name="connsiteY260" fmla="*/ 6921 h 10000"/>
              <a:gd name="connsiteX261" fmla="*/ 427 w 10000"/>
              <a:gd name="connsiteY261" fmla="*/ 7184 h 10000"/>
              <a:gd name="connsiteX262" fmla="*/ 274 w 10000"/>
              <a:gd name="connsiteY262" fmla="*/ 7215 h 10000"/>
              <a:gd name="connsiteX263" fmla="*/ 210 w 10000"/>
              <a:gd name="connsiteY263" fmla="*/ 7152 h 10000"/>
              <a:gd name="connsiteX264" fmla="*/ 132 w 10000"/>
              <a:gd name="connsiteY264" fmla="*/ 7247 h 10000"/>
              <a:gd name="connsiteX265" fmla="*/ 183 w 10000"/>
              <a:gd name="connsiteY265" fmla="*/ 7084 h 10000"/>
              <a:gd name="connsiteX266" fmla="*/ 151 w 10000"/>
              <a:gd name="connsiteY266"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5098 w 10000"/>
              <a:gd name="connsiteY220" fmla="*/ 1750 h 10000"/>
              <a:gd name="connsiteX221" fmla="*/ 4837 w 10000"/>
              <a:gd name="connsiteY221" fmla="*/ 1818 h 10000"/>
              <a:gd name="connsiteX222" fmla="*/ 4671 w 10000"/>
              <a:gd name="connsiteY222" fmla="*/ 1814 h 10000"/>
              <a:gd name="connsiteX223" fmla="*/ 4571 w 10000"/>
              <a:gd name="connsiteY223" fmla="*/ 1838 h 10000"/>
              <a:gd name="connsiteX224" fmla="*/ 4298 w 10000"/>
              <a:gd name="connsiteY224" fmla="*/ 2503 h 10000"/>
              <a:gd name="connsiteX225" fmla="*/ 3668 w 10000"/>
              <a:gd name="connsiteY225" fmla="*/ 2891 h 10000"/>
              <a:gd name="connsiteX226" fmla="*/ 3672 w 10000"/>
              <a:gd name="connsiteY226" fmla="*/ 2952 h 10000"/>
              <a:gd name="connsiteX227" fmla="*/ 3952 w 10000"/>
              <a:gd name="connsiteY227" fmla="*/ 3126 h 10000"/>
              <a:gd name="connsiteX228" fmla="*/ 3861 w 10000"/>
              <a:gd name="connsiteY228" fmla="*/ 3314 h 10000"/>
              <a:gd name="connsiteX229" fmla="*/ 3698 w 10000"/>
              <a:gd name="connsiteY229" fmla="*/ 3383 h 10000"/>
              <a:gd name="connsiteX230" fmla="*/ 3208 w 10000"/>
              <a:gd name="connsiteY230" fmla="*/ 3337 h 10000"/>
              <a:gd name="connsiteX231" fmla="*/ 2871 w 10000"/>
              <a:gd name="connsiteY231" fmla="*/ 3363 h 10000"/>
              <a:gd name="connsiteX232" fmla="*/ 2601 w 10000"/>
              <a:gd name="connsiteY232" fmla="*/ 3419 h 10000"/>
              <a:gd name="connsiteX233" fmla="*/ 2163 w 10000"/>
              <a:gd name="connsiteY233" fmla="*/ 3592 h 10000"/>
              <a:gd name="connsiteX234" fmla="*/ 1931 w 10000"/>
              <a:gd name="connsiteY234" fmla="*/ 3802 h 10000"/>
              <a:gd name="connsiteX235" fmla="*/ 1951 w 10000"/>
              <a:gd name="connsiteY235" fmla="*/ 3919 h 10000"/>
              <a:gd name="connsiteX236" fmla="*/ 2032 w 10000"/>
              <a:gd name="connsiteY236" fmla="*/ 4009 h 10000"/>
              <a:gd name="connsiteX237" fmla="*/ 2093 w 10000"/>
              <a:gd name="connsiteY237" fmla="*/ 4045 h 10000"/>
              <a:gd name="connsiteX238" fmla="*/ 1979 w 10000"/>
              <a:gd name="connsiteY238" fmla="*/ 4103 h 10000"/>
              <a:gd name="connsiteX239" fmla="*/ 1731 w 10000"/>
              <a:gd name="connsiteY239" fmla="*/ 4497 h 10000"/>
              <a:gd name="connsiteX240" fmla="*/ 1779 w 10000"/>
              <a:gd name="connsiteY240" fmla="*/ 4520 h 10000"/>
              <a:gd name="connsiteX241" fmla="*/ 1815 w 10000"/>
              <a:gd name="connsiteY241" fmla="*/ 4620 h 10000"/>
              <a:gd name="connsiteX242" fmla="*/ 1700 w 10000"/>
              <a:gd name="connsiteY242" fmla="*/ 5035 h 10000"/>
              <a:gd name="connsiteX243" fmla="*/ 1815 w 10000"/>
              <a:gd name="connsiteY243" fmla="*/ 5141 h 10000"/>
              <a:gd name="connsiteX244" fmla="*/ 2131 w 10000"/>
              <a:gd name="connsiteY244" fmla="*/ 5257 h 10000"/>
              <a:gd name="connsiteX245" fmla="*/ 2145 w 10000"/>
              <a:gd name="connsiteY245" fmla="*/ 5399 h 10000"/>
              <a:gd name="connsiteX246" fmla="*/ 2010 w 10000"/>
              <a:gd name="connsiteY246" fmla="*/ 5517 h 10000"/>
              <a:gd name="connsiteX247" fmla="*/ 1815 w 10000"/>
              <a:gd name="connsiteY247" fmla="*/ 5588 h 10000"/>
              <a:gd name="connsiteX248" fmla="*/ 1557 w 10000"/>
              <a:gd name="connsiteY248" fmla="*/ 5617 h 10000"/>
              <a:gd name="connsiteX249" fmla="*/ 1490 w 10000"/>
              <a:gd name="connsiteY249" fmla="*/ 5658 h 10000"/>
              <a:gd name="connsiteX250" fmla="*/ 1640 w 10000"/>
              <a:gd name="connsiteY250" fmla="*/ 5755 h 10000"/>
              <a:gd name="connsiteX251" fmla="*/ 1726 w 10000"/>
              <a:gd name="connsiteY251" fmla="*/ 5987 h 10000"/>
              <a:gd name="connsiteX252" fmla="*/ 1531 w 10000"/>
              <a:gd name="connsiteY252" fmla="*/ 6185 h 10000"/>
              <a:gd name="connsiteX253" fmla="*/ 1599 w 10000"/>
              <a:gd name="connsiteY253" fmla="*/ 6247 h 10000"/>
              <a:gd name="connsiteX254" fmla="*/ 1537 w 10000"/>
              <a:gd name="connsiteY254" fmla="*/ 6351 h 10000"/>
              <a:gd name="connsiteX255" fmla="*/ 1412 w 10000"/>
              <a:gd name="connsiteY255" fmla="*/ 6422 h 10000"/>
              <a:gd name="connsiteX256" fmla="*/ 915 w 10000"/>
              <a:gd name="connsiteY256" fmla="*/ 6477 h 10000"/>
              <a:gd name="connsiteX257" fmla="*/ 885 w 10000"/>
              <a:gd name="connsiteY257" fmla="*/ 6573 h 10000"/>
              <a:gd name="connsiteX258" fmla="*/ 617 w 10000"/>
              <a:gd name="connsiteY258" fmla="*/ 6716 h 10000"/>
              <a:gd name="connsiteX259" fmla="*/ 652 w 10000"/>
              <a:gd name="connsiteY259" fmla="*/ 6921 h 10000"/>
              <a:gd name="connsiteX260" fmla="*/ 427 w 10000"/>
              <a:gd name="connsiteY260" fmla="*/ 7184 h 10000"/>
              <a:gd name="connsiteX261" fmla="*/ 274 w 10000"/>
              <a:gd name="connsiteY261" fmla="*/ 7215 h 10000"/>
              <a:gd name="connsiteX262" fmla="*/ 210 w 10000"/>
              <a:gd name="connsiteY262" fmla="*/ 7152 h 10000"/>
              <a:gd name="connsiteX263" fmla="*/ 132 w 10000"/>
              <a:gd name="connsiteY263" fmla="*/ 7247 h 10000"/>
              <a:gd name="connsiteX264" fmla="*/ 183 w 10000"/>
              <a:gd name="connsiteY264" fmla="*/ 7084 h 10000"/>
              <a:gd name="connsiteX265" fmla="*/ 151 w 10000"/>
              <a:gd name="connsiteY265"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5098 w 10000"/>
              <a:gd name="connsiteY219" fmla="*/ 1750 h 10000"/>
              <a:gd name="connsiteX220" fmla="*/ 4837 w 10000"/>
              <a:gd name="connsiteY220" fmla="*/ 1818 h 10000"/>
              <a:gd name="connsiteX221" fmla="*/ 4671 w 10000"/>
              <a:gd name="connsiteY221" fmla="*/ 1814 h 10000"/>
              <a:gd name="connsiteX222" fmla="*/ 4571 w 10000"/>
              <a:gd name="connsiteY222" fmla="*/ 1838 h 10000"/>
              <a:gd name="connsiteX223" fmla="*/ 4298 w 10000"/>
              <a:gd name="connsiteY223" fmla="*/ 2503 h 10000"/>
              <a:gd name="connsiteX224" fmla="*/ 3668 w 10000"/>
              <a:gd name="connsiteY224" fmla="*/ 2891 h 10000"/>
              <a:gd name="connsiteX225" fmla="*/ 3672 w 10000"/>
              <a:gd name="connsiteY225" fmla="*/ 2952 h 10000"/>
              <a:gd name="connsiteX226" fmla="*/ 3952 w 10000"/>
              <a:gd name="connsiteY226" fmla="*/ 3126 h 10000"/>
              <a:gd name="connsiteX227" fmla="*/ 3861 w 10000"/>
              <a:gd name="connsiteY227" fmla="*/ 3314 h 10000"/>
              <a:gd name="connsiteX228" fmla="*/ 3698 w 10000"/>
              <a:gd name="connsiteY228" fmla="*/ 3383 h 10000"/>
              <a:gd name="connsiteX229" fmla="*/ 3208 w 10000"/>
              <a:gd name="connsiteY229" fmla="*/ 3337 h 10000"/>
              <a:gd name="connsiteX230" fmla="*/ 2871 w 10000"/>
              <a:gd name="connsiteY230" fmla="*/ 3363 h 10000"/>
              <a:gd name="connsiteX231" fmla="*/ 2601 w 10000"/>
              <a:gd name="connsiteY231" fmla="*/ 3419 h 10000"/>
              <a:gd name="connsiteX232" fmla="*/ 2163 w 10000"/>
              <a:gd name="connsiteY232" fmla="*/ 3592 h 10000"/>
              <a:gd name="connsiteX233" fmla="*/ 1931 w 10000"/>
              <a:gd name="connsiteY233" fmla="*/ 3802 h 10000"/>
              <a:gd name="connsiteX234" fmla="*/ 1951 w 10000"/>
              <a:gd name="connsiteY234" fmla="*/ 3919 h 10000"/>
              <a:gd name="connsiteX235" fmla="*/ 2032 w 10000"/>
              <a:gd name="connsiteY235" fmla="*/ 4009 h 10000"/>
              <a:gd name="connsiteX236" fmla="*/ 2093 w 10000"/>
              <a:gd name="connsiteY236" fmla="*/ 4045 h 10000"/>
              <a:gd name="connsiteX237" fmla="*/ 1979 w 10000"/>
              <a:gd name="connsiteY237" fmla="*/ 4103 h 10000"/>
              <a:gd name="connsiteX238" fmla="*/ 1731 w 10000"/>
              <a:gd name="connsiteY238" fmla="*/ 4497 h 10000"/>
              <a:gd name="connsiteX239" fmla="*/ 1779 w 10000"/>
              <a:gd name="connsiteY239" fmla="*/ 4520 h 10000"/>
              <a:gd name="connsiteX240" fmla="*/ 1815 w 10000"/>
              <a:gd name="connsiteY240" fmla="*/ 4620 h 10000"/>
              <a:gd name="connsiteX241" fmla="*/ 1700 w 10000"/>
              <a:gd name="connsiteY241" fmla="*/ 5035 h 10000"/>
              <a:gd name="connsiteX242" fmla="*/ 1815 w 10000"/>
              <a:gd name="connsiteY242" fmla="*/ 5141 h 10000"/>
              <a:gd name="connsiteX243" fmla="*/ 2131 w 10000"/>
              <a:gd name="connsiteY243" fmla="*/ 5257 h 10000"/>
              <a:gd name="connsiteX244" fmla="*/ 2145 w 10000"/>
              <a:gd name="connsiteY244" fmla="*/ 5399 h 10000"/>
              <a:gd name="connsiteX245" fmla="*/ 2010 w 10000"/>
              <a:gd name="connsiteY245" fmla="*/ 5517 h 10000"/>
              <a:gd name="connsiteX246" fmla="*/ 1815 w 10000"/>
              <a:gd name="connsiteY246" fmla="*/ 5588 h 10000"/>
              <a:gd name="connsiteX247" fmla="*/ 1557 w 10000"/>
              <a:gd name="connsiteY247" fmla="*/ 5617 h 10000"/>
              <a:gd name="connsiteX248" fmla="*/ 1490 w 10000"/>
              <a:gd name="connsiteY248" fmla="*/ 5658 h 10000"/>
              <a:gd name="connsiteX249" fmla="*/ 1640 w 10000"/>
              <a:gd name="connsiteY249" fmla="*/ 5755 h 10000"/>
              <a:gd name="connsiteX250" fmla="*/ 1726 w 10000"/>
              <a:gd name="connsiteY250" fmla="*/ 5987 h 10000"/>
              <a:gd name="connsiteX251" fmla="*/ 1531 w 10000"/>
              <a:gd name="connsiteY251" fmla="*/ 6185 h 10000"/>
              <a:gd name="connsiteX252" fmla="*/ 1599 w 10000"/>
              <a:gd name="connsiteY252" fmla="*/ 6247 h 10000"/>
              <a:gd name="connsiteX253" fmla="*/ 1537 w 10000"/>
              <a:gd name="connsiteY253" fmla="*/ 6351 h 10000"/>
              <a:gd name="connsiteX254" fmla="*/ 1412 w 10000"/>
              <a:gd name="connsiteY254" fmla="*/ 6422 h 10000"/>
              <a:gd name="connsiteX255" fmla="*/ 915 w 10000"/>
              <a:gd name="connsiteY255" fmla="*/ 6477 h 10000"/>
              <a:gd name="connsiteX256" fmla="*/ 885 w 10000"/>
              <a:gd name="connsiteY256" fmla="*/ 6573 h 10000"/>
              <a:gd name="connsiteX257" fmla="*/ 617 w 10000"/>
              <a:gd name="connsiteY257" fmla="*/ 6716 h 10000"/>
              <a:gd name="connsiteX258" fmla="*/ 652 w 10000"/>
              <a:gd name="connsiteY258" fmla="*/ 6921 h 10000"/>
              <a:gd name="connsiteX259" fmla="*/ 427 w 10000"/>
              <a:gd name="connsiteY259" fmla="*/ 7184 h 10000"/>
              <a:gd name="connsiteX260" fmla="*/ 274 w 10000"/>
              <a:gd name="connsiteY260" fmla="*/ 7215 h 10000"/>
              <a:gd name="connsiteX261" fmla="*/ 210 w 10000"/>
              <a:gd name="connsiteY261" fmla="*/ 7152 h 10000"/>
              <a:gd name="connsiteX262" fmla="*/ 132 w 10000"/>
              <a:gd name="connsiteY262" fmla="*/ 7247 h 10000"/>
              <a:gd name="connsiteX263" fmla="*/ 183 w 10000"/>
              <a:gd name="connsiteY263" fmla="*/ 7084 h 10000"/>
              <a:gd name="connsiteX264" fmla="*/ 151 w 10000"/>
              <a:gd name="connsiteY264"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5098 w 10000"/>
              <a:gd name="connsiteY218" fmla="*/ 1750 h 10000"/>
              <a:gd name="connsiteX219" fmla="*/ 4837 w 10000"/>
              <a:gd name="connsiteY219" fmla="*/ 1818 h 10000"/>
              <a:gd name="connsiteX220" fmla="*/ 4671 w 10000"/>
              <a:gd name="connsiteY220" fmla="*/ 1814 h 10000"/>
              <a:gd name="connsiteX221" fmla="*/ 4571 w 10000"/>
              <a:gd name="connsiteY221" fmla="*/ 1838 h 10000"/>
              <a:gd name="connsiteX222" fmla="*/ 4298 w 10000"/>
              <a:gd name="connsiteY222" fmla="*/ 2503 h 10000"/>
              <a:gd name="connsiteX223" fmla="*/ 3668 w 10000"/>
              <a:gd name="connsiteY223" fmla="*/ 2891 h 10000"/>
              <a:gd name="connsiteX224" fmla="*/ 3672 w 10000"/>
              <a:gd name="connsiteY224" fmla="*/ 2952 h 10000"/>
              <a:gd name="connsiteX225" fmla="*/ 3952 w 10000"/>
              <a:gd name="connsiteY225" fmla="*/ 3126 h 10000"/>
              <a:gd name="connsiteX226" fmla="*/ 3861 w 10000"/>
              <a:gd name="connsiteY226" fmla="*/ 3314 h 10000"/>
              <a:gd name="connsiteX227" fmla="*/ 3698 w 10000"/>
              <a:gd name="connsiteY227" fmla="*/ 3383 h 10000"/>
              <a:gd name="connsiteX228" fmla="*/ 3208 w 10000"/>
              <a:gd name="connsiteY228" fmla="*/ 3337 h 10000"/>
              <a:gd name="connsiteX229" fmla="*/ 2871 w 10000"/>
              <a:gd name="connsiteY229" fmla="*/ 3363 h 10000"/>
              <a:gd name="connsiteX230" fmla="*/ 2601 w 10000"/>
              <a:gd name="connsiteY230" fmla="*/ 3419 h 10000"/>
              <a:gd name="connsiteX231" fmla="*/ 2163 w 10000"/>
              <a:gd name="connsiteY231" fmla="*/ 3592 h 10000"/>
              <a:gd name="connsiteX232" fmla="*/ 1931 w 10000"/>
              <a:gd name="connsiteY232" fmla="*/ 3802 h 10000"/>
              <a:gd name="connsiteX233" fmla="*/ 1951 w 10000"/>
              <a:gd name="connsiteY233" fmla="*/ 3919 h 10000"/>
              <a:gd name="connsiteX234" fmla="*/ 2032 w 10000"/>
              <a:gd name="connsiteY234" fmla="*/ 4009 h 10000"/>
              <a:gd name="connsiteX235" fmla="*/ 2093 w 10000"/>
              <a:gd name="connsiteY235" fmla="*/ 4045 h 10000"/>
              <a:gd name="connsiteX236" fmla="*/ 1979 w 10000"/>
              <a:gd name="connsiteY236" fmla="*/ 4103 h 10000"/>
              <a:gd name="connsiteX237" fmla="*/ 1731 w 10000"/>
              <a:gd name="connsiteY237" fmla="*/ 4497 h 10000"/>
              <a:gd name="connsiteX238" fmla="*/ 1779 w 10000"/>
              <a:gd name="connsiteY238" fmla="*/ 4520 h 10000"/>
              <a:gd name="connsiteX239" fmla="*/ 1815 w 10000"/>
              <a:gd name="connsiteY239" fmla="*/ 4620 h 10000"/>
              <a:gd name="connsiteX240" fmla="*/ 1700 w 10000"/>
              <a:gd name="connsiteY240" fmla="*/ 5035 h 10000"/>
              <a:gd name="connsiteX241" fmla="*/ 1815 w 10000"/>
              <a:gd name="connsiteY241" fmla="*/ 5141 h 10000"/>
              <a:gd name="connsiteX242" fmla="*/ 2131 w 10000"/>
              <a:gd name="connsiteY242" fmla="*/ 5257 h 10000"/>
              <a:gd name="connsiteX243" fmla="*/ 2145 w 10000"/>
              <a:gd name="connsiteY243" fmla="*/ 5399 h 10000"/>
              <a:gd name="connsiteX244" fmla="*/ 2010 w 10000"/>
              <a:gd name="connsiteY244" fmla="*/ 5517 h 10000"/>
              <a:gd name="connsiteX245" fmla="*/ 1815 w 10000"/>
              <a:gd name="connsiteY245" fmla="*/ 5588 h 10000"/>
              <a:gd name="connsiteX246" fmla="*/ 1557 w 10000"/>
              <a:gd name="connsiteY246" fmla="*/ 5617 h 10000"/>
              <a:gd name="connsiteX247" fmla="*/ 1490 w 10000"/>
              <a:gd name="connsiteY247" fmla="*/ 5658 h 10000"/>
              <a:gd name="connsiteX248" fmla="*/ 1640 w 10000"/>
              <a:gd name="connsiteY248" fmla="*/ 5755 h 10000"/>
              <a:gd name="connsiteX249" fmla="*/ 1726 w 10000"/>
              <a:gd name="connsiteY249" fmla="*/ 5987 h 10000"/>
              <a:gd name="connsiteX250" fmla="*/ 1531 w 10000"/>
              <a:gd name="connsiteY250" fmla="*/ 6185 h 10000"/>
              <a:gd name="connsiteX251" fmla="*/ 1599 w 10000"/>
              <a:gd name="connsiteY251" fmla="*/ 6247 h 10000"/>
              <a:gd name="connsiteX252" fmla="*/ 1537 w 10000"/>
              <a:gd name="connsiteY252" fmla="*/ 6351 h 10000"/>
              <a:gd name="connsiteX253" fmla="*/ 1412 w 10000"/>
              <a:gd name="connsiteY253" fmla="*/ 6422 h 10000"/>
              <a:gd name="connsiteX254" fmla="*/ 915 w 10000"/>
              <a:gd name="connsiteY254" fmla="*/ 6477 h 10000"/>
              <a:gd name="connsiteX255" fmla="*/ 885 w 10000"/>
              <a:gd name="connsiteY255" fmla="*/ 6573 h 10000"/>
              <a:gd name="connsiteX256" fmla="*/ 617 w 10000"/>
              <a:gd name="connsiteY256" fmla="*/ 6716 h 10000"/>
              <a:gd name="connsiteX257" fmla="*/ 652 w 10000"/>
              <a:gd name="connsiteY257" fmla="*/ 6921 h 10000"/>
              <a:gd name="connsiteX258" fmla="*/ 427 w 10000"/>
              <a:gd name="connsiteY258" fmla="*/ 7184 h 10000"/>
              <a:gd name="connsiteX259" fmla="*/ 274 w 10000"/>
              <a:gd name="connsiteY259" fmla="*/ 7215 h 10000"/>
              <a:gd name="connsiteX260" fmla="*/ 210 w 10000"/>
              <a:gd name="connsiteY260" fmla="*/ 7152 h 10000"/>
              <a:gd name="connsiteX261" fmla="*/ 132 w 10000"/>
              <a:gd name="connsiteY261" fmla="*/ 7247 h 10000"/>
              <a:gd name="connsiteX262" fmla="*/ 183 w 10000"/>
              <a:gd name="connsiteY262" fmla="*/ 7084 h 10000"/>
              <a:gd name="connsiteX263" fmla="*/ 151 w 10000"/>
              <a:gd name="connsiteY263"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5098 w 10000"/>
              <a:gd name="connsiteY217" fmla="*/ 1750 h 10000"/>
              <a:gd name="connsiteX218" fmla="*/ 4837 w 10000"/>
              <a:gd name="connsiteY218" fmla="*/ 1818 h 10000"/>
              <a:gd name="connsiteX219" fmla="*/ 4671 w 10000"/>
              <a:gd name="connsiteY219" fmla="*/ 1814 h 10000"/>
              <a:gd name="connsiteX220" fmla="*/ 4571 w 10000"/>
              <a:gd name="connsiteY220" fmla="*/ 1838 h 10000"/>
              <a:gd name="connsiteX221" fmla="*/ 4298 w 10000"/>
              <a:gd name="connsiteY221" fmla="*/ 2503 h 10000"/>
              <a:gd name="connsiteX222" fmla="*/ 3668 w 10000"/>
              <a:gd name="connsiteY222" fmla="*/ 2891 h 10000"/>
              <a:gd name="connsiteX223" fmla="*/ 3672 w 10000"/>
              <a:gd name="connsiteY223" fmla="*/ 2952 h 10000"/>
              <a:gd name="connsiteX224" fmla="*/ 3952 w 10000"/>
              <a:gd name="connsiteY224" fmla="*/ 3126 h 10000"/>
              <a:gd name="connsiteX225" fmla="*/ 3861 w 10000"/>
              <a:gd name="connsiteY225" fmla="*/ 3314 h 10000"/>
              <a:gd name="connsiteX226" fmla="*/ 3698 w 10000"/>
              <a:gd name="connsiteY226" fmla="*/ 3383 h 10000"/>
              <a:gd name="connsiteX227" fmla="*/ 3208 w 10000"/>
              <a:gd name="connsiteY227" fmla="*/ 3337 h 10000"/>
              <a:gd name="connsiteX228" fmla="*/ 2871 w 10000"/>
              <a:gd name="connsiteY228" fmla="*/ 3363 h 10000"/>
              <a:gd name="connsiteX229" fmla="*/ 2601 w 10000"/>
              <a:gd name="connsiteY229" fmla="*/ 3419 h 10000"/>
              <a:gd name="connsiteX230" fmla="*/ 2163 w 10000"/>
              <a:gd name="connsiteY230" fmla="*/ 3592 h 10000"/>
              <a:gd name="connsiteX231" fmla="*/ 1931 w 10000"/>
              <a:gd name="connsiteY231" fmla="*/ 3802 h 10000"/>
              <a:gd name="connsiteX232" fmla="*/ 1951 w 10000"/>
              <a:gd name="connsiteY232" fmla="*/ 3919 h 10000"/>
              <a:gd name="connsiteX233" fmla="*/ 2032 w 10000"/>
              <a:gd name="connsiteY233" fmla="*/ 4009 h 10000"/>
              <a:gd name="connsiteX234" fmla="*/ 2093 w 10000"/>
              <a:gd name="connsiteY234" fmla="*/ 4045 h 10000"/>
              <a:gd name="connsiteX235" fmla="*/ 1979 w 10000"/>
              <a:gd name="connsiteY235" fmla="*/ 4103 h 10000"/>
              <a:gd name="connsiteX236" fmla="*/ 1731 w 10000"/>
              <a:gd name="connsiteY236" fmla="*/ 4497 h 10000"/>
              <a:gd name="connsiteX237" fmla="*/ 1779 w 10000"/>
              <a:gd name="connsiteY237" fmla="*/ 4520 h 10000"/>
              <a:gd name="connsiteX238" fmla="*/ 1815 w 10000"/>
              <a:gd name="connsiteY238" fmla="*/ 4620 h 10000"/>
              <a:gd name="connsiteX239" fmla="*/ 1700 w 10000"/>
              <a:gd name="connsiteY239" fmla="*/ 5035 h 10000"/>
              <a:gd name="connsiteX240" fmla="*/ 1815 w 10000"/>
              <a:gd name="connsiteY240" fmla="*/ 5141 h 10000"/>
              <a:gd name="connsiteX241" fmla="*/ 2131 w 10000"/>
              <a:gd name="connsiteY241" fmla="*/ 5257 h 10000"/>
              <a:gd name="connsiteX242" fmla="*/ 2145 w 10000"/>
              <a:gd name="connsiteY242" fmla="*/ 5399 h 10000"/>
              <a:gd name="connsiteX243" fmla="*/ 2010 w 10000"/>
              <a:gd name="connsiteY243" fmla="*/ 5517 h 10000"/>
              <a:gd name="connsiteX244" fmla="*/ 1815 w 10000"/>
              <a:gd name="connsiteY244" fmla="*/ 5588 h 10000"/>
              <a:gd name="connsiteX245" fmla="*/ 1557 w 10000"/>
              <a:gd name="connsiteY245" fmla="*/ 5617 h 10000"/>
              <a:gd name="connsiteX246" fmla="*/ 1490 w 10000"/>
              <a:gd name="connsiteY246" fmla="*/ 5658 h 10000"/>
              <a:gd name="connsiteX247" fmla="*/ 1640 w 10000"/>
              <a:gd name="connsiteY247" fmla="*/ 5755 h 10000"/>
              <a:gd name="connsiteX248" fmla="*/ 1726 w 10000"/>
              <a:gd name="connsiteY248" fmla="*/ 5987 h 10000"/>
              <a:gd name="connsiteX249" fmla="*/ 1531 w 10000"/>
              <a:gd name="connsiteY249" fmla="*/ 6185 h 10000"/>
              <a:gd name="connsiteX250" fmla="*/ 1599 w 10000"/>
              <a:gd name="connsiteY250" fmla="*/ 6247 h 10000"/>
              <a:gd name="connsiteX251" fmla="*/ 1537 w 10000"/>
              <a:gd name="connsiteY251" fmla="*/ 6351 h 10000"/>
              <a:gd name="connsiteX252" fmla="*/ 1412 w 10000"/>
              <a:gd name="connsiteY252" fmla="*/ 6422 h 10000"/>
              <a:gd name="connsiteX253" fmla="*/ 915 w 10000"/>
              <a:gd name="connsiteY253" fmla="*/ 6477 h 10000"/>
              <a:gd name="connsiteX254" fmla="*/ 885 w 10000"/>
              <a:gd name="connsiteY254" fmla="*/ 6573 h 10000"/>
              <a:gd name="connsiteX255" fmla="*/ 617 w 10000"/>
              <a:gd name="connsiteY255" fmla="*/ 6716 h 10000"/>
              <a:gd name="connsiteX256" fmla="*/ 652 w 10000"/>
              <a:gd name="connsiteY256" fmla="*/ 6921 h 10000"/>
              <a:gd name="connsiteX257" fmla="*/ 427 w 10000"/>
              <a:gd name="connsiteY257" fmla="*/ 7184 h 10000"/>
              <a:gd name="connsiteX258" fmla="*/ 274 w 10000"/>
              <a:gd name="connsiteY258" fmla="*/ 7215 h 10000"/>
              <a:gd name="connsiteX259" fmla="*/ 210 w 10000"/>
              <a:gd name="connsiteY259" fmla="*/ 7152 h 10000"/>
              <a:gd name="connsiteX260" fmla="*/ 132 w 10000"/>
              <a:gd name="connsiteY260" fmla="*/ 7247 h 10000"/>
              <a:gd name="connsiteX261" fmla="*/ 183 w 10000"/>
              <a:gd name="connsiteY261" fmla="*/ 7084 h 10000"/>
              <a:gd name="connsiteX262" fmla="*/ 151 w 10000"/>
              <a:gd name="connsiteY262"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5098 w 10000"/>
              <a:gd name="connsiteY216" fmla="*/ 1750 h 10000"/>
              <a:gd name="connsiteX217" fmla="*/ 4837 w 10000"/>
              <a:gd name="connsiteY217" fmla="*/ 1818 h 10000"/>
              <a:gd name="connsiteX218" fmla="*/ 4671 w 10000"/>
              <a:gd name="connsiteY218" fmla="*/ 1814 h 10000"/>
              <a:gd name="connsiteX219" fmla="*/ 4571 w 10000"/>
              <a:gd name="connsiteY219" fmla="*/ 1838 h 10000"/>
              <a:gd name="connsiteX220" fmla="*/ 4298 w 10000"/>
              <a:gd name="connsiteY220" fmla="*/ 2503 h 10000"/>
              <a:gd name="connsiteX221" fmla="*/ 3668 w 10000"/>
              <a:gd name="connsiteY221" fmla="*/ 2891 h 10000"/>
              <a:gd name="connsiteX222" fmla="*/ 3672 w 10000"/>
              <a:gd name="connsiteY222" fmla="*/ 2952 h 10000"/>
              <a:gd name="connsiteX223" fmla="*/ 3952 w 10000"/>
              <a:gd name="connsiteY223" fmla="*/ 3126 h 10000"/>
              <a:gd name="connsiteX224" fmla="*/ 3861 w 10000"/>
              <a:gd name="connsiteY224" fmla="*/ 3314 h 10000"/>
              <a:gd name="connsiteX225" fmla="*/ 3698 w 10000"/>
              <a:gd name="connsiteY225" fmla="*/ 3383 h 10000"/>
              <a:gd name="connsiteX226" fmla="*/ 3208 w 10000"/>
              <a:gd name="connsiteY226" fmla="*/ 3337 h 10000"/>
              <a:gd name="connsiteX227" fmla="*/ 2871 w 10000"/>
              <a:gd name="connsiteY227" fmla="*/ 3363 h 10000"/>
              <a:gd name="connsiteX228" fmla="*/ 2601 w 10000"/>
              <a:gd name="connsiteY228" fmla="*/ 3419 h 10000"/>
              <a:gd name="connsiteX229" fmla="*/ 2163 w 10000"/>
              <a:gd name="connsiteY229" fmla="*/ 3592 h 10000"/>
              <a:gd name="connsiteX230" fmla="*/ 1931 w 10000"/>
              <a:gd name="connsiteY230" fmla="*/ 3802 h 10000"/>
              <a:gd name="connsiteX231" fmla="*/ 1951 w 10000"/>
              <a:gd name="connsiteY231" fmla="*/ 3919 h 10000"/>
              <a:gd name="connsiteX232" fmla="*/ 2032 w 10000"/>
              <a:gd name="connsiteY232" fmla="*/ 4009 h 10000"/>
              <a:gd name="connsiteX233" fmla="*/ 2093 w 10000"/>
              <a:gd name="connsiteY233" fmla="*/ 4045 h 10000"/>
              <a:gd name="connsiteX234" fmla="*/ 1979 w 10000"/>
              <a:gd name="connsiteY234" fmla="*/ 4103 h 10000"/>
              <a:gd name="connsiteX235" fmla="*/ 1731 w 10000"/>
              <a:gd name="connsiteY235" fmla="*/ 4497 h 10000"/>
              <a:gd name="connsiteX236" fmla="*/ 1779 w 10000"/>
              <a:gd name="connsiteY236" fmla="*/ 4520 h 10000"/>
              <a:gd name="connsiteX237" fmla="*/ 1815 w 10000"/>
              <a:gd name="connsiteY237" fmla="*/ 4620 h 10000"/>
              <a:gd name="connsiteX238" fmla="*/ 1700 w 10000"/>
              <a:gd name="connsiteY238" fmla="*/ 5035 h 10000"/>
              <a:gd name="connsiteX239" fmla="*/ 1815 w 10000"/>
              <a:gd name="connsiteY239" fmla="*/ 5141 h 10000"/>
              <a:gd name="connsiteX240" fmla="*/ 2131 w 10000"/>
              <a:gd name="connsiteY240" fmla="*/ 5257 h 10000"/>
              <a:gd name="connsiteX241" fmla="*/ 2145 w 10000"/>
              <a:gd name="connsiteY241" fmla="*/ 5399 h 10000"/>
              <a:gd name="connsiteX242" fmla="*/ 2010 w 10000"/>
              <a:gd name="connsiteY242" fmla="*/ 5517 h 10000"/>
              <a:gd name="connsiteX243" fmla="*/ 1815 w 10000"/>
              <a:gd name="connsiteY243" fmla="*/ 5588 h 10000"/>
              <a:gd name="connsiteX244" fmla="*/ 1557 w 10000"/>
              <a:gd name="connsiteY244" fmla="*/ 5617 h 10000"/>
              <a:gd name="connsiteX245" fmla="*/ 1490 w 10000"/>
              <a:gd name="connsiteY245" fmla="*/ 5658 h 10000"/>
              <a:gd name="connsiteX246" fmla="*/ 1640 w 10000"/>
              <a:gd name="connsiteY246" fmla="*/ 5755 h 10000"/>
              <a:gd name="connsiteX247" fmla="*/ 1726 w 10000"/>
              <a:gd name="connsiteY247" fmla="*/ 5987 h 10000"/>
              <a:gd name="connsiteX248" fmla="*/ 1531 w 10000"/>
              <a:gd name="connsiteY248" fmla="*/ 6185 h 10000"/>
              <a:gd name="connsiteX249" fmla="*/ 1599 w 10000"/>
              <a:gd name="connsiteY249" fmla="*/ 6247 h 10000"/>
              <a:gd name="connsiteX250" fmla="*/ 1537 w 10000"/>
              <a:gd name="connsiteY250" fmla="*/ 6351 h 10000"/>
              <a:gd name="connsiteX251" fmla="*/ 1412 w 10000"/>
              <a:gd name="connsiteY251" fmla="*/ 6422 h 10000"/>
              <a:gd name="connsiteX252" fmla="*/ 915 w 10000"/>
              <a:gd name="connsiteY252" fmla="*/ 6477 h 10000"/>
              <a:gd name="connsiteX253" fmla="*/ 885 w 10000"/>
              <a:gd name="connsiteY253" fmla="*/ 6573 h 10000"/>
              <a:gd name="connsiteX254" fmla="*/ 617 w 10000"/>
              <a:gd name="connsiteY254" fmla="*/ 6716 h 10000"/>
              <a:gd name="connsiteX255" fmla="*/ 652 w 10000"/>
              <a:gd name="connsiteY255" fmla="*/ 6921 h 10000"/>
              <a:gd name="connsiteX256" fmla="*/ 427 w 10000"/>
              <a:gd name="connsiteY256" fmla="*/ 7184 h 10000"/>
              <a:gd name="connsiteX257" fmla="*/ 274 w 10000"/>
              <a:gd name="connsiteY257" fmla="*/ 7215 h 10000"/>
              <a:gd name="connsiteX258" fmla="*/ 210 w 10000"/>
              <a:gd name="connsiteY258" fmla="*/ 7152 h 10000"/>
              <a:gd name="connsiteX259" fmla="*/ 132 w 10000"/>
              <a:gd name="connsiteY259" fmla="*/ 7247 h 10000"/>
              <a:gd name="connsiteX260" fmla="*/ 183 w 10000"/>
              <a:gd name="connsiteY260" fmla="*/ 7084 h 10000"/>
              <a:gd name="connsiteX261" fmla="*/ 151 w 10000"/>
              <a:gd name="connsiteY261"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5098 w 10000"/>
              <a:gd name="connsiteY215" fmla="*/ 1750 h 10000"/>
              <a:gd name="connsiteX216" fmla="*/ 4837 w 10000"/>
              <a:gd name="connsiteY216" fmla="*/ 1818 h 10000"/>
              <a:gd name="connsiteX217" fmla="*/ 4671 w 10000"/>
              <a:gd name="connsiteY217" fmla="*/ 1814 h 10000"/>
              <a:gd name="connsiteX218" fmla="*/ 4571 w 10000"/>
              <a:gd name="connsiteY218" fmla="*/ 1838 h 10000"/>
              <a:gd name="connsiteX219" fmla="*/ 4298 w 10000"/>
              <a:gd name="connsiteY219" fmla="*/ 2503 h 10000"/>
              <a:gd name="connsiteX220" fmla="*/ 3668 w 10000"/>
              <a:gd name="connsiteY220" fmla="*/ 2891 h 10000"/>
              <a:gd name="connsiteX221" fmla="*/ 3672 w 10000"/>
              <a:gd name="connsiteY221" fmla="*/ 2952 h 10000"/>
              <a:gd name="connsiteX222" fmla="*/ 3952 w 10000"/>
              <a:gd name="connsiteY222" fmla="*/ 3126 h 10000"/>
              <a:gd name="connsiteX223" fmla="*/ 3861 w 10000"/>
              <a:gd name="connsiteY223" fmla="*/ 3314 h 10000"/>
              <a:gd name="connsiteX224" fmla="*/ 3698 w 10000"/>
              <a:gd name="connsiteY224" fmla="*/ 3383 h 10000"/>
              <a:gd name="connsiteX225" fmla="*/ 3208 w 10000"/>
              <a:gd name="connsiteY225" fmla="*/ 3337 h 10000"/>
              <a:gd name="connsiteX226" fmla="*/ 2871 w 10000"/>
              <a:gd name="connsiteY226" fmla="*/ 3363 h 10000"/>
              <a:gd name="connsiteX227" fmla="*/ 2601 w 10000"/>
              <a:gd name="connsiteY227" fmla="*/ 3419 h 10000"/>
              <a:gd name="connsiteX228" fmla="*/ 2163 w 10000"/>
              <a:gd name="connsiteY228" fmla="*/ 3592 h 10000"/>
              <a:gd name="connsiteX229" fmla="*/ 1931 w 10000"/>
              <a:gd name="connsiteY229" fmla="*/ 3802 h 10000"/>
              <a:gd name="connsiteX230" fmla="*/ 1951 w 10000"/>
              <a:gd name="connsiteY230" fmla="*/ 3919 h 10000"/>
              <a:gd name="connsiteX231" fmla="*/ 2032 w 10000"/>
              <a:gd name="connsiteY231" fmla="*/ 4009 h 10000"/>
              <a:gd name="connsiteX232" fmla="*/ 2093 w 10000"/>
              <a:gd name="connsiteY232" fmla="*/ 4045 h 10000"/>
              <a:gd name="connsiteX233" fmla="*/ 1979 w 10000"/>
              <a:gd name="connsiteY233" fmla="*/ 4103 h 10000"/>
              <a:gd name="connsiteX234" fmla="*/ 1731 w 10000"/>
              <a:gd name="connsiteY234" fmla="*/ 4497 h 10000"/>
              <a:gd name="connsiteX235" fmla="*/ 1779 w 10000"/>
              <a:gd name="connsiteY235" fmla="*/ 4520 h 10000"/>
              <a:gd name="connsiteX236" fmla="*/ 1815 w 10000"/>
              <a:gd name="connsiteY236" fmla="*/ 4620 h 10000"/>
              <a:gd name="connsiteX237" fmla="*/ 1700 w 10000"/>
              <a:gd name="connsiteY237" fmla="*/ 5035 h 10000"/>
              <a:gd name="connsiteX238" fmla="*/ 1815 w 10000"/>
              <a:gd name="connsiteY238" fmla="*/ 5141 h 10000"/>
              <a:gd name="connsiteX239" fmla="*/ 2131 w 10000"/>
              <a:gd name="connsiteY239" fmla="*/ 5257 h 10000"/>
              <a:gd name="connsiteX240" fmla="*/ 2145 w 10000"/>
              <a:gd name="connsiteY240" fmla="*/ 5399 h 10000"/>
              <a:gd name="connsiteX241" fmla="*/ 2010 w 10000"/>
              <a:gd name="connsiteY241" fmla="*/ 5517 h 10000"/>
              <a:gd name="connsiteX242" fmla="*/ 1815 w 10000"/>
              <a:gd name="connsiteY242" fmla="*/ 5588 h 10000"/>
              <a:gd name="connsiteX243" fmla="*/ 1557 w 10000"/>
              <a:gd name="connsiteY243" fmla="*/ 5617 h 10000"/>
              <a:gd name="connsiteX244" fmla="*/ 1490 w 10000"/>
              <a:gd name="connsiteY244" fmla="*/ 5658 h 10000"/>
              <a:gd name="connsiteX245" fmla="*/ 1640 w 10000"/>
              <a:gd name="connsiteY245" fmla="*/ 5755 h 10000"/>
              <a:gd name="connsiteX246" fmla="*/ 1726 w 10000"/>
              <a:gd name="connsiteY246" fmla="*/ 5987 h 10000"/>
              <a:gd name="connsiteX247" fmla="*/ 1531 w 10000"/>
              <a:gd name="connsiteY247" fmla="*/ 6185 h 10000"/>
              <a:gd name="connsiteX248" fmla="*/ 1599 w 10000"/>
              <a:gd name="connsiteY248" fmla="*/ 6247 h 10000"/>
              <a:gd name="connsiteX249" fmla="*/ 1537 w 10000"/>
              <a:gd name="connsiteY249" fmla="*/ 6351 h 10000"/>
              <a:gd name="connsiteX250" fmla="*/ 1412 w 10000"/>
              <a:gd name="connsiteY250" fmla="*/ 6422 h 10000"/>
              <a:gd name="connsiteX251" fmla="*/ 915 w 10000"/>
              <a:gd name="connsiteY251" fmla="*/ 6477 h 10000"/>
              <a:gd name="connsiteX252" fmla="*/ 885 w 10000"/>
              <a:gd name="connsiteY252" fmla="*/ 6573 h 10000"/>
              <a:gd name="connsiteX253" fmla="*/ 617 w 10000"/>
              <a:gd name="connsiteY253" fmla="*/ 6716 h 10000"/>
              <a:gd name="connsiteX254" fmla="*/ 652 w 10000"/>
              <a:gd name="connsiteY254" fmla="*/ 6921 h 10000"/>
              <a:gd name="connsiteX255" fmla="*/ 427 w 10000"/>
              <a:gd name="connsiteY255" fmla="*/ 7184 h 10000"/>
              <a:gd name="connsiteX256" fmla="*/ 274 w 10000"/>
              <a:gd name="connsiteY256" fmla="*/ 7215 h 10000"/>
              <a:gd name="connsiteX257" fmla="*/ 210 w 10000"/>
              <a:gd name="connsiteY257" fmla="*/ 7152 h 10000"/>
              <a:gd name="connsiteX258" fmla="*/ 132 w 10000"/>
              <a:gd name="connsiteY258" fmla="*/ 7247 h 10000"/>
              <a:gd name="connsiteX259" fmla="*/ 183 w 10000"/>
              <a:gd name="connsiteY259" fmla="*/ 7084 h 10000"/>
              <a:gd name="connsiteX260" fmla="*/ 151 w 10000"/>
              <a:gd name="connsiteY260"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5098 w 10000"/>
              <a:gd name="connsiteY214" fmla="*/ 1750 h 10000"/>
              <a:gd name="connsiteX215" fmla="*/ 4837 w 10000"/>
              <a:gd name="connsiteY215" fmla="*/ 1818 h 10000"/>
              <a:gd name="connsiteX216" fmla="*/ 4671 w 10000"/>
              <a:gd name="connsiteY216" fmla="*/ 1814 h 10000"/>
              <a:gd name="connsiteX217" fmla="*/ 4571 w 10000"/>
              <a:gd name="connsiteY217" fmla="*/ 1838 h 10000"/>
              <a:gd name="connsiteX218" fmla="*/ 4298 w 10000"/>
              <a:gd name="connsiteY218" fmla="*/ 2503 h 10000"/>
              <a:gd name="connsiteX219" fmla="*/ 3668 w 10000"/>
              <a:gd name="connsiteY219" fmla="*/ 2891 h 10000"/>
              <a:gd name="connsiteX220" fmla="*/ 3672 w 10000"/>
              <a:gd name="connsiteY220" fmla="*/ 2952 h 10000"/>
              <a:gd name="connsiteX221" fmla="*/ 3952 w 10000"/>
              <a:gd name="connsiteY221" fmla="*/ 3126 h 10000"/>
              <a:gd name="connsiteX222" fmla="*/ 3861 w 10000"/>
              <a:gd name="connsiteY222" fmla="*/ 3314 h 10000"/>
              <a:gd name="connsiteX223" fmla="*/ 3698 w 10000"/>
              <a:gd name="connsiteY223" fmla="*/ 3383 h 10000"/>
              <a:gd name="connsiteX224" fmla="*/ 3208 w 10000"/>
              <a:gd name="connsiteY224" fmla="*/ 3337 h 10000"/>
              <a:gd name="connsiteX225" fmla="*/ 2871 w 10000"/>
              <a:gd name="connsiteY225" fmla="*/ 3363 h 10000"/>
              <a:gd name="connsiteX226" fmla="*/ 2601 w 10000"/>
              <a:gd name="connsiteY226" fmla="*/ 3419 h 10000"/>
              <a:gd name="connsiteX227" fmla="*/ 2163 w 10000"/>
              <a:gd name="connsiteY227" fmla="*/ 3592 h 10000"/>
              <a:gd name="connsiteX228" fmla="*/ 1931 w 10000"/>
              <a:gd name="connsiteY228" fmla="*/ 3802 h 10000"/>
              <a:gd name="connsiteX229" fmla="*/ 1951 w 10000"/>
              <a:gd name="connsiteY229" fmla="*/ 3919 h 10000"/>
              <a:gd name="connsiteX230" fmla="*/ 2032 w 10000"/>
              <a:gd name="connsiteY230" fmla="*/ 4009 h 10000"/>
              <a:gd name="connsiteX231" fmla="*/ 2093 w 10000"/>
              <a:gd name="connsiteY231" fmla="*/ 4045 h 10000"/>
              <a:gd name="connsiteX232" fmla="*/ 1979 w 10000"/>
              <a:gd name="connsiteY232" fmla="*/ 4103 h 10000"/>
              <a:gd name="connsiteX233" fmla="*/ 1731 w 10000"/>
              <a:gd name="connsiteY233" fmla="*/ 4497 h 10000"/>
              <a:gd name="connsiteX234" fmla="*/ 1779 w 10000"/>
              <a:gd name="connsiteY234" fmla="*/ 4520 h 10000"/>
              <a:gd name="connsiteX235" fmla="*/ 1815 w 10000"/>
              <a:gd name="connsiteY235" fmla="*/ 4620 h 10000"/>
              <a:gd name="connsiteX236" fmla="*/ 1700 w 10000"/>
              <a:gd name="connsiteY236" fmla="*/ 5035 h 10000"/>
              <a:gd name="connsiteX237" fmla="*/ 1815 w 10000"/>
              <a:gd name="connsiteY237" fmla="*/ 5141 h 10000"/>
              <a:gd name="connsiteX238" fmla="*/ 2131 w 10000"/>
              <a:gd name="connsiteY238" fmla="*/ 5257 h 10000"/>
              <a:gd name="connsiteX239" fmla="*/ 2145 w 10000"/>
              <a:gd name="connsiteY239" fmla="*/ 5399 h 10000"/>
              <a:gd name="connsiteX240" fmla="*/ 2010 w 10000"/>
              <a:gd name="connsiteY240" fmla="*/ 5517 h 10000"/>
              <a:gd name="connsiteX241" fmla="*/ 1815 w 10000"/>
              <a:gd name="connsiteY241" fmla="*/ 5588 h 10000"/>
              <a:gd name="connsiteX242" fmla="*/ 1557 w 10000"/>
              <a:gd name="connsiteY242" fmla="*/ 5617 h 10000"/>
              <a:gd name="connsiteX243" fmla="*/ 1490 w 10000"/>
              <a:gd name="connsiteY243" fmla="*/ 5658 h 10000"/>
              <a:gd name="connsiteX244" fmla="*/ 1640 w 10000"/>
              <a:gd name="connsiteY244" fmla="*/ 5755 h 10000"/>
              <a:gd name="connsiteX245" fmla="*/ 1726 w 10000"/>
              <a:gd name="connsiteY245" fmla="*/ 5987 h 10000"/>
              <a:gd name="connsiteX246" fmla="*/ 1531 w 10000"/>
              <a:gd name="connsiteY246" fmla="*/ 6185 h 10000"/>
              <a:gd name="connsiteX247" fmla="*/ 1599 w 10000"/>
              <a:gd name="connsiteY247" fmla="*/ 6247 h 10000"/>
              <a:gd name="connsiteX248" fmla="*/ 1537 w 10000"/>
              <a:gd name="connsiteY248" fmla="*/ 6351 h 10000"/>
              <a:gd name="connsiteX249" fmla="*/ 1412 w 10000"/>
              <a:gd name="connsiteY249" fmla="*/ 6422 h 10000"/>
              <a:gd name="connsiteX250" fmla="*/ 915 w 10000"/>
              <a:gd name="connsiteY250" fmla="*/ 6477 h 10000"/>
              <a:gd name="connsiteX251" fmla="*/ 885 w 10000"/>
              <a:gd name="connsiteY251" fmla="*/ 6573 h 10000"/>
              <a:gd name="connsiteX252" fmla="*/ 617 w 10000"/>
              <a:gd name="connsiteY252" fmla="*/ 6716 h 10000"/>
              <a:gd name="connsiteX253" fmla="*/ 652 w 10000"/>
              <a:gd name="connsiteY253" fmla="*/ 6921 h 10000"/>
              <a:gd name="connsiteX254" fmla="*/ 427 w 10000"/>
              <a:gd name="connsiteY254" fmla="*/ 7184 h 10000"/>
              <a:gd name="connsiteX255" fmla="*/ 274 w 10000"/>
              <a:gd name="connsiteY255" fmla="*/ 7215 h 10000"/>
              <a:gd name="connsiteX256" fmla="*/ 210 w 10000"/>
              <a:gd name="connsiteY256" fmla="*/ 7152 h 10000"/>
              <a:gd name="connsiteX257" fmla="*/ 132 w 10000"/>
              <a:gd name="connsiteY257" fmla="*/ 7247 h 10000"/>
              <a:gd name="connsiteX258" fmla="*/ 183 w 10000"/>
              <a:gd name="connsiteY258" fmla="*/ 7084 h 10000"/>
              <a:gd name="connsiteX259" fmla="*/ 151 w 10000"/>
              <a:gd name="connsiteY259"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5098 w 10000"/>
              <a:gd name="connsiteY213" fmla="*/ 1750 h 10000"/>
              <a:gd name="connsiteX214" fmla="*/ 4837 w 10000"/>
              <a:gd name="connsiteY214" fmla="*/ 1818 h 10000"/>
              <a:gd name="connsiteX215" fmla="*/ 4671 w 10000"/>
              <a:gd name="connsiteY215" fmla="*/ 1814 h 10000"/>
              <a:gd name="connsiteX216" fmla="*/ 4571 w 10000"/>
              <a:gd name="connsiteY216" fmla="*/ 1838 h 10000"/>
              <a:gd name="connsiteX217" fmla="*/ 4298 w 10000"/>
              <a:gd name="connsiteY217" fmla="*/ 2503 h 10000"/>
              <a:gd name="connsiteX218" fmla="*/ 3668 w 10000"/>
              <a:gd name="connsiteY218" fmla="*/ 2891 h 10000"/>
              <a:gd name="connsiteX219" fmla="*/ 3672 w 10000"/>
              <a:gd name="connsiteY219" fmla="*/ 2952 h 10000"/>
              <a:gd name="connsiteX220" fmla="*/ 3952 w 10000"/>
              <a:gd name="connsiteY220" fmla="*/ 3126 h 10000"/>
              <a:gd name="connsiteX221" fmla="*/ 3861 w 10000"/>
              <a:gd name="connsiteY221" fmla="*/ 3314 h 10000"/>
              <a:gd name="connsiteX222" fmla="*/ 3698 w 10000"/>
              <a:gd name="connsiteY222" fmla="*/ 3383 h 10000"/>
              <a:gd name="connsiteX223" fmla="*/ 3208 w 10000"/>
              <a:gd name="connsiteY223" fmla="*/ 3337 h 10000"/>
              <a:gd name="connsiteX224" fmla="*/ 2871 w 10000"/>
              <a:gd name="connsiteY224" fmla="*/ 3363 h 10000"/>
              <a:gd name="connsiteX225" fmla="*/ 2601 w 10000"/>
              <a:gd name="connsiteY225" fmla="*/ 3419 h 10000"/>
              <a:gd name="connsiteX226" fmla="*/ 2163 w 10000"/>
              <a:gd name="connsiteY226" fmla="*/ 3592 h 10000"/>
              <a:gd name="connsiteX227" fmla="*/ 1931 w 10000"/>
              <a:gd name="connsiteY227" fmla="*/ 3802 h 10000"/>
              <a:gd name="connsiteX228" fmla="*/ 1951 w 10000"/>
              <a:gd name="connsiteY228" fmla="*/ 3919 h 10000"/>
              <a:gd name="connsiteX229" fmla="*/ 2032 w 10000"/>
              <a:gd name="connsiteY229" fmla="*/ 4009 h 10000"/>
              <a:gd name="connsiteX230" fmla="*/ 2093 w 10000"/>
              <a:gd name="connsiteY230" fmla="*/ 4045 h 10000"/>
              <a:gd name="connsiteX231" fmla="*/ 1979 w 10000"/>
              <a:gd name="connsiteY231" fmla="*/ 4103 h 10000"/>
              <a:gd name="connsiteX232" fmla="*/ 1731 w 10000"/>
              <a:gd name="connsiteY232" fmla="*/ 4497 h 10000"/>
              <a:gd name="connsiteX233" fmla="*/ 1779 w 10000"/>
              <a:gd name="connsiteY233" fmla="*/ 4520 h 10000"/>
              <a:gd name="connsiteX234" fmla="*/ 1815 w 10000"/>
              <a:gd name="connsiteY234" fmla="*/ 4620 h 10000"/>
              <a:gd name="connsiteX235" fmla="*/ 1700 w 10000"/>
              <a:gd name="connsiteY235" fmla="*/ 5035 h 10000"/>
              <a:gd name="connsiteX236" fmla="*/ 1815 w 10000"/>
              <a:gd name="connsiteY236" fmla="*/ 5141 h 10000"/>
              <a:gd name="connsiteX237" fmla="*/ 2131 w 10000"/>
              <a:gd name="connsiteY237" fmla="*/ 5257 h 10000"/>
              <a:gd name="connsiteX238" fmla="*/ 2145 w 10000"/>
              <a:gd name="connsiteY238" fmla="*/ 5399 h 10000"/>
              <a:gd name="connsiteX239" fmla="*/ 2010 w 10000"/>
              <a:gd name="connsiteY239" fmla="*/ 5517 h 10000"/>
              <a:gd name="connsiteX240" fmla="*/ 1815 w 10000"/>
              <a:gd name="connsiteY240" fmla="*/ 5588 h 10000"/>
              <a:gd name="connsiteX241" fmla="*/ 1557 w 10000"/>
              <a:gd name="connsiteY241" fmla="*/ 5617 h 10000"/>
              <a:gd name="connsiteX242" fmla="*/ 1490 w 10000"/>
              <a:gd name="connsiteY242" fmla="*/ 5658 h 10000"/>
              <a:gd name="connsiteX243" fmla="*/ 1640 w 10000"/>
              <a:gd name="connsiteY243" fmla="*/ 5755 h 10000"/>
              <a:gd name="connsiteX244" fmla="*/ 1726 w 10000"/>
              <a:gd name="connsiteY244" fmla="*/ 5987 h 10000"/>
              <a:gd name="connsiteX245" fmla="*/ 1531 w 10000"/>
              <a:gd name="connsiteY245" fmla="*/ 6185 h 10000"/>
              <a:gd name="connsiteX246" fmla="*/ 1599 w 10000"/>
              <a:gd name="connsiteY246" fmla="*/ 6247 h 10000"/>
              <a:gd name="connsiteX247" fmla="*/ 1537 w 10000"/>
              <a:gd name="connsiteY247" fmla="*/ 6351 h 10000"/>
              <a:gd name="connsiteX248" fmla="*/ 1412 w 10000"/>
              <a:gd name="connsiteY248" fmla="*/ 6422 h 10000"/>
              <a:gd name="connsiteX249" fmla="*/ 915 w 10000"/>
              <a:gd name="connsiteY249" fmla="*/ 6477 h 10000"/>
              <a:gd name="connsiteX250" fmla="*/ 885 w 10000"/>
              <a:gd name="connsiteY250" fmla="*/ 6573 h 10000"/>
              <a:gd name="connsiteX251" fmla="*/ 617 w 10000"/>
              <a:gd name="connsiteY251" fmla="*/ 6716 h 10000"/>
              <a:gd name="connsiteX252" fmla="*/ 652 w 10000"/>
              <a:gd name="connsiteY252" fmla="*/ 6921 h 10000"/>
              <a:gd name="connsiteX253" fmla="*/ 427 w 10000"/>
              <a:gd name="connsiteY253" fmla="*/ 7184 h 10000"/>
              <a:gd name="connsiteX254" fmla="*/ 274 w 10000"/>
              <a:gd name="connsiteY254" fmla="*/ 7215 h 10000"/>
              <a:gd name="connsiteX255" fmla="*/ 210 w 10000"/>
              <a:gd name="connsiteY255" fmla="*/ 7152 h 10000"/>
              <a:gd name="connsiteX256" fmla="*/ 132 w 10000"/>
              <a:gd name="connsiteY256" fmla="*/ 7247 h 10000"/>
              <a:gd name="connsiteX257" fmla="*/ 183 w 10000"/>
              <a:gd name="connsiteY257" fmla="*/ 7084 h 10000"/>
              <a:gd name="connsiteX258" fmla="*/ 151 w 10000"/>
              <a:gd name="connsiteY258"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5098 w 10000"/>
              <a:gd name="connsiteY212" fmla="*/ 1750 h 10000"/>
              <a:gd name="connsiteX213" fmla="*/ 4837 w 10000"/>
              <a:gd name="connsiteY213" fmla="*/ 1818 h 10000"/>
              <a:gd name="connsiteX214" fmla="*/ 4671 w 10000"/>
              <a:gd name="connsiteY214" fmla="*/ 1814 h 10000"/>
              <a:gd name="connsiteX215" fmla="*/ 4571 w 10000"/>
              <a:gd name="connsiteY215" fmla="*/ 1838 h 10000"/>
              <a:gd name="connsiteX216" fmla="*/ 4298 w 10000"/>
              <a:gd name="connsiteY216" fmla="*/ 2503 h 10000"/>
              <a:gd name="connsiteX217" fmla="*/ 3668 w 10000"/>
              <a:gd name="connsiteY217" fmla="*/ 2891 h 10000"/>
              <a:gd name="connsiteX218" fmla="*/ 3672 w 10000"/>
              <a:gd name="connsiteY218" fmla="*/ 2952 h 10000"/>
              <a:gd name="connsiteX219" fmla="*/ 3952 w 10000"/>
              <a:gd name="connsiteY219" fmla="*/ 3126 h 10000"/>
              <a:gd name="connsiteX220" fmla="*/ 3861 w 10000"/>
              <a:gd name="connsiteY220" fmla="*/ 3314 h 10000"/>
              <a:gd name="connsiteX221" fmla="*/ 3698 w 10000"/>
              <a:gd name="connsiteY221" fmla="*/ 3383 h 10000"/>
              <a:gd name="connsiteX222" fmla="*/ 3208 w 10000"/>
              <a:gd name="connsiteY222" fmla="*/ 3337 h 10000"/>
              <a:gd name="connsiteX223" fmla="*/ 2871 w 10000"/>
              <a:gd name="connsiteY223" fmla="*/ 3363 h 10000"/>
              <a:gd name="connsiteX224" fmla="*/ 2601 w 10000"/>
              <a:gd name="connsiteY224" fmla="*/ 3419 h 10000"/>
              <a:gd name="connsiteX225" fmla="*/ 2163 w 10000"/>
              <a:gd name="connsiteY225" fmla="*/ 3592 h 10000"/>
              <a:gd name="connsiteX226" fmla="*/ 1931 w 10000"/>
              <a:gd name="connsiteY226" fmla="*/ 3802 h 10000"/>
              <a:gd name="connsiteX227" fmla="*/ 1951 w 10000"/>
              <a:gd name="connsiteY227" fmla="*/ 3919 h 10000"/>
              <a:gd name="connsiteX228" fmla="*/ 2032 w 10000"/>
              <a:gd name="connsiteY228" fmla="*/ 4009 h 10000"/>
              <a:gd name="connsiteX229" fmla="*/ 2093 w 10000"/>
              <a:gd name="connsiteY229" fmla="*/ 4045 h 10000"/>
              <a:gd name="connsiteX230" fmla="*/ 1979 w 10000"/>
              <a:gd name="connsiteY230" fmla="*/ 4103 h 10000"/>
              <a:gd name="connsiteX231" fmla="*/ 1731 w 10000"/>
              <a:gd name="connsiteY231" fmla="*/ 4497 h 10000"/>
              <a:gd name="connsiteX232" fmla="*/ 1779 w 10000"/>
              <a:gd name="connsiteY232" fmla="*/ 4520 h 10000"/>
              <a:gd name="connsiteX233" fmla="*/ 1815 w 10000"/>
              <a:gd name="connsiteY233" fmla="*/ 4620 h 10000"/>
              <a:gd name="connsiteX234" fmla="*/ 1700 w 10000"/>
              <a:gd name="connsiteY234" fmla="*/ 5035 h 10000"/>
              <a:gd name="connsiteX235" fmla="*/ 1815 w 10000"/>
              <a:gd name="connsiteY235" fmla="*/ 5141 h 10000"/>
              <a:gd name="connsiteX236" fmla="*/ 2131 w 10000"/>
              <a:gd name="connsiteY236" fmla="*/ 5257 h 10000"/>
              <a:gd name="connsiteX237" fmla="*/ 2145 w 10000"/>
              <a:gd name="connsiteY237" fmla="*/ 5399 h 10000"/>
              <a:gd name="connsiteX238" fmla="*/ 2010 w 10000"/>
              <a:gd name="connsiteY238" fmla="*/ 5517 h 10000"/>
              <a:gd name="connsiteX239" fmla="*/ 1815 w 10000"/>
              <a:gd name="connsiteY239" fmla="*/ 5588 h 10000"/>
              <a:gd name="connsiteX240" fmla="*/ 1557 w 10000"/>
              <a:gd name="connsiteY240" fmla="*/ 5617 h 10000"/>
              <a:gd name="connsiteX241" fmla="*/ 1490 w 10000"/>
              <a:gd name="connsiteY241" fmla="*/ 5658 h 10000"/>
              <a:gd name="connsiteX242" fmla="*/ 1640 w 10000"/>
              <a:gd name="connsiteY242" fmla="*/ 5755 h 10000"/>
              <a:gd name="connsiteX243" fmla="*/ 1726 w 10000"/>
              <a:gd name="connsiteY243" fmla="*/ 5987 h 10000"/>
              <a:gd name="connsiteX244" fmla="*/ 1531 w 10000"/>
              <a:gd name="connsiteY244" fmla="*/ 6185 h 10000"/>
              <a:gd name="connsiteX245" fmla="*/ 1599 w 10000"/>
              <a:gd name="connsiteY245" fmla="*/ 6247 h 10000"/>
              <a:gd name="connsiteX246" fmla="*/ 1537 w 10000"/>
              <a:gd name="connsiteY246" fmla="*/ 6351 h 10000"/>
              <a:gd name="connsiteX247" fmla="*/ 1412 w 10000"/>
              <a:gd name="connsiteY247" fmla="*/ 6422 h 10000"/>
              <a:gd name="connsiteX248" fmla="*/ 915 w 10000"/>
              <a:gd name="connsiteY248" fmla="*/ 6477 h 10000"/>
              <a:gd name="connsiteX249" fmla="*/ 885 w 10000"/>
              <a:gd name="connsiteY249" fmla="*/ 6573 h 10000"/>
              <a:gd name="connsiteX250" fmla="*/ 617 w 10000"/>
              <a:gd name="connsiteY250" fmla="*/ 6716 h 10000"/>
              <a:gd name="connsiteX251" fmla="*/ 652 w 10000"/>
              <a:gd name="connsiteY251" fmla="*/ 6921 h 10000"/>
              <a:gd name="connsiteX252" fmla="*/ 427 w 10000"/>
              <a:gd name="connsiteY252" fmla="*/ 7184 h 10000"/>
              <a:gd name="connsiteX253" fmla="*/ 274 w 10000"/>
              <a:gd name="connsiteY253" fmla="*/ 7215 h 10000"/>
              <a:gd name="connsiteX254" fmla="*/ 210 w 10000"/>
              <a:gd name="connsiteY254" fmla="*/ 7152 h 10000"/>
              <a:gd name="connsiteX255" fmla="*/ 132 w 10000"/>
              <a:gd name="connsiteY255" fmla="*/ 7247 h 10000"/>
              <a:gd name="connsiteX256" fmla="*/ 183 w 10000"/>
              <a:gd name="connsiteY256" fmla="*/ 7084 h 10000"/>
              <a:gd name="connsiteX257" fmla="*/ 151 w 10000"/>
              <a:gd name="connsiteY257"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5098 w 10000"/>
              <a:gd name="connsiteY211" fmla="*/ 1750 h 10000"/>
              <a:gd name="connsiteX212" fmla="*/ 4837 w 10000"/>
              <a:gd name="connsiteY212" fmla="*/ 1818 h 10000"/>
              <a:gd name="connsiteX213" fmla="*/ 4671 w 10000"/>
              <a:gd name="connsiteY213" fmla="*/ 1814 h 10000"/>
              <a:gd name="connsiteX214" fmla="*/ 4571 w 10000"/>
              <a:gd name="connsiteY214" fmla="*/ 1838 h 10000"/>
              <a:gd name="connsiteX215" fmla="*/ 4298 w 10000"/>
              <a:gd name="connsiteY215" fmla="*/ 2503 h 10000"/>
              <a:gd name="connsiteX216" fmla="*/ 3668 w 10000"/>
              <a:gd name="connsiteY216" fmla="*/ 2891 h 10000"/>
              <a:gd name="connsiteX217" fmla="*/ 3672 w 10000"/>
              <a:gd name="connsiteY217" fmla="*/ 2952 h 10000"/>
              <a:gd name="connsiteX218" fmla="*/ 3952 w 10000"/>
              <a:gd name="connsiteY218" fmla="*/ 3126 h 10000"/>
              <a:gd name="connsiteX219" fmla="*/ 3861 w 10000"/>
              <a:gd name="connsiteY219" fmla="*/ 3314 h 10000"/>
              <a:gd name="connsiteX220" fmla="*/ 3698 w 10000"/>
              <a:gd name="connsiteY220" fmla="*/ 3383 h 10000"/>
              <a:gd name="connsiteX221" fmla="*/ 3208 w 10000"/>
              <a:gd name="connsiteY221" fmla="*/ 3337 h 10000"/>
              <a:gd name="connsiteX222" fmla="*/ 2871 w 10000"/>
              <a:gd name="connsiteY222" fmla="*/ 3363 h 10000"/>
              <a:gd name="connsiteX223" fmla="*/ 2601 w 10000"/>
              <a:gd name="connsiteY223" fmla="*/ 3419 h 10000"/>
              <a:gd name="connsiteX224" fmla="*/ 2163 w 10000"/>
              <a:gd name="connsiteY224" fmla="*/ 3592 h 10000"/>
              <a:gd name="connsiteX225" fmla="*/ 1931 w 10000"/>
              <a:gd name="connsiteY225" fmla="*/ 3802 h 10000"/>
              <a:gd name="connsiteX226" fmla="*/ 1951 w 10000"/>
              <a:gd name="connsiteY226" fmla="*/ 3919 h 10000"/>
              <a:gd name="connsiteX227" fmla="*/ 2032 w 10000"/>
              <a:gd name="connsiteY227" fmla="*/ 4009 h 10000"/>
              <a:gd name="connsiteX228" fmla="*/ 2093 w 10000"/>
              <a:gd name="connsiteY228" fmla="*/ 4045 h 10000"/>
              <a:gd name="connsiteX229" fmla="*/ 1979 w 10000"/>
              <a:gd name="connsiteY229" fmla="*/ 4103 h 10000"/>
              <a:gd name="connsiteX230" fmla="*/ 1731 w 10000"/>
              <a:gd name="connsiteY230" fmla="*/ 4497 h 10000"/>
              <a:gd name="connsiteX231" fmla="*/ 1779 w 10000"/>
              <a:gd name="connsiteY231" fmla="*/ 4520 h 10000"/>
              <a:gd name="connsiteX232" fmla="*/ 1815 w 10000"/>
              <a:gd name="connsiteY232" fmla="*/ 4620 h 10000"/>
              <a:gd name="connsiteX233" fmla="*/ 1700 w 10000"/>
              <a:gd name="connsiteY233" fmla="*/ 5035 h 10000"/>
              <a:gd name="connsiteX234" fmla="*/ 1815 w 10000"/>
              <a:gd name="connsiteY234" fmla="*/ 5141 h 10000"/>
              <a:gd name="connsiteX235" fmla="*/ 2131 w 10000"/>
              <a:gd name="connsiteY235" fmla="*/ 5257 h 10000"/>
              <a:gd name="connsiteX236" fmla="*/ 2145 w 10000"/>
              <a:gd name="connsiteY236" fmla="*/ 5399 h 10000"/>
              <a:gd name="connsiteX237" fmla="*/ 2010 w 10000"/>
              <a:gd name="connsiteY237" fmla="*/ 5517 h 10000"/>
              <a:gd name="connsiteX238" fmla="*/ 1815 w 10000"/>
              <a:gd name="connsiteY238" fmla="*/ 5588 h 10000"/>
              <a:gd name="connsiteX239" fmla="*/ 1557 w 10000"/>
              <a:gd name="connsiteY239" fmla="*/ 5617 h 10000"/>
              <a:gd name="connsiteX240" fmla="*/ 1490 w 10000"/>
              <a:gd name="connsiteY240" fmla="*/ 5658 h 10000"/>
              <a:gd name="connsiteX241" fmla="*/ 1640 w 10000"/>
              <a:gd name="connsiteY241" fmla="*/ 5755 h 10000"/>
              <a:gd name="connsiteX242" fmla="*/ 1726 w 10000"/>
              <a:gd name="connsiteY242" fmla="*/ 5987 h 10000"/>
              <a:gd name="connsiteX243" fmla="*/ 1531 w 10000"/>
              <a:gd name="connsiteY243" fmla="*/ 6185 h 10000"/>
              <a:gd name="connsiteX244" fmla="*/ 1599 w 10000"/>
              <a:gd name="connsiteY244" fmla="*/ 6247 h 10000"/>
              <a:gd name="connsiteX245" fmla="*/ 1537 w 10000"/>
              <a:gd name="connsiteY245" fmla="*/ 6351 h 10000"/>
              <a:gd name="connsiteX246" fmla="*/ 1412 w 10000"/>
              <a:gd name="connsiteY246" fmla="*/ 6422 h 10000"/>
              <a:gd name="connsiteX247" fmla="*/ 915 w 10000"/>
              <a:gd name="connsiteY247" fmla="*/ 6477 h 10000"/>
              <a:gd name="connsiteX248" fmla="*/ 885 w 10000"/>
              <a:gd name="connsiteY248" fmla="*/ 6573 h 10000"/>
              <a:gd name="connsiteX249" fmla="*/ 617 w 10000"/>
              <a:gd name="connsiteY249" fmla="*/ 6716 h 10000"/>
              <a:gd name="connsiteX250" fmla="*/ 652 w 10000"/>
              <a:gd name="connsiteY250" fmla="*/ 6921 h 10000"/>
              <a:gd name="connsiteX251" fmla="*/ 427 w 10000"/>
              <a:gd name="connsiteY251" fmla="*/ 7184 h 10000"/>
              <a:gd name="connsiteX252" fmla="*/ 274 w 10000"/>
              <a:gd name="connsiteY252" fmla="*/ 7215 h 10000"/>
              <a:gd name="connsiteX253" fmla="*/ 210 w 10000"/>
              <a:gd name="connsiteY253" fmla="*/ 7152 h 10000"/>
              <a:gd name="connsiteX254" fmla="*/ 132 w 10000"/>
              <a:gd name="connsiteY254" fmla="*/ 7247 h 10000"/>
              <a:gd name="connsiteX255" fmla="*/ 183 w 10000"/>
              <a:gd name="connsiteY255" fmla="*/ 7084 h 10000"/>
              <a:gd name="connsiteX256" fmla="*/ 151 w 10000"/>
              <a:gd name="connsiteY256"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5098 w 10000"/>
              <a:gd name="connsiteY210" fmla="*/ 1750 h 10000"/>
              <a:gd name="connsiteX211" fmla="*/ 4837 w 10000"/>
              <a:gd name="connsiteY211" fmla="*/ 1818 h 10000"/>
              <a:gd name="connsiteX212" fmla="*/ 4671 w 10000"/>
              <a:gd name="connsiteY212" fmla="*/ 1814 h 10000"/>
              <a:gd name="connsiteX213" fmla="*/ 4571 w 10000"/>
              <a:gd name="connsiteY213" fmla="*/ 1838 h 10000"/>
              <a:gd name="connsiteX214" fmla="*/ 4298 w 10000"/>
              <a:gd name="connsiteY214" fmla="*/ 2503 h 10000"/>
              <a:gd name="connsiteX215" fmla="*/ 3668 w 10000"/>
              <a:gd name="connsiteY215" fmla="*/ 2891 h 10000"/>
              <a:gd name="connsiteX216" fmla="*/ 3672 w 10000"/>
              <a:gd name="connsiteY216" fmla="*/ 2952 h 10000"/>
              <a:gd name="connsiteX217" fmla="*/ 3952 w 10000"/>
              <a:gd name="connsiteY217" fmla="*/ 3126 h 10000"/>
              <a:gd name="connsiteX218" fmla="*/ 3861 w 10000"/>
              <a:gd name="connsiteY218" fmla="*/ 3314 h 10000"/>
              <a:gd name="connsiteX219" fmla="*/ 3698 w 10000"/>
              <a:gd name="connsiteY219" fmla="*/ 3383 h 10000"/>
              <a:gd name="connsiteX220" fmla="*/ 3208 w 10000"/>
              <a:gd name="connsiteY220" fmla="*/ 3337 h 10000"/>
              <a:gd name="connsiteX221" fmla="*/ 2871 w 10000"/>
              <a:gd name="connsiteY221" fmla="*/ 3363 h 10000"/>
              <a:gd name="connsiteX222" fmla="*/ 2601 w 10000"/>
              <a:gd name="connsiteY222" fmla="*/ 3419 h 10000"/>
              <a:gd name="connsiteX223" fmla="*/ 2163 w 10000"/>
              <a:gd name="connsiteY223" fmla="*/ 3592 h 10000"/>
              <a:gd name="connsiteX224" fmla="*/ 1931 w 10000"/>
              <a:gd name="connsiteY224" fmla="*/ 3802 h 10000"/>
              <a:gd name="connsiteX225" fmla="*/ 1951 w 10000"/>
              <a:gd name="connsiteY225" fmla="*/ 3919 h 10000"/>
              <a:gd name="connsiteX226" fmla="*/ 2032 w 10000"/>
              <a:gd name="connsiteY226" fmla="*/ 4009 h 10000"/>
              <a:gd name="connsiteX227" fmla="*/ 2093 w 10000"/>
              <a:gd name="connsiteY227" fmla="*/ 4045 h 10000"/>
              <a:gd name="connsiteX228" fmla="*/ 1979 w 10000"/>
              <a:gd name="connsiteY228" fmla="*/ 4103 h 10000"/>
              <a:gd name="connsiteX229" fmla="*/ 1731 w 10000"/>
              <a:gd name="connsiteY229" fmla="*/ 4497 h 10000"/>
              <a:gd name="connsiteX230" fmla="*/ 1779 w 10000"/>
              <a:gd name="connsiteY230" fmla="*/ 4520 h 10000"/>
              <a:gd name="connsiteX231" fmla="*/ 1815 w 10000"/>
              <a:gd name="connsiteY231" fmla="*/ 4620 h 10000"/>
              <a:gd name="connsiteX232" fmla="*/ 1700 w 10000"/>
              <a:gd name="connsiteY232" fmla="*/ 5035 h 10000"/>
              <a:gd name="connsiteX233" fmla="*/ 1815 w 10000"/>
              <a:gd name="connsiteY233" fmla="*/ 5141 h 10000"/>
              <a:gd name="connsiteX234" fmla="*/ 2131 w 10000"/>
              <a:gd name="connsiteY234" fmla="*/ 5257 h 10000"/>
              <a:gd name="connsiteX235" fmla="*/ 2145 w 10000"/>
              <a:gd name="connsiteY235" fmla="*/ 5399 h 10000"/>
              <a:gd name="connsiteX236" fmla="*/ 2010 w 10000"/>
              <a:gd name="connsiteY236" fmla="*/ 5517 h 10000"/>
              <a:gd name="connsiteX237" fmla="*/ 1815 w 10000"/>
              <a:gd name="connsiteY237" fmla="*/ 5588 h 10000"/>
              <a:gd name="connsiteX238" fmla="*/ 1557 w 10000"/>
              <a:gd name="connsiteY238" fmla="*/ 5617 h 10000"/>
              <a:gd name="connsiteX239" fmla="*/ 1490 w 10000"/>
              <a:gd name="connsiteY239" fmla="*/ 5658 h 10000"/>
              <a:gd name="connsiteX240" fmla="*/ 1640 w 10000"/>
              <a:gd name="connsiteY240" fmla="*/ 5755 h 10000"/>
              <a:gd name="connsiteX241" fmla="*/ 1726 w 10000"/>
              <a:gd name="connsiteY241" fmla="*/ 5987 h 10000"/>
              <a:gd name="connsiteX242" fmla="*/ 1531 w 10000"/>
              <a:gd name="connsiteY242" fmla="*/ 6185 h 10000"/>
              <a:gd name="connsiteX243" fmla="*/ 1599 w 10000"/>
              <a:gd name="connsiteY243" fmla="*/ 6247 h 10000"/>
              <a:gd name="connsiteX244" fmla="*/ 1537 w 10000"/>
              <a:gd name="connsiteY244" fmla="*/ 6351 h 10000"/>
              <a:gd name="connsiteX245" fmla="*/ 1412 w 10000"/>
              <a:gd name="connsiteY245" fmla="*/ 6422 h 10000"/>
              <a:gd name="connsiteX246" fmla="*/ 915 w 10000"/>
              <a:gd name="connsiteY246" fmla="*/ 6477 h 10000"/>
              <a:gd name="connsiteX247" fmla="*/ 885 w 10000"/>
              <a:gd name="connsiteY247" fmla="*/ 6573 h 10000"/>
              <a:gd name="connsiteX248" fmla="*/ 617 w 10000"/>
              <a:gd name="connsiteY248" fmla="*/ 6716 h 10000"/>
              <a:gd name="connsiteX249" fmla="*/ 652 w 10000"/>
              <a:gd name="connsiteY249" fmla="*/ 6921 h 10000"/>
              <a:gd name="connsiteX250" fmla="*/ 427 w 10000"/>
              <a:gd name="connsiteY250" fmla="*/ 7184 h 10000"/>
              <a:gd name="connsiteX251" fmla="*/ 274 w 10000"/>
              <a:gd name="connsiteY251" fmla="*/ 7215 h 10000"/>
              <a:gd name="connsiteX252" fmla="*/ 210 w 10000"/>
              <a:gd name="connsiteY252" fmla="*/ 7152 h 10000"/>
              <a:gd name="connsiteX253" fmla="*/ 132 w 10000"/>
              <a:gd name="connsiteY253" fmla="*/ 7247 h 10000"/>
              <a:gd name="connsiteX254" fmla="*/ 183 w 10000"/>
              <a:gd name="connsiteY254" fmla="*/ 7084 h 10000"/>
              <a:gd name="connsiteX255" fmla="*/ 151 w 10000"/>
              <a:gd name="connsiteY255"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5098 w 10000"/>
              <a:gd name="connsiteY209" fmla="*/ 1750 h 10000"/>
              <a:gd name="connsiteX210" fmla="*/ 4837 w 10000"/>
              <a:gd name="connsiteY210" fmla="*/ 1818 h 10000"/>
              <a:gd name="connsiteX211" fmla="*/ 4671 w 10000"/>
              <a:gd name="connsiteY211" fmla="*/ 1814 h 10000"/>
              <a:gd name="connsiteX212" fmla="*/ 4571 w 10000"/>
              <a:gd name="connsiteY212" fmla="*/ 1838 h 10000"/>
              <a:gd name="connsiteX213" fmla="*/ 4298 w 10000"/>
              <a:gd name="connsiteY213" fmla="*/ 2503 h 10000"/>
              <a:gd name="connsiteX214" fmla="*/ 3668 w 10000"/>
              <a:gd name="connsiteY214" fmla="*/ 2891 h 10000"/>
              <a:gd name="connsiteX215" fmla="*/ 3672 w 10000"/>
              <a:gd name="connsiteY215" fmla="*/ 2952 h 10000"/>
              <a:gd name="connsiteX216" fmla="*/ 3952 w 10000"/>
              <a:gd name="connsiteY216" fmla="*/ 3126 h 10000"/>
              <a:gd name="connsiteX217" fmla="*/ 3861 w 10000"/>
              <a:gd name="connsiteY217" fmla="*/ 3314 h 10000"/>
              <a:gd name="connsiteX218" fmla="*/ 3698 w 10000"/>
              <a:gd name="connsiteY218" fmla="*/ 3383 h 10000"/>
              <a:gd name="connsiteX219" fmla="*/ 3208 w 10000"/>
              <a:gd name="connsiteY219" fmla="*/ 3337 h 10000"/>
              <a:gd name="connsiteX220" fmla="*/ 2871 w 10000"/>
              <a:gd name="connsiteY220" fmla="*/ 3363 h 10000"/>
              <a:gd name="connsiteX221" fmla="*/ 2601 w 10000"/>
              <a:gd name="connsiteY221" fmla="*/ 3419 h 10000"/>
              <a:gd name="connsiteX222" fmla="*/ 2163 w 10000"/>
              <a:gd name="connsiteY222" fmla="*/ 3592 h 10000"/>
              <a:gd name="connsiteX223" fmla="*/ 1931 w 10000"/>
              <a:gd name="connsiteY223" fmla="*/ 3802 h 10000"/>
              <a:gd name="connsiteX224" fmla="*/ 1951 w 10000"/>
              <a:gd name="connsiteY224" fmla="*/ 3919 h 10000"/>
              <a:gd name="connsiteX225" fmla="*/ 2032 w 10000"/>
              <a:gd name="connsiteY225" fmla="*/ 4009 h 10000"/>
              <a:gd name="connsiteX226" fmla="*/ 2093 w 10000"/>
              <a:gd name="connsiteY226" fmla="*/ 4045 h 10000"/>
              <a:gd name="connsiteX227" fmla="*/ 1979 w 10000"/>
              <a:gd name="connsiteY227" fmla="*/ 4103 h 10000"/>
              <a:gd name="connsiteX228" fmla="*/ 1731 w 10000"/>
              <a:gd name="connsiteY228" fmla="*/ 4497 h 10000"/>
              <a:gd name="connsiteX229" fmla="*/ 1779 w 10000"/>
              <a:gd name="connsiteY229" fmla="*/ 4520 h 10000"/>
              <a:gd name="connsiteX230" fmla="*/ 1815 w 10000"/>
              <a:gd name="connsiteY230" fmla="*/ 4620 h 10000"/>
              <a:gd name="connsiteX231" fmla="*/ 1700 w 10000"/>
              <a:gd name="connsiteY231" fmla="*/ 5035 h 10000"/>
              <a:gd name="connsiteX232" fmla="*/ 1815 w 10000"/>
              <a:gd name="connsiteY232" fmla="*/ 5141 h 10000"/>
              <a:gd name="connsiteX233" fmla="*/ 2131 w 10000"/>
              <a:gd name="connsiteY233" fmla="*/ 5257 h 10000"/>
              <a:gd name="connsiteX234" fmla="*/ 2145 w 10000"/>
              <a:gd name="connsiteY234" fmla="*/ 5399 h 10000"/>
              <a:gd name="connsiteX235" fmla="*/ 2010 w 10000"/>
              <a:gd name="connsiteY235" fmla="*/ 5517 h 10000"/>
              <a:gd name="connsiteX236" fmla="*/ 1815 w 10000"/>
              <a:gd name="connsiteY236" fmla="*/ 5588 h 10000"/>
              <a:gd name="connsiteX237" fmla="*/ 1557 w 10000"/>
              <a:gd name="connsiteY237" fmla="*/ 5617 h 10000"/>
              <a:gd name="connsiteX238" fmla="*/ 1490 w 10000"/>
              <a:gd name="connsiteY238" fmla="*/ 5658 h 10000"/>
              <a:gd name="connsiteX239" fmla="*/ 1640 w 10000"/>
              <a:gd name="connsiteY239" fmla="*/ 5755 h 10000"/>
              <a:gd name="connsiteX240" fmla="*/ 1726 w 10000"/>
              <a:gd name="connsiteY240" fmla="*/ 5987 h 10000"/>
              <a:gd name="connsiteX241" fmla="*/ 1531 w 10000"/>
              <a:gd name="connsiteY241" fmla="*/ 6185 h 10000"/>
              <a:gd name="connsiteX242" fmla="*/ 1599 w 10000"/>
              <a:gd name="connsiteY242" fmla="*/ 6247 h 10000"/>
              <a:gd name="connsiteX243" fmla="*/ 1537 w 10000"/>
              <a:gd name="connsiteY243" fmla="*/ 6351 h 10000"/>
              <a:gd name="connsiteX244" fmla="*/ 1412 w 10000"/>
              <a:gd name="connsiteY244" fmla="*/ 6422 h 10000"/>
              <a:gd name="connsiteX245" fmla="*/ 915 w 10000"/>
              <a:gd name="connsiteY245" fmla="*/ 6477 h 10000"/>
              <a:gd name="connsiteX246" fmla="*/ 885 w 10000"/>
              <a:gd name="connsiteY246" fmla="*/ 6573 h 10000"/>
              <a:gd name="connsiteX247" fmla="*/ 617 w 10000"/>
              <a:gd name="connsiteY247" fmla="*/ 6716 h 10000"/>
              <a:gd name="connsiteX248" fmla="*/ 652 w 10000"/>
              <a:gd name="connsiteY248" fmla="*/ 6921 h 10000"/>
              <a:gd name="connsiteX249" fmla="*/ 427 w 10000"/>
              <a:gd name="connsiteY249" fmla="*/ 7184 h 10000"/>
              <a:gd name="connsiteX250" fmla="*/ 274 w 10000"/>
              <a:gd name="connsiteY250" fmla="*/ 7215 h 10000"/>
              <a:gd name="connsiteX251" fmla="*/ 210 w 10000"/>
              <a:gd name="connsiteY251" fmla="*/ 7152 h 10000"/>
              <a:gd name="connsiteX252" fmla="*/ 132 w 10000"/>
              <a:gd name="connsiteY252" fmla="*/ 7247 h 10000"/>
              <a:gd name="connsiteX253" fmla="*/ 183 w 10000"/>
              <a:gd name="connsiteY253" fmla="*/ 7084 h 10000"/>
              <a:gd name="connsiteX254" fmla="*/ 151 w 10000"/>
              <a:gd name="connsiteY254"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5098 w 10000"/>
              <a:gd name="connsiteY208" fmla="*/ 1750 h 10000"/>
              <a:gd name="connsiteX209" fmla="*/ 4837 w 10000"/>
              <a:gd name="connsiteY209" fmla="*/ 1818 h 10000"/>
              <a:gd name="connsiteX210" fmla="*/ 4671 w 10000"/>
              <a:gd name="connsiteY210" fmla="*/ 1814 h 10000"/>
              <a:gd name="connsiteX211" fmla="*/ 4571 w 10000"/>
              <a:gd name="connsiteY211" fmla="*/ 1838 h 10000"/>
              <a:gd name="connsiteX212" fmla="*/ 4298 w 10000"/>
              <a:gd name="connsiteY212" fmla="*/ 2503 h 10000"/>
              <a:gd name="connsiteX213" fmla="*/ 3668 w 10000"/>
              <a:gd name="connsiteY213" fmla="*/ 2891 h 10000"/>
              <a:gd name="connsiteX214" fmla="*/ 3672 w 10000"/>
              <a:gd name="connsiteY214" fmla="*/ 2952 h 10000"/>
              <a:gd name="connsiteX215" fmla="*/ 3952 w 10000"/>
              <a:gd name="connsiteY215" fmla="*/ 3126 h 10000"/>
              <a:gd name="connsiteX216" fmla="*/ 3861 w 10000"/>
              <a:gd name="connsiteY216" fmla="*/ 3314 h 10000"/>
              <a:gd name="connsiteX217" fmla="*/ 3698 w 10000"/>
              <a:gd name="connsiteY217" fmla="*/ 3383 h 10000"/>
              <a:gd name="connsiteX218" fmla="*/ 3208 w 10000"/>
              <a:gd name="connsiteY218" fmla="*/ 3337 h 10000"/>
              <a:gd name="connsiteX219" fmla="*/ 2871 w 10000"/>
              <a:gd name="connsiteY219" fmla="*/ 3363 h 10000"/>
              <a:gd name="connsiteX220" fmla="*/ 2601 w 10000"/>
              <a:gd name="connsiteY220" fmla="*/ 3419 h 10000"/>
              <a:gd name="connsiteX221" fmla="*/ 2163 w 10000"/>
              <a:gd name="connsiteY221" fmla="*/ 3592 h 10000"/>
              <a:gd name="connsiteX222" fmla="*/ 1931 w 10000"/>
              <a:gd name="connsiteY222" fmla="*/ 3802 h 10000"/>
              <a:gd name="connsiteX223" fmla="*/ 1951 w 10000"/>
              <a:gd name="connsiteY223" fmla="*/ 3919 h 10000"/>
              <a:gd name="connsiteX224" fmla="*/ 2032 w 10000"/>
              <a:gd name="connsiteY224" fmla="*/ 4009 h 10000"/>
              <a:gd name="connsiteX225" fmla="*/ 2093 w 10000"/>
              <a:gd name="connsiteY225" fmla="*/ 4045 h 10000"/>
              <a:gd name="connsiteX226" fmla="*/ 1979 w 10000"/>
              <a:gd name="connsiteY226" fmla="*/ 4103 h 10000"/>
              <a:gd name="connsiteX227" fmla="*/ 1731 w 10000"/>
              <a:gd name="connsiteY227" fmla="*/ 4497 h 10000"/>
              <a:gd name="connsiteX228" fmla="*/ 1779 w 10000"/>
              <a:gd name="connsiteY228" fmla="*/ 4520 h 10000"/>
              <a:gd name="connsiteX229" fmla="*/ 1815 w 10000"/>
              <a:gd name="connsiteY229" fmla="*/ 4620 h 10000"/>
              <a:gd name="connsiteX230" fmla="*/ 1700 w 10000"/>
              <a:gd name="connsiteY230" fmla="*/ 5035 h 10000"/>
              <a:gd name="connsiteX231" fmla="*/ 1815 w 10000"/>
              <a:gd name="connsiteY231" fmla="*/ 5141 h 10000"/>
              <a:gd name="connsiteX232" fmla="*/ 2131 w 10000"/>
              <a:gd name="connsiteY232" fmla="*/ 5257 h 10000"/>
              <a:gd name="connsiteX233" fmla="*/ 2145 w 10000"/>
              <a:gd name="connsiteY233" fmla="*/ 5399 h 10000"/>
              <a:gd name="connsiteX234" fmla="*/ 2010 w 10000"/>
              <a:gd name="connsiteY234" fmla="*/ 5517 h 10000"/>
              <a:gd name="connsiteX235" fmla="*/ 1815 w 10000"/>
              <a:gd name="connsiteY235" fmla="*/ 5588 h 10000"/>
              <a:gd name="connsiteX236" fmla="*/ 1557 w 10000"/>
              <a:gd name="connsiteY236" fmla="*/ 5617 h 10000"/>
              <a:gd name="connsiteX237" fmla="*/ 1490 w 10000"/>
              <a:gd name="connsiteY237" fmla="*/ 5658 h 10000"/>
              <a:gd name="connsiteX238" fmla="*/ 1640 w 10000"/>
              <a:gd name="connsiteY238" fmla="*/ 5755 h 10000"/>
              <a:gd name="connsiteX239" fmla="*/ 1726 w 10000"/>
              <a:gd name="connsiteY239" fmla="*/ 5987 h 10000"/>
              <a:gd name="connsiteX240" fmla="*/ 1531 w 10000"/>
              <a:gd name="connsiteY240" fmla="*/ 6185 h 10000"/>
              <a:gd name="connsiteX241" fmla="*/ 1599 w 10000"/>
              <a:gd name="connsiteY241" fmla="*/ 6247 h 10000"/>
              <a:gd name="connsiteX242" fmla="*/ 1537 w 10000"/>
              <a:gd name="connsiteY242" fmla="*/ 6351 h 10000"/>
              <a:gd name="connsiteX243" fmla="*/ 1412 w 10000"/>
              <a:gd name="connsiteY243" fmla="*/ 6422 h 10000"/>
              <a:gd name="connsiteX244" fmla="*/ 915 w 10000"/>
              <a:gd name="connsiteY244" fmla="*/ 6477 h 10000"/>
              <a:gd name="connsiteX245" fmla="*/ 885 w 10000"/>
              <a:gd name="connsiteY245" fmla="*/ 6573 h 10000"/>
              <a:gd name="connsiteX246" fmla="*/ 617 w 10000"/>
              <a:gd name="connsiteY246" fmla="*/ 6716 h 10000"/>
              <a:gd name="connsiteX247" fmla="*/ 652 w 10000"/>
              <a:gd name="connsiteY247" fmla="*/ 6921 h 10000"/>
              <a:gd name="connsiteX248" fmla="*/ 427 w 10000"/>
              <a:gd name="connsiteY248" fmla="*/ 7184 h 10000"/>
              <a:gd name="connsiteX249" fmla="*/ 274 w 10000"/>
              <a:gd name="connsiteY249" fmla="*/ 7215 h 10000"/>
              <a:gd name="connsiteX250" fmla="*/ 210 w 10000"/>
              <a:gd name="connsiteY250" fmla="*/ 7152 h 10000"/>
              <a:gd name="connsiteX251" fmla="*/ 132 w 10000"/>
              <a:gd name="connsiteY251" fmla="*/ 7247 h 10000"/>
              <a:gd name="connsiteX252" fmla="*/ 183 w 10000"/>
              <a:gd name="connsiteY252" fmla="*/ 7084 h 10000"/>
              <a:gd name="connsiteX253" fmla="*/ 151 w 10000"/>
              <a:gd name="connsiteY253" fmla="*/ 7052 h 10000"/>
              <a:gd name="connsiteX0" fmla="*/ 151 w 10000"/>
              <a:gd name="connsiteY0" fmla="*/ 5302 h 8250"/>
              <a:gd name="connsiteX1" fmla="*/ 0 w 10000"/>
              <a:gd name="connsiteY1" fmla="*/ 5387 h 8250"/>
              <a:gd name="connsiteX2" fmla="*/ 0 w 10000"/>
              <a:gd name="connsiteY2" fmla="*/ 5807 h 8250"/>
              <a:gd name="connsiteX3" fmla="*/ 83 w 10000"/>
              <a:gd name="connsiteY3" fmla="*/ 5819 h 8250"/>
              <a:gd name="connsiteX4" fmla="*/ 103 w 10000"/>
              <a:gd name="connsiteY4" fmla="*/ 5851 h 8250"/>
              <a:gd name="connsiteX5" fmla="*/ 99 w 10000"/>
              <a:gd name="connsiteY5" fmla="*/ 5908 h 8250"/>
              <a:gd name="connsiteX6" fmla="*/ 68 w 10000"/>
              <a:gd name="connsiteY6" fmla="*/ 5933 h 8250"/>
              <a:gd name="connsiteX7" fmla="*/ 195 w 10000"/>
              <a:gd name="connsiteY7" fmla="*/ 5885 h 8250"/>
              <a:gd name="connsiteX8" fmla="*/ 249 w 10000"/>
              <a:gd name="connsiteY8" fmla="*/ 5837 h 8250"/>
              <a:gd name="connsiteX9" fmla="*/ 315 w 10000"/>
              <a:gd name="connsiteY9" fmla="*/ 5870 h 8250"/>
              <a:gd name="connsiteX10" fmla="*/ 242 w 10000"/>
              <a:gd name="connsiteY10" fmla="*/ 5938 h 8250"/>
              <a:gd name="connsiteX11" fmla="*/ 320 w 10000"/>
              <a:gd name="connsiteY11" fmla="*/ 5940 h 8250"/>
              <a:gd name="connsiteX12" fmla="*/ 358 w 10000"/>
              <a:gd name="connsiteY12" fmla="*/ 5957 h 8250"/>
              <a:gd name="connsiteX13" fmla="*/ 257 w 10000"/>
              <a:gd name="connsiteY13" fmla="*/ 5980 h 8250"/>
              <a:gd name="connsiteX14" fmla="*/ 99 w 10000"/>
              <a:gd name="connsiteY14" fmla="*/ 6050 h 8250"/>
              <a:gd name="connsiteX15" fmla="*/ 381 w 10000"/>
              <a:gd name="connsiteY15" fmla="*/ 6105 h 8250"/>
              <a:gd name="connsiteX16" fmla="*/ 416 w 10000"/>
              <a:gd name="connsiteY16" fmla="*/ 6184 h 8250"/>
              <a:gd name="connsiteX17" fmla="*/ 320 w 10000"/>
              <a:gd name="connsiteY17" fmla="*/ 6300 h 8250"/>
              <a:gd name="connsiteX18" fmla="*/ 526 w 10000"/>
              <a:gd name="connsiteY18" fmla="*/ 6292 h 8250"/>
              <a:gd name="connsiteX19" fmla="*/ 541 w 10000"/>
              <a:gd name="connsiteY19" fmla="*/ 6380 h 8250"/>
              <a:gd name="connsiteX20" fmla="*/ 404 w 10000"/>
              <a:gd name="connsiteY20" fmla="*/ 6439 h 8250"/>
              <a:gd name="connsiteX21" fmla="*/ 427 w 10000"/>
              <a:gd name="connsiteY21" fmla="*/ 6555 h 8250"/>
              <a:gd name="connsiteX22" fmla="*/ 374 w 10000"/>
              <a:gd name="connsiteY22" fmla="*/ 6644 h 8250"/>
              <a:gd name="connsiteX23" fmla="*/ 536 w 10000"/>
              <a:gd name="connsiteY23" fmla="*/ 6652 h 8250"/>
              <a:gd name="connsiteX24" fmla="*/ 695 w 10000"/>
              <a:gd name="connsiteY24" fmla="*/ 6994 h 8250"/>
              <a:gd name="connsiteX25" fmla="*/ 878 w 10000"/>
              <a:gd name="connsiteY25" fmla="*/ 7081 h 8250"/>
              <a:gd name="connsiteX26" fmla="*/ 958 w 10000"/>
              <a:gd name="connsiteY26" fmla="*/ 7173 h 8250"/>
              <a:gd name="connsiteX27" fmla="*/ 1157 w 10000"/>
              <a:gd name="connsiteY27" fmla="*/ 7240 h 8250"/>
              <a:gd name="connsiteX28" fmla="*/ 1285 w 10000"/>
              <a:gd name="connsiteY28" fmla="*/ 7327 h 8250"/>
              <a:gd name="connsiteX29" fmla="*/ 1269 w 10000"/>
              <a:gd name="connsiteY29" fmla="*/ 7388 h 8250"/>
              <a:gd name="connsiteX30" fmla="*/ 1142 w 10000"/>
              <a:gd name="connsiteY30" fmla="*/ 7411 h 8250"/>
              <a:gd name="connsiteX31" fmla="*/ 1004 w 10000"/>
              <a:gd name="connsiteY31" fmla="*/ 7396 h 8250"/>
              <a:gd name="connsiteX32" fmla="*/ 962 w 10000"/>
              <a:gd name="connsiteY32" fmla="*/ 7422 h 8250"/>
              <a:gd name="connsiteX33" fmla="*/ 1067 w 10000"/>
              <a:gd name="connsiteY33" fmla="*/ 7555 h 8250"/>
              <a:gd name="connsiteX34" fmla="*/ 920 w 10000"/>
              <a:gd name="connsiteY34" fmla="*/ 7544 h 8250"/>
              <a:gd name="connsiteX35" fmla="*/ 795 w 10000"/>
              <a:gd name="connsiteY35" fmla="*/ 7512 h 8250"/>
              <a:gd name="connsiteX36" fmla="*/ 772 w 10000"/>
              <a:gd name="connsiteY36" fmla="*/ 7561 h 8250"/>
              <a:gd name="connsiteX37" fmla="*/ 1188 w 10000"/>
              <a:gd name="connsiteY37" fmla="*/ 8017 h 8250"/>
              <a:gd name="connsiteX38" fmla="*/ 1122 w 10000"/>
              <a:gd name="connsiteY38" fmla="*/ 8060 h 8250"/>
              <a:gd name="connsiteX39" fmla="*/ 1075 w 10000"/>
              <a:gd name="connsiteY39" fmla="*/ 8148 h 8250"/>
              <a:gd name="connsiteX40" fmla="*/ 1015 w 10000"/>
              <a:gd name="connsiteY40" fmla="*/ 8155 h 8250"/>
              <a:gd name="connsiteX41" fmla="*/ 978 w 10000"/>
              <a:gd name="connsiteY41" fmla="*/ 8193 h 8250"/>
              <a:gd name="connsiteX42" fmla="*/ 1229 w 10000"/>
              <a:gd name="connsiteY42" fmla="*/ 8197 h 8250"/>
              <a:gd name="connsiteX43" fmla="*/ 1451 w 10000"/>
              <a:gd name="connsiteY43" fmla="*/ 8235 h 8250"/>
              <a:gd name="connsiteX44" fmla="*/ 1820 w 10000"/>
              <a:gd name="connsiteY44" fmla="*/ 8195 h 8250"/>
              <a:gd name="connsiteX45" fmla="*/ 2151 w 10000"/>
              <a:gd name="connsiteY45" fmla="*/ 8201 h 8250"/>
              <a:gd name="connsiteX46" fmla="*/ 2346 w 10000"/>
              <a:gd name="connsiteY46" fmla="*/ 8250 h 8250"/>
              <a:gd name="connsiteX47" fmla="*/ 2454 w 10000"/>
              <a:gd name="connsiteY47" fmla="*/ 8218 h 8250"/>
              <a:gd name="connsiteX48" fmla="*/ 2557 w 10000"/>
              <a:gd name="connsiteY48" fmla="*/ 8113 h 8250"/>
              <a:gd name="connsiteX49" fmla="*/ 2530 w 10000"/>
              <a:gd name="connsiteY49" fmla="*/ 7941 h 8250"/>
              <a:gd name="connsiteX50" fmla="*/ 2782 w 10000"/>
              <a:gd name="connsiteY50" fmla="*/ 7748 h 8250"/>
              <a:gd name="connsiteX51" fmla="*/ 2966 w 10000"/>
              <a:gd name="connsiteY51" fmla="*/ 7778 h 8250"/>
              <a:gd name="connsiteX52" fmla="*/ 3073 w 10000"/>
              <a:gd name="connsiteY52" fmla="*/ 7701 h 8250"/>
              <a:gd name="connsiteX53" fmla="*/ 3278 w 10000"/>
              <a:gd name="connsiteY53" fmla="*/ 7658 h 8250"/>
              <a:gd name="connsiteX54" fmla="*/ 3557 w 10000"/>
              <a:gd name="connsiteY54" fmla="*/ 7668 h 8250"/>
              <a:gd name="connsiteX55" fmla="*/ 3724 w 10000"/>
              <a:gd name="connsiteY55" fmla="*/ 7699 h 8250"/>
              <a:gd name="connsiteX56" fmla="*/ 3948 w 10000"/>
              <a:gd name="connsiteY56" fmla="*/ 7685 h 8250"/>
              <a:gd name="connsiteX57" fmla="*/ 4173 w 10000"/>
              <a:gd name="connsiteY57" fmla="*/ 7719 h 8250"/>
              <a:gd name="connsiteX58" fmla="*/ 4398 w 10000"/>
              <a:gd name="connsiteY58" fmla="*/ 7723 h 8250"/>
              <a:gd name="connsiteX59" fmla="*/ 4902 w 10000"/>
              <a:gd name="connsiteY59" fmla="*/ 7274 h 8250"/>
              <a:gd name="connsiteX60" fmla="*/ 5030 w 10000"/>
              <a:gd name="connsiteY60" fmla="*/ 6909 h 8250"/>
              <a:gd name="connsiteX61" fmla="*/ 5235 w 10000"/>
              <a:gd name="connsiteY61" fmla="*/ 6746 h 8250"/>
              <a:gd name="connsiteX62" fmla="*/ 5235 w 10000"/>
              <a:gd name="connsiteY62" fmla="*/ 6660 h 8250"/>
              <a:gd name="connsiteX63" fmla="*/ 5160 w 10000"/>
              <a:gd name="connsiteY63" fmla="*/ 6612 h 8250"/>
              <a:gd name="connsiteX64" fmla="*/ 5281 w 10000"/>
              <a:gd name="connsiteY64" fmla="*/ 6536 h 8250"/>
              <a:gd name="connsiteX65" fmla="*/ 5259 w 10000"/>
              <a:gd name="connsiteY65" fmla="*/ 6471 h 8250"/>
              <a:gd name="connsiteX66" fmla="*/ 5177 w 10000"/>
              <a:gd name="connsiteY66" fmla="*/ 6415 h 8250"/>
              <a:gd name="connsiteX67" fmla="*/ 5160 w 10000"/>
              <a:gd name="connsiteY67" fmla="*/ 6376 h 8250"/>
              <a:gd name="connsiteX68" fmla="*/ 5181 w 10000"/>
              <a:gd name="connsiteY68" fmla="*/ 6345 h 8250"/>
              <a:gd name="connsiteX69" fmla="*/ 5292 w 10000"/>
              <a:gd name="connsiteY69" fmla="*/ 6370 h 8250"/>
              <a:gd name="connsiteX70" fmla="*/ 5381 w 10000"/>
              <a:gd name="connsiteY70" fmla="*/ 6368 h 8250"/>
              <a:gd name="connsiteX71" fmla="*/ 5333 w 10000"/>
              <a:gd name="connsiteY71" fmla="*/ 6315 h 8250"/>
              <a:gd name="connsiteX72" fmla="*/ 5348 w 10000"/>
              <a:gd name="connsiteY72" fmla="*/ 6286 h 8250"/>
              <a:gd name="connsiteX73" fmla="*/ 5414 w 10000"/>
              <a:gd name="connsiteY73" fmla="*/ 6241 h 8250"/>
              <a:gd name="connsiteX74" fmla="*/ 5401 w 10000"/>
              <a:gd name="connsiteY74" fmla="*/ 6205 h 8250"/>
              <a:gd name="connsiteX75" fmla="*/ 5462 w 10000"/>
              <a:gd name="connsiteY75" fmla="*/ 6083 h 8250"/>
              <a:gd name="connsiteX76" fmla="*/ 5445 w 10000"/>
              <a:gd name="connsiteY76" fmla="*/ 6045 h 8250"/>
              <a:gd name="connsiteX77" fmla="*/ 5140 w 10000"/>
              <a:gd name="connsiteY77" fmla="*/ 5953 h 8250"/>
              <a:gd name="connsiteX78" fmla="*/ 5181 w 10000"/>
              <a:gd name="connsiteY78" fmla="*/ 5949 h 8250"/>
              <a:gd name="connsiteX79" fmla="*/ 5344 w 10000"/>
              <a:gd name="connsiteY79" fmla="*/ 5974 h 8250"/>
              <a:gd name="connsiteX80" fmla="*/ 5520 w 10000"/>
              <a:gd name="connsiteY80" fmla="*/ 5965 h 8250"/>
              <a:gd name="connsiteX81" fmla="*/ 5571 w 10000"/>
              <a:gd name="connsiteY81" fmla="*/ 5931 h 8250"/>
              <a:gd name="connsiteX82" fmla="*/ 5401 w 10000"/>
              <a:gd name="connsiteY82" fmla="*/ 5868 h 8250"/>
              <a:gd name="connsiteX83" fmla="*/ 4898 w 10000"/>
              <a:gd name="connsiteY83" fmla="*/ 5826 h 8250"/>
              <a:gd name="connsiteX84" fmla="*/ 4932 w 10000"/>
              <a:gd name="connsiteY84" fmla="*/ 5807 h 8250"/>
              <a:gd name="connsiteX85" fmla="*/ 5344 w 10000"/>
              <a:gd name="connsiteY85" fmla="*/ 5794 h 8250"/>
              <a:gd name="connsiteX86" fmla="*/ 5571 w 10000"/>
              <a:gd name="connsiteY86" fmla="*/ 5832 h 8250"/>
              <a:gd name="connsiteX87" fmla="*/ 5702 w 10000"/>
              <a:gd name="connsiteY87" fmla="*/ 5807 h 8250"/>
              <a:gd name="connsiteX88" fmla="*/ 5750 w 10000"/>
              <a:gd name="connsiteY88" fmla="*/ 5741 h 8250"/>
              <a:gd name="connsiteX89" fmla="*/ 5987 w 10000"/>
              <a:gd name="connsiteY89" fmla="*/ 5741 h 8250"/>
              <a:gd name="connsiteX90" fmla="*/ 6308 w 10000"/>
              <a:gd name="connsiteY90" fmla="*/ 5609 h 8250"/>
              <a:gd name="connsiteX91" fmla="*/ 6319 w 10000"/>
              <a:gd name="connsiteY91" fmla="*/ 5522 h 8250"/>
              <a:gd name="connsiteX92" fmla="*/ 6455 w 10000"/>
              <a:gd name="connsiteY92" fmla="*/ 5542 h 8250"/>
              <a:gd name="connsiteX93" fmla="*/ 6449 w 10000"/>
              <a:gd name="connsiteY93" fmla="*/ 5630 h 8250"/>
              <a:gd name="connsiteX94" fmla="*/ 6665 w 10000"/>
              <a:gd name="connsiteY94" fmla="*/ 5624 h 8250"/>
              <a:gd name="connsiteX95" fmla="*/ 6807 w 10000"/>
              <a:gd name="connsiteY95" fmla="*/ 5533 h 8250"/>
              <a:gd name="connsiteX96" fmla="*/ 7070 w 10000"/>
              <a:gd name="connsiteY96" fmla="*/ 5451 h 8250"/>
              <a:gd name="connsiteX97" fmla="*/ 7029 w 10000"/>
              <a:gd name="connsiteY97" fmla="*/ 5357 h 8250"/>
              <a:gd name="connsiteX98" fmla="*/ 7107 w 10000"/>
              <a:gd name="connsiteY98" fmla="*/ 5394 h 8250"/>
              <a:gd name="connsiteX99" fmla="*/ 7227 w 10000"/>
              <a:gd name="connsiteY99" fmla="*/ 5394 h 8250"/>
              <a:gd name="connsiteX100" fmla="*/ 7227 w 10000"/>
              <a:gd name="connsiteY100" fmla="*/ 5351 h 8250"/>
              <a:gd name="connsiteX101" fmla="*/ 7340 w 10000"/>
              <a:gd name="connsiteY101" fmla="*/ 5318 h 8250"/>
              <a:gd name="connsiteX102" fmla="*/ 7324 w 10000"/>
              <a:gd name="connsiteY102" fmla="*/ 5284 h 8250"/>
              <a:gd name="connsiteX103" fmla="*/ 6377 w 10000"/>
              <a:gd name="connsiteY103" fmla="*/ 5353 h 8250"/>
              <a:gd name="connsiteX104" fmla="*/ 6155 w 10000"/>
              <a:gd name="connsiteY104" fmla="*/ 5332 h 8250"/>
              <a:gd name="connsiteX105" fmla="*/ 6065 w 10000"/>
              <a:gd name="connsiteY105" fmla="*/ 5357 h 8250"/>
              <a:gd name="connsiteX106" fmla="*/ 6035 w 10000"/>
              <a:gd name="connsiteY106" fmla="*/ 5310 h 8250"/>
              <a:gd name="connsiteX107" fmla="*/ 5930 w 10000"/>
              <a:gd name="connsiteY107" fmla="*/ 5267 h 8250"/>
              <a:gd name="connsiteX108" fmla="*/ 5508 w 10000"/>
              <a:gd name="connsiteY108" fmla="*/ 5183 h 8250"/>
              <a:gd name="connsiteX109" fmla="*/ 5259 w 10000"/>
              <a:gd name="connsiteY109" fmla="*/ 5196 h 8250"/>
              <a:gd name="connsiteX110" fmla="*/ 5160 w 10000"/>
              <a:gd name="connsiteY110" fmla="*/ 5173 h 8250"/>
              <a:gd name="connsiteX111" fmla="*/ 5265 w 10000"/>
              <a:gd name="connsiteY111" fmla="*/ 5152 h 8250"/>
              <a:gd name="connsiteX112" fmla="*/ 5344 w 10000"/>
              <a:gd name="connsiteY112" fmla="*/ 5107 h 8250"/>
              <a:gd name="connsiteX113" fmla="*/ 5462 w 10000"/>
              <a:gd name="connsiteY113" fmla="*/ 5122 h 8250"/>
              <a:gd name="connsiteX114" fmla="*/ 5602 w 10000"/>
              <a:gd name="connsiteY114" fmla="*/ 5109 h 8250"/>
              <a:gd name="connsiteX115" fmla="*/ 5813 w 10000"/>
              <a:gd name="connsiteY115" fmla="*/ 5124 h 8250"/>
              <a:gd name="connsiteX116" fmla="*/ 5838 w 10000"/>
              <a:gd name="connsiteY116" fmla="*/ 5118 h 8250"/>
              <a:gd name="connsiteX117" fmla="*/ 6002 w 10000"/>
              <a:gd name="connsiteY117" fmla="*/ 5187 h 8250"/>
              <a:gd name="connsiteX118" fmla="*/ 6122 w 10000"/>
              <a:gd name="connsiteY118" fmla="*/ 5162 h 8250"/>
              <a:gd name="connsiteX119" fmla="*/ 6133 w 10000"/>
              <a:gd name="connsiteY119" fmla="*/ 5139 h 8250"/>
              <a:gd name="connsiteX120" fmla="*/ 6244 w 10000"/>
              <a:gd name="connsiteY120" fmla="*/ 5179 h 8250"/>
              <a:gd name="connsiteX121" fmla="*/ 6391 w 10000"/>
              <a:gd name="connsiteY121" fmla="*/ 5201 h 8250"/>
              <a:gd name="connsiteX122" fmla="*/ 6449 w 10000"/>
              <a:gd name="connsiteY122" fmla="*/ 5160 h 8250"/>
              <a:gd name="connsiteX123" fmla="*/ 6496 w 10000"/>
              <a:gd name="connsiteY123" fmla="*/ 5183 h 8250"/>
              <a:gd name="connsiteX124" fmla="*/ 6565 w 10000"/>
              <a:gd name="connsiteY124" fmla="*/ 5261 h 8250"/>
              <a:gd name="connsiteX125" fmla="*/ 6707 w 10000"/>
              <a:gd name="connsiteY125" fmla="*/ 5279 h 8250"/>
              <a:gd name="connsiteX126" fmla="*/ 7286 w 10000"/>
              <a:gd name="connsiteY126" fmla="*/ 5164 h 8250"/>
              <a:gd name="connsiteX127" fmla="*/ 7571 w 10000"/>
              <a:gd name="connsiteY127" fmla="*/ 5003 h 8250"/>
              <a:gd name="connsiteX128" fmla="*/ 7637 w 10000"/>
              <a:gd name="connsiteY128" fmla="*/ 4885 h 8250"/>
              <a:gd name="connsiteX129" fmla="*/ 7534 w 10000"/>
              <a:gd name="connsiteY129" fmla="*/ 4778 h 8250"/>
              <a:gd name="connsiteX130" fmla="*/ 7318 w 10000"/>
              <a:gd name="connsiteY130" fmla="*/ 4715 h 8250"/>
              <a:gd name="connsiteX131" fmla="*/ 7164 w 10000"/>
              <a:gd name="connsiteY131" fmla="*/ 4611 h 8250"/>
              <a:gd name="connsiteX132" fmla="*/ 7307 w 10000"/>
              <a:gd name="connsiteY132" fmla="*/ 4607 h 8250"/>
              <a:gd name="connsiteX133" fmla="*/ 7297 w 10000"/>
              <a:gd name="connsiteY133" fmla="*/ 4582 h 8250"/>
              <a:gd name="connsiteX134" fmla="*/ 6925 w 10000"/>
              <a:gd name="connsiteY134" fmla="*/ 4509 h 8250"/>
              <a:gd name="connsiteX135" fmla="*/ 6909 w 10000"/>
              <a:gd name="connsiteY135" fmla="*/ 4441 h 8250"/>
              <a:gd name="connsiteX136" fmla="*/ 6837 w 10000"/>
              <a:gd name="connsiteY136" fmla="*/ 4372 h 8250"/>
              <a:gd name="connsiteX137" fmla="*/ 6543 w 10000"/>
              <a:gd name="connsiteY137" fmla="*/ 4384 h 8250"/>
              <a:gd name="connsiteX138" fmla="*/ 6438 w 10000"/>
              <a:gd name="connsiteY138" fmla="*/ 4310 h 8250"/>
              <a:gd name="connsiteX139" fmla="*/ 6377 w 10000"/>
              <a:gd name="connsiteY139" fmla="*/ 4306 h 8250"/>
              <a:gd name="connsiteX140" fmla="*/ 6377 w 10000"/>
              <a:gd name="connsiteY140" fmla="*/ 4336 h 8250"/>
              <a:gd name="connsiteX141" fmla="*/ 6244 w 10000"/>
              <a:gd name="connsiteY141" fmla="*/ 4462 h 8250"/>
              <a:gd name="connsiteX142" fmla="*/ 6101 w 10000"/>
              <a:gd name="connsiteY142" fmla="*/ 4536 h 8250"/>
              <a:gd name="connsiteX143" fmla="*/ 5653 w 10000"/>
              <a:gd name="connsiteY143" fmla="*/ 4662 h 8250"/>
              <a:gd name="connsiteX144" fmla="*/ 5496 w 10000"/>
              <a:gd name="connsiteY144" fmla="*/ 4658 h 8250"/>
              <a:gd name="connsiteX145" fmla="*/ 5281 w 10000"/>
              <a:gd name="connsiteY145" fmla="*/ 4677 h 8250"/>
              <a:gd name="connsiteX146" fmla="*/ 5160 w 10000"/>
              <a:gd name="connsiteY146" fmla="*/ 4658 h 8250"/>
              <a:gd name="connsiteX147" fmla="*/ 5318 w 10000"/>
              <a:gd name="connsiteY147" fmla="*/ 4623 h 8250"/>
              <a:gd name="connsiteX148" fmla="*/ 5524 w 10000"/>
              <a:gd name="connsiteY148" fmla="*/ 4607 h 8250"/>
              <a:gd name="connsiteX149" fmla="*/ 5693 w 10000"/>
              <a:gd name="connsiteY149" fmla="*/ 4548 h 8250"/>
              <a:gd name="connsiteX150" fmla="*/ 5859 w 10000"/>
              <a:gd name="connsiteY150" fmla="*/ 4521 h 8250"/>
              <a:gd name="connsiteX151" fmla="*/ 6171 w 10000"/>
              <a:gd name="connsiteY151" fmla="*/ 4418 h 8250"/>
              <a:gd name="connsiteX152" fmla="*/ 6230 w 10000"/>
              <a:gd name="connsiteY152" fmla="*/ 4351 h 8250"/>
              <a:gd name="connsiteX153" fmla="*/ 6235 w 10000"/>
              <a:gd name="connsiteY153" fmla="*/ 4264 h 8250"/>
              <a:gd name="connsiteX154" fmla="*/ 6092 w 10000"/>
              <a:gd name="connsiteY154" fmla="*/ 4249 h 8250"/>
              <a:gd name="connsiteX155" fmla="*/ 6155 w 10000"/>
              <a:gd name="connsiteY155" fmla="*/ 4196 h 8250"/>
              <a:gd name="connsiteX156" fmla="*/ 6175 w 10000"/>
              <a:gd name="connsiteY156" fmla="*/ 4129 h 8250"/>
              <a:gd name="connsiteX157" fmla="*/ 6115 w 10000"/>
              <a:gd name="connsiteY157" fmla="*/ 4066 h 8250"/>
              <a:gd name="connsiteX158" fmla="*/ 6081 w 10000"/>
              <a:gd name="connsiteY158" fmla="*/ 3603 h 8250"/>
              <a:gd name="connsiteX159" fmla="*/ 6166 w 10000"/>
              <a:gd name="connsiteY159" fmla="*/ 3503 h 8250"/>
              <a:gd name="connsiteX160" fmla="*/ 6144 w 10000"/>
              <a:gd name="connsiteY160" fmla="*/ 3463 h 8250"/>
              <a:gd name="connsiteX161" fmla="*/ 6391 w 10000"/>
              <a:gd name="connsiteY161" fmla="*/ 3522 h 8250"/>
              <a:gd name="connsiteX162" fmla="*/ 6408 w 10000"/>
              <a:gd name="connsiteY162" fmla="*/ 3467 h 8250"/>
              <a:gd name="connsiteX163" fmla="*/ 6354 w 10000"/>
              <a:gd name="connsiteY163" fmla="*/ 3324 h 8250"/>
              <a:gd name="connsiteX164" fmla="*/ 6532 w 10000"/>
              <a:gd name="connsiteY164" fmla="*/ 3068 h 8250"/>
              <a:gd name="connsiteX165" fmla="*/ 6423 w 10000"/>
              <a:gd name="connsiteY165" fmla="*/ 3007 h 8250"/>
              <a:gd name="connsiteX166" fmla="*/ 6381 w 10000"/>
              <a:gd name="connsiteY166" fmla="*/ 2950 h 8250"/>
              <a:gd name="connsiteX167" fmla="*/ 6395 w 10000"/>
              <a:gd name="connsiteY167" fmla="*/ 2857 h 8250"/>
              <a:gd name="connsiteX168" fmla="*/ 6656 w 10000"/>
              <a:gd name="connsiteY168" fmla="*/ 2919 h 8250"/>
              <a:gd name="connsiteX169" fmla="*/ 6665 w 10000"/>
              <a:gd name="connsiteY169" fmla="*/ 2901 h 8250"/>
              <a:gd name="connsiteX170" fmla="*/ 6737 w 10000"/>
              <a:gd name="connsiteY170" fmla="*/ 2885 h 8250"/>
              <a:gd name="connsiteX171" fmla="*/ 6837 w 10000"/>
              <a:gd name="connsiteY171" fmla="*/ 2825 h 8250"/>
              <a:gd name="connsiteX172" fmla="*/ 6854 w 10000"/>
              <a:gd name="connsiteY172" fmla="*/ 2808 h 8250"/>
              <a:gd name="connsiteX173" fmla="*/ 6832 w 10000"/>
              <a:gd name="connsiteY173" fmla="*/ 2786 h 8250"/>
              <a:gd name="connsiteX174" fmla="*/ 6886 w 10000"/>
              <a:gd name="connsiteY174" fmla="*/ 2681 h 8250"/>
              <a:gd name="connsiteX175" fmla="*/ 6822 w 10000"/>
              <a:gd name="connsiteY175" fmla="*/ 2613 h 8250"/>
              <a:gd name="connsiteX176" fmla="*/ 6832 w 10000"/>
              <a:gd name="connsiteY176" fmla="*/ 2558 h 8250"/>
              <a:gd name="connsiteX177" fmla="*/ 6868 w 10000"/>
              <a:gd name="connsiteY177" fmla="*/ 2622 h 8250"/>
              <a:gd name="connsiteX178" fmla="*/ 7011 w 10000"/>
              <a:gd name="connsiteY178" fmla="*/ 2670 h 8250"/>
              <a:gd name="connsiteX179" fmla="*/ 7070 w 10000"/>
              <a:gd name="connsiteY179" fmla="*/ 2664 h 8250"/>
              <a:gd name="connsiteX180" fmla="*/ 7164 w 10000"/>
              <a:gd name="connsiteY180" fmla="*/ 2600 h 8250"/>
              <a:gd name="connsiteX181" fmla="*/ 7265 w 10000"/>
              <a:gd name="connsiteY181" fmla="*/ 2626 h 8250"/>
              <a:gd name="connsiteX182" fmla="*/ 7292 w 10000"/>
              <a:gd name="connsiteY182" fmla="*/ 2576 h 8250"/>
              <a:gd name="connsiteX183" fmla="*/ 7360 w 10000"/>
              <a:gd name="connsiteY183" fmla="*/ 2541 h 8250"/>
              <a:gd name="connsiteX184" fmla="*/ 7175 w 10000"/>
              <a:gd name="connsiteY184" fmla="*/ 2505 h 8250"/>
              <a:gd name="connsiteX185" fmla="*/ 7307 w 10000"/>
              <a:gd name="connsiteY185" fmla="*/ 2512 h 8250"/>
              <a:gd name="connsiteX186" fmla="*/ 7442 w 10000"/>
              <a:gd name="connsiteY186" fmla="*/ 2474 h 8250"/>
              <a:gd name="connsiteX187" fmla="*/ 7437 w 10000"/>
              <a:gd name="connsiteY187" fmla="*/ 2447 h 8250"/>
              <a:gd name="connsiteX188" fmla="*/ 7565 w 10000"/>
              <a:gd name="connsiteY188" fmla="*/ 2422 h 8250"/>
              <a:gd name="connsiteX189" fmla="*/ 7576 w 10000"/>
              <a:gd name="connsiteY189" fmla="*/ 2359 h 8250"/>
              <a:gd name="connsiteX190" fmla="*/ 7676 w 10000"/>
              <a:gd name="connsiteY190" fmla="*/ 2346 h 8250"/>
              <a:gd name="connsiteX191" fmla="*/ 7684 w 10000"/>
              <a:gd name="connsiteY191" fmla="*/ 2272 h 8250"/>
              <a:gd name="connsiteX192" fmla="*/ 7790 w 10000"/>
              <a:gd name="connsiteY192" fmla="*/ 2263 h 8250"/>
              <a:gd name="connsiteX193" fmla="*/ 7953 w 10000"/>
              <a:gd name="connsiteY193" fmla="*/ 2279 h 8250"/>
              <a:gd name="connsiteX194" fmla="*/ 8132 w 10000"/>
              <a:gd name="connsiteY194" fmla="*/ 2219 h 8250"/>
              <a:gd name="connsiteX195" fmla="*/ 8195 w 10000"/>
              <a:gd name="connsiteY195" fmla="*/ 2151 h 8250"/>
              <a:gd name="connsiteX196" fmla="*/ 8417 w 10000"/>
              <a:gd name="connsiteY196" fmla="*/ 2082 h 8250"/>
              <a:gd name="connsiteX197" fmla="*/ 8527 w 10000"/>
              <a:gd name="connsiteY197" fmla="*/ 2124 h 8250"/>
              <a:gd name="connsiteX198" fmla="*/ 8695 w 10000"/>
              <a:gd name="connsiteY198" fmla="*/ 2078 h 8250"/>
              <a:gd name="connsiteX199" fmla="*/ 8736 w 10000"/>
              <a:gd name="connsiteY199" fmla="*/ 2017 h 8250"/>
              <a:gd name="connsiteX200" fmla="*/ 8864 w 10000"/>
              <a:gd name="connsiteY200" fmla="*/ 1977 h 8250"/>
              <a:gd name="connsiteX201" fmla="*/ 8973 w 10000"/>
              <a:gd name="connsiteY201" fmla="*/ 1995 h 8250"/>
              <a:gd name="connsiteX202" fmla="*/ 9042 w 10000"/>
              <a:gd name="connsiteY202" fmla="*/ 1964 h 8250"/>
              <a:gd name="connsiteX203" fmla="*/ 9231 w 10000"/>
              <a:gd name="connsiteY203" fmla="*/ 1922 h 8250"/>
              <a:gd name="connsiteX204" fmla="*/ 9310 w 10000"/>
              <a:gd name="connsiteY204" fmla="*/ 1867 h 8250"/>
              <a:gd name="connsiteX205" fmla="*/ 9417 w 10000"/>
              <a:gd name="connsiteY205" fmla="*/ 1844 h 8250"/>
              <a:gd name="connsiteX206" fmla="*/ 10000 w 10000"/>
              <a:gd name="connsiteY206" fmla="*/ 1511 h 8250"/>
              <a:gd name="connsiteX207" fmla="*/ 5098 w 10000"/>
              <a:gd name="connsiteY207" fmla="*/ 0 h 8250"/>
              <a:gd name="connsiteX208" fmla="*/ 4837 w 10000"/>
              <a:gd name="connsiteY208" fmla="*/ 68 h 8250"/>
              <a:gd name="connsiteX209" fmla="*/ 4671 w 10000"/>
              <a:gd name="connsiteY209" fmla="*/ 64 h 8250"/>
              <a:gd name="connsiteX210" fmla="*/ 4571 w 10000"/>
              <a:gd name="connsiteY210" fmla="*/ 88 h 8250"/>
              <a:gd name="connsiteX211" fmla="*/ 4298 w 10000"/>
              <a:gd name="connsiteY211" fmla="*/ 753 h 8250"/>
              <a:gd name="connsiteX212" fmla="*/ 3668 w 10000"/>
              <a:gd name="connsiteY212" fmla="*/ 1141 h 8250"/>
              <a:gd name="connsiteX213" fmla="*/ 3672 w 10000"/>
              <a:gd name="connsiteY213" fmla="*/ 1202 h 8250"/>
              <a:gd name="connsiteX214" fmla="*/ 3952 w 10000"/>
              <a:gd name="connsiteY214" fmla="*/ 1376 h 8250"/>
              <a:gd name="connsiteX215" fmla="*/ 3861 w 10000"/>
              <a:gd name="connsiteY215" fmla="*/ 1564 h 8250"/>
              <a:gd name="connsiteX216" fmla="*/ 3698 w 10000"/>
              <a:gd name="connsiteY216" fmla="*/ 1633 h 8250"/>
              <a:gd name="connsiteX217" fmla="*/ 3208 w 10000"/>
              <a:gd name="connsiteY217" fmla="*/ 1587 h 8250"/>
              <a:gd name="connsiteX218" fmla="*/ 2871 w 10000"/>
              <a:gd name="connsiteY218" fmla="*/ 1613 h 8250"/>
              <a:gd name="connsiteX219" fmla="*/ 2601 w 10000"/>
              <a:gd name="connsiteY219" fmla="*/ 1669 h 8250"/>
              <a:gd name="connsiteX220" fmla="*/ 2163 w 10000"/>
              <a:gd name="connsiteY220" fmla="*/ 1842 h 8250"/>
              <a:gd name="connsiteX221" fmla="*/ 1931 w 10000"/>
              <a:gd name="connsiteY221" fmla="*/ 2052 h 8250"/>
              <a:gd name="connsiteX222" fmla="*/ 1951 w 10000"/>
              <a:gd name="connsiteY222" fmla="*/ 2169 h 8250"/>
              <a:gd name="connsiteX223" fmla="*/ 2032 w 10000"/>
              <a:gd name="connsiteY223" fmla="*/ 2259 h 8250"/>
              <a:gd name="connsiteX224" fmla="*/ 2093 w 10000"/>
              <a:gd name="connsiteY224" fmla="*/ 2295 h 8250"/>
              <a:gd name="connsiteX225" fmla="*/ 1979 w 10000"/>
              <a:gd name="connsiteY225" fmla="*/ 2353 h 8250"/>
              <a:gd name="connsiteX226" fmla="*/ 1731 w 10000"/>
              <a:gd name="connsiteY226" fmla="*/ 2747 h 8250"/>
              <a:gd name="connsiteX227" fmla="*/ 1779 w 10000"/>
              <a:gd name="connsiteY227" fmla="*/ 2770 h 8250"/>
              <a:gd name="connsiteX228" fmla="*/ 1815 w 10000"/>
              <a:gd name="connsiteY228" fmla="*/ 2870 h 8250"/>
              <a:gd name="connsiteX229" fmla="*/ 1700 w 10000"/>
              <a:gd name="connsiteY229" fmla="*/ 3285 h 8250"/>
              <a:gd name="connsiteX230" fmla="*/ 1815 w 10000"/>
              <a:gd name="connsiteY230" fmla="*/ 3391 h 8250"/>
              <a:gd name="connsiteX231" fmla="*/ 2131 w 10000"/>
              <a:gd name="connsiteY231" fmla="*/ 3507 h 8250"/>
              <a:gd name="connsiteX232" fmla="*/ 2145 w 10000"/>
              <a:gd name="connsiteY232" fmla="*/ 3649 h 8250"/>
              <a:gd name="connsiteX233" fmla="*/ 2010 w 10000"/>
              <a:gd name="connsiteY233" fmla="*/ 3767 h 8250"/>
              <a:gd name="connsiteX234" fmla="*/ 1815 w 10000"/>
              <a:gd name="connsiteY234" fmla="*/ 3838 h 8250"/>
              <a:gd name="connsiteX235" fmla="*/ 1557 w 10000"/>
              <a:gd name="connsiteY235" fmla="*/ 3867 h 8250"/>
              <a:gd name="connsiteX236" fmla="*/ 1490 w 10000"/>
              <a:gd name="connsiteY236" fmla="*/ 3908 h 8250"/>
              <a:gd name="connsiteX237" fmla="*/ 1640 w 10000"/>
              <a:gd name="connsiteY237" fmla="*/ 4005 h 8250"/>
              <a:gd name="connsiteX238" fmla="*/ 1726 w 10000"/>
              <a:gd name="connsiteY238" fmla="*/ 4237 h 8250"/>
              <a:gd name="connsiteX239" fmla="*/ 1531 w 10000"/>
              <a:gd name="connsiteY239" fmla="*/ 4435 h 8250"/>
              <a:gd name="connsiteX240" fmla="*/ 1599 w 10000"/>
              <a:gd name="connsiteY240" fmla="*/ 4497 h 8250"/>
              <a:gd name="connsiteX241" fmla="*/ 1537 w 10000"/>
              <a:gd name="connsiteY241" fmla="*/ 4601 h 8250"/>
              <a:gd name="connsiteX242" fmla="*/ 1412 w 10000"/>
              <a:gd name="connsiteY242" fmla="*/ 4672 h 8250"/>
              <a:gd name="connsiteX243" fmla="*/ 915 w 10000"/>
              <a:gd name="connsiteY243" fmla="*/ 4727 h 8250"/>
              <a:gd name="connsiteX244" fmla="*/ 885 w 10000"/>
              <a:gd name="connsiteY244" fmla="*/ 4823 h 8250"/>
              <a:gd name="connsiteX245" fmla="*/ 617 w 10000"/>
              <a:gd name="connsiteY245" fmla="*/ 4966 h 8250"/>
              <a:gd name="connsiteX246" fmla="*/ 652 w 10000"/>
              <a:gd name="connsiteY246" fmla="*/ 5171 h 8250"/>
              <a:gd name="connsiteX247" fmla="*/ 427 w 10000"/>
              <a:gd name="connsiteY247" fmla="*/ 5434 h 8250"/>
              <a:gd name="connsiteX248" fmla="*/ 274 w 10000"/>
              <a:gd name="connsiteY248" fmla="*/ 5465 h 8250"/>
              <a:gd name="connsiteX249" fmla="*/ 210 w 10000"/>
              <a:gd name="connsiteY249" fmla="*/ 5402 h 8250"/>
              <a:gd name="connsiteX250" fmla="*/ 132 w 10000"/>
              <a:gd name="connsiteY250" fmla="*/ 5497 h 8250"/>
              <a:gd name="connsiteX251" fmla="*/ 183 w 10000"/>
              <a:gd name="connsiteY251" fmla="*/ 5334 h 8250"/>
              <a:gd name="connsiteX252" fmla="*/ 151 w 10000"/>
              <a:gd name="connsiteY252" fmla="*/ 5302 h 825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181 w 10000"/>
              <a:gd name="connsiteY207" fmla="*/ 353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413 w 10000"/>
              <a:gd name="connsiteY207" fmla="*/ 332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012 w 10000"/>
              <a:gd name="connsiteY207" fmla="*/ 590 h 10000"/>
              <a:gd name="connsiteX208" fmla="*/ 6413 w 10000"/>
              <a:gd name="connsiteY208" fmla="*/ 332 h 10000"/>
              <a:gd name="connsiteX209" fmla="*/ 5098 w 10000"/>
              <a:gd name="connsiteY209" fmla="*/ 0 h 10000"/>
              <a:gd name="connsiteX210" fmla="*/ 4837 w 10000"/>
              <a:gd name="connsiteY210" fmla="*/ 82 h 10000"/>
              <a:gd name="connsiteX211" fmla="*/ 4671 w 10000"/>
              <a:gd name="connsiteY211" fmla="*/ 78 h 10000"/>
              <a:gd name="connsiteX212" fmla="*/ 4571 w 10000"/>
              <a:gd name="connsiteY212" fmla="*/ 107 h 10000"/>
              <a:gd name="connsiteX213" fmla="*/ 4298 w 10000"/>
              <a:gd name="connsiteY213" fmla="*/ 913 h 10000"/>
              <a:gd name="connsiteX214" fmla="*/ 3668 w 10000"/>
              <a:gd name="connsiteY214" fmla="*/ 1383 h 10000"/>
              <a:gd name="connsiteX215" fmla="*/ 3672 w 10000"/>
              <a:gd name="connsiteY215" fmla="*/ 1457 h 10000"/>
              <a:gd name="connsiteX216" fmla="*/ 3952 w 10000"/>
              <a:gd name="connsiteY216" fmla="*/ 1668 h 10000"/>
              <a:gd name="connsiteX217" fmla="*/ 3861 w 10000"/>
              <a:gd name="connsiteY217" fmla="*/ 1896 h 10000"/>
              <a:gd name="connsiteX218" fmla="*/ 3698 w 10000"/>
              <a:gd name="connsiteY218" fmla="*/ 1979 h 10000"/>
              <a:gd name="connsiteX219" fmla="*/ 3208 w 10000"/>
              <a:gd name="connsiteY219" fmla="*/ 1924 h 10000"/>
              <a:gd name="connsiteX220" fmla="*/ 2871 w 10000"/>
              <a:gd name="connsiteY220" fmla="*/ 1955 h 10000"/>
              <a:gd name="connsiteX221" fmla="*/ 2601 w 10000"/>
              <a:gd name="connsiteY221" fmla="*/ 2023 h 10000"/>
              <a:gd name="connsiteX222" fmla="*/ 2163 w 10000"/>
              <a:gd name="connsiteY222" fmla="*/ 2233 h 10000"/>
              <a:gd name="connsiteX223" fmla="*/ 1931 w 10000"/>
              <a:gd name="connsiteY223" fmla="*/ 2487 h 10000"/>
              <a:gd name="connsiteX224" fmla="*/ 1951 w 10000"/>
              <a:gd name="connsiteY224" fmla="*/ 2629 h 10000"/>
              <a:gd name="connsiteX225" fmla="*/ 2032 w 10000"/>
              <a:gd name="connsiteY225" fmla="*/ 2738 h 10000"/>
              <a:gd name="connsiteX226" fmla="*/ 2093 w 10000"/>
              <a:gd name="connsiteY226" fmla="*/ 2782 h 10000"/>
              <a:gd name="connsiteX227" fmla="*/ 1979 w 10000"/>
              <a:gd name="connsiteY227" fmla="*/ 2852 h 10000"/>
              <a:gd name="connsiteX228" fmla="*/ 1731 w 10000"/>
              <a:gd name="connsiteY228" fmla="*/ 3330 h 10000"/>
              <a:gd name="connsiteX229" fmla="*/ 1779 w 10000"/>
              <a:gd name="connsiteY229" fmla="*/ 3358 h 10000"/>
              <a:gd name="connsiteX230" fmla="*/ 1815 w 10000"/>
              <a:gd name="connsiteY230" fmla="*/ 3479 h 10000"/>
              <a:gd name="connsiteX231" fmla="*/ 1700 w 10000"/>
              <a:gd name="connsiteY231" fmla="*/ 3982 h 10000"/>
              <a:gd name="connsiteX232" fmla="*/ 1815 w 10000"/>
              <a:gd name="connsiteY232" fmla="*/ 4110 h 10000"/>
              <a:gd name="connsiteX233" fmla="*/ 2131 w 10000"/>
              <a:gd name="connsiteY233" fmla="*/ 4251 h 10000"/>
              <a:gd name="connsiteX234" fmla="*/ 2145 w 10000"/>
              <a:gd name="connsiteY234" fmla="*/ 4423 h 10000"/>
              <a:gd name="connsiteX235" fmla="*/ 2010 w 10000"/>
              <a:gd name="connsiteY235" fmla="*/ 4566 h 10000"/>
              <a:gd name="connsiteX236" fmla="*/ 1815 w 10000"/>
              <a:gd name="connsiteY236" fmla="*/ 4652 h 10000"/>
              <a:gd name="connsiteX237" fmla="*/ 1557 w 10000"/>
              <a:gd name="connsiteY237" fmla="*/ 4687 h 10000"/>
              <a:gd name="connsiteX238" fmla="*/ 1490 w 10000"/>
              <a:gd name="connsiteY238" fmla="*/ 4737 h 10000"/>
              <a:gd name="connsiteX239" fmla="*/ 1640 w 10000"/>
              <a:gd name="connsiteY239" fmla="*/ 4855 h 10000"/>
              <a:gd name="connsiteX240" fmla="*/ 1726 w 10000"/>
              <a:gd name="connsiteY240" fmla="*/ 5136 h 10000"/>
              <a:gd name="connsiteX241" fmla="*/ 1531 w 10000"/>
              <a:gd name="connsiteY241" fmla="*/ 5376 h 10000"/>
              <a:gd name="connsiteX242" fmla="*/ 1599 w 10000"/>
              <a:gd name="connsiteY242" fmla="*/ 5451 h 10000"/>
              <a:gd name="connsiteX243" fmla="*/ 1537 w 10000"/>
              <a:gd name="connsiteY243" fmla="*/ 5577 h 10000"/>
              <a:gd name="connsiteX244" fmla="*/ 1412 w 10000"/>
              <a:gd name="connsiteY244" fmla="*/ 5663 h 10000"/>
              <a:gd name="connsiteX245" fmla="*/ 915 w 10000"/>
              <a:gd name="connsiteY245" fmla="*/ 5730 h 10000"/>
              <a:gd name="connsiteX246" fmla="*/ 885 w 10000"/>
              <a:gd name="connsiteY246" fmla="*/ 5846 h 10000"/>
              <a:gd name="connsiteX247" fmla="*/ 617 w 10000"/>
              <a:gd name="connsiteY247" fmla="*/ 6019 h 10000"/>
              <a:gd name="connsiteX248" fmla="*/ 652 w 10000"/>
              <a:gd name="connsiteY248" fmla="*/ 6268 h 10000"/>
              <a:gd name="connsiteX249" fmla="*/ 427 w 10000"/>
              <a:gd name="connsiteY249" fmla="*/ 6587 h 10000"/>
              <a:gd name="connsiteX250" fmla="*/ 274 w 10000"/>
              <a:gd name="connsiteY250" fmla="*/ 6624 h 10000"/>
              <a:gd name="connsiteX251" fmla="*/ 210 w 10000"/>
              <a:gd name="connsiteY251" fmla="*/ 6548 h 10000"/>
              <a:gd name="connsiteX252" fmla="*/ 132 w 10000"/>
              <a:gd name="connsiteY252" fmla="*/ 6663 h 10000"/>
              <a:gd name="connsiteX253" fmla="*/ 183 w 10000"/>
              <a:gd name="connsiteY253" fmla="*/ 6465 h 10000"/>
              <a:gd name="connsiteX254" fmla="*/ 151 w 10000"/>
              <a:gd name="connsiteY25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289 w 10000"/>
              <a:gd name="connsiteY207" fmla="*/ 669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28 w 10000"/>
              <a:gd name="connsiteY207" fmla="*/ 616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38 w 10000"/>
              <a:gd name="connsiteY207" fmla="*/ 568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377 w 10000"/>
              <a:gd name="connsiteY207" fmla="*/ 560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47 w 10000"/>
              <a:gd name="connsiteY207" fmla="*/ 682 h 10000"/>
              <a:gd name="connsiteX208" fmla="*/ 7377 w 10000"/>
              <a:gd name="connsiteY208" fmla="*/ 560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497 w 10000"/>
              <a:gd name="connsiteY207" fmla="*/ 923 h 10000"/>
              <a:gd name="connsiteX208" fmla="*/ 7377 w 10000"/>
              <a:gd name="connsiteY208" fmla="*/ 560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890 w 10000"/>
              <a:gd name="connsiteY207" fmla="*/ 1074 h 10000"/>
              <a:gd name="connsiteX208" fmla="*/ 7497 w 10000"/>
              <a:gd name="connsiteY208" fmla="*/ 923 h 10000"/>
              <a:gd name="connsiteX209" fmla="*/ 7377 w 10000"/>
              <a:gd name="connsiteY209" fmla="*/ 560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7497 w 10000"/>
              <a:gd name="connsiteY208" fmla="*/ 923 h 10000"/>
              <a:gd name="connsiteX209" fmla="*/ 7377 w 10000"/>
              <a:gd name="connsiteY209" fmla="*/ 560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9237 w 10000"/>
              <a:gd name="connsiteY208" fmla="*/ 1500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8068 w 10000"/>
              <a:gd name="connsiteY208" fmla="*/ 1164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126 w 10000"/>
              <a:gd name="connsiteY207" fmla="*/ 1671 h 10000"/>
              <a:gd name="connsiteX208" fmla="*/ 8068 w 10000"/>
              <a:gd name="connsiteY208" fmla="*/ 1164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126 w 10000"/>
              <a:gd name="connsiteY207" fmla="*/ 1671 h 10000"/>
              <a:gd name="connsiteX208" fmla="*/ 8367 w 10000"/>
              <a:gd name="connsiteY208" fmla="*/ 1293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075 w 10000"/>
              <a:gd name="connsiteY207" fmla="*/ 1603 h 10000"/>
              <a:gd name="connsiteX208" fmla="*/ 8367 w 10000"/>
              <a:gd name="connsiteY208" fmla="*/ 1293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939 w 10000"/>
              <a:gd name="connsiteY207" fmla="*/ 1680 h 10000"/>
              <a:gd name="connsiteX208" fmla="*/ 8075 w 10000"/>
              <a:gd name="connsiteY208" fmla="*/ 1603 h 10000"/>
              <a:gd name="connsiteX209" fmla="*/ 8367 w 10000"/>
              <a:gd name="connsiteY209" fmla="*/ 1293 h 10000"/>
              <a:gd name="connsiteX210" fmla="*/ 7497 w 10000"/>
              <a:gd name="connsiteY210" fmla="*/ 923 h 10000"/>
              <a:gd name="connsiteX211" fmla="*/ 7377 w 10000"/>
              <a:gd name="connsiteY211" fmla="*/ 560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8075 w 10000"/>
              <a:gd name="connsiteY208" fmla="*/ 1603 h 10000"/>
              <a:gd name="connsiteX209" fmla="*/ 8367 w 10000"/>
              <a:gd name="connsiteY209" fmla="*/ 1293 h 10000"/>
              <a:gd name="connsiteX210" fmla="*/ 7497 w 10000"/>
              <a:gd name="connsiteY210" fmla="*/ 923 h 10000"/>
              <a:gd name="connsiteX211" fmla="*/ 7377 w 10000"/>
              <a:gd name="connsiteY211" fmla="*/ 560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9171 w 10000"/>
              <a:gd name="connsiteY208" fmla="*/ 1822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9713 w 10000"/>
              <a:gd name="connsiteY208" fmla="*/ 172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277"/>
              <a:gd name="connsiteY0" fmla="*/ 6427 h 10000"/>
              <a:gd name="connsiteX1" fmla="*/ 0 w 10277"/>
              <a:gd name="connsiteY1" fmla="*/ 6530 h 10000"/>
              <a:gd name="connsiteX2" fmla="*/ 0 w 10277"/>
              <a:gd name="connsiteY2" fmla="*/ 7039 h 10000"/>
              <a:gd name="connsiteX3" fmla="*/ 83 w 10277"/>
              <a:gd name="connsiteY3" fmla="*/ 7053 h 10000"/>
              <a:gd name="connsiteX4" fmla="*/ 103 w 10277"/>
              <a:gd name="connsiteY4" fmla="*/ 7092 h 10000"/>
              <a:gd name="connsiteX5" fmla="*/ 99 w 10277"/>
              <a:gd name="connsiteY5" fmla="*/ 7161 h 10000"/>
              <a:gd name="connsiteX6" fmla="*/ 68 w 10277"/>
              <a:gd name="connsiteY6" fmla="*/ 7192 h 10000"/>
              <a:gd name="connsiteX7" fmla="*/ 195 w 10277"/>
              <a:gd name="connsiteY7" fmla="*/ 7133 h 10000"/>
              <a:gd name="connsiteX8" fmla="*/ 249 w 10277"/>
              <a:gd name="connsiteY8" fmla="*/ 7075 h 10000"/>
              <a:gd name="connsiteX9" fmla="*/ 315 w 10277"/>
              <a:gd name="connsiteY9" fmla="*/ 7115 h 10000"/>
              <a:gd name="connsiteX10" fmla="*/ 242 w 10277"/>
              <a:gd name="connsiteY10" fmla="*/ 7198 h 10000"/>
              <a:gd name="connsiteX11" fmla="*/ 320 w 10277"/>
              <a:gd name="connsiteY11" fmla="*/ 7200 h 10000"/>
              <a:gd name="connsiteX12" fmla="*/ 358 w 10277"/>
              <a:gd name="connsiteY12" fmla="*/ 7221 h 10000"/>
              <a:gd name="connsiteX13" fmla="*/ 257 w 10277"/>
              <a:gd name="connsiteY13" fmla="*/ 7248 h 10000"/>
              <a:gd name="connsiteX14" fmla="*/ 99 w 10277"/>
              <a:gd name="connsiteY14" fmla="*/ 7333 h 10000"/>
              <a:gd name="connsiteX15" fmla="*/ 381 w 10277"/>
              <a:gd name="connsiteY15" fmla="*/ 7400 h 10000"/>
              <a:gd name="connsiteX16" fmla="*/ 416 w 10277"/>
              <a:gd name="connsiteY16" fmla="*/ 7496 h 10000"/>
              <a:gd name="connsiteX17" fmla="*/ 320 w 10277"/>
              <a:gd name="connsiteY17" fmla="*/ 7636 h 10000"/>
              <a:gd name="connsiteX18" fmla="*/ 526 w 10277"/>
              <a:gd name="connsiteY18" fmla="*/ 7627 h 10000"/>
              <a:gd name="connsiteX19" fmla="*/ 541 w 10277"/>
              <a:gd name="connsiteY19" fmla="*/ 7733 h 10000"/>
              <a:gd name="connsiteX20" fmla="*/ 404 w 10277"/>
              <a:gd name="connsiteY20" fmla="*/ 7805 h 10000"/>
              <a:gd name="connsiteX21" fmla="*/ 427 w 10277"/>
              <a:gd name="connsiteY21" fmla="*/ 7945 h 10000"/>
              <a:gd name="connsiteX22" fmla="*/ 374 w 10277"/>
              <a:gd name="connsiteY22" fmla="*/ 8053 h 10000"/>
              <a:gd name="connsiteX23" fmla="*/ 536 w 10277"/>
              <a:gd name="connsiteY23" fmla="*/ 8063 h 10000"/>
              <a:gd name="connsiteX24" fmla="*/ 695 w 10277"/>
              <a:gd name="connsiteY24" fmla="*/ 8478 h 10000"/>
              <a:gd name="connsiteX25" fmla="*/ 878 w 10277"/>
              <a:gd name="connsiteY25" fmla="*/ 8583 h 10000"/>
              <a:gd name="connsiteX26" fmla="*/ 958 w 10277"/>
              <a:gd name="connsiteY26" fmla="*/ 8695 h 10000"/>
              <a:gd name="connsiteX27" fmla="*/ 1157 w 10277"/>
              <a:gd name="connsiteY27" fmla="*/ 8776 h 10000"/>
              <a:gd name="connsiteX28" fmla="*/ 1285 w 10277"/>
              <a:gd name="connsiteY28" fmla="*/ 8881 h 10000"/>
              <a:gd name="connsiteX29" fmla="*/ 1269 w 10277"/>
              <a:gd name="connsiteY29" fmla="*/ 8955 h 10000"/>
              <a:gd name="connsiteX30" fmla="*/ 1142 w 10277"/>
              <a:gd name="connsiteY30" fmla="*/ 8983 h 10000"/>
              <a:gd name="connsiteX31" fmla="*/ 1004 w 10277"/>
              <a:gd name="connsiteY31" fmla="*/ 8965 h 10000"/>
              <a:gd name="connsiteX32" fmla="*/ 962 w 10277"/>
              <a:gd name="connsiteY32" fmla="*/ 8996 h 10000"/>
              <a:gd name="connsiteX33" fmla="*/ 1067 w 10277"/>
              <a:gd name="connsiteY33" fmla="*/ 9158 h 10000"/>
              <a:gd name="connsiteX34" fmla="*/ 920 w 10277"/>
              <a:gd name="connsiteY34" fmla="*/ 9144 h 10000"/>
              <a:gd name="connsiteX35" fmla="*/ 795 w 10277"/>
              <a:gd name="connsiteY35" fmla="*/ 9105 h 10000"/>
              <a:gd name="connsiteX36" fmla="*/ 772 w 10277"/>
              <a:gd name="connsiteY36" fmla="*/ 9165 h 10000"/>
              <a:gd name="connsiteX37" fmla="*/ 1188 w 10277"/>
              <a:gd name="connsiteY37" fmla="*/ 9718 h 10000"/>
              <a:gd name="connsiteX38" fmla="*/ 1122 w 10277"/>
              <a:gd name="connsiteY38" fmla="*/ 9770 h 10000"/>
              <a:gd name="connsiteX39" fmla="*/ 1075 w 10277"/>
              <a:gd name="connsiteY39" fmla="*/ 9876 h 10000"/>
              <a:gd name="connsiteX40" fmla="*/ 1015 w 10277"/>
              <a:gd name="connsiteY40" fmla="*/ 9885 h 10000"/>
              <a:gd name="connsiteX41" fmla="*/ 978 w 10277"/>
              <a:gd name="connsiteY41" fmla="*/ 9931 h 10000"/>
              <a:gd name="connsiteX42" fmla="*/ 1229 w 10277"/>
              <a:gd name="connsiteY42" fmla="*/ 9936 h 10000"/>
              <a:gd name="connsiteX43" fmla="*/ 1451 w 10277"/>
              <a:gd name="connsiteY43" fmla="*/ 9982 h 10000"/>
              <a:gd name="connsiteX44" fmla="*/ 1820 w 10277"/>
              <a:gd name="connsiteY44" fmla="*/ 9933 h 10000"/>
              <a:gd name="connsiteX45" fmla="*/ 2151 w 10277"/>
              <a:gd name="connsiteY45" fmla="*/ 9941 h 10000"/>
              <a:gd name="connsiteX46" fmla="*/ 2346 w 10277"/>
              <a:gd name="connsiteY46" fmla="*/ 10000 h 10000"/>
              <a:gd name="connsiteX47" fmla="*/ 2454 w 10277"/>
              <a:gd name="connsiteY47" fmla="*/ 9961 h 10000"/>
              <a:gd name="connsiteX48" fmla="*/ 2557 w 10277"/>
              <a:gd name="connsiteY48" fmla="*/ 9834 h 10000"/>
              <a:gd name="connsiteX49" fmla="*/ 2530 w 10277"/>
              <a:gd name="connsiteY49" fmla="*/ 9625 h 10000"/>
              <a:gd name="connsiteX50" fmla="*/ 2782 w 10277"/>
              <a:gd name="connsiteY50" fmla="*/ 9392 h 10000"/>
              <a:gd name="connsiteX51" fmla="*/ 2966 w 10277"/>
              <a:gd name="connsiteY51" fmla="*/ 9428 h 10000"/>
              <a:gd name="connsiteX52" fmla="*/ 3073 w 10277"/>
              <a:gd name="connsiteY52" fmla="*/ 9335 h 10000"/>
              <a:gd name="connsiteX53" fmla="*/ 3278 w 10277"/>
              <a:gd name="connsiteY53" fmla="*/ 9282 h 10000"/>
              <a:gd name="connsiteX54" fmla="*/ 3557 w 10277"/>
              <a:gd name="connsiteY54" fmla="*/ 9295 h 10000"/>
              <a:gd name="connsiteX55" fmla="*/ 3724 w 10277"/>
              <a:gd name="connsiteY55" fmla="*/ 9332 h 10000"/>
              <a:gd name="connsiteX56" fmla="*/ 3948 w 10277"/>
              <a:gd name="connsiteY56" fmla="*/ 9315 h 10000"/>
              <a:gd name="connsiteX57" fmla="*/ 4173 w 10277"/>
              <a:gd name="connsiteY57" fmla="*/ 9356 h 10000"/>
              <a:gd name="connsiteX58" fmla="*/ 4398 w 10277"/>
              <a:gd name="connsiteY58" fmla="*/ 9361 h 10000"/>
              <a:gd name="connsiteX59" fmla="*/ 4902 w 10277"/>
              <a:gd name="connsiteY59" fmla="*/ 8817 h 10000"/>
              <a:gd name="connsiteX60" fmla="*/ 5030 w 10277"/>
              <a:gd name="connsiteY60" fmla="*/ 8375 h 10000"/>
              <a:gd name="connsiteX61" fmla="*/ 5235 w 10277"/>
              <a:gd name="connsiteY61" fmla="*/ 8177 h 10000"/>
              <a:gd name="connsiteX62" fmla="*/ 5235 w 10277"/>
              <a:gd name="connsiteY62" fmla="*/ 8073 h 10000"/>
              <a:gd name="connsiteX63" fmla="*/ 5160 w 10277"/>
              <a:gd name="connsiteY63" fmla="*/ 8015 h 10000"/>
              <a:gd name="connsiteX64" fmla="*/ 5281 w 10277"/>
              <a:gd name="connsiteY64" fmla="*/ 7922 h 10000"/>
              <a:gd name="connsiteX65" fmla="*/ 5259 w 10277"/>
              <a:gd name="connsiteY65" fmla="*/ 7844 h 10000"/>
              <a:gd name="connsiteX66" fmla="*/ 5177 w 10277"/>
              <a:gd name="connsiteY66" fmla="*/ 7776 h 10000"/>
              <a:gd name="connsiteX67" fmla="*/ 5160 w 10277"/>
              <a:gd name="connsiteY67" fmla="*/ 7728 h 10000"/>
              <a:gd name="connsiteX68" fmla="*/ 5181 w 10277"/>
              <a:gd name="connsiteY68" fmla="*/ 7691 h 10000"/>
              <a:gd name="connsiteX69" fmla="*/ 5292 w 10277"/>
              <a:gd name="connsiteY69" fmla="*/ 7721 h 10000"/>
              <a:gd name="connsiteX70" fmla="*/ 5381 w 10277"/>
              <a:gd name="connsiteY70" fmla="*/ 7719 h 10000"/>
              <a:gd name="connsiteX71" fmla="*/ 5333 w 10277"/>
              <a:gd name="connsiteY71" fmla="*/ 7655 h 10000"/>
              <a:gd name="connsiteX72" fmla="*/ 5348 w 10277"/>
              <a:gd name="connsiteY72" fmla="*/ 7619 h 10000"/>
              <a:gd name="connsiteX73" fmla="*/ 5414 w 10277"/>
              <a:gd name="connsiteY73" fmla="*/ 7565 h 10000"/>
              <a:gd name="connsiteX74" fmla="*/ 5401 w 10277"/>
              <a:gd name="connsiteY74" fmla="*/ 7521 h 10000"/>
              <a:gd name="connsiteX75" fmla="*/ 5462 w 10277"/>
              <a:gd name="connsiteY75" fmla="*/ 7373 h 10000"/>
              <a:gd name="connsiteX76" fmla="*/ 5445 w 10277"/>
              <a:gd name="connsiteY76" fmla="*/ 7327 h 10000"/>
              <a:gd name="connsiteX77" fmla="*/ 5140 w 10277"/>
              <a:gd name="connsiteY77" fmla="*/ 7216 h 10000"/>
              <a:gd name="connsiteX78" fmla="*/ 5181 w 10277"/>
              <a:gd name="connsiteY78" fmla="*/ 7211 h 10000"/>
              <a:gd name="connsiteX79" fmla="*/ 5344 w 10277"/>
              <a:gd name="connsiteY79" fmla="*/ 7241 h 10000"/>
              <a:gd name="connsiteX80" fmla="*/ 5520 w 10277"/>
              <a:gd name="connsiteY80" fmla="*/ 7230 h 10000"/>
              <a:gd name="connsiteX81" fmla="*/ 5571 w 10277"/>
              <a:gd name="connsiteY81" fmla="*/ 7189 h 10000"/>
              <a:gd name="connsiteX82" fmla="*/ 5401 w 10277"/>
              <a:gd name="connsiteY82" fmla="*/ 7113 h 10000"/>
              <a:gd name="connsiteX83" fmla="*/ 4898 w 10277"/>
              <a:gd name="connsiteY83" fmla="*/ 7062 h 10000"/>
              <a:gd name="connsiteX84" fmla="*/ 4932 w 10277"/>
              <a:gd name="connsiteY84" fmla="*/ 7039 h 10000"/>
              <a:gd name="connsiteX85" fmla="*/ 5344 w 10277"/>
              <a:gd name="connsiteY85" fmla="*/ 7023 h 10000"/>
              <a:gd name="connsiteX86" fmla="*/ 5571 w 10277"/>
              <a:gd name="connsiteY86" fmla="*/ 7069 h 10000"/>
              <a:gd name="connsiteX87" fmla="*/ 5702 w 10277"/>
              <a:gd name="connsiteY87" fmla="*/ 7039 h 10000"/>
              <a:gd name="connsiteX88" fmla="*/ 5750 w 10277"/>
              <a:gd name="connsiteY88" fmla="*/ 6959 h 10000"/>
              <a:gd name="connsiteX89" fmla="*/ 5987 w 10277"/>
              <a:gd name="connsiteY89" fmla="*/ 6959 h 10000"/>
              <a:gd name="connsiteX90" fmla="*/ 6308 w 10277"/>
              <a:gd name="connsiteY90" fmla="*/ 6799 h 10000"/>
              <a:gd name="connsiteX91" fmla="*/ 6319 w 10277"/>
              <a:gd name="connsiteY91" fmla="*/ 6693 h 10000"/>
              <a:gd name="connsiteX92" fmla="*/ 6455 w 10277"/>
              <a:gd name="connsiteY92" fmla="*/ 6718 h 10000"/>
              <a:gd name="connsiteX93" fmla="*/ 6449 w 10277"/>
              <a:gd name="connsiteY93" fmla="*/ 6824 h 10000"/>
              <a:gd name="connsiteX94" fmla="*/ 6665 w 10277"/>
              <a:gd name="connsiteY94" fmla="*/ 6817 h 10000"/>
              <a:gd name="connsiteX95" fmla="*/ 6807 w 10277"/>
              <a:gd name="connsiteY95" fmla="*/ 6707 h 10000"/>
              <a:gd name="connsiteX96" fmla="*/ 7070 w 10277"/>
              <a:gd name="connsiteY96" fmla="*/ 6607 h 10000"/>
              <a:gd name="connsiteX97" fmla="*/ 7029 w 10277"/>
              <a:gd name="connsiteY97" fmla="*/ 6493 h 10000"/>
              <a:gd name="connsiteX98" fmla="*/ 7107 w 10277"/>
              <a:gd name="connsiteY98" fmla="*/ 6538 h 10000"/>
              <a:gd name="connsiteX99" fmla="*/ 7227 w 10277"/>
              <a:gd name="connsiteY99" fmla="*/ 6538 h 10000"/>
              <a:gd name="connsiteX100" fmla="*/ 7227 w 10277"/>
              <a:gd name="connsiteY100" fmla="*/ 6486 h 10000"/>
              <a:gd name="connsiteX101" fmla="*/ 7340 w 10277"/>
              <a:gd name="connsiteY101" fmla="*/ 6446 h 10000"/>
              <a:gd name="connsiteX102" fmla="*/ 7324 w 10277"/>
              <a:gd name="connsiteY102" fmla="*/ 6405 h 10000"/>
              <a:gd name="connsiteX103" fmla="*/ 6377 w 10277"/>
              <a:gd name="connsiteY103" fmla="*/ 6488 h 10000"/>
              <a:gd name="connsiteX104" fmla="*/ 6155 w 10277"/>
              <a:gd name="connsiteY104" fmla="*/ 6463 h 10000"/>
              <a:gd name="connsiteX105" fmla="*/ 6065 w 10277"/>
              <a:gd name="connsiteY105" fmla="*/ 6493 h 10000"/>
              <a:gd name="connsiteX106" fmla="*/ 6035 w 10277"/>
              <a:gd name="connsiteY106" fmla="*/ 6436 h 10000"/>
              <a:gd name="connsiteX107" fmla="*/ 5930 w 10277"/>
              <a:gd name="connsiteY107" fmla="*/ 6384 h 10000"/>
              <a:gd name="connsiteX108" fmla="*/ 5508 w 10277"/>
              <a:gd name="connsiteY108" fmla="*/ 6282 h 10000"/>
              <a:gd name="connsiteX109" fmla="*/ 5259 w 10277"/>
              <a:gd name="connsiteY109" fmla="*/ 6298 h 10000"/>
              <a:gd name="connsiteX110" fmla="*/ 5160 w 10277"/>
              <a:gd name="connsiteY110" fmla="*/ 6270 h 10000"/>
              <a:gd name="connsiteX111" fmla="*/ 5265 w 10277"/>
              <a:gd name="connsiteY111" fmla="*/ 6245 h 10000"/>
              <a:gd name="connsiteX112" fmla="*/ 5344 w 10277"/>
              <a:gd name="connsiteY112" fmla="*/ 6190 h 10000"/>
              <a:gd name="connsiteX113" fmla="*/ 5462 w 10277"/>
              <a:gd name="connsiteY113" fmla="*/ 6208 h 10000"/>
              <a:gd name="connsiteX114" fmla="*/ 5602 w 10277"/>
              <a:gd name="connsiteY114" fmla="*/ 6193 h 10000"/>
              <a:gd name="connsiteX115" fmla="*/ 5813 w 10277"/>
              <a:gd name="connsiteY115" fmla="*/ 6211 h 10000"/>
              <a:gd name="connsiteX116" fmla="*/ 5838 w 10277"/>
              <a:gd name="connsiteY116" fmla="*/ 6204 h 10000"/>
              <a:gd name="connsiteX117" fmla="*/ 6002 w 10277"/>
              <a:gd name="connsiteY117" fmla="*/ 6287 h 10000"/>
              <a:gd name="connsiteX118" fmla="*/ 6122 w 10277"/>
              <a:gd name="connsiteY118" fmla="*/ 6257 h 10000"/>
              <a:gd name="connsiteX119" fmla="*/ 6133 w 10277"/>
              <a:gd name="connsiteY119" fmla="*/ 6229 h 10000"/>
              <a:gd name="connsiteX120" fmla="*/ 6244 w 10277"/>
              <a:gd name="connsiteY120" fmla="*/ 6278 h 10000"/>
              <a:gd name="connsiteX121" fmla="*/ 6391 w 10277"/>
              <a:gd name="connsiteY121" fmla="*/ 6304 h 10000"/>
              <a:gd name="connsiteX122" fmla="*/ 6449 w 10277"/>
              <a:gd name="connsiteY122" fmla="*/ 6255 h 10000"/>
              <a:gd name="connsiteX123" fmla="*/ 6496 w 10277"/>
              <a:gd name="connsiteY123" fmla="*/ 6282 h 10000"/>
              <a:gd name="connsiteX124" fmla="*/ 6565 w 10277"/>
              <a:gd name="connsiteY124" fmla="*/ 6377 h 10000"/>
              <a:gd name="connsiteX125" fmla="*/ 6707 w 10277"/>
              <a:gd name="connsiteY125" fmla="*/ 6399 h 10000"/>
              <a:gd name="connsiteX126" fmla="*/ 7286 w 10277"/>
              <a:gd name="connsiteY126" fmla="*/ 6259 h 10000"/>
              <a:gd name="connsiteX127" fmla="*/ 7571 w 10277"/>
              <a:gd name="connsiteY127" fmla="*/ 6064 h 10000"/>
              <a:gd name="connsiteX128" fmla="*/ 7637 w 10277"/>
              <a:gd name="connsiteY128" fmla="*/ 5921 h 10000"/>
              <a:gd name="connsiteX129" fmla="*/ 7534 w 10277"/>
              <a:gd name="connsiteY129" fmla="*/ 5792 h 10000"/>
              <a:gd name="connsiteX130" fmla="*/ 7318 w 10277"/>
              <a:gd name="connsiteY130" fmla="*/ 5715 h 10000"/>
              <a:gd name="connsiteX131" fmla="*/ 7164 w 10277"/>
              <a:gd name="connsiteY131" fmla="*/ 5589 h 10000"/>
              <a:gd name="connsiteX132" fmla="*/ 7307 w 10277"/>
              <a:gd name="connsiteY132" fmla="*/ 5584 h 10000"/>
              <a:gd name="connsiteX133" fmla="*/ 7297 w 10277"/>
              <a:gd name="connsiteY133" fmla="*/ 5554 h 10000"/>
              <a:gd name="connsiteX134" fmla="*/ 6925 w 10277"/>
              <a:gd name="connsiteY134" fmla="*/ 5465 h 10000"/>
              <a:gd name="connsiteX135" fmla="*/ 6909 w 10277"/>
              <a:gd name="connsiteY135" fmla="*/ 5383 h 10000"/>
              <a:gd name="connsiteX136" fmla="*/ 6837 w 10277"/>
              <a:gd name="connsiteY136" fmla="*/ 5299 h 10000"/>
              <a:gd name="connsiteX137" fmla="*/ 6543 w 10277"/>
              <a:gd name="connsiteY137" fmla="*/ 5314 h 10000"/>
              <a:gd name="connsiteX138" fmla="*/ 6438 w 10277"/>
              <a:gd name="connsiteY138" fmla="*/ 5224 h 10000"/>
              <a:gd name="connsiteX139" fmla="*/ 6377 w 10277"/>
              <a:gd name="connsiteY139" fmla="*/ 5219 h 10000"/>
              <a:gd name="connsiteX140" fmla="*/ 6377 w 10277"/>
              <a:gd name="connsiteY140" fmla="*/ 5256 h 10000"/>
              <a:gd name="connsiteX141" fmla="*/ 6244 w 10277"/>
              <a:gd name="connsiteY141" fmla="*/ 5408 h 10000"/>
              <a:gd name="connsiteX142" fmla="*/ 6101 w 10277"/>
              <a:gd name="connsiteY142" fmla="*/ 5498 h 10000"/>
              <a:gd name="connsiteX143" fmla="*/ 5653 w 10277"/>
              <a:gd name="connsiteY143" fmla="*/ 5651 h 10000"/>
              <a:gd name="connsiteX144" fmla="*/ 5496 w 10277"/>
              <a:gd name="connsiteY144" fmla="*/ 5646 h 10000"/>
              <a:gd name="connsiteX145" fmla="*/ 5281 w 10277"/>
              <a:gd name="connsiteY145" fmla="*/ 5669 h 10000"/>
              <a:gd name="connsiteX146" fmla="*/ 5160 w 10277"/>
              <a:gd name="connsiteY146" fmla="*/ 5646 h 10000"/>
              <a:gd name="connsiteX147" fmla="*/ 5318 w 10277"/>
              <a:gd name="connsiteY147" fmla="*/ 5604 h 10000"/>
              <a:gd name="connsiteX148" fmla="*/ 5524 w 10277"/>
              <a:gd name="connsiteY148" fmla="*/ 5584 h 10000"/>
              <a:gd name="connsiteX149" fmla="*/ 5693 w 10277"/>
              <a:gd name="connsiteY149" fmla="*/ 5513 h 10000"/>
              <a:gd name="connsiteX150" fmla="*/ 5859 w 10277"/>
              <a:gd name="connsiteY150" fmla="*/ 5480 h 10000"/>
              <a:gd name="connsiteX151" fmla="*/ 6171 w 10277"/>
              <a:gd name="connsiteY151" fmla="*/ 5355 h 10000"/>
              <a:gd name="connsiteX152" fmla="*/ 6230 w 10277"/>
              <a:gd name="connsiteY152" fmla="*/ 5274 h 10000"/>
              <a:gd name="connsiteX153" fmla="*/ 6235 w 10277"/>
              <a:gd name="connsiteY153" fmla="*/ 5168 h 10000"/>
              <a:gd name="connsiteX154" fmla="*/ 6092 w 10277"/>
              <a:gd name="connsiteY154" fmla="*/ 5150 h 10000"/>
              <a:gd name="connsiteX155" fmla="*/ 6155 w 10277"/>
              <a:gd name="connsiteY155" fmla="*/ 5086 h 10000"/>
              <a:gd name="connsiteX156" fmla="*/ 6175 w 10277"/>
              <a:gd name="connsiteY156" fmla="*/ 5005 h 10000"/>
              <a:gd name="connsiteX157" fmla="*/ 6115 w 10277"/>
              <a:gd name="connsiteY157" fmla="*/ 4928 h 10000"/>
              <a:gd name="connsiteX158" fmla="*/ 6081 w 10277"/>
              <a:gd name="connsiteY158" fmla="*/ 4367 h 10000"/>
              <a:gd name="connsiteX159" fmla="*/ 6166 w 10277"/>
              <a:gd name="connsiteY159" fmla="*/ 4246 h 10000"/>
              <a:gd name="connsiteX160" fmla="*/ 6144 w 10277"/>
              <a:gd name="connsiteY160" fmla="*/ 4198 h 10000"/>
              <a:gd name="connsiteX161" fmla="*/ 6391 w 10277"/>
              <a:gd name="connsiteY161" fmla="*/ 4269 h 10000"/>
              <a:gd name="connsiteX162" fmla="*/ 6408 w 10277"/>
              <a:gd name="connsiteY162" fmla="*/ 4202 h 10000"/>
              <a:gd name="connsiteX163" fmla="*/ 6354 w 10277"/>
              <a:gd name="connsiteY163" fmla="*/ 4029 h 10000"/>
              <a:gd name="connsiteX164" fmla="*/ 6532 w 10277"/>
              <a:gd name="connsiteY164" fmla="*/ 3719 h 10000"/>
              <a:gd name="connsiteX165" fmla="*/ 6423 w 10277"/>
              <a:gd name="connsiteY165" fmla="*/ 3645 h 10000"/>
              <a:gd name="connsiteX166" fmla="*/ 6381 w 10277"/>
              <a:gd name="connsiteY166" fmla="*/ 3576 h 10000"/>
              <a:gd name="connsiteX167" fmla="*/ 6395 w 10277"/>
              <a:gd name="connsiteY167" fmla="*/ 3463 h 10000"/>
              <a:gd name="connsiteX168" fmla="*/ 6656 w 10277"/>
              <a:gd name="connsiteY168" fmla="*/ 3538 h 10000"/>
              <a:gd name="connsiteX169" fmla="*/ 6665 w 10277"/>
              <a:gd name="connsiteY169" fmla="*/ 3516 h 10000"/>
              <a:gd name="connsiteX170" fmla="*/ 6737 w 10277"/>
              <a:gd name="connsiteY170" fmla="*/ 3497 h 10000"/>
              <a:gd name="connsiteX171" fmla="*/ 6837 w 10277"/>
              <a:gd name="connsiteY171" fmla="*/ 3424 h 10000"/>
              <a:gd name="connsiteX172" fmla="*/ 6854 w 10277"/>
              <a:gd name="connsiteY172" fmla="*/ 3404 h 10000"/>
              <a:gd name="connsiteX173" fmla="*/ 6832 w 10277"/>
              <a:gd name="connsiteY173" fmla="*/ 3377 h 10000"/>
              <a:gd name="connsiteX174" fmla="*/ 6886 w 10277"/>
              <a:gd name="connsiteY174" fmla="*/ 3250 h 10000"/>
              <a:gd name="connsiteX175" fmla="*/ 6822 w 10277"/>
              <a:gd name="connsiteY175" fmla="*/ 3167 h 10000"/>
              <a:gd name="connsiteX176" fmla="*/ 6832 w 10277"/>
              <a:gd name="connsiteY176" fmla="*/ 3101 h 10000"/>
              <a:gd name="connsiteX177" fmla="*/ 6868 w 10277"/>
              <a:gd name="connsiteY177" fmla="*/ 3178 h 10000"/>
              <a:gd name="connsiteX178" fmla="*/ 7011 w 10277"/>
              <a:gd name="connsiteY178" fmla="*/ 3236 h 10000"/>
              <a:gd name="connsiteX179" fmla="*/ 7070 w 10277"/>
              <a:gd name="connsiteY179" fmla="*/ 3229 h 10000"/>
              <a:gd name="connsiteX180" fmla="*/ 7164 w 10277"/>
              <a:gd name="connsiteY180" fmla="*/ 3152 h 10000"/>
              <a:gd name="connsiteX181" fmla="*/ 7265 w 10277"/>
              <a:gd name="connsiteY181" fmla="*/ 3183 h 10000"/>
              <a:gd name="connsiteX182" fmla="*/ 7292 w 10277"/>
              <a:gd name="connsiteY182" fmla="*/ 3122 h 10000"/>
              <a:gd name="connsiteX183" fmla="*/ 7360 w 10277"/>
              <a:gd name="connsiteY183" fmla="*/ 3080 h 10000"/>
              <a:gd name="connsiteX184" fmla="*/ 7175 w 10277"/>
              <a:gd name="connsiteY184" fmla="*/ 3036 h 10000"/>
              <a:gd name="connsiteX185" fmla="*/ 7307 w 10277"/>
              <a:gd name="connsiteY185" fmla="*/ 3045 h 10000"/>
              <a:gd name="connsiteX186" fmla="*/ 7442 w 10277"/>
              <a:gd name="connsiteY186" fmla="*/ 2999 h 10000"/>
              <a:gd name="connsiteX187" fmla="*/ 7437 w 10277"/>
              <a:gd name="connsiteY187" fmla="*/ 2966 h 10000"/>
              <a:gd name="connsiteX188" fmla="*/ 7565 w 10277"/>
              <a:gd name="connsiteY188" fmla="*/ 2936 h 10000"/>
              <a:gd name="connsiteX189" fmla="*/ 7576 w 10277"/>
              <a:gd name="connsiteY189" fmla="*/ 2859 h 10000"/>
              <a:gd name="connsiteX190" fmla="*/ 7676 w 10277"/>
              <a:gd name="connsiteY190" fmla="*/ 2844 h 10000"/>
              <a:gd name="connsiteX191" fmla="*/ 7684 w 10277"/>
              <a:gd name="connsiteY191" fmla="*/ 2754 h 10000"/>
              <a:gd name="connsiteX192" fmla="*/ 7790 w 10277"/>
              <a:gd name="connsiteY192" fmla="*/ 2743 h 10000"/>
              <a:gd name="connsiteX193" fmla="*/ 7953 w 10277"/>
              <a:gd name="connsiteY193" fmla="*/ 2762 h 10000"/>
              <a:gd name="connsiteX194" fmla="*/ 8132 w 10277"/>
              <a:gd name="connsiteY194" fmla="*/ 2690 h 10000"/>
              <a:gd name="connsiteX195" fmla="*/ 8195 w 10277"/>
              <a:gd name="connsiteY195" fmla="*/ 2607 h 10000"/>
              <a:gd name="connsiteX196" fmla="*/ 8417 w 10277"/>
              <a:gd name="connsiteY196" fmla="*/ 2524 h 10000"/>
              <a:gd name="connsiteX197" fmla="*/ 8527 w 10277"/>
              <a:gd name="connsiteY197" fmla="*/ 2575 h 10000"/>
              <a:gd name="connsiteX198" fmla="*/ 8695 w 10277"/>
              <a:gd name="connsiteY198" fmla="*/ 2519 h 10000"/>
              <a:gd name="connsiteX199" fmla="*/ 8736 w 10277"/>
              <a:gd name="connsiteY199" fmla="*/ 2445 h 10000"/>
              <a:gd name="connsiteX200" fmla="*/ 8864 w 10277"/>
              <a:gd name="connsiteY200" fmla="*/ 2396 h 10000"/>
              <a:gd name="connsiteX201" fmla="*/ 8973 w 10277"/>
              <a:gd name="connsiteY201" fmla="*/ 2418 h 10000"/>
              <a:gd name="connsiteX202" fmla="*/ 9042 w 10277"/>
              <a:gd name="connsiteY202" fmla="*/ 2381 h 10000"/>
              <a:gd name="connsiteX203" fmla="*/ 9231 w 10277"/>
              <a:gd name="connsiteY203" fmla="*/ 2330 h 10000"/>
              <a:gd name="connsiteX204" fmla="*/ 9310 w 10277"/>
              <a:gd name="connsiteY204" fmla="*/ 2263 h 10000"/>
              <a:gd name="connsiteX205" fmla="*/ 9417 w 10277"/>
              <a:gd name="connsiteY205" fmla="*/ 2235 h 10000"/>
              <a:gd name="connsiteX206" fmla="*/ 10000 w 10277"/>
              <a:gd name="connsiteY206" fmla="*/ 1832 h 10000"/>
              <a:gd name="connsiteX207" fmla="*/ 10277 w 10277"/>
              <a:gd name="connsiteY207" fmla="*/ 1829 h 10000"/>
              <a:gd name="connsiteX208" fmla="*/ 9713 w 10277"/>
              <a:gd name="connsiteY208" fmla="*/ 1720 h 10000"/>
              <a:gd name="connsiteX209" fmla="*/ 8075 w 10277"/>
              <a:gd name="connsiteY209" fmla="*/ 1603 h 10000"/>
              <a:gd name="connsiteX210" fmla="*/ 8367 w 10277"/>
              <a:gd name="connsiteY210" fmla="*/ 1293 h 10000"/>
              <a:gd name="connsiteX211" fmla="*/ 7497 w 10277"/>
              <a:gd name="connsiteY211" fmla="*/ 923 h 10000"/>
              <a:gd name="connsiteX212" fmla="*/ 7377 w 10277"/>
              <a:gd name="connsiteY212" fmla="*/ 560 h 10000"/>
              <a:gd name="connsiteX213" fmla="*/ 7012 w 10277"/>
              <a:gd name="connsiteY213" fmla="*/ 590 h 10000"/>
              <a:gd name="connsiteX214" fmla="*/ 6413 w 10277"/>
              <a:gd name="connsiteY214" fmla="*/ 332 h 10000"/>
              <a:gd name="connsiteX215" fmla="*/ 5098 w 10277"/>
              <a:gd name="connsiteY215" fmla="*/ 0 h 10000"/>
              <a:gd name="connsiteX216" fmla="*/ 4837 w 10277"/>
              <a:gd name="connsiteY216" fmla="*/ 82 h 10000"/>
              <a:gd name="connsiteX217" fmla="*/ 4671 w 10277"/>
              <a:gd name="connsiteY217" fmla="*/ 78 h 10000"/>
              <a:gd name="connsiteX218" fmla="*/ 4571 w 10277"/>
              <a:gd name="connsiteY218" fmla="*/ 107 h 10000"/>
              <a:gd name="connsiteX219" fmla="*/ 4298 w 10277"/>
              <a:gd name="connsiteY219" fmla="*/ 913 h 10000"/>
              <a:gd name="connsiteX220" fmla="*/ 3668 w 10277"/>
              <a:gd name="connsiteY220" fmla="*/ 1383 h 10000"/>
              <a:gd name="connsiteX221" fmla="*/ 3672 w 10277"/>
              <a:gd name="connsiteY221" fmla="*/ 1457 h 10000"/>
              <a:gd name="connsiteX222" fmla="*/ 3952 w 10277"/>
              <a:gd name="connsiteY222" fmla="*/ 1668 h 10000"/>
              <a:gd name="connsiteX223" fmla="*/ 3861 w 10277"/>
              <a:gd name="connsiteY223" fmla="*/ 1896 h 10000"/>
              <a:gd name="connsiteX224" fmla="*/ 3698 w 10277"/>
              <a:gd name="connsiteY224" fmla="*/ 1979 h 10000"/>
              <a:gd name="connsiteX225" fmla="*/ 3208 w 10277"/>
              <a:gd name="connsiteY225" fmla="*/ 1924 h 10000"/>
              <a:gd name="connsiteX226" fmla="*/ 2871 w 10277"/>
              <a:gd name="connsiteY226" fmla="*/ 1955 h 10000"/>
              <a:gd name="connsiteX227" fmla="*/ 2601 w 10277"/>
              <a:gd name="connsiteY227" fmla="*/ 2023 h 10000"/>
              <a:gd name="connsiteX228" fmla="*/ 2163 w 10277"/>
              <a:gd name="connsiteY228" fmla="*/ 2233 h 10000"/>
              <a:gd name="connsiteX229" fmla="*/ 1931 w 10277"/>
              <a:gd name="connsiteY229" fmla="*/ 2487 h 10000"/>
              <a:gd name="connsiteX230" fmla="*/ 1951 w 10277"/>
              <a:gd name="connsiteY230" fmla="*/ 2629 h 10000"/>
              <a:gd name="connsiteX231" fmla="*/ 2032 w 10277"/>
              <a:gd name="connsiteY231" fmla="*/ 2738 h 10000"/>
              <a:gd name="connsiteX232" fmla="*/ 2093 w 10277"/>
              <a:gd name="connsiteY232" fmla="*/ 2782 h 10000"/>
              <a:gd name="connsiteX233" fmla="*/ 1979 w 10277"/>
              <a:gd name="connsiteY233" fmla="*/ 2852 h 10000"/>
              <a:gd name="connsiteX234" fmla="*/ 1731 w 10277"/>
              <a:gd name="connsiteY234" fmla="*/ 3330 h 10000"/>
              <a:gd name="connsiteX235" fmla="*/ 1779 w 10277"/>
              <a:gd name="connsiteY235" fmla="*/ 3358 h 10000"/>
              <a:gd name="connsiteX236" fmla="*/ 1815 w 10277"/>
              <a:gd name="connsiteY236" fmla="*/ 3479 h 10000"/>
              <a:gd name="connsiteX237" fmla="*/ 1700 w 10277"/>
              <a:gd name="connsiteY237" fmla="*/ 3982 h 10000"/>
              <a:gd name="connsiteX238" fmla="*/ 1815 w 10277"/>
              <a:gd name="connsiteY238" fmla="*/ 4110 h 10000"/>
              <a:gd name="connsiteX239" fmla="*/ 2131 w 10277"/>
              <a:gd name="connsiteY239" fmla="*/ 4251 h 10000"/>
              <a:gd name="connsiteX240" fmla="*/ 2145 w 10277"/>
              <a:gd name="connsiteY240" fmla="*/ 4423 h 10000"/>
              <a:gd name="connsiteX241" fmla="*/ 2010 w 10277"/>
              <a:gd name="connsiteY241" fmla="*/ 4566 h 10000"/>
              <a:gd name="connsiteX242" fmla="*/ 1815 w 10277"/>
              <a:gd name="connsiteY242" fmla="*/ 4652 h 10000"/>
              <a:gd name="connsiteX243" fmla="*/ 1557 w 10277"/>
              <a:gd name="connsiteY243" fmla="*/ 4687 h 10000"/>
              <a:gd name="connsiteX244" fmla="*/ 1490 w 10277"/>
              <a:gd name="connsiteY244" fmla="*/ 4737 h 10000"/>
              <a:gd name="connsiteX245" fmla="*/ 1640 w 10277"/>
              <a:gd name="connsiteY245" fmla="*/ 4855 h 10000"/>
              <a:gd name="connsiteX246" fmla="*/ 1726 w 10277"/>
              <a:gd name="connsiteY246" fmla="*/ 5136 h 10000"/>
              <a:gd name="connsiteX247" fmla="*/ 1531 w 10277"/>
              <a:gd name="connsiteY247" fmla="*/ 5376 h 10000"/>
              <a:gd name="connsiteX248" fmla="*/ 1599 w 10277"/>
              <a:gd name="connsiteY248" fmla="*/ 5451 h 10000"/>
              <a:gd name="connsiteX249" fmla="*/ 1537 w 10277"/>
              <a:gd name="connsiteY249" fmla="*/ 5577 h 10000"/>
              <a:gd name="connsiteX250" fmla="*/ 1412 w 10277"/>
              <a:gd name="connsiteY250" fmla="*/ 5663 h 10000"/>
              <a:gd name="connsiteX251" fmla="*/ 915 w 10277"/>
              <a:gd name="connsiteY251" fmla="*/ 5730 h 10000"/>
              <a:gd name="connsiteX252" fmla="*/ 885 w 10277"/>
              <a:gd name="connsiteY252" fmla="*/ 5846 h 10000"/>
              <a:gd name="connsiteX253" fmla="*/ 617 w 10277"/>
              <a:gd name="connsiteY253" fmla="*/ 6019 h 10000"/>
              <a:gd name="connsiteX254" fmla="*/ 652 w 10277"/>
              <a:gd name="connsiteY254" fmla="*/ 6268 h 10000"/>
              <a:gd name="connsiteX255" fmla="*/ 427 w 10277"/>
              <a:gd name="connsiteY255" fmla="*/ 6587 h 10000"/>
              <a:gd name="connsiteX256" fmla="*/ 274 w 10277"/>
              <a:gd name="connsiteY256" fmla="*/ 6624 h 10000"/>
              <a:gd name="connsiteX257" fmla="*/ 210 w 10277"/>
              <a:gd name="connsiteY257" fmla="*/ 6548 h 10000"/>
              <a:gd name="connsiteX258" fmla="*/ 132 w 10277"/>
              <a:gd name="connsiteY258" fmla="*/ 6663 h 10000"/>
              <a:gd name="connsiteX259" fmla="*/ 183 w 10277"/>
              <a:gd name="connsiteY259" fmla="*/ 6465 h 10000"/>
              <a:gd name="connsiteX260" fmla="*/ 151 w 10277"/>
              <a:gd name="connsiteY260" fmla="*/ 6427 h 10000"/>
              <a:gd name="connsiteX0" fmla="*/ 151 w 10277"/>
              <a:gd name="connsiteY0" fmla="*/ 6427 h 10000"/>
              <a:gd name="connsiteX1" fmla="*/ 0 w 10277"/>
              <a:gd name="connsiteY1" fmla="*/ 6530 h 10000"/>
              <a:gd name="connsiteX2" fmla="*/ 0 w 10277"/>
              <a:gd name="connsiteY2" fmla="*/ 7039 h 10000"/>
              <a:gd name="connsiteX3" fmla="*/ 83 w 10277"/>
              <a:gd name="connsiteY3" fmla="*/ 7053 h 10000"/>
              <a:gd name="connsiteX4" fmla="*/ 103 w 10277"/>
              <a:gd name="connsiteY4" fmla="*/ 7092 h 10000"/>
              <a:gd name="connsiteX5" fmla="*/ 99 w 10277"/>
              <a:gd name="connsiteY5" fmla="*/ 7161 h 10000"/>
              <a:gd name="connsiteX6" fmla="*/ 68 w 10277"/>
              <a:gd name="connsiteY6" fmla="*/ 7192 h 10000"/>
              <a:gd name="connsiteX7" fmla="*/ 195 w 10277"/>
              <a:gd name="connsiteY7" fmla="*/ 7133 h 10000"/>
              <a:gd name="connsiteX8" fmla="*/ 249 w 10277"/>
              <a:gd name="connsiteY8" fmla="*/ 7075 h 10000"/>
              <a:gd name="connsiteX9" fmla="*/ 315 w 10277"/>
              <a:gd name="connsiteY9" fmla="*/ 7115 h 10000"/>
              <a:gd name="connsiteX10" fmla="*/ 242 w 10277"/>
              <a:gd name="connsiteY10" fmla="*/ 7198 h 10000"/>
              <a:gd name="connsiteX11" fmla="*/ 320 w 10277"/>
              <a:gd name="connsiteY11" fmla="*/ 7200 h 10000"/>
              <a:gd name="connsiteX12" fmla="*/ 358 w 10277"/>
              <a:gd name="connsiteY12" fmla="*/ 7221 h 10000"/>
              <a:gd name="connsiteX13" fmla="*/ 257 w 10277"/>
              <a:gd name="connsiteY13" fmla="*/ 7248 h 10000"/>
              <a:gd name="connsiteX14" fmla="*/ 99 w 10277"/>
              <a:gd name="connsiteY14" fmla="*/ 7333 h 10000"/>
              <a:gd name="connsiteX15" fmla="*/ 381 w 10277"/>
              <a:gd name="connsiteY15" fmla="*/ 7400 h 10000"/>
              <a:gd name="connsiteX16" fmla="*/ 416 w 10277"/>
              <a:gd name="connsiteY16" fmla="*/ 7496 h 10000"/>
              <a:gd name="connsiteX17" fmla="*/ 320 w 10277"/>
              <a:gd name="connsiteY17" fmla="*/ 7636 h 10000"/>
              <a:gd name="connsiteX18" fmla="*/ 526 w 10277"/>
              <a:gd name="connsiteY18" fmla="*/ 7627 h 10000"/>
              <a:gd name="connsiteX19" fmla="*/ 541 w 10277"/>
              <a:gd name="connsiteY19" fmla="*/ 7733 h 10000"/>
              <a:gd name="connsiteX20" fmla="*/ 404 w 10277"/>
              <a:gd name="connsiteY20" fmla="*/ 7805 h 10000"/>
              <a:gd name="connsiteX21" fmla="*/ 427 w 10277"/>
              <a:gd name="connsiteY21" fmla="*/ 7945 h 10000"/>
              <a:gd name="connsiteX22" fmla="*/ 374 w 10277"/>
              <a:gd name="connsiteY22" fmla="*/ 8053 h 10000"/>
              <a:gd name="connsiteX23" fmla="*/ 536 w 10277"/>
              <a:gd name="connsiteY23" fmla="*/ 8063 h 10000"/>
              <a:gd name="connsiteX24" fmla="*/ 695 w 10277"/>
              <a:gd name="connsiteY24" fmla="*/ 8478 h 10000"/>
              <a:gd name="connsiteX25" fmla="*/ 878 w 10277"/>
              <a:gd name="connsiteY25" fmla="*/ 8583 h 10000"/>
              <a:gd name="connsiteX26" fmla="*/ 958 w 10277"/>
              <a:gd name="connsiteY26" fmla="*/ 8695 h 10000"/>
              <a:gd name="connsiteX27" fmla="*/ 1157 w 10277"/>
              <a:gd name="connsiteY27" fmla="*/ 8776 h 10000"/>
              <a:gd name="connsiteX28" fmla="*/ 1285 w 10277"/>
              <a:gd name="connsiteY28" fmla="*/ 8881 h 10000"/>
              <a:gd name="connsiteX29" fmla="*/ 1269 w 10277"/>
              <a:gd name="connsiteY29" fmla="*/ 8955 h 10000"/>
              <a:gd name="connsiteX30" fmla="*/ 1142 w 10277"/>
              <a:gd name="connsiteY30" fmla="*/ 8983 h 10000"/>
              <a:gd name="connsiteX31" fmla="*/ 1004 w 10277"/>
              <a:gd name="connsiteY31" fmla="*/ 8965 h 10000"/>
              <a:gd name="connsiteX32" fmla="*/ 962 w 10277"/>
              <a:gd name="connsiteY32" fmla="*/ 8996 h 10000"/>
              <a:gd name="connsiteX33" fmla="*/ 1067 w 10277"/>
              <a:gd name="connsiteY33" fmla="*/ 9158 h 10000"/>
              <a:gd name="connsiteX34" fmla="*/ 920 w 10277"/>
              <a:gd name="connsiteY34" fmla="*/ 9144 h 10000"/>
              <a:gd name="connsiteX35" fmla="*/ 795 w 10277"/>
              <a:gd name="connsiteY35" fmla="*/ 9105 h 10000"/>
              <a:gd name="connsiteX36" fmla="*/ 772 w 10277"/>
              <a:gd name="connsiteY36" fmla="*/ 9165 h 10000"/>
              <a:gd name="connsiteX37" fmla="*/ 1188 w 10277"/>
              <a:gd name="connsiteY37" fmla="*/ 9718 h 10000"/>
              <a:gd name="connsiteX38" fmla="*/ 1122 w 10277"/>
              <a:gd name="connsiteY38" fmla="*/ 9770 h 10000"/>
              <a:gd name="connsiteX39" fmla="*/ 1075 w 10277"/>
              <a:gd name="connsiteY39" fmla="*/ 9876 h 10000"/>
              <a:gd name="connsiteX40" fmla="*/ 1015 w 10277"/>
              <a:gd name="connsiteY40" fmla="*/ 9885 h 10000"/>
              <a:gd name="connsiteX41" fmla="*/ 978 w 10277"/>
              <a:gd name="connsiteY41" fmla="*/ 9931 h 10000"/>
              <a:gd name="connsiteX42" fmla="*/ 1229 w 10277"/>
              <a:gd name="connsiteY42" fmla="*/ 9936 h 10000"/>
              <a:gd name="connsiteX43" fmla="*/ 1451 w 10277"/>
              <a:gd name="connsiteY43" fmla="*/ 9982 h 10000"/>
              <a:gd name="connsiteX44" fmla="*/ 1820 w 10277"/>
              <a:gd name="connsiteY44" fmla="*/ 9933 h 10000"/>
              <a:gd name="connsiteX45" fmla="*/ 2151 w 10277"/>
              <a:gd name="connsiteY45" fmla="*/ 9941 h 10000"/>
              <a:gd name="connsiteX46" fmla="*/ 2346 w 10277"/>
              <a:gd name="connsiteY46" fmla="*/ 10000 h 10000"/>
              <a:gd name="connsiteX47" fmla="*/ 2454 w 10277"/>
              <a:gd name="connsiteY47" fmla="*/ 9961 h 10000"/>
              <a:gd name="connsiteX48" fmla="*/ 2557 w 10277"/>
              <a:gd name="connsiteY48" fmla="*/ 9834 h 10000"/>
              <a:gd name="connsiteX49" fmla="*/ 2530 w 10277"/>
              <a:gd name="connsiteY49" fmla="*/ 9625 h 10000"/>
              <a:gd name="connsiteX50" fmla="*/ 2782 w 10277"/>
              <a:gd name="connsiteY50" fmla="*/ 9392 h 10000"/>
              <a:gd name="connsiteX51" fmla="*/ 2966 w 10277"/>
              <a:gd name="connsiteY51" fmla="*/ 9428 h 10000"/>
              <a:gd name="connsiteX52" fmla="*/ 3073 w 10277"/>
              <a:gd name="connsiteY52" fmla="*/ 9335 h 10000"/>
              <a:gd name="connsiteX53" fmla="*/ 3278 w 10277"/>
              <a:gd name="connsiteY53" fmla="*/ 9282 h 10000"/>
              <a:gd name="connsiteX54" fmla="*/ 3557 w 10277"/>
              <a:gd name="connsiteY54" fmla="*/ 9295 h 10000"/>
              <a:gd name="connsiteX55" fmla="*/ 3724 w 10277"/>
              <a:gd name="connsiteY55" fmla="*/ 9332 h 10000"/>
              <a:gd name="connsiteX56" fmla="*/ 3948 w 10277"/>
              <a:gd name="connsiteY56" fmla="*/ 9315 h 10000"/>
              <a:gd name="connsiteX57" fmla="*/ 4173 w 10277"/>
              <a:gd name="connsiteY57" fmla="*/ 9356 h 10000"/>
              <a:gd name="connsiteX58" fmla="*/ 4398 w 10277"/>
              <a:gd name="connsiteY58" fmla="*/ 9361 h 10000"/>
              <a:gd name="connsiteX59" fmla="*/ 4902 w 10277"/>
              <a:gd name="connsiteY59" fmla="*/ 8817 h 10000"/>
              <a:gd name="connsiteX60" fmla="*/ 5030 w 10277"/>
              <a:gd name="connsiteY60" fmla="*/ 8375 h 10000"/>
              <a:gd name="connsiteX61" fmla="*/ 5235 w 10277"/>
              <a:gd name="connsiteY61" fmla="*/ 8177 h 10000"/>
              <a:gd name="connsiteX62" fmla="*/ 5235 w 10277"/>
              <a:gd name="connsiteY62" fmla="*/ 8073 h 10000"/>
              <a:gd name="connsiteX63" fmla="*/ 5160 w 10277"/>
              <a:gd name="connsiteY63" fmla="*/ 8015 h 10000"/>
              <a:gd name="connsiteX64" fmla="*/ 5281 w 10277"/>
              <a:gd name="connsiteY64" fmla="*/ 7922 h 10000"/>
              <a:gd name="connsiteX65" fmla="*/ 5259 w 10277"/>
              <a:gd name="connsiteY65" fmla="*/ 7844 h 10000"/>
              <a:gd name="connsiteX66" fmla="*/ 5177 w 10277"/>
              <a:gd name="connsiteY66" fmla="*/ 7776 h 10000"/>
              <a:gd name="connsiteX67" fmla="*/ 5160 w 10277"/>
              <a:gd name="connsiteY67" fmla="*/ 7728 h 10000"/>
              <a:gd name="connsiteX68" fmla="*/ 5181 w 10277"/>
              <a:gd name="connsiteY68" fmla="*/ 7691 h 10000"/>
              <a:gd name="connsiteX69" fmla="*/ 5292 w 10277"/>
              <a:gd name="connsiteY69" fmla="*/ 7721 h 10000"/>
              <a:gd name="connsiteX70" fmla="*/ 5381 w 10277"/>
              <a:gd name="connsiteY70" fmla="*/ 7719 h 10000"/>
              <a:gd name="connsiteX71" fmla="*/ 5333 w 10277"/>
              <a:gd name="connsiteY71" fmla="*/ 7655 h 10000"/>
              <a:gd name="connsiteX72" fmla="*/ 5348 w 10277"/>
              <a:gd name="connsiteY72" fmla="*/ 7619 h 10000"/>
              <a:gd name="connsiteX73" fmla="*/ 5414 w 10277"/>
              <a:gd name="connsiteY73" fmla="*/ 7565 h 10000"/>
              <a:gd name="connsiteX74" fmla="*/ 5401 w 10277"/>
              <a:gd name="connsiteY74" fmla="*/ 7521 h 10000"/>
              <a:gd name="connsiteX75" fmla="*/ 5462 w 10277"/>
              <a:gd name="connsiteY75" fmla="*/ 7373 h 10000"/>
              <a:gd name="connsiteX76" fmla="*/ 5445 w 10277"/>
              <a:gd name="connsiteY76" fmla="*/ 7327 h 10000"/>
              <a:gd name="connsiteX77" fmla="*/ 5140 w 10277"/>
              <a:gd name="connsiteY77" fmla="*/ 7216 h 10000"/>
              <a:gd name="connsiteX78" fmla="*/ 5181 w 10277"/>
              <a:gd name="connsiteY78" fmla="*/ 7211 h 10000"/>
              <a:gd name="connsiteX79" fmla="*/ 5344 w 10277"/>
              <a:gd name="connsiteY79" fmla="*/ 7241 h 10000"/>
              <a:gd name="connsiteX80" fmla="*/ 5520 w 10277"/>
              <a:gd name="connsiteY80" fmla="*/ 7230 h 10000"/>
              <a:gd name="connsiteX81" fmla="*/ 5571 w 10277"/>
              <a:gd name="connsiteY81" fmla="*/ 7189 h 10000"/>
              <a:gd name="connsiteX82" fmla="*/ 5401 w 10277"/>
              <a:gd name="connsiteY82" fmla="*/ 7113 h 10000"/>
              <a:gd name="connsiteX83" fmla="*/ 4898 w 10277"/>
              <a:gd name="connsiteY83" fmla="*/ 7062 h 10000"/>
              <a:gd name="connsiteX84" fmla="*/ 4932 w 10277"/>
              <a:gd name="connsiteY84" fmla="*/ 7039 h 10000"/>
              <a:gd name="connsiteX85" fmla="*/ 5344 w 10277"/>
              <a:gd name="connsiteY85" fmla="*/ 7023 h 10000"/>
              <a:gd name="connsiteX86" fmla="*/ 5571 w 10277"/>
              <a:gd name="connsiteY86" fmla="*/ 7069 h 10000"/>
              <a:gd name="connsiteX87" fmla="*/ 5702 w 10277"/>
              <a:gd name="connsiteY87" fmla="*/ 7039 h 10000"/>
              <a:gd name="connsiteX88" fmla="*/ 5750 w 10277"/>
              <a:gd name="connsiteY88" fmla="*/ 6959 h 10000"/>
              <a:gd name="connsiteX89" fmla="*/ 5987 w 10277"/>
              <a:gd name="connsiteY89" fmla="*/ 6959 h 10000"/>
              <a:gd name="connsiteX90" fmla="*/ 6308 w 10277"/>
              <a:gd name="connsiteY90" fmla="*/ 6799 h 10000"/>
              <a:gd name="connsiteX91" fmla="*/ 6319 w 10277"/>
              <a:gd name="connsiteY91" fmla="*/ 6693 h 10000"/>
              <a:gd name="connsiteX92" fmla="*/ 6455 w 10277"/>
              <a:gd name="connsiteY92" fmla="*/ 6718 h 10000"/>
              <a:gd name="connsiteX93" fmla="*/ 6449 w 10277"/>
              <a:gd name="connsiteY93" fmla="*/ 6824 h 10000"/>
              <a:gd name="connsiteX94" fmla="*/ 6665 w 10277"/>
              <a:gd name="connsiteY94" fmla="*/ 6817 h 10000"/>
              <a:gd name="connsiteX95" fmla="*/ 6807 w 10277"/>
              <a:gd name="connsiteY95" fmla="*/ 6707 h 10000"/>
              <a:gd name="connsiteX96" fmla="*/ 7070 w 10277"/>
              <a:gd name="connsiteY96" fmla="*/ 6607 h 10000"/>
              <a:gd name="connsiteX97" fmla="*/ 7029 w 10277"/>
              <a:gd name="connsiteY97" fmla="*/ 6493 h 10000"/>
              <a:gd name="connsiteX98" fmla="*/ 7107 w 10277"/>
              <a:gd name="connsiteY98" fmla="*/ 6538 h 10000"/>
              <a:gd name="connsiteX99" fmla="*/ 7227 w 10277"/>
              <a:gd name="connsiteY99" fmla="*/ 6538 h 10000"/>
              <a:gd name="connsiteX100" fmla="*/ 7227 w 10277"/>
              <a:gd name="connsiteY100" fmla="*/ 6486 h 10000"/>
              <a:gd name="connsiteX101" fmla="*/ 7340 w 10277"/>
              <a:gd name="connsiteY101" fmla="*/ 6446 h 10000"/>
              <a:gd name="connsiteX102" fmla="*/ 7324 w 10277"/>
              <a:gd name="connsiteY102" fmla="*/ 6405 h 10000"/>
              <a:gd name="connsiteX103" fmla="*/ 6377 w 10277"/>
              <a:gd name="connsiteY103" fmla="*/ 6488 h 10000"/>
              <a:gd name="connsiteX104" fmla="*/ 6155 w 10277"/>
              <a:gd name="connsiteY104" fmla="*/ 6463 h 10000"/>
              <a:gd name="connsiteX105" fmla="*/ 6065 w 10277"/>
              <a:gd name="connsiteY105" fmla="*/ 6493 h 10000"/>
              <a:gd name="connsiteX106" fmla="*/ 6035 w 10277"/>
              <a:gd name="connsiteY106" fmla="*/ 6436 h 10000"/>
              <a:gd name="connsiteX107" fmla="*/ 5930 w 10277"/>
              <a:gd name="connsiteY107" fmla="*/ 6384 h 10000"/>
              <a:gd name="connsiteX108" fmla="*/ 5508 w 10277"/>
              <a:gd name="connsiteY108" fmla="*/ 6282 h 10000"/>
              <a:gd name="connsiteX109" fmla="*/ 5259 w 10277"/>
              <a:gd name="connsiteY109" fmla="*/ 6298 h 10000"/>
              <a:gd name="connsiteX110" fmla="*/ 5160 w 10277"/>
              <a:gd name="connsiteY110" fmla="*/ 6270 h 10000"/>
              <a:gd name="connsiteX111" fmla="*/ 5265 w 10277"/>
              <a:gd name="connsiteY111" fmla="*/ 6245 h 10000"/>
              <a:gd name="connsiteX112" fmla="*/ 5344 w 10277"/>
              <a:gd name="connsiteY112" fmla="*/ 6190 h 10000"/>
              <a:gd name="connsiteX113" fmla="*/ 5462 w 10277"/>
              <a:gd name="connsiteY113" fmla="*/ 6208 h 10000"/>
              <a:gd name="connsiteX114" fmla="*/ 5602 w 10277"/>
              <a:gd name="connsiteY114" fmla="*/ 6193 h 10000"/>
              <a:gd name="connsiteX115" fmla="*/ 5813 w 10277"/>
              <a:gd name="connsiteY115" fmla="*/ 6211 h 10000"/>
              <a:gd name="connsiteX116" fmla="*/ 5838 w 10277"/>
              <a:gd name="connsiteY116" fmla="*/ 6204 h 10000"/>
              <a:gd name="connsiteX117" fmla="*/ 6002 w 10277"/>
              <a:gd name="connsiteY117" fmla="*/ 6287 h 10000"/>
              <a:gd name="connsiteX118" fmla="*/ 6122 w 10277"/>
              <a:gd name="connsiteY118" fmla="*/ 6257 h 10000"/>
              <a:gd name="connsiteX119" fmla="*/ 6133 w 10277"/>
              <a:gd name="connsiteY119" fmla="*/ 6229 h 10000"/>
              <a:gd name="connsiteX120" fmla="*/ 6244 w 10277"/>
              <a:gd name="connsiteY120" fmla="*/ 6278 h 10000"/>
              <a:gd name="connsiteX121" fmla="*/ 6391 w 10277"/>
              <a:gd name="connsiteY121" fmla="*/ 6304 h 10000"/>
              <a:gd name="connsiteX122" fmla="*/ 6449 w 10277"/>
              <a:gd name="connsiteY122" fmla="*/ 6255 h 10000"/>
              <a:gd name="connsiteX123" fmla="*/ 6496 w 10277"/>
              <a:gd name="connsiteY123" fmla="*/ 6282 h 10000"/>
              <a:gd name="connsiteX124" fmla="*/ 6565 w 10277"/>
              <a:gd name="connsiteY124" fmla="*/ 6377 h 10000"/>
              <a:gd name="connsiteX125" fmla="*/ 6707 w 10277"/>
              <a:gd name="connsiteY125" fmla="*/ 6399 h 10000"/>
              <a:gd name="connsiteX126" fmla="*/ 7286 w 10277"/>
              <a:gd name="connsiteY126" fmla="*/ 6259 h 10000"/>
              <a:gd name="connsiteX127" fmla="*/ 7571 w 10277"/>
              <a:gd name="connsiteY127" fmla="*/ 6064 h 10000"/>
              <a:gd name="connsiteX128" fmla="*/ 7637 w 10277"/>
              <a:gd name="connsiteY128" fmla="*/ 5921 h 10000"/>
              <a:gd name="connsiteX129" fmla="*/ 7534 w 10277"/>
              <a:gd name="connsiteY129" fmla="*/ 5792 h 10000"/>
              <a:gd name="connsiteX130" fmla="*/ 7318 w 10277"/>
              <a:gd name="connsiteY130" fmla="*/ 5715 h 10000"/>
              <a:gd name="connsiteX131" fmla="*/ 7164 w 10277"/>
              <a:gd name="connsiteY131" fmla="*/ 5589 h 10000"/>
              <a:gd name="connsiteX132" fmla="*/ 7307 w 10277"/>
              <a:gd name="connsiteY132" fmla="*/ 5584 h 10000"/>
              <a:gd name="connsiteX133" fmla="*/ 7297 w 10277"/>
              <a:gd name="connsiteY133" fmla="*/ 5554 h 10000"/>
              <a:gd name="connsiteX134" fmla="*/ 6925 w 10277"/>
              <a:gd name="connsiteY134" fmla="*/ 5465 h 10000"/>
              <a:gd name="connsiteX135" fmla="*/ 6909 w 10277"/>
              <a:gd name="connsiteY135" fmla="*/ 5383 h 10000"/>
              <a:gd name="connsiteX136" fmla="*/ 6837 w 10277"/>
              <a:gd name="connsiteY136" fmla="*/ 5299 h 10000"/>
              <a:gd name="connsiteX137" fmla="*/ 6543 w 10277"/>
              <a:gd name="connsiteY137" fmla="*/ 5314 h 10000"/>
              <a:gd name="connsiteX138" fmla="*/ 6438 w 10277"/>
              <a:gd name="connsiteY138" fmla="*/ 5224 h 10000"/>
              <a:gd name="connsiteX139" fmla="*/ 6377 w 10277"/>
              <a:gd name="connsiteY139" fmla="*/ 5219 h 10000"/>
              <a:gd name="connsiteX140" fmla="*/ 6377 w 10277"/>
              <a:gd name="connsiteY140" fmla="*/ 5256 h 10000"/>
              <a:gd name="connsiteX141" fmla="*/ 6244 w 10277"/>
              <a:gd name="connsiteY141" fmla="*/ 5408 h 10000"/>
              <a:gd name="connsiteX142" fmla="*/ 6101 w 10277"/>
              <a:gd name="connsiteY142" fmla="*/ 5498 h 10000"/>
              <a:gd name="connsiteX143" fmla="*/ 5653 w 10277"/>
              <a:gd name="connsiteY143" fmla="*/ 5651 h 10000"/>
              <a:gd name="connsiteX144" fmla="*/ 5496 w 10277"/>
              <a:gd name="connsiteY144" fmla="*/ 5646 h 10000"/>
              <a:gd name="connsiteX145" fmla="*/ 5281 w 10277"/>
              <a:gd name="connsiteY145" fmla="*/ 5669 h 10000"/>
              <a:gd name="connsiteX146" fmla="*/ 5160 w 10277"/>
              <a:gd name="connsiteY146" fmla="*/ 5646 h 10000"/>
              <a:gd name="connsiteX147" fmla="*/ 5318 w 10277"/>
              <a:gd name="connsiteY147" fmla="*/ 5604 h 10000"/>
              <a:gd name="connsiteX148" fmla="*/ 5524 w 10277"/>
              <a:gd name="connsiteY148" fmla="*/ 5584 h 10000"/>
              <a:gd name="connsiteX149" fmla="*/ 5693 w 10277"/>
              <a:gd name="connsiteY149" fmla="*/ 5513 h 10000"/>
              <a:gd name="connsiteX150" fmla="*/ 5859 w 10277"/>
              <a:gd name="connsiteY150" fmla="*/ 5480 h 10000"/>
              <a:gd name="connsiteX151" fmla="*/ 6171 w 10277"/>
              <a:gd name="connsiteY151" fmla="*/ 5355 h 10000"/>
              <a:gd name="connsiteX152" fmla="*/ 6230 w 10277"/>
              <a:gd name="connsiteY152" fmla="*/ 5274 h 10000"/>
              <a:gd name="connsiteX153" fmla="*/ 6235 w 10277"/>
              <a:gd name="connsiteY153" fmla="*/ 5168 h 10000"/>
              <a:gd name="connsiteX154" fmla="*/ 6092 w 10277"/>
              <a:gd name="connsiteY154" fmla="*/ 5150 h 10000"/>
              <a:gd name="connsiteX155" fmla="*/ 6155 w 10277"/>
              <a:gd name="connsiteY155" fmla="*/ 5086 h 10000"/>
              <a:gd name="connsiteX156" fmla="*/ 6175 w 10277"/>
              <a:gd name="connsiteY156" fmla="*/ 5005 h 10000"/>
              <a:gd name="connsiteX157" fmla="*/ 6115 w 10277"/>
              <a:gd name="connsiteY157" fmla="*/ 4928 h 10000"/>
              <a:gd name="connsiteX158" fmla="*/ 6081 w 10277"/>
              <a:gd name="connsiteY158" fmla="*/ 4367 h 10000"/>
              <a:gd name="connsiteX159" fmla="*/ 6166 w 10277"/>
              <a:gd name="connsiteY159" fmla="*/ 4246 h 10000"/>
              <a:gd name="connsiteX160" fmla="*/ 6144 w 10277"/>
              <a:gd name="connsiteY160" fmla="*/ 4198 h 10000"/>
              <a:gd name="connsiteX161" fmla="*/ 6391 w 10277"/>
              <a:gd name="connsiteY161" fmla="*/ 4269 h 10000"/>
              <a:gd name="connsiteX162" fmla="*/ 6408 w 10277"/>
              <a:gd name="connsiteY162" fmla="*/ 4202 h 10000"/>
              <a:gd name="connsiteX163" fmla="*/ 6354 w 10277"/>
              <a:gd name="connsiteY163" fmla="*/ 4029 h 10000"/>
              <a:gd name="connsiteX164" fmla="*/ 6532 w 10277"/>
              <a:gd name="connsiteY164" fmla="*/ 3719 h 10000"/>
              <a:gd name="connsiteX165" fmla="*/ 6423 w 10277"/>
              <a:gd name="connsiteY165" fmla="*/ 3645 h 10000"/>
              <a:gd name="connsiteX166" fmla="*/ 6381 w 10277"/>
              <a:gd name="connsiteY166" fmla="*/ 3576 h 10000"/>
              <a:gd name="connsiteX167" fmla="*/ 6395 w 10277"/>
              <a:gd name="connsiteY167" fmla="*/ 3463 h 10000"/>
              <a:gd name="connsiteX168" fmla="*/ 6656 w 10277"/>
              <a:gd name="connsiteY168" fmla="*/ 3538 h 10000"/>
              <a:gd name="connsiteX169" fmla="*/ 6665 w 10277"/>
              <a:gd name="connsiteY169" fmla="*/ 3516 h 10000"/>
              <a:gd name="connsiteX170" fmla="*/ 6737 w 10277"/>
              <a:gd name="connsiteY170" fmla="*/ 3497 h 10000"/>
              <a:gd name="connsiteX171" fmla="*/ 6837 w 10277"/>
              <a:gd name="connsiteY171" fmla="*/ 3424 h 10000"/>
              <a:gd name="connsiteX172" fmla="*/ 6854 w 10277"/>
              <a:gd name="connsiteY172" fmla="*/ 3404 h 10000"/>
              <a:gd name="connsiteX173" fmla="*/ 6832 w 10277"/>
              <a:gd name="connsiteY173" fmla="*/ 3377 h 10000"/>
              <a:gd name="connsiteX174" fmla="*/ 6886 w 10277"/>
              <a:gd name="connsiteY174" fmla="*/ 3250 h 10000"/>
              <a:gd name="connsiteX175" fmla="*/ 6822 w 10277"/>
              <a:gd name="connsiteY175" fmla="*/ 3167 h 10000"/>
              <a:gd name="connsiteX176" fmla="*/ 6832 w 10277"/>
              <a:gd name="connsiteY176" fmla="*/ 3101 h 10000"/>
              <a:gd name="connsiteX177" fmla="*/ 6868 w 10277"/>
              <a:gd name="connsiteY177" fmla="*/ 3178 h 10000"/>
              <a:gd name="connsiteX178" fmla="*/ 7011 w 10277"/>
              <a:gd name="connsiteY178" fmla="*/ 3236 h 10000"/>
              <a:gd name="connsiteX179" fmla="*/ 7070 w 10277"/>
              <a:gd name="connsiteY179" fmla="*/ 3229 h 10000"/>
              <a:gd name="connsiteX180" fmla="*/ 7164 w 10277"/>
              <a:gd name="connsiteY180" fmla="*/ 3152 h 10000"/>
              <a:gd name="connsiteX181" fmla="*/ 7265 w 10277"/>
              <a:gd name="connsiteY181" fmla="*/ 3183 h 10000"/>
              <a:gd name="connsiteX182" fmla="*/ 7292 w 10277"/>
              <a:gd name="connsiteY182" fmla="*/ 3122 h 10000"/>
              <a:gd name="connsiteX183" fmla="*/ 7360 w 10277"/>
              <a:gd name="connsiteY183" fmla="*/ 3080 h 10000"/>
              <a:gd name="connsiteX184" fmla="*/ 7175 w 10277"/>
              <a:gd name="connsiteY184" fmla="*/ 3036 h 10000"/>
              <a:gd name="connsiteX185" fmla="*/ 7307 w 10277"/>
              <a:gd name="connsiteY185" fmla="*/ 3045 h 10000"/>
              <a:gd name="connsiteX186" fmla="*/ 7442 w 10277"/>
              <a:gd name="connsiteY186" fmla="*/ 2999 h 10000"/>
              <a:gd name="connsiteX187" fmla="*/ 7437 w 10277"/>
              <a:gd name="connsiteY187" fmla="*/ 2966 h 10000"/>
              <a:gd name="connsiteX188" fmla="*/ 7565 w 10277"/>
              <a:gd name="connsiteY188" fmla="*/ 2936 h 10000"/>
              <a:gd name="connsiteX189" fmla="*/ 7576 w 10277"/>
              <a:gd name="connsiteY189" fmla="*/ 2859 h 10000"/>
              <a:gd name="connsiteX190" fmla="*/ 7676 w 10277"/>
              <a:gd name="connsiteY190" fmla="*/ 2844 h 10000"/>
              <a:gd name="connsiteX191" fmla="*/ 7684 w 10277"/>
              <a:gd name="connsiteY191" fmla="*/ 2754 h 10000"/>
              <a:gd name="connsiteX192" fmla="*/ 7790 w 10277"/>
              <a:gd name="connsiteY192" fmla="*/ 2743 h 10000"/>
              <a:gd name="connsiteX193" fmla="*/ 7953 w 10277"/>
              <a:gd name="connsiteY193" fmla="*/ 2762 h 10000"/>
              <a:gd name="connsiteX194" fmla="*/ 8132 w 10277"/>
              <a:gd name="connsiteY194" fmla="*/ 2690 h 10000"/>
              <a:gd name="connsiteX195" fmla="*/ 8195 w 10277"/>
              <a:gd name="connsiteY195" fmla="*/ 2607 h 10000"/>
              <a:gd name="connsiteX196" fmla="*/ 8417 w 10277"/>
              <a:gd name="connsiteY196" fmla="*/ 2524 h 10000"/>
              <a:gd name="connsiteX197" fmla="*/ 8527 w 10277"/>
              <a:gd name="connsiteY197" fmla="*/ 2575 h 10000"/>
              <a:gd name="connsiteX198" fmla="*/ 8695 w 10277"/>
              <a:gd name="connsiteY198" fmla="*/ 2519 h 10000"/>
              <a:gd name="connsiteX199" fmla="*/ 8736 w 10277"/>
              <a:gd name="connsiteY199" fmla="*/ 2445 h 10000"/>
              <a:gd name="connsiteX200" fmla="*/ 8864 w 10277"/>
              <a:gd name="connsiteY200" fmla="*/ 2396 h 10000"/>
              <a:gd name="connsiteX201" fmla="*/ 8973 w 10277"/>
              <a:gd name="connsiteY201" fmla="*/ 2418 h 10000"/>
              <a:gd name="connsiteX202" fmla="*/ 9042 w 10277"/>
              <a:gd name="connsiteY202" fmla="*/ 2381 h 10000"/>
              <a:gd name="connsiteX203" fmla="*/ 9231 w 10277"/>
              <a:gd name="connsiteY203" fmla="*/ 2330 h 10000"/>
              <a:gd name="connsiteX204" fmla="*/ 9310 w 10277"/>
              <a:gd name="connsiteY204" fmla="*/ 2263 h 10000"/>
              <a:gd name="connsiteX205" fmla="*/ 9417 w 10277"/>
              <a:gd name="connsiteY205" fmla="*/ 2235 h 10000"/>
              <a:gd name="connsiteX206" fmla="*/ 10000 w 10277"/>
              <a:gd name="connsiteY206" fmla="*/ 1832 h 10000"/>
              <a:gd name="connsiteX207" fmla="*/ 10277 w 10277"/>
              <a:gd name="connsiteY207" fmla="*/ 1829 h 10000"/>
              <a:gd name="connsiteX208" fmla="*/ 8680 w 10277"/>
              <a:gd name="connsiteY208" fmla="*/ 1830 h 10000"/>
              <a:gd name="connsiteX209" fmla="*/ 8075 w 10277"/>
              <a:gd name="connsiteY209" fmla="*/ 1603 h 10000"/>
              <a:gd name="connsiteX210" fmla="*/ 8367 w 10277"/>
              <a:gd name="connsiteY210" fmla="*/ 1293 h 10000"/>
              <a:gd name="connsiteX211" fmla="*/ 7497 w 10277"/>
              <a:gd name="connsiteY211" fmla="*/ 923 h 10000"/>
              <a:gd name="connsiteX212" fmla="*/ 7377 w 10277"/>
              <a:gd name="connsiteY212" fmla="*/ 560 h 10000"/>
              <a:gd name="connsiteX213" fmla="*/ 7012 w 10277"/>
              <a:gd name="connsiteY213" fmla="*/ 590 h 10000"/>
              <a:gd name="connsiteX214" fmla="*/ 6413 w 10277"/>
              <a:gd name="connsiteY214" fmla="*/ 332 h 10000"/>
              <a:gd name="connsiteX215" fmla="*/ 5098 w 10277"/>
              <a:gd name="connsiteY215" fmla="*/ 0 h 10000"/>
              <a:gd name="connsiteX216" fmla="*/ 4837 w 10277"/>
              <a:gd name="connsiteY216" fmla="*/ 82 h 10000"/>
              <a:gd name="connsiteX217" fmla="*/ 4671 w 10277"/>
              <a:gd name="connsiteY217" fmla="*/ 78 h 10000"/>
              <a:gd name="connsiteX218" fmla="*/ 4571 w 10277"/>
              <a:gd name="connsiteY218" fmla="*/ 107 h 10000"/>
              <a:gd name="connsiteX219" fmla="*/ 4298 w 10277"/>
              <a:gd name="connsiteY219" fmla="*/ 913 h 10000"/>
              <a:gd name="connsiteX220" fmla="*/ 3668 w 10277"/>
              <a:gd name="connsiteY220" fmla="*/ 1383 h 10000"/>
              <a:gd name="connsiteX221" fmla="*/ 3672 w 10277"/>
              <a:gd name="connsiteY221" fmla="*/ 1457 h 10000"/>
              <a:gd name="connsiteX222" fmla="*/ 3952 w 10277"/>
              <a:gd name="connsiteY222" fmla="*/ 1668 h 10000"/>
              <a:gd name="connsiteX223" fmla="*/ 3861 w 10277"/>
              <a:gd name="connsiteY223" fmla="*/ 1896 h 10000"/>
              <a:gd name="connsiteX224" fmla="*/ 3698 w 10277"/>
              <a:gd name="connsiteY224" fmla="*/ 1979 h 10000"/>
              <a:gd name="connsiteX225" fmla="*/ 3208 w 10277"/>
              <a:gd name="connsiteY225" fmla="*/ 1924 h 10000"/>
              <a:gd name="connsiteX226" fmla="*/ 2871 w 10277"/>
              <a:gd name="connsiteY226" fmla="*/ 1955 h 10000"/>
              <a:gd name="connsiteX227" fmla="*/ 2601 w 10277"/>
              <a:gd name="connsiteY227" fmla="*/ 2023 h 10000"/>
              <a:gd name="connsiteX228" fmla="*/ 2163 w 10277"/>
              <a:gd name="connsiteY228" fmla="*/ 2233 h 10000"/>
              <a:gd name="connsiteX229" fmla="*/ 1931 w 10277"/>
              <a:gd name="connsiteY229" fmla="*/ 2487 h 10000"/>
              <a:gd name="connsiteX230" fmla="*/ 1951 w 10277"/>
              <a:gd name="connsiteY230" fmla="*/ 2629 h 10000"/>
              <a:gd name="connsiteX231" fmla="*/ 2032 w 10277"/>
              <a:gd name="connsiteY231" fmla="*/ 2738 h 10000"/>
              <a:gd name="connsiteX232" fmla="*/ 2093 w 10277"/>
              <a:gd name="connsiteY232" fmla="*/ 2782 h 10000"/>
              <a:gd name="connsiteX233" fmla="*/ 1979 w 10277"/>
              <a:gd name="connsiteY233" fmla="*/ 2852 h 10000"/>
              <a:gd name="connsiteX234" fmla="*/ 1731 w 10277"/>
              <a:gd name="connsiteY234" fmla="*/ 3330 h 10000"/>
              <a:gd name="connsiteX235" fmla="*/ 1779 w 10277"/>
              <a:gd name="connsiteY235" fmla="*/ 3358 h 10000"/>
              <a:gd name="connsiteX236" fmla="*/ 1815 w 10277"/>
              <a:gd name="connsiteY236" fmla="*/ 3479 h 10000"/>
              <a:gd name="connsiteX237" fmla="*/ 1700 w 10277"/>
              <a:gd name="connsiteY237" fmla="*/ 3982 h 10000"/>
              <a:gd name="connsiteX238" fmla="*/ 1815 w 10277"/>
              <a:gd name="connsiteY238" fmla="*/ 4110 h 10000"/>
              <a:gd name="connsiteX239" fmla="*/ 2131 w 10277"/>
              <a:gd name="connsiteY239" fmla="*/ 4251 h 10000"/>
              <a:gd name="connsiteX240" fmla="*/ 2145 w 10277"/>
              <a:gd name="connsiteY240" fmla="*/ 4423 h 10000"/>
              <a:gd name="connsiteX241" fmla="*/ 2010 w 10277"/>
              <a:gd name="connsiteY241" fmla="*/ 4566 h 10000"/>
              <a:gd name="connsiteX242" fmla="*/ 1815 w 10277"/>
              <a:gd name="connsiteY242" fmla="*/ 4652 h 10000"/>
              <a:gd name="connsiteX243" fmla="*/ 1557 w 10277"/>
              <a:gd name="connsiteY243" fmla="*/ 4687 h 10000"/>
              <a:gd name="connsiteX244" fmla="*/ 1490 w 10277"/>
              <a:gd name="connsiteY244" fmla="*/ 4737 h 10000"/>
              <a:gd name="connsiteX245" fmla="*/ 1640 w 10277"/>
              <a:gd name="connsiteY245" fmla="*/ 4855 h 10000"/>
              <a:gd name="connsiteX246" fmla="*/ 1726 w 10277"/>
              <a:gd name="connsiteY246" fmla="*/ 5136 h 10000"/>
              <a:gd name="connsiteX247" fmla="*/ 1531 w 10277"/>
              <a:gd name="connsiteY247" fmla="*/ 5376 h 10000"/>
              <a:gd name="connsiteX248" fmla="*/ 1599 w 10277"/>
              <a:gd name="connsiteY248" fmla="*/ 5451 h 10000"/>
              <a:gd name="connsiteX249" fmla="*/ 1537 w 10277"/>
              <a:gd name="connsiteY249" fmla="*/ 5577 h 10000"/>
              <a:gd name="connsiteX250" fmla="*/ 1412 w 10277"/>
              <a:gd name="connsiteY250" fmla="*/ 5663 h 10000"/>
              <a:gd name="connsiteX251" fmla="*/ 915 w 10277"/>
              <a:gd name="connsiteY251" fmla="*/ 5730 h 10000"/>
              <a:gd name="connsiteX252" fmla="*/ 885 w 10277"/>
              <a:gd name="connsiteY252" fmla="*/ 5846 h 10000"/>
              <a:gd name="connsiteX253" fmla="*/ 617 w 10277"/>
              <a:gd name="connsiteY253" fmla="*/ 6019 h 10000"/>
              <a:gd name="connsiteX254" fmla="*/ 652 w 10277"/>
              <a:gd name="connsiteY254" fmla="*/ 6268 h 10000"/>
              <a:gd name="connsiteX255" fmla="*/ 427 w 10277"/>
              <a:gd name="connsiteY255" fmla="*/ 6587 h 10000"/>
              <a:gd name="connsiteX256" fmla="*/ 274 w 10277"/>
              <a:gd name="connsiteY256" fmla="*/ 6624 h 10000"/>
              <a:gd name="connsiteX257" fmla="*/ 210 w 10277"/>
              <a:gd name="connsiteY257" fmla="*/ 6548 h 10000"/>
              <a:gd name="connsiteX258" fmla="*/ 132 w 10277"/>
              <a:gd name="connsiteY258" fmla="*/ 6663 h 10000"/>
              <a:gd name="connsiteX259" fmla="*/ 183 w 10277"/>
              <a:gd name="connsiteY259" fmla="*/ 6465 h 10000"/>
              <a:gd name="connsiteX260" fmla="*/ 151 w 10277"/>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571 w 10000"/>
              <a:gd name="connsiteY208" fmla="*/ 1727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571 w 10000"/>
              <a:gd name="connsiteY208" fmla="*/ 1727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1 w 10000"/>
              <a:gd name="connsiteY208" fmla="*/ 1668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1 w 10000"/>
              <a:gd name="connsiteY208" fmla="*/ 1668 h 10000"/>
              <a:gd name="connsiteX209" fmla="*/ 8420 w 10000"/>
              <a:gd name="connsiteY209" fmla="*/ 1507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4 w 10000"/>
              <a:gd name="connsiteY208" fmla="*/ 1652 h 10000"/>
              <a:gd name="connsiteX209" fmla="*/ 8420 w 10000"/>
              <a:gd name="connsiteY209" fmla="*/ 1507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4 w 10000"/>
              <a:gd name="connsiteY208" fmla="*/ 1652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729 w 10000"/>
              <a:gd name="connsiteY208" fmla="*/ 1589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349 w 10000"/>
              <a:gd name="connsiteY207" fmla="*/ 1586 h 10000"/>
              <a:gd name="connsiteX208" fmla="*/ 8729 w 10000"/>
              <a:gd name="connsiteY208" fmla="*/ 1589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349 w 10000"/>
              <a:gd name="connsiteY207" fmla="*/ 1586 h 10000"/>
              <a:gd name="connsiteX208" fmla="*/ 8651 w 10000"/>
              <a:gd name="connsiteY208" fmla="*/ 1650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8651 w 10000"/>
              <a:gd name="connsiteY208" fmla="*/ 1650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784 w 10000"/>
              <a:gd name="connsiteY209" fmla="*/ 1639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784 w 10000"/>
              <a:gd name="connsiteY209" fmla="*/ 1639 h 10000"/>
              <a:gd name="connsiteX210" fmla="*/ 8850 w 10000"/>
              <a:gd name="connsiteY210" fmla="*/ 1480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0000" h="10000">
                <a:moveTo>
                  <a:pt x="151" y="6427"/>
                </a:moveTo>
                <a:cubicBezTo>
                  <a:pt x="100" y="6461"/>
                  <a:pt x="50" y="6496"/>
                  <a:pt x="0" y="6530"/>
                </a:cubicBezTo>
                <a:lnTo>
                  <a:pt x="0" y="7039"/>
                </a:lnTo>
                <a:lnTo>
                  <a:pt x="83" y="7053"/>
                </a:lnTo>
                <a:cubicBezTo>
                  <a:pt x="92" y="7065"/>
                  <a:pt x="97" y="7080"/>
                  <a:pt x="103" y="7092"/>
                </a:cubicBezTo>
                <a:cubicBezTo>
                  <a:pt x="102" y="7115"/>
                  <a:pt x="100" y="7139"/>
                  <a:pt x="99" y="7161"/>
                </a:cubicBezTo>
                <a:cubicBezTo>
                  <a:pt x="88" y="7172"/>
                  <a:pt x="79" y="7182"/>
                  <a:pt x="68" y="7192"/>
                </a:cubicBezTo>
                <a:cubicBezTo>
                  <a:pt x="110" y="7172"/>
                  <a:pt x="153" y="7153"/>
                  <a:pt x="195" y="7133"/>
                </a:cubicBezTo>
                <a:cubicBezTo>
                  <a:pt x="212" y="7114"/>
                  <a:pt x="231" y="7095"/>
                  <a:pt x="249" y="7075"/>
                </a:cubicBezTo>
                <a:cubicBezTo>
                  <a:pt x="271" y="7088"/>
                  <a:pt x="293" y="7101"/>
                  <a:pt x="315" y="7115"/>
                </a:cubicBezTo>
                <a:cubicBezTo>
                  <a:pt x="291" y="7143"/>
                  <a:pt x="266" y="7170"/>
                  <a:pt x="242" y="7198"/>
                </a:cubicBezTo>
                <a:cubicBezTo>
                  <a:pt x="269" y="7199"/>
                  <a:pt x="294" y="7199"/>
                  <a:pt x="320" y="7200"/>
                </a:cubicBezTo>
                <a:cubicBezTo>
                  <a:pt x="332" y="7207"/>
                  <a:pt x="345" y="7215"/>
                  <a:pt x="358" y="7221"/>
                </a:cubicBezTo>
                <a:cubicBezTo>
                  <a:pt x="323" y="7229"/>
                  <a:pt x="291" y="7240"/>
                  <a:pt x="257" y="7248"/>
                </a:cubicBezTo>
                <a:cubicBezTo>
                  <a:pt x="206" y="7278"/>
                  <a:pt x="151" y="7305"/>
                  <a:pt x="99" y="7333"/>
                </a:cubicBezTo>
                <a:lnTo>
                  <a:pt x="381" y="7400"/>
                </a:lnTo>
                <a:cubicBezTo>
                  <a:pt x="392" y="7432"/>
                  <a:pt x="403" y="7464"/>
                  <a:pt x="416" y="7496"/>
                </a:cubicBezTo>
                <a:cubicBezTo>
                  <a:pt x="386" y="7543"/>
                  <a:pt x="353" y="7590"/>
                  <a:pt x="320" y="7636"/>
                </a:cubicBezTo>
                <a:lnTo>
                  <a:pt x="526" y="7627"/>
                </a:lnTo>
                <a:cubicBezTo>
                  <a:pt x="531" y="7662"/>
                  <a:pt x="537" y="7698"/>
                  <a:pt x="541" y="7733"/>
                </a:cubicBezTo>
                <a:cubicBezTo>
                  <a:pt x="496" y="7758"/>
                  <a:pt x="450" y="7781"/>
                  <a:pt x="404" y="7805"/>
                </a:cubicBezTo>
                <a:cubicBezTo>
                  <a:pt x="413" y="7853"/>
                  <a:pt x="419" y="7898"/>
                  <a:pt x="427" y="7945"/>
                </a:cubicBezTo>
                <a:cubicBezTo>
                  <a:pt x="408" y="7982"/>
                  <a:pt x="392" y="8017"/>
                  <a:pt x="374" y="8053"/>
                </a:cubicBezTo>
                <a:lnTo>
                  <a:pt x="536" y="8063"/>
                </a:lnTo>
                <a:cubicBezTo>
                  <a:pt x="591" y="8200"/>
                  <a:pt x="641" y="8339"/>
                  <a:pt x="695" y="8478"/>
                </a:cubicBezTo>
                <a:lnTo>
                  <a:pt x="878" y="8583"/>
                </a:lnTo>
                <a:cubicBezTo>
                  <a:pt x="903" y="8621"/>
                  <a:pt x="931" y="8657"/>
                  <a:pt x="958" y="8695"/>
                </a:cubicBezTo>
                <a:lnTo>
                  <a:pt x="1157" y="8776"/>
                </a:lnTo>
                <a:cubicBezTo>
                  <a:pt x="1201" y="8812"/>
                  <a:pt x="1242" y="8847"/>
                  <a:pt x="1285" y="8881"/>
                </a:cubicBezTo>
                <a:cubicBezTo>
                  <a:pt x="1280" y="8905"/>
                  <a:pt x="1274" y="8930"/>
                  <a:pt x="1269" y="8955"/>
                </a:cubicBezTo>
                <a:lnTo>
                  <a:pt x="1142" y="8983"/>
                </a:lnTo>
                <a:lnTo>
                  <a:pt x="1004" y="8965"/>
                </a:lnTo>
                <a:cubicBezTo>
                  <a:pt x="990" y="8975"/>
                  <a:pt x="977" y="8987"/>
                  <a:pt x="962" y="8996"/>
                </a:cubicBezTo>
                <a:cubicBezTo>
                  <a:pt x="997" y="9051"/>
                  <a:pt x="1034" y="9103"/>
                  <a:pt x="1067" y="9158"/>
                </a:cubicBezTo>
                <a:lnTo>
                  <a:pt x="920" y="9144"/>
                </a:lnTo>
                <a:cubicBezTo>
                  <a:pt x="878" y="9132"/>
                  <a:pt x="836" y="9119"/>
                  <a:pt x="795" y="9105"/>
                </a:cubicBezTo>
                <a:cubicBezTo>
                  <a:pt x="789" y="9126"/>
                  <a:pt x="779" y="9144"/>
                  <a:pt x="772" y="9165"/>
                </a:cubicBezTo>
                <a:lnTo>
                  <a:pt x="1188" y="9718"/>
                </a:lnTo>
                <a:cubicBezTo>
                  <a:pt x="1166" y="9735"/>
                  <a:pt x="1143" y="9752"/>
                  <a:pt x="1122" y="9770"/>
                </a:cubicBezTo>
                <a:cubicBezTo>
                  <a:pt x="1105" y="9805"/>
                  <a:pt x="1091" y="9841"/>
                  <a:pt x="1075" y="9876"/>
                </a:cubicBezTo>
                <a:lnTo>
                  <a:pt x="1015" y="9885"/>
                </a:lnTo>
                <a:cubicBezTo>
                  <a:pt x="1002" y="9899"/>
                  <a:pt x="991" y="9915"/>
                  <a:pt x="978" y="9931"/>
                </a:cubicBezTo>
                <a:lnTo>
                  <a:pt x="1229" y="9936"/>
                </a:lnTo>
                <a:lnTo>
                  <a:pt x="1451" y="9982"/>
                </a:lnTo>
                <a:lnTo>
                  <a:pt x="1820" y="9933"/>
                </a:lnTo>
                <a:lnTo>
                  <a:pt x="2151" y="9941"/>
                </a:lnTo>
                <a:lnTo>
                  <a:pt x="2346" y="10000"/>
                </a:lnTo>
                <a:cubicBezTo>
                  <a:pt x="2383" y="9988"/>
                  <a:pt x="2419" y="9973"/>
                  <a:pt x="2454" y="9961"/>
                </a:cubicBezTo>
                <a:cubicBezTo>
                  <a:pt x="2487" y="9919"/>
                  <a:pt x="2522" y="9876"/>
                  <a:pt x="2557" y="9834"/>
                </a:cubicBezTo>
                <a:cubicBezTo>
                  <a:pt x="2549" y="9765"/>
                  <a:pt x="2537" y="9695"/>
                  <a:pt x="2530" y="9625"/>
                </a:cubicBezTo>
                <a:lnTo>
                  <a:pt x="2782" y="9392"/>
                </a:lnTo>
                <a:lnTo>
                  <a:pt x="2966" y="9428"/>
                </a:lnTo>
                <a:cubicBezTo>
                  <a:pt x="3001" y="9396"/>
                  <a:pt x="3038" y="9366"/>
                  <a:pt x="3073" y="9335"/>
                </a:cubicBezTo>
                <a:lnTo>
                  <a:pt x="3278" y="9282"/>
                </a:lnTo>
                <a:lnTo>
                  <a:pt x="3557" y="9295"/>
                </a:lnTo>
                <a:lnTo>
                  <a:pt x="3724" y="9332"/>
                </a:lnTo>
                <a:lnTo>
                  <a:pt x="3948" y="9315"/>
                </a:lnTo>
                <a:lnTo>
                  <a:pt x="4173" y="9356"/>
                </a:lnTo>
                <a:lnTo>
                  <a:pt x="4398" y="9361"/>
                </a:lnTo>
                <a:lnTo>
                  <a:pt x="4902" y="8817"/>
                </a:lnTo>
                <a:cubicBezTo>
                  <a:pt x="4944" y="8668"/>
                  <a:pt x="4988" y="8522"/>
                  <a:pt x="5030" y="8375"/>
                </a:cubicBezTo>
                <a:lnTo>
                  <a:pt x="5235" y="8177"/>
                </a:lnTo>
                <a:lnTo>
                  <a:pt x="5235" y="8073"/>
                </a:lnTo>
                <a:cubicBezTo>
                  <a:pt x="5211" y="8053"/>
                  <a:pt x="5185" y="8034"/>
                  <a:pt x="5160" y="8015"/>
                </a:cubicBezTo>
                <a:cubicBezTo>
                  <a:pt x="5201" y="7984"/>
                  <a:pt x="5240" y="7953"/>
                  <a:pt x="5281" y="7922"/>
                </a:cubicBezTo>
                <a:cubicBezTo>
                  <a:pt x="5275" y="7896"/>
                  <a:pt x="5266" y="7869"/>
                  <a:pt x="5259" y="7844"/>
                </a:cubicBezTo>
                <a:cubicBezTo>
                  <a:pt x="5231" y="7819"/>
                  <a:pt x="5204" y="7798"/>
                  <a:pt x="5177" y="7776"/>
                </a:cubicBezTo>
                <a:cubicBezTo>
                  <a:pt x="5173" y="7760"/>
                  <a:pt x="5166" y="7744"/>
                  <a:pt x="5160" y="7728"/>
                </a:cubicBezTo>
                <a:cubicBezTo>
                  <a:pt x="5169" y="7716"/>
                  <a:pt x="5175" y="7703"/>
                  <a:pt x="5181" y="7691"/>
                </a:cubicBezTo>
                <a:lnTo>
                  <a:pt x="5292" y="7721"/>
                </a:lnTo>
                <a:cubicBezTo>
                  <a:pt x="5322" y="7720"/>
                  <a:pt x="5350" y="7720"/>
                  <a:pt x="5381" y="7719"/>
                </a:cubicBezTo>
                <a:cubicBezTo>
                  <a:pt x="5365" y="7697"/>
                  <a:pt x="5348" y="7676"/>
                  <a:pt x="5333" y="7655"/>
                </a:cubicBezTo>
                <a:cubicBezTo>
                  <a:pt x="5337" y="7644"/>
                  <a:pt x="5344" y="7630"/>
                  <a:pt x="5348" y="7619"/>
                </a:cubicBezTo>
                <a:lnTo>
                  <a:pt x="5414" y="7565"/>
                </a:lnTo>
                <a:cubicBezTo>
                  <a:pt x="5410" y="7550"/>
                  <a:pt x="5406" y="7536"/>
                  <a:pt x="5401" y="7521"/>
                </a:cubicBezTo>
                <a:cubicBezTo>
                  <a:pt x="5422" y="7473"/>
                  <a:pt x="5442" y="7422"/>
                  <a:pt x="5462" y="7373"/>
                </a:cubicBezTo>
                <a:cubicBezTo>
                  <a:pt x="5458" y="7358"/>
                  <a:pt x="5450" y="7344"/>
                  <a:pt x="5445" y="7327"/>
                </a:cubicBezTo>
                <a:lnTo>
                  <a:pt x="5140" y="7216"/>
                </a:lnTo>
                <a:cubicBezTo>
                  <a:pt x="5153" y="7215"/>
                  <a:pt x="5168" y="7212"/>
                  <a:pt x="5181" y="7211"/>
                </a:cubicBezTo>
                <a:lnTo>
                  <a:pt x="5344" y="7241"/>
                </a:lnTo>
                <a:lnTo>
                  <a:pt x="5520" y="7230"/>
                </a:lnTo>
                <a:cubicBezTo>
                  <a:pt x="5536" y="7217"/>
                  <a:pt x="5552" y="7202"/>
                  <a:pt x="5571" y="7189"/>
                </a:cubicBezTo>
                <a:lnTo>
                  <a:pt x="5401" y="7113"/>
                </a:lnTo>
                <a:lnTo>
                  <a:pt x="4898" y="7062"/>
                </a:lnTo>
                <a:cubicBezTo>
                  <a:pt x="4909" y="7055"/>
                  <a:pt x="4921" y="7046"/>
                  <a:pt x="4932" y="7039"/>
                </a:cubicBezTo>
                <a:lnTo>
                  <a:pt x="5344" y="7023"/>
                </a:lnTo>
                <a:lnTo>
                  <a:pt x="5571" y="7069"/>
                </a:lnTo>
                <a:lnTo>
                  <a:pt x="5702" y="7039"/>
                </a:lnTo>
                <a:cubicBezTo>
                  <a:pt x="5717" y="7012"/>
                  <a:pt x="5733" y="6985"/>
                  <a:pt x="5750" y="6959"/>
                </a:cubicBezTo>
                <a:lnTo>
                  <a:pt x="5987" y="6959"/>
                </a:lnTo>
                <a:lnTo>
                  <a:pt x="6308" y="6799"/>
                </a:lnTo>
                <a:cubicBezTo>
                  <a:pt x="6312" y="6764"/>
                  <a:pt x="6316" y="6728"/>
                  <a:pt x="6319" y="6693"/>
                </a:cubicBezTo>
                <a:lnTo>
                  <a:pt x="6455" y="6718"/>
                </a:lnTo>
                <a:cubicBezTo>
                  <a:pt x="6454" y="6753"/>
                  <a:pt x="6451" y="6789"/>
                  <a:pt x="6449" y="6824"/>
                </a:cubicBezTo>
                <a:lnTo>
                  <a:pt x="6665" y="6817"/>
                </a:lnTo>
                <a:cubicBezTo>
                  <a:pt x="6713" y="6781"/>
                  <a:pt x="6759" y="6743"/>
                  <a:pt x="6807" y="6707"/>
                </a:cubicBezTo>
                <a:lnTo>
                  <a:pt x="7070" y="6607"/>
                </a:lnTo>
                <a:cubicBezTo>
                  <a:pt x="7057" y="6570"/>
                  <a:pt x="7041" y="6531"/>
                  <a:pt x="7029" y="6493"/>
                </a:cubicBezTo>
                <a:cubicBezTo>
                  <a:pt x="7055" y="6509"/>
                  <a:pt x="7081" y="6522"/>
                  <a:pt x="7107" y="6538"/>
                </a:cubicBezTo>
                <a:lnTo>
                  <a:pt x="7227" y="6538"/>
                </a:lnTo>
                <a:lnTo>
                  <a:pt x="7227" y="6486"/>
                </a:lnTo>
                <a:cubicBezTo>
                  <a:pt x="7265" y="6473"/>
                  <a:pt x="7302" y="6459"/>
                  <a:pt x="7340" y="6446"/>
                </a:cubicBezTo>
                <a:cubicBezTo>
                  <a:pt x="7334" y="6432"/>
                  <a:pt x="7328" y="6418"/>
                  <a:pt x="7324" y="6405"/>
                </a:cubicBezTo>
                <a:lnTo>
                  <a:pt x="6377" y="6488"/>
                </a:lnTo>
                <a:lnTo>
                  <a:pt x="6155" y="6463"/>
                </a:lnTo>
                <a:cubicBezTo>
                  <a:pt x="6125" y="6473"/>
                  <a:pt x="6095" y="6484"/>
                  <a:pt x="6065" y="6493"/>
                </a:cubicBezTo>
                <a:cubicBezTo>
                  <a:pt x="6056" y="6475"/>
                  <a:pt x="6044" y="6455"/>
                  <a:pt x="6035" y="6436"/>
                </a:cubicBezTo>
                <a:lnTo>
                  <a:pt x="5930" y="6384"/>
                </a:lnTo>
                <a:lnTo>
                  <a:pt x="5508" y="6282"/>
                </a:lnTo>
                <a:lnTo>
                  <a:pt x="5259" y="6298"/>
                </a:lnTo>
                <a:cubicBezTo>
                  <a:pt x="5227" y="6288"/>
                  <a:pt x="5192" y="6280"/>
                  <a:pt x="5160" y="6270"/>
                </a:cubicBezTo>
                <a:cubicBezTo>
                  <a:pt x="5194" y="6261"/>
                  <a:pt x="5230" y="6253"/>
                  <a:pt x="5265" y="6245"/>
                </a:cubicBezTo>
                <a:cubicBezTo>
                  <a:pt x="5292" y="6227"/>
                  <a:pt x="5318" y="6208"/>
                  <a:pt x="5344" y="6190"/>
                </a:cubicBezTo>
                <a:lnTo>
                  <a:pt x="5462" y="6208"/>
                </a:lnTo>
                <a:lnTo>
                  <a:pt x="5602" y="6193"/>
                </a:lnTo>
                <a:lnTo>
                  <a:pt x="5813" y="6211"/>
                </a:lnTo>
                <a:cubicBezTo>
                  <a:pt x="5821" y="6208"/>
                  <a:pt x="5830" y="6206"/>
                  <a:pt x="5838" y="6204"/>
                </a:cubicBezTo>
                <a:lnTo>
                  <a:pt x="6002" y="6287"/>
                </a:lnTo>
                <a:lnTo>
                  <a:pt x="6122" y="6257"/>
                </a:lnTo>
                <a:cubicBezTo>
                  <a:pt x="6127" y="6248"/>
                  <a:pt x="6130" y="6239"/>
                  <a:pt x="6133" y="6229"/>
                </a:cubicBezTo>
                <a:cubicBezTo>
                  <a:pt x="6169" y="6246"/>
                  <a:pt x="6208" y="6261"/>
                  <a:pt x="6244" y="6278"/>
                </a:cubicBezTo>
                <a:lnTo>
                  <a:pt x="6391" y="6304"/>
                </a:lnTo>
                <a:cubicBezTo>
                  <a:pt x="6413" y="6287"/>
                  <a:pt x="6430" y="6272"/>
                  <a:pt x="6449" y="6255"/>
                </a:cubicBezTo>
                <a:cubicBezTo>
                  <a:pt x="6466" y="6263"/>
                  <a:pt x="6480" y="6274"/>
                  <a:pt x="6496" y="6282"/>
                </a:cubicBezTo>
                <a:cubicBezTo>
                  <a:pt x="6520" y="6314"/>
                  <a:pt x="6542" y="6344"/>
                  <a:pt x="6565" y="6377"/>
                </a:cubicBezTo>
                <a:lnTo>
                  <a:pt x="6707" y="6399"/>
                </a:lnTo>
                <a:lnTo>
                  <a:pt x="7286" y="6259"/>
                </a:lnTo>
                <a:lnTo>
                  <a:pt x="7571" y="6064"/>
                </a:lnTo>
                <a:cubicBezTo>
                  <a:pt x="7591" y="6017"/>
                  <a:pt x="7614" y="5970"/>
                  <a:pt x="7637" y="5921"/>
                </a:cubicBezTo>
                <a:cubicBezTo>
                  <a:pt x="7603" y="5878"/>
                  <a:pt x="7568" y="5835"/>
                  <a:pt x="7534" y="5792"/>
                </a:cubicBezTo>
                <a:lnTo>
                  <a:pt x="7318" y="5715"/>
                </a:lnTo>
                <a:cubicBezTo>
                  <a:pt x="7266" y="5674"/>
                  <a:pt x="7216" y="5632"/>
                  <a:pt x="7164" y="5589"/>
                </a:cubicBezTo>
                <a:lnTo>
                  <a:pt x="7307" y="5584"/>
                </a:lnTo>
                <a:cubicBezTo>
                  <a:pt x="7303" y="5575"/>
                  <a:pt x="7300" y="5564"/>
                  <a:pt x="7297" y="5554"/>
                </a:cubicBezTo>
                <a:lnTo>
                  <a:pt x="6925" y="5465"/>
                </a:lnTo>
                <a:cubicBezTo>
                  <a:pt x="6919" y="5439"/>
                  <a:pt x="6914" y="5411"/>
                  <a:pt x="6909" y="5383"/>
                </a:cubicBezTo>
                <a:cubicBezTo>
                  <a:pt x="6885" y="5355"/>
                  <a:pt x="6861" y="5326"/>
                  <a:pt x="6837" y="5299"/>
                </a:cubicBezTo>
                <a:lnTo>
                  <a:pt x="6543" y="5314"/>
                </a:lnTo>
                <a:cubicBezTo>
                  <a:pt x="6509" y="5284"/>
                  <a:pt x="6473" y="5255"/>
                  <a:pt x="6438" y="5224"/>
                </a:cubicBezTo>
                <a:cubicBezTo>
                  <a:pt x="6419" y="5223"/>
                  <a:pt x="6395" y="5221"/>
                  <a:pt x="6377" y="5219"/>
                </a:cubicBezTo>
                <a:lnTo>
                  <a:pt x="6377" y="5256"/>
                </a:lnTo>
                <a:cubicBezTo>
                  <a:pt x="6333" y="5307"/>
                  <a:pt x="6288" y="5357"/>
                  <a:pt x="6244" y="5408"/>
                </a:cubicBezTo>
                <a:cubicBezTo>
                  <a:pt x="6198" y="5439"/>
                  <a:pt x="6148" y="5468"/>
                  <a:pt x="6101" y="5498"/>
                </a:cubicBezTo>
                <a:lnTo>
                  <a:pt x="5653" y="5651"/>
                </a:lnTo>
                <a:lnTo>
                  <a:pt x="5496" y="5646"/>
                </a:lnTo>
                <a:lnTo>
                  <a:pt x="5281" y="5669"/>
                </a:lnTo>
                <a:lnTo>
                  <a:pt x="5160" y="5646"/>
                </a:lnTo>
                <a:lnTo>
                  <a:pt x="5318" y="5604"/>
                </a:lnTo>
                <a:lnTo>
                  <a:pt x="5524" y="5584"/>
                </a:lnTo>
                <a:lnTo>
                  <a:pt x="5693" y="5513"/>
                </a:lnTo>
                <a:lnTo>
                  <a:pt x="5859" y="5480"/>
                </a:lnTo>
                <a:lnTo>
                  <a:pt x="6171" y="5355"/>
                </a:lnTo>
                <a:cubicBezTo>
                  <a:pt x="6190" y="5327"/>
                  <a:pt x="6210" y="5302"/>
                  <a:pt x="6230" y="5274"/>
                </a:cubicBezTo>
                <a:cubicBezTo>
                  <a:pt x="6231" y="5239"/>
                  <a:pt x="6234" y="5204"/>
                  <a:pt x="6235" y="5168"/>
                </a:cubicBezTo>
                <a:lnTo>
                  <a:pt x="6092" y="5150"/>
                </a:lnTo>
                <a:cubicBezTo>
                  <a:pt x="6111" y="5130"/>
                  <a:pt x="6134" y="5108"/>
                  <a:pt x="6155" y="5086"/>
                </a:cubicBezTo>
                <a:cubicBezTo>
                  <a:pt x="6163" y="5058"/>
                  <a:pt x="6169" y="5033"/>
                  <a:pt x="6175" y="5005"/>
                </a:cubicBezTo>
                <a:cubicBezTo>
                  <a:pt x="6156" y="4979"/>
                  <a:pt x="6138" y="4953"/>
                  <a:pt x="6115" y="4928"/>
                </a:cubicBezTo>
                <a:cubicBezTo>
                  <a:pt x="6105" y="4741"/>
                  <a:pt x="6092" y="4554"/>
                  <a:pt x="6081" y="4367"/>
                </a:cubicBezTo>
                <a:cubicBezTo>
                  <a:pt x="6108" y="4327"/>
                  <a:pt x="6139" y="4286"/>
                  <a:pt x="6166" y="4246"/>
                </a:cubicBezTo>
                <a:cubicBezTo>
                  <a:pt x="6159" y="4230"/>
                  <a:pt x="6151" y="4213"/>
                  <a:pt x="6144" y="4198"/>
                </a:cubicBezTo>
                <a:lnTo>
                  <a:pt x="6391" y="4269"/>
                </a:lnTo>
                <a:cubicBezTo>
                  <a:pt x="6395" y="4246"/>
                  <a:pt x="6402" y="4225"/>
                  <a:pt x="6408" y="4202"/>
                </a:cubicBezTo>
                <a:cubicBezTo>
                  <a:pt x="6389" y="4144"/>
                  <a:pt x="6372" y="4086"/>
                  <a:pt x="6354" y="4029"/>
                </a:cubicBezTo>
                <a:cubicBezTo>
                  <a:pt x="6414" y="3926"/>
                  <a:pt x="6472" y="3822"/>
                  <a:pt x="6532" y="3719"/>
                </a:cubicBezTo>
                <a:cubicBezTo>
                  <a:pt x="6496" y="3695"/>
                  <a:pt x="6459" y="3670"/>
                  <a:pt x="6423" y="3645"/>
                </a:cubicBezTo>
                <a:cubicBezTo>
                  <a:pt x="6410" y="3623"/>
                  <a:pt x="6394" y="3599"/>
                  <a:pt x="6381" y="3576"/>
                </a:cubicBezTo>
                <a:cubicBezTo>
                  <a:pt x="6386" y="3538"/>
                  <a:pt x="6391" y="3502"/>
                  <a:pt x="6395" y="3463"/>
                </a:cubicBezTo>
                <a:lnTo>
                  <a:pt x="6656" y="3538"/>
                </a:lnTo>
                <a:cubicBezTo>
                  <a:pt x="6659" y="3531"/>
                  <a:pt x="6662" y="3525"/>
                  <a:pt x="6665" y="3516"/>
                </a:cubicBezTo>
                <a:cubicBezTo>
                  <a:pt x="6689" y="3510"/>
                  <a:pt x="6713" y="3503"/>
                  <a:pt x="6737" y="3497"/>
                </a:cubicBezTo>
                <a:cubicBezTo>
                  <a:pt x="6771" y="3473"/>
                  <a:pt x="6803" y="3447"/>
                  <a:pt x="6837" y="3424"/>
                </a:cubicBezTo>
                <a:cubicBezTo>
                  <a:pt x="6842" y="3417"/>
                  <a:pt x="6850" y="3410"/>
                  <a:pt x="6854" y="3404"/>
                </a:cubicBezTo>
                <a:cubicBezTo>
                  <a:pt x="6848" y="3395"/>
                  <a:pt x="6840" y="3385"/>
                  <a:pt x="6832" y="3377"/>
                </a:cubicBezTo>
                <a:cubicBezTo>
                  <a:pt x="6851" y="3335"/>
                  <a:pt x="6867" y="3293"/>
                  <a:pt x="6886" y="3250"/>
                </a:cubicBezTo>
                <a:cubicBezTo>
                  <a:pt x="6864" y="3223"/>
                  <a:pt x="6842" y="3195"/>
                  <a:pt x="6822" y="3167"/>
                </a:cubicBezTo>
                <a:cubicBezTo>
                  <a:pt x="6826" y="3144"/>
                  <a:pt x="6829" y="3124"/>
                  <a:pt x="6832" y="3101"/>
                </a:cubicBezTo>
                <a:cubicBezTo>
                  <a:pt x="6845" y="3127"/>
                  <a:pt x="6857" y="3152"/>
                  <a:pt x="6868" y="3178"/>
                </a:cubicBezTo>
                <a:lnTo>
                  <a:pt x="7011" y="3236"/>
                </a:lnTo>
                <a:cubicBezTo>
                  <a:pt x="7031" y="3234"/>
                  <a:pt x="7050" y="3231"/>
                  <a:pt x="7070" y="3229"/>
                </a:cubicBezTo>
                <a:cubicBezTo>
                  <a:pt x="7102" y="3204"/>
                  <a:pt x="7134" y="3177"/>
                  <a:pt x="7164" y="3152"/>
                </a:cubicBezTo>
                <a:cubicBezTo>
                  <a:pt x="7198" y="3162"/>
                  <a:pt x="7230" y="3173"/>
                  <a:pt x="7265" y="3183"/>
                </a:cubicBezTo>
                <a:cubicBezTo>
                  <a:pt x="7274" y="3164"/>
                  <a:pt x="7283" y="3142"/>
                  <a:pt x="7292" y="3122"/>
                </a:cubicBezTo>
                <a:lnTo>
                  <a:pt x="7360" y="3080"/>
                </a:lnTo>
                <a:lnTo>
                  <a:pt x="7175" y="3036"/>
                </a:lnTo>
                <a:lnTo>
                  <a:pt x="7307" y="3045"/>
                </a:lnTo>
                <a:cubicBezTo>
                  <a:pt x="7354" y="3030"/>
                  <a:pt x="7398" y="3013"/>
                  <a:pt x="7442" y="2999"/>
                </a:cubicBezTo>
                <a:cubicBezTo>
                  <a:pt x="7441" y="2989"/>
                  <a:pt x="7438" y="2976"/>
                  <a:pt x="7437" y="2966"/>
                </a:cubicBezTo>
                <a:lnTo>
                  <a:pt x="7565" y="2936"/>
                </a:lnTo>
                <a:cubicBezTo>
                  <a:pt x="7569" y="2910"/>
                  <a:pt x="7573" y="2884"/>
                  <a:pt x="7576" y="2859"/>
                </a:cubicBezTo>
                <a:lnTo>
                  <a:pt x="7676" y="2844"/>
                </a:lnTo>
                <a:cubicBezTo>
                  <a:pt x="7679" y="2813"/>
                  <a:pt x="7681" y="2783"/>
                  <a:pt x="7684" y="2754"/>
                </a:cubicBezTo>
                <a:cubicBezTo>
                  <a:pt x="7719" y="2749"/>
                  <a:pt x="7755" y="2747"/>
                  <a:pt x="7790" y="2743"/>
                </a:cubicBezTo>
                <a:lnTo>
                  <a:pt x="7953" y="2762"/>
                </a:lnTo>
                <a:lnTo>
                  <a:pt x="8132" y="2690"/>
                </a:lnTo>
                <a:cubicBezTo>
                  <a:pt x="8152" y="2662"/>
                  <a:pt x="8175" y="2635"/>
                  <a:pt x="8195" y="2607"/>
                </a:cubicBezTo>
                <a:lnTo>
                  <a:pt x="8417" y="2524"/>
                </a:lnTo>
                <a:cubicBezTo>
                  <a:pt x="8456" y="2541"/>
                  <a:pt x="8492" y="2558"/>
                  <a:pt x="8527" y="2575"/>
                </a:cubicBezTo>
                <a:lnTo>
                  <a:pt x="8695" y="2519"/>
                </a:lnTo>
                <a:cubicBezTo>
                  <a:pt x="8710" y="2493"/>
                  <a:pt x="8722" y="2469"/>
                  <a:pt x="8736" y="2445"/>
                </a:cubicBezTo>
                <a:cubicBezTo>
                  <a:pt x="8779" y="2429"/>
                  <a:pt x="8821" y="2412"/>
                  <a:pt x="8864" y="2396"/>
                </a:cubicBezTo>
                <a:cubicBezTo>
                  <a:pt x="8900" y="2404"/>
                  <a:pt x="8937" y="2410"/>
                  <a:pt x="8973" y="2418"/>
                </a:cubicBezTo>
                <a:cubicBezTo>
                  <a:pt x="8997" y="2405"/>
                  <a:pt x="9020" y="2394"/>
                  <a:pt x="9042" y="2381"/>
                </a:cubicBezTo>
                <a:lnTo>
                  <a:pt x="9231" y="2330"/>
                </a:lnTo>
                <a:cubicBezTo>
                  <a:pt x="9257" y="2307"/>
                  <a:pt x="9285" y="2286"/>
                  <a:pt x="9310" y="2263"/>
                </a:cubicBezTo>
                <a:cubicBezTo>
                  <a:pt x="9346" y="2255"/>
                  <a:pt x="9381" y="2244"/>
                  <a:pt x="9417" y="2235"/>
                </a:cubicBezTo>
                <a:lnTo>
                  <a:pt x="10000" y="1832"/>
                </a:lnTo>
                <a:lnTo>
                  <a:pt x="9652" y="1699"/>
                </a:lnTo>
                <a:lnTo>
                  <a:pt x="9147" y="1773"/>
                </a:lnTo>
                <a:lnTo>
                  <a:pt x="8784" y="1639"/>
                </a:lnTo>
                <a:cubicBezTo>
                  <a:pt x="8766" y="1568"/>
                  <a:pt x="8868" y="1551"/>
                  <a:pt x="8850" y="1480"/>
                </a:cubicBezTo>
                <a:lnTo>
                  <a:pt x="7497" y="923"/>
                </a:lnTo>
                <a:cubicBezTo>
                  <a:pt x="7505" y="832"/>
                  <a:pt x="7514" y="740"/>
                  <a:pt x="7522" y="649"/>
                </a:cubicBezTo>
                <a:lnTo>
                  <a:pt x="7012" y="590"/>
                </a:lnTo>
                <a:lnTo>
                  <a:pt x="6413" y="332"/>
                </a:lnTo>
                <a:lnTo>
                  <a:pt x="5098" y="0"/>
                </a:lnTo>
                <a:lnTo>
                  <a:pt x="4837" y="82"/>
                </a:lnTo>
                <a:lnTo>
                  <a:pt x="4671" y="78"/>
                </a:lnTo>
                <a:cubicBezTo>
                  <a:pt x="4638" y="87"/>
                  <a:pt x="4604" y="96"/>
                  <a:pt x="4571" y="107"/>
                </a:cubicBezTo>
                <a:cubicBezTo>
                  <a:pt x="4479" y="375"/>
                  <a:pt x="4390" y="645"/>
                  <a:pt x="4298" y="913"/>
                </a:cubicBezTo>
                <a:lnTo>
                  <a:pt x="3668" y="1383"/>
                </a:lnTo>
                <a:cubicBezTo>
                  <a:pt x="3669" y="1407"/>
                  <a:pt x="3671" y="1432"/>
                  <a:pt x="3672" y="1457"/>
                </a:cubicBezTo>
                <a:lnTo>
                  <a:pt x="3952" y="1668"/>
                </a:lnTo>
                <a:cubicBezTo>
                  <a:pt x="3920" y="1743"/>
                  <a:pt x="3892" y="1821"/>
                  <a:pt x="3861" y="1896"/>
                </a:cubicBezTo>
                <a:lnTo>
                  <a:pt x="3698" y="1979"/>
                </a:lnTo>
                <a:lnTo>
                  <a:pt x="3208" y="1924"/>
                </a:lnTo>
                <a:lnTo>
                  <a:pt x="2871" y="1955"/>
                </a:lnTo>
                <a:lnTo>
                  <a:pt x="2601" y="2023"/>
                </a:lnTo>
                <a:lnTo>
                  <a:pt x="2163" y="2233"/>
                </a:lnTo>
                <a:cubicBezTo>
                  <a:pt x="2084" y="2318"/>
                  <a:pt x="2007" y="2402"/>
                  <a:pt x="1931" y="2487"/>
                </a:cubicBezTo>
                <a:cubicBezTo>
                  <a:pt x="1937" y="2535"/>
                  <a:pt x="1943" y="2582"/>
                  <a:pt x="1951" y="2629"/>
                </a:cubicBezTo>
                <a:cubicBezTo>
                  <a:pt x="1979" y="2665"/>
                  <a:pt x="2005" y="2702"/>
                  <a:pt x="2032" y="2738"/>
                </a:cubicBezTo>
                <a:cubicBezTo>
                  <a:pt x="2052" y="2754"/>
                  <a:pt x="2073" y="2767"/>
                  <a:pt x="2093" y="2782"/>
                </a:cubicBezTo>
                <a:lnTo>
                  <a:pt x="1979" y="2852"/>
                </a:lnTo>
                <a:cubicBezTo>
                  <a:pt x="1896" y="3011"/>
                  <a:pt x="1814" y="3171"/>
                  <a:pt x="1731" y="3330"/>
                </a:cubicBezTo>
                <a:cubicBezTo>
                  <a:pt x="1748" y="3338"/>
                  <a:pt x="1763" y="3348"/>
                  <a:pt x="1779" y="3358"/>
                </a:cubicBezTo>
                <a:cubicBezTo>
                  <a:pt x="1790" y="3398"/>
                  <a:pt x="1805" y="3438"/>
                  <a:pt x="1815" y="3479"/>
                </a:cubicBezTo>
                <a:cubicBezTo>
                  <a:pt x="1778" y="3646"/>
                  <a:pt x="1739" y="3813"/>
                  <a:pt x="1700" y="3982"/>
                </a:cubicBezTo>
                <a:cubicBezTo>
                  <a:pt x="1738" y="4025"/>
                  <a:pt x="1777" y="4067"/>
                  <a:pt x="1815" y="4110"/>
                </a:cubicBezTo>
                <a:lnTo>
                  <a:pt x="2131" y="4251"/>
                </a:lnTo>
                <a:cubicBezTo>
                  <a:pt x="2135" y="4309"/>
                  <a:pt x="2141" y="4366"/>
                  <a:pt x="2145" y="4423"/>
                </a:cubicBezTo>
                <a:cubicBezTo>
                  <a:pt x="2099" y="4472"/>
                  <a:pt x="2057" y="4519"/>
                  <a:pt x="2010" y="4566"/>
                </a:cubicBezTo>
                <a:lnTo>
                  <a:pt x="1815" y="4652"/>
                </a:lnTo>
                <a:lnTo>
                  <a:pt x="1557" y="4687"/>
                </a:lnTo>
                <a:cubicBezTo>
                  <a:pt x="1535" y="4704"/>
                  <a:pt x="1513" y="4720"/>
                  <a:pt x="1490" y="4737"/>
                </a:cubicBezTo>
                <a:lnTo>
                  <a:pt x="1640" y="4855"/>
                </a:lnTo>
                <a:cubicBezTo>
                  <a:pt x="1668" y="4949"/>
                  <a:pt x="1699" y="5042"/>
                  <a:pt x="1726" y="5136"/>
                </a:cubicBezTo>
                <a:lnTo>
                  <a:pt x="1531" y="5376"/>
                </a:lnTo>
                <a:cubicBezTo>
                  <a:pt x="1552" y="5401"/>
                  <a:pt x="1576" y="5425"/>
                  <a:pt x="1599" y="5451"/>
                </a:cubicBezTo>
                <a:cubicBezTo>
                  <a:pt x="1579" y="5492"/>
                  <a:pt x="1557" y="5536"/>
                  <a:pt x="1537" y="5577"/>
                </a:cubicBezTo>
                <a:lnTo>
                  <a:pt x="1412" y="5663"/>
                </a:lnTo>
                <a:lnTo>
                  <a:pt x="915" y="5730"/>
                </a:lnTo>
                <a:cubicBezTo>
                  <a:pt x="903" y="5770"/>
                  <a:pt x="895" y="5807"/>
                  <a:pt x="885" y="5846"/>
                </a:cubicBezTo>
                <a:lnTo>
                  <a:pt x="617" y="6019"/>
                </a:lnTo>
                <a:cubicBezTo>
                  <a:pt x="628" y="6103"/>
                  <a:pt x="640" y="6184"/>
                  <a:pt x="652" y="6268"/>
                </a:cubicBezTo>
                <a:lnTo>
                  <a:pt x="427" y="6587"/>
                </a:lnTo>
                <a:lnTo>
                  <a:pt x="274" y="6624"/>
                </a:lnTo>
                <a:cubicBezTo>
                  <a:pt x="252" y="6599"/>
                  <a:pt x="231" y="6573"/>
                  <a:pt x="210" y="6548"/>
                </a:cubicBezTo>
                <a:cubicBezTo>
                  <a:pt x="184" y="6587"/>
                  <a:pt x="157" y="6624"/>
                  <a:pt x="132" y="6663"/>
                </a:cubicBezTo>
                <a:cubicBezTo>
                  <a:pt x="148" y="6598"/>
                  <a:pt x="169" y="6531"/>
                  <a:pt x="183" y="6465"/>
                </a:cubicBezTo>
                <a:cubicBezTo>
                  <a:pt x="174" y="6453"/>
                  <a:pt x="164" y="6440"/>
                  <a:pt x="151" y="6427"/>
                </a:cubicBezTo>
              </a:path>
            </a:pathLst>
          </a:custGeom>
          <a:solidFill>
            <a:srgbClr val="00A194"/>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11" name="Rechteck 10">
            <a:extLst>
              <a:ext uri="{FF2B5EF4-FFF2-40B4-BE49-F238E27FC236}">
                <a16:creationId xmlns:a16="http://schemas.microsoft.com/office/drawing/2014/main" id="{78E976CD-9323-98A1-4B28-1810AD8D8E96}"/>
              </a:ext>
            </a:extLst>
          </p:cNvPr>
          <p:cNvSpPr/>
          <p:nvPr/>
        </p:nvSpPr>
        <p:spPr>
          <a:xfrm>
            <a:off x="9263217" y="1576335"/>
            <a:ext cx="643410" cy="1009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Freihandform: Form 11">
            <a:extLst>
              <a:ext uri="{FF2B5EF4-FFF2-40B4-BE49-F238E27FC236}">
                <a16:creationId xmlns:a16="http://schemas.microsoft.com/office/drawing/2014/main" id="{29E792F8-709B-DADE-143C-A2A8356079CA}"/>
              </a:ext>
            </a:extLst>
          </p:cNvPr>
          <p:cNvSpPr/>
          <p:nvPr/>
        </p:nvSpPr>
        <p:spPr>
          <a:xfrm>
            <a:off x="9356687" y="1509237"/>
            <a:ext cx="643410" cy="585028"/>
          </a:xfrm>
          <a:custGeom>
            <a:avLst/>
            <a:gdLst>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19075 h 585028"/>
              <a:gd name="connsiteX45" fmla="*/ 476871 w 643559"/>
              <a:gd name="connsiteY45" fmla="*/ 211932 h 585028"/>
              <a:gd name="connsiteX46" fmla="*/ 479253 w 643559"/>
              <a:gd name="connsiteY46" fmla="*/ 197644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69728 w 643559"/>
              <a:gd name="connsiteY53" fmla="*/ 130969 h 585028"/>
              <a:gd name="connsiteX54" fmla="*/ 455440 w 643559"/>
              <a:gd name="connsiteY54" fmla="*/ 138113 h 585028"/>
              <a:gd name="connsiteX55" fmla="*/ 438771 w 643559"/>
              <a:gd name="connsiteY55" fmla="*/ 142875 h 585028"/>
              <a:gd name="connsiteX56" fmla="*/ 441153 w 643559"/>
              <a:gd name="connsiteY56" fmla="*/ 152400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09588 h 585028"/>
              <a:gd name="connsiteX134" fmla="*/ 95871 w 643559"/>
              <a:gd name="connsiteY134" fmla="*/ 500063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19075 h 585028"/>
              <a:gd name="connsiteX45" fmla="*/ 476871 w 643559"/>
              <a:gd name="connsiteY45" fmla="*/ 211932 h 585028"/>
              <a:gd name="connsiteX46" fmla="*/ 479253 w 643559"/>
              <a:gd name="connsiteY46" fmla="*/ 197644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55440 w 643559"/>
              <a:gd name="connsiteY54" fmla="*/ 138113 h 585028"/>
              <a:gd name="connsiteX55" fmla="*/ 438771 w 643559"/>
              <a:gd name="connsiteY55" fmla="*/ 142875 h 585028"/>
              <a:gd name="connsiteX56" fmla="*/ 441153 w 643559"/>
              <a:gd name="connsiteY56" fmla="*/ 152400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09588 h 585028"/>
              <a:gd name="connsiteX134" fmla="*/ 95871 w 643559"/>
              <a:gd name="connsiteY134" fmla="*/ 500063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19075 h 585028"/>
              <a:gd name="connsiteX45" fmla="*/ 476871 w 643559"/>
              <a:gd name="connsiteY45" fmla="*/ 211932 h 585028"/>
              <a:gd name="connsiteX46" fmla="*/ 479253 w 643559"/>
              <a:gd name="connsiteY46" fmla="*/ 197644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55440 w 643559"/>
              <a:gd name="connsiteY54" fmla="*/ 138113 h 585028"/>
              <a:gd name="connsiteX55" fmla="*/ 438771 w 643559"/>
              <a:gd name="connsiteY55" fmla="*/ 142875 h 585028"/>
              <a:gd name="connsiteX56" fmla="*/ 448297 w 643559"/>
              <a:gd name="connsiteY56" fmla="*/ 159544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09588 h 585028"/>
              <a:gd name="connsiteX134" fmla="*/ 95871 w 643559"/>
              <a:gd name="connsiteY134" fmla="*/ 500063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19075 h 585028"/>
              <a:gd name="connsiteX45" fmla="*/ 476871 w 643559"/>
              <a:gd name="connsiteY45" fmla="*/ 211932 h 585028"/>
              <a:gd name="connsiteX46" fmla="*/ 479253 w 643559"/>
              <a:gd name="connsiteY46" fmla="*/ 197644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55440 w 643559"/>
              <a:gd name="connsiteY54" fmla="*/ 138113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09588 h 585028"/>
              <a:gd name="connsiteX134" fmla="*/ 95871 w 643559"/>
              <a:gd name="connsiteY134" fmla="*/ 500063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19075 h 585028"/>
              <a:gd name="connsiteX45" fmla="*/ 476871 w 643559"/>
              <a:gd name="connsiteY45" fmla="*/ 211932 h 585028"/>
              <a:gd name="connsiteX46" fmla="*/ 479253 w 643559"/>
              <a:gd name="connsiteY46" fmla="*/ 197644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09588 h 585028"/>
              <a:gd name="connsiteX134" fmla="*/ 95871 w 643559"/>
              <a:gd name="connsiteY134" fmla="*/ 500063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19075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09588 h 585028"/>
              <a:gd name="connsiteX134" fmla="*/ 95871 w 643559"/>
              <a:gd name="connsiteY134" fmla="*/ 500063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09588 h 585028"/>
              <a:gd name="connsiteX134" fmla="*/ 95871 w 643559"/>
              <a:gd name="connsiteY134" fmla="*/ 500063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09588 h 585028"/>
              <a:gd name="connsiteX134" fmla="*/ 98253 w 643559"/>
              <a:gd name="connsiteY134" fmla="*/ 507206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98253 w 643559"/>
              <a:gd name="connsiteY134" fmla="*/ 507206 h 585028"/>
              <a:gd name="connsiteX135" fmla="*/ 48246 w 643559"/>
              <a:gd name="connsiteY135" fmla="*/ 504825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98253 w 643559"/>
              <a:gd name="connsiteY134" fmla="*/ 507206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1140 w 643559"/>
              <a:gd name="connsiteY115" fmla="*/ 516732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07207 h 585028"/>
              <a:gd name="connsiteX114" fmla="*/ 343521 w 643559"/>
              <a:gd name="connsiteY114" fmla="*/ 509588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43521 w 643559"/>
              <a:gd name="connsiteY114" fmla="*/ 509588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62596 w 643559"/>
              <a:gd name="connsiteY100" fmla="*/ 304800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48309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53059 w 643559"/>
              <a:gd name="connsiteY56" fmla="*/ 150019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71450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62584 w 643559"/>
              <a:gd name="connsiteY56" fmla="*/ 154782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59544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62584 w 643559"/>
              <a:gd name="connsiteY56" fmla="*/ 154782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22053 w 643559"/>
              <a:gd name="connsiteY137" fmla="*/ 511969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59544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62584 w 643559"/>
              <a:gd name="connsiteY56" fmla="*/ 154782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8265 w 643559"/>
              <a:gd name="connsiteY130" fmla="*/ 545307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31578 w 643559"/>
              <a:gd name="connsiteY137" fmla="*/ 521494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14921 w 643559"/>
              <a:gd name="connsiteY11" fmla="*/ 397669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59544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62584 w 643559"/>
              <a:gd name="connsiteY56" fmla="*/ 154782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1121 w 643559"/>
              <a:gd name="connsiteY130" fmla="*/ 557213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31578 w 643559"/>
              <a:gd name="connsiteY137" fmla="*/ 521494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103015 w 643559"/>
              <a:gd name="connsiteY8" fmla="*/ 411957 h 585028"/>
              <a:gd name="connsiteX9" fmla="*/ 105396 w 643559"/>
              <a:gd name="connsiteY9" fmla="*/ 388144 h 585028"/>
              <a:gd name="connsiteX10" fmla="*/ 112540 w 643559"/>
              <a:gd name="connsiteY10" fmla="*/ 390525 h 585028"/>
              <a:gd name="connsiteX11" fmla="*/ 107777 w 643559"/>
              <a:gd name="connsiteY11" fmla="*/ 400051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59544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62584 w 643559"/>
              <a:gd name="connsiteY56" fmla="*/ 154782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1121 w 643559"/>
              <a:gd name="connsiteY130" fmla="*/ 557213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31578 w 643559"/>
              <a:gd name="connsiteY137" fmla="*/ 521494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12540 w 643559"/>
              <a:gd name="connsiteY7" fmla="*/ 426244 h 585028"/>
              <a:gd name="connsiteX8" fmla="*/ 95871 w 643559"/>
              <a:gd name="connsiteY8" fmla="*/ 411957 h 585028"/>
              <a:gd name="connsiteX9" fmla="*/ 105396 w 643559"/>
              <a:gd name="connsiteY9" fmla="*/ 388144 h 585028"/>
              <a:gd name="connsiteX10" fmla="*/ 112540 w 643559"/>
              <a:gd name="connsiteY10" fmla="*/ 390525 h 585028"/>
              <a:gd name="connsiteX11" fmla="*/ 107777 w 643559"/>
              <a:gd name="connsiteY11" fmla="*/ 400051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59544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62584 w 643559"/>
              <a:gd name="connsiteY56" fmla="*/ 154782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1121 w 643559"/>
              <a:gd name="connsiteY130" fmla="*/ 557213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31578 w 643559"/>
              <a:gd name="connsiteY137" fmla="*/ 521494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00634 w 643559"/>
              <a:gd name="connsiteY7" fmla="*/ 433387 h 585028"/>
              <a:gd name="connsiteX8" fmla="*/ 95871 w 643559"/>
              <a:gd name="connsiteY8" fmla="*/ 411957 h 585028"/>
              <a:gd name="connsiteX9" fmla="*/ 105396 w 643559"/>
              <a:gd name="connsiteY9" fmla="*/ 388144 h 585028"/>
              <a:gd name="connsiteX10" fmla="*/ 112540 w 643559"/>
              <a:gd name="connsiteY10" fmla="*/ 390525 h 585028"/>
              <a:gd name="connsiteX11" fmla="*/ 107777 w 643559"/>
              <a:gd name="connsiteY11" fmla="*/ 400051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59544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62584 w 643559"/>
              <a:gd name="connsiteY56" fmla="*/ 154782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1121 w 643559"/>
              <a:gd name="connsiteY130" fmla="*/ 557213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31578 w 643559"/>
              <a:gd name="connsiteY137" fmla="*/ 521494 h 585028"/>
              <a:gd name="connsiteX138" fmla="*/ 621 w 643559"/>
              <a:gd name="connsiteY138" fmla="*/ 511969 h 585028"/>
              <a:gd name="connsiteX139" fmla="*/ 5384 w 643559"/>
              <a:gd name="connsiteY139" fmla="*/ 516732 h 585028"/>
              <a:gd name="connsiteX0" fmla="*/ 5384 w 643559"/>
              <a:gd name="connsiteY0" fmla="*/ 516732 h 585028"/>
              <a:gd name="connsiteX1" fmla="*/ 10146 w 643559"/>
              <a:gd name="connsiteY1" fmla="*/ 504825 h 585028"/>
              <a:gd name="connsiteX2" fmla="*/ 14909 w 643559"/>
              <a:gd name="connsiteY2" fmla="*/ 497682 h 585028"/>
              <a:gd name="connsiteX3" fmla="*/ 17290 w 643559"/>
              <a:gd name="connsiteY3" fmla="*/ 488157 h 585028"/>
              <a:gd name="connsiteX4" fmla="*/ 19671 w 643559"/>
              <a:gd name="connsiteY4" fmla="*/ 457200 h 585028"/>
              <a:gd name="connsiteX5" fmla="*/ 122065 w 643559"/>
              <a:gd name="connsiteY5" fmla="*/ 442913 h 585028"/>
              <a:gd name="connsiteX6" fmla="*/ 129209 w 643559"/>
              <a:gd name="connsiteY6" fmla="*/ 428625 h 585028"/>
              <a:gd name="connsiteX7" fmla="*/ 100634 w 643559"/>
              <a:gd name="connsiteY7" fmla="*/ 433387 h 585028"/>
              <a:gd name="connsiteX8" fmla="*/ 95871 w 643559"/>
              <a:gd name="connsiteY8" fmla="*/ 411957 h 585028"/>
              <a:gd name="connsiteX9" fmla="*/ 105396 w 643559"/>
              <a:gd name="connsiteY9" fmla="*/ 388144 h 585028"/>
              <a:gd name="connsiteX10" fmla="*/ 112540 w 643559"/>
              <a:gd name="connsiteY10" fmla="*/ 390525 h 585028"/>
              <a:gd name="connsiteX11" fmla="*/ 98252 w 643559"/>
              <a:gd name="connsiteY11" fmla="*/ 397670 h 585028"/>
              <a:gd name="connsiteX12" fmla="*/ 133971 w 643559"/>
              <a:gd name="connsiteY12" fmla="*/ 395288 h 585028"/>
              <a:gd name="connsiteX13" fmla="*/ 136353 w 643559"/>
              <a:gd name="connsiteY13" fmla="*/ 383382 h 585028"/>
              <a:gd name="connsiteX14" fmla="*/ 138734 w 643559"/>
              <a:gd name="connsiteY14" fmla="*/ 361950 h 585028"/>
              <a:gd name="connsiteX15" fmla="*/ 141115 w 643559"/>
              <a:gd name="connsiteY15" fmla="*/ 345282 h 585028"/>
              <a:gd name="connsiteX16" fmla="*/ 145878 w 643559"/>
              <a:gd name="connsiteY16" fmla="*/ 338138 h 585028"/>
              <a:gd name="connsiteX17" fmla="*/ 217315 w 643559"/>
              <a:gd name="connsiteY17" fmla="*/ 335757 h 585028"/>
              <a:gd name="connsiteX18" fmla="*/ 226840 w 643559"/>
              <a:gd name="connsiteY18" fmla="*/ 321469 h 585028"/>
              <a:gd name="connsiteX19" fmla="*/ 229221 w 643559"/>
              <a:gd name="connsiteY19" fmla="*/ 314325 h 585028"/>
              <a:gd name="connsiteX20" fmla="*/ 214934 w 643559"/>
              <a:gd name="connsiteY20" fmla="*/ 309563 h 585028"/>
              <a:gd name="connsiteX21" fmla="*/ 200646 w 643559"/>
              <a:gd name="connsiteY21" fmla="*/ 300038 h 585028"/>
              <a:gd name="connsiteX22" fmla="*/ 193503 w 643559"/>
              <a:gd name="connsiteY22" fmla="*/ 295275 h 585028"/>
              <a:gd name="connsiteX23" fmla="*/ 186359 w 643559"/>
              <a:gd name="connsiteY23" fmla="*/ 292894 h 585028"/>
              <a:gd name="connsiteX24" fmla="*/ 183978 w 643559"/>
              <a:gd name="connsiteY24" fmla="*/ 285750 h 585028"/>
              <a:gd name="connsiteX25" fmla="*/ 210171 w 643559"/>
              <a:gd name="connsiteY25" fmla="*/ 283369 h 585028"/>
              <a:gd name="connsiteX26" fmla="*/ 217315 w 643559"/>
              <a:gd name="connsiteY26" fmla="*/ 280988 h 585028"/>
              <a:gd name="connsiteX27" fmla="*/ 224459 w 643559"/>
              <a:gd name="connsiteY27" fmla="*/ 266700 h 585028"/>
              <a:gd name="connsiteX28" fmla="*/ 236365 w 643559"/>
              <a:gd name="connsiteY28" fmla="*/ 252413 h 585028"/>
              <a:gd name="connsiteX29" fmla="*/ 245890 w 643559"/>
              <a:gd name="connsiteY29" fmla="*/ 250032 h 585028"/>
              <a:gd name="connsiteX30" fmla="*/ 257796 w 643559"/>
              <a:gd name="connsiteY30" fmla="*/ 245269 h 585028"/>
              <a:gd name="connsiteX31" fmla="*/ 286371 w 643559"/>
              <a:gd name="connsiteY31" fmla="*/ 240507 h 585028"/>
              <a:gd name="connsiteX32" fmla="*/ 300659 w 643559"/>
              <a:gd name="connsiteY32" fmla="*/ 228600 h 585028"/>
              <a:gd name="connsiteX33" fmla="*/ 322090 w 643559"/>
              <a:gd name="connsiteY33" fmla="*/ 204788 h 585028"/>
              <a:gd name="connsiteX34" fmla="*/ 333996 w 643559"/>
              <a:gd name="connsiteY34" fmla="*/ 202407 h 585028"/>
              <a:gd name="connsiteX35" fmla="*/ 355428 w 643559"/>
              <a:gd name="connsiteY35" fmla="*/ 219075 h 585028"/>
              <a:gd name="connsiteX36" fmla="*/ 391146 w 643559"/>
              <a:gd name="connsiteY36" fmla="*/ 202407 h 585028"/>
              <a:gd name="connsiteX37" fmla="*/ 384003 w 643559"/>
              <a:gd name="connsiteY37" fmla="*/ 197644 h 585028"/>
              <a:gd name="connsiteX38" fmla="*/ 388765 w 643559"/>
              <a:gd name="connsiteY38" fmla="*/ 178594 h 585028"/>
              <a:gd name="connsiteX39" fmla="*/ 398290 w 643559"/>
              <a:gd name="connsiteY39" fmla="*/ 180975 h 585028"/>
              <a:gd name="connsiteX40" fmla="*/ 400671 w 643559"/>
              <a:gd name="connsiteY40" fmla="*/ 188119 h 585028"/>
              <a:gd name="connsiteX41" fmla="*/ 403053 w 643559"/>
              <a:gd name="connsiteY41" fmla="*/ 197644 h 585028"/>
              <a:gd name="connsiteX42" fmla="*/ 407815 w 643559"/>
              <a:gd name="connsiteY42" fmla="*/ 209550 h 585028"/>
              <a:gd name="connsiteX43" fmla="*/ 424484 w 643559"/>
              <a:gd name="connsiteY43" fmla="*/ 211932 h 585028"/>
              <a:gd name="connsiteX44" fmla="*/ 448296 w 643559"/>
              <a:gd name="connsiteY44" fmla="*/ 202407 h 585028"/>
              <a:gd name="connsiteX45" fmla="*/ 476871 w 643559"/>
              <a:gd name="connsiteY45" fmla="*/ 211932 h 585028"/>
              <a:gd name="connsiteX46" fmla="*/ 467346 w 643559"/>
              <a:gd name="connsiteY46" fmla="*/ 192881 h 585028"/>
              <a:gd name="connsiteX47" fmla="*/ 491159 w 643559"/>
              <a:gd name="connsiteY47" fmla="*/ 183357 h 585028"/>
              <a:gd name="connsiteX48" fmla="*/ 503065 w 643559"/>
              <a:gd name="connsiteY48" fmla="*/ 159544 h 585028"/>
              <a:gd name="connsiteX49" fmla="*/ 512590 w 643559"/>
              <a:gd name="connsiteY49" fmla="*/ 161925 h 585028"/>
              <a:gd name="connsiteX50" fmla="*/ 526878 w 643559"/>
              <a:gd name="connsiteY50" fmla="*/ 152400 h 585028"/>
              <a:gd name="connsiteX51" fmla="*/ 531640 w 643559"/>
              <a:gd name="connsiteY51" fmla="*/ 130969 h 585028"/>
              <a:gd name="connsiteX52" fmla="*/ 524496 w 643559"/>
              <a:gd name="connsiteY52" fmla="*/ 126207 h 585028"/>
              <a:gd name="connsiteX53" fmla="*/ 486397 w 643559"/>
              <a:gd name="connsiteY53" fmla="*/ 135732 h 585028"/>
              <a:gd name="connsiteX54" fmla="*/ 484015 w 643559"/>
              <a:gd name="connsiteY54" fmla="*/ 142876 h 585028"/>
              <a:gd name="connsiteX55" fmla="*/ 438771 w 643559"/>
              <a:gd name="connsiteY55" fmla="*/ 142875 h 585028"/>
              <a:gd name="connsiteX56" fmla="*/ 462584 w 643559"/>
              <a:gd name="connsiteY56" fmla="*/ 154782 h 585028"/>
              <a:gd name="connsiteX57" fmla="*/ 434009 w 643559"/>
              <a:gd name="connsiteY57" fmla="*/ 169069 h 585028"/>
              <a:gd name="connsiteX58" fmla="*/ 429246 w 643559"/>
              <a:gd name="connsiteY58" fmla="*/ 161925 h 585028"/>
              <a:gd name="connsiteX59" fmla="*/ 426865 w 643559"/>
              <a:gd name="connsiteY59" fmla="*/ 145257 h 585028"/>
              <a:gd name="connsiteX60" fmla="*/ 419721 w 643559"/>
              <a:gd name="connsiteY60" fmla="*/ 142875 h 585028"/>
              <a:gd name="connsiteX61" fmla="*/ 412578 w 643559"/>
              <a:gd name="connsiteY61" fmla="*/ 138113 h 585028"/>
              <a:gd name="connsiteX62" fmla="*/ 417340 w 643559"/>
              <a:gd name="connsiteY62" fmla="*/ 130969 h 585028"/>
              <a:gd name="connsiteX63" fmla="*/ 436390 w 643559"/>
              <a:gd name="connsiteY63" fmla="*/ 121444 h 585028"/>
              <a:gd name="connsiteX64" fmla="*/ 443534 w 643559"/>
              <a:gd name="connsiteY64" fmla="*/ 92869 h 585028"/>
              <a:gd name="connsiteX65" fmla="*/ 469728 w 643559"/>
              <a:gd name="connsiteY65" fmla="*/ 64294 h 585028"/>
              <a:gd name="connsiteX66" fmla="*/ 486396 w 643559"/>
              <a:gd name="connsiteY66" fmla="*/ 50007 h 585028"/>
              <a:gd name="connsiteX67" fmla="*/ 503065 w 643559"/>
              <a:gd name="connsiteY67" fmla="*/ 28575 h 585028"/>
              <a:gd name="connsiteX68" fmla="*/ 512590 w 643559"/>
              <a:gd name="connsiteY68" fmla="*/ 30957 h 585028"/>
              <a:gd name="connsiteX69" fmla="*/ 519734 w 643559"/>
              <a:gd name="connsiteY69" fmla="*/ 33338 h 585028"/>
              <a:gd name="connsiteX70" fmla="*/ 536403 w 643559"/>
              <a:gd name="connsiteY70" fmla="*/ 30957 h 585028"/>
              <a:gd name="connsiteX71" fmla="*/ 543546 w 643559"/>
              <a:gd name="connsiteY71" fmla="*/ 21432 h 585028"/>
              <a:gd name="connsiteX72" fmla="*/ 550690 w 643559"/>
              <a:gd name="connsiteY72" fmla="*/ 14288 h 585028"/>
              <a:gd name="connsiteX73" fmla="*/ 553071 w 643559"/>
              <a:gd name="connsiteY73" fmla="*/ 7144 h 585028"/>
              <a:gd name="connsiteX74" fmla="*/ 557834 w 643559"/>
              <a:gd name="connsiteY74" fmla="*/ 0 h 585028"/>
              <a:gd name="connsiteX75" fmla="*/ 579265 w 643559"/>
              <a:gd name="connsiteY75" fmla="*/ 19050 h 585028"/>
              <a:gd name="connsiteX76" fmla="*/ 586409 w 643559"/>
              <a:gd name="connsiteY76" fmla="*/ 28575 h 585028"/>
              <a:gd name="connsiteX77" fmla="*/ 591171 w 643559"/>
              <a:gd name="connsiteY77" fmla="*/ 35719 h 585028"/>
              <a:gd name="connsiteX78" fmla="*/ 600696 w 643559"/>
              <a:gd name="connsiteY78" fmla="*/ 42863 h 585028"/>
              <a:gd name="connsiteX79" fmla="*/ 607840 w 643559"/>
              <a:gd name="connsiteY79" fmla="*/ 52388 h 585028"/>
              <a:gd name="connsiteX80" fmla="*/ 614984 w 643559"/>
              <a:gd name="connsiteY80" fmla="*/ 59532 h 585028"/>
              <a:gd name="connsiteX81" fmla="*/ 622128 w 643559"/>
              <a:gd name="connsiteY81" fmla="*/ 69057 h 585028"/>
              <a:gd name="connsiteX82" fmla="*/ 636415 w 643559"/>
              <a:gd name="connsiteY82" fmla="*/ 83344 h 585028"/>
              <a:gd name="connsiteX83" fmla="*/ 643559 w 643559"/>
              <a:gd name="connsiteY83" fmla="*/ 90488 h 585028"/>
              <a:gd name="connsiteX84" fmla="*/ 641178 w 643559"/>
              <a:gd name="connsiteY84" fmla="*/ 100013 h 585028"/>
              <a:gd name="connsiteX85" fmla="*/ 631653 w 643559"/>
              <a:gd name="connsiteY85" fmla="*/ 102394 h 585028"/>
              <a:gd name="connsiteX86" fmla="*/ 612603 w 643559"/>
              <a:gd name="connsiteY86" fmla="*/ 119063 h 585028"/>
              <a:gd name="connsiteX87" fmla="*/ 598315 w 643559"/>
              <a:gd name="connsiteY87" fmla="*/ 128588 h 585028"/>
              <a:gd name="connsiteX88" fmla="*/ 579265 w 643559"/>
              <a:gd name="connsiteY88" fmla="*/ 147638 h 585028"/>
              <a:gd name="connsiteX89" fmla="*/ 574503 w 643559"/>
              <a:gd name="connsiteY89" fmla="*/ 157163 h 585028"/>
              <a:gd name="connsiteX90" fmla="*/ 572121 w 643559"/>
              <a:gd name="connsiteY90" fmla="*/ 166688 h 585028"/>
              <a:gd name="connsiteX91" fmla="*/ 569740 w 643559"/>
              <a:gd name="connsiteY91" fmla="*/ 173832 h 585028"/>
              <a:gd name="connsiteX92" fmla="*/ 564978 w 643559"/>
              <a:gd name="connsiteY92" fmla="*/ 195263 h 585028"/>
              <a:gd name="connsiteX93" fmla="*/ 560215 w 643559"/>
              <a:gd name="connsiteY93" fmla="*/ 207169 h 585028"/>
              <a:gd name="connsiteX94" fmla="*/ 553071 w 643559"/>
              <a:gd name="connsiteY94" fmla="*/ 216694 h 585028"/>
              <a:gd name="connsiteX95" fmla="*/ 557834 w 643559"/>
              <a:gd name="connsiteY95" fmla="*/ 223838 h 585028"/>
              <a:gd name="connsiteX96" fmla="*/ 557834 w 643559"/>
              <a:gd name="connsiteY96" fmla="*/ 240507 h 585028"/>
              <a:gd name="connsiteX97" fmla="*/ 560215 w 643559"/>
              <a:gd name="connsiteY97" fmla="*/ 250032 h 585028"/>
              <a:gd name="connsiteX98" fmla="*/ 567359 w 643559"/>
              <a:gd name="connsiteY98" fmla="*/ 257175 h 585028"/>
              <a:gd name="connsiteX99" fmla="*/ 569740 w 643559"/>
              <a:gd name="connsiteY99" fmla="*/ 269082 h 585028"/>
              <a:gd name="connsiteX100" fmla="*/ 574503 w 643559"/>
              <a:gd name="connsiteY100" fmla="*/ 302419 h 585028"/>
              <a:gd name="connsiteX101" fmla="*/ 560215 w 643559"/>
              <a:gd name="connsiteY101" fmla="*/ 359569 h 585028"/>
              <a:gd name="connsiteX102" fmla="*/ 557834 w 643559"/>
              <a:gd name="connsiteY102" fmla="*/ 381000 h 585028"/>
              <a:gd name="connsiteX103" fmla="*/ 560215 w 643559"/>
              <a:gd name="connsiteY103" fmla="*/ 431007 h 585028"/>
              <a:gd name="connsiteX104" fmla="*/ 557834 w 643559"/>
              <a:gd name="connsiteY104" fmla="*/ 461963 h 585028"/>
              <a:gd name="connsiteX105" fmla="*/ 555453 w 643559"/>
              <a:gd name="connsiteY105" fmla="*/ 469107 h 585028"/>
              <a:gd name="connsiteX106" fmla="*/ 548309 w 643559"/>
              <a:gd name="connsiteY106" fmla="*/ 473869 h 585028"/>
              <a:gd name="connsiteX107" fmla="*/ 491159 w 643559"/>
              <a:gd name="connsiteY107" fmla="*/ 473869 h 585028"/>
              <a:gd name="connsiteX108" fmla="*/ 495921 w 643559"/>
              <a:gd name="connsiteY108" fmla="*/ 481013 h 585028"/>
              <a:gd name="connsiteX109" fmla="*/ 474490 w 643559"/>
              <a:gd name="connsiteY109" fmla="*/ 500063 h 585028"/>
              <a:gd name="connsiteX110" fmla="*/ 457821 w 643559"/>
              <a:gd name="connsiteY110" fmla="*/ 514350 h 585028"/>
              <a:gd name="connsiteX111" fmla="*/ 431628 w 643559"/>
              <a:gd name="connsiteY111" fmla="*/ 511969 h 585028"/>
              <a:gd name="connsiteX112" fmla="*/ 417340 w 643559"/>
              <a:gd name="connsiteY112" fmla="*/ 509588 h 585028"/>
              <a:gd name="connsiteX113" fmla="*/ 400671 w 643559"/>
              <a:gd name="connsiteY113" fmla="*/ 516732 h 585028"/>
              <a:gd name="connsiteX114" fmla="*/ 357808 w 643559"/>
              <a:gd name="connsiteY114" fmla="*/ 519113 h 585028"/>
              <a:gd name="connsiteX115" fmla="*/ 343521 w 643559"/>
              <a:gd name="connsiteY115" fmla="*/ 526257 h 585028"/>
              <a:gd name="connsiteX116" fmla="*/ 317328 w 643559"/>
              <a:gd name="connsiteY116" fmla="*/ 531019 h 585028"/>
              <a:gd name="connsiteX117" fmla="*/ 303040 w 643559"/>
              <a:gd name="connsiteY117" fmla="*/ 542925 h 585028"/>
              <a:gd name="connsiteX118" fmla="*/ 291134 w 643559"/>
              <a:gd name="connsiteY118" fmla="*/ 547688 h 585028"/>
              <a:gd name="connsiteX119" fmla="*/ 283990 w 643559"/>
              <a:gd name="connsiteY119" fmla="*/ 552450 h 585028"/>
              <a:gd name="connsiteX120" fmla="*/ 279228 w 643559"/>
              <a:gd name="connsiteY120" fmla="*/ 559594 h 585028"/>
              <a:gd name="connsiteX121" fmla="*/ 272084 w 643559"/>
              <a:gd name="connsiteY121" fmla="*/ 569119 h 585028"/>
              <a:gd name="connsiteX122" fmla="*/ 274465 w 643559"/>
              <a:gd name="connsiteY122" fmla="*/ 576263 h 585028"/>
              <a:gd name="connsiteX123" fmla="*/ 253034 w 643559"/>
              <a:gd name="connsiteY123" fmla="*/ 578644 h 585028"/>
              <a:gd name="connsiteX124" fmla="*/ 250653 w 643559"/>
              <a:gd name="connsiteY124" fmla="*/ 571500 h 585028"/>
              <a:gd name="connsiteX125" fmla="*/ 241128 w 643559"/>
              <a:gd name="connsiteY125" fmla="*/ 569119 h 585028"/>
              <a:gd name="connsiteX126" fmla="*/ 233984 w 643559"/>
              <a:gd name="connsiteY126" fmla="*/ 566738 h 585028"/>
              <a:gd name="connsiteX127" fmla="*/ 222078 w 643559"/>
              <a:gd name="connsiteY127" fmla="*/ 557213 h 585028"/>
              <a:gd name="connsiteX128" fmla="*/ 214934 w 643559"/>
              <a:gd name="connsiteY128" fmla="*/ 554832 h 585028"/>
              <a:gd name="connsiteX129" fmla="*/ 207790 w 643559"/>
              <a:gd name="connsiteY129" fmla="*/ 547688 h 585028"/>
              <a:gd name="connsiteX130" fmla="*/ 191121 w 643559"/>
              <a:gd name="connsiteY130" fmla="*/ 557213 h 585028"/>
              <a:gd name="connsiteX131" fmla="*/ 148259 w 643559"/>
              <a:gd name="connsiteY131" fmla="*/ 528638 h 585028"/>
              <a:gd name="connsiteX132" fmla="*/ 133971 w 643559"/>
              <a:gd name="connsiteY132" fmla="*/ 516732 h 585028"/>
              <a:gd name="connsiteX133" fmla="*/ 129209 w 643559"/>
              <a:gd name="connsiteY133" fmla="*/ 516732 h 585028"/>
              <a:gd name="connsiteX134" fmla="*/ 110160 w 643559"/>
              <a:gd name="connsiteY134" fmla="*/ 516731 h 585028"/>
              <a:gd name="connsiteX135" fmla="*/ 53008 w 643559"/>
              <a:gd name="connsiteY135" fmla="*/ 519113 h 585028"/>
              <a:gd name="connsiteX136" fmla="*/ 31578 w 643559"/>
              <a:gd name="connsiteY136" fmla="*/ 507207 h 585028"/>
              <a:gd name="connsiteX137" fmla="*/ 31578 w 643559"/>
              <a:gd name="connsiteY137" fmla="*/ 521494 h 585028"/>
              <a:gd name="connsiteX138" fmla="*/ 621 w 643559"/>
              <a:gd name="connsiteY138" fmla="*/ 511969 h 585028"/>
              <a:gd name="connsiteX139" fmla="*/ 5384 w 643559"/>
              <a:gd name="connsiteY139" fmla="*/ 516732 h 585028"/>
              <a:gd name="connsiteX0" fmla="*/ 9907 w 643320"/>
              <a:gd name="connsiteY0" fmla="*/ 528638 h 585028"/>
              <a:gd name="connsiteX1" fmla="*/ 9907 w 643320"/>
              <a:gd name="connsiteY1" fmla="*/ 504825 h 585028"/>
              <a:gd name="connsiteX2" fmla="*/ 14670 w 643320"/>
              <a:gd name="connsiteY2" fmla="*/ 497682 h 585028"/>
              <a:gd name="connsiteX3" fmla="*/ 17051 w 643320"/>
              <a:gd name="connsiteY3" fmla="*/ 488157 h 585028"/>
              <a:gd name="connsiteX4" fmla="*/ 19432 w 643320"/>
              <a:gd name="connsiteY4" fmla="*/ 457200 h 585028"/>
              <a:gd name="connsiteX5" fmla="*/ 121826 w 643320"/>
              <a:gd name="connsiteY5" fmla="*/ 442913 h 585028"/>
              <a:gd name="connsiteX6" fmla="*/ 128970 w 643320"/>
              <a:gd name="connsiteY6" fmla="*/ 428625 h 585028"/>
              <a:gd name="connsiteX7" fmla="*/ 100395 w 643320"/>
              <a:gd name="connsiteY7" fmla="*/ 433387 h 585028"/>
              <a:gd name="connsiteX8" fmla="*/ 95632 w 643320"/>
              <a:gd name="connsiteY8" fmla="*/ 411957 h 585028"/>
              <a:gd name="connsiteX9" fmla="*/ 105157 w 643320"/>
              <a:gd name="connsiteY9" fmla="*/ 388144 h 585028"/>
              <a:gd name="connsiteX10" fmla="*/ 112301 w 643320"/>
              <a:gd name="connsiteY10" fmla="*/ 390525 h 585028"/>
              <a:gd name="connsiteX11" fmla="*/ 98013 w 643320"/>
              <a:gd name="connsiteY11" fmla="*/ 397670 h 585028"/>
              <a:gd name="connsiteX12" fmla="*/ 133732 w 643320"/>
              <a:gd name="connsiteY12" fmla="*/ 395288 h 585028"/>
              <a:gd name="connsiteX13" fmla="*/ 136114 w 643320"/>
              <a:gd name="connsiteY13" fmla="*/ 383382 h 585028"/>
              <a:gd name="connsiteX14" fmla="*/ 138495 w 643320"/>
              <a:gd name="connsiteY14" fmla="*/ 361950 h 585028"/>
              <a:gd name="connsiteX15" fmla="*/ 140876 w 643320"/>
              <a:gd name="connsiteY15" fmla="*/ 345282 h 585028"/>
              <a:gd name="connsiteX16" fmla="*/ 145639 w 643320"/>
              <a:gd name="connsiteY16" fmla="*/ 338138 h 585028"/>
              <a:gd name="connsiteX17" fmla="*/ 217076 w 643320"/>
              <a:gd name="connsiteY17" fmla="*/ 335757 h 585028"/>
              <a:gd name="connsiteX18" fmla="*/ 226601 w 643320"/>
              <a:gd name="connsiteY18" fmla="*/ 321469 h 585028"/>
              <a:gd name="connsiteX19" fmla="*/ 228982 w 643320"/>
              <a:gd name="connsiteY19" fmla="*/ 314325 h 585028"/>
              <a:gd name="connsiteX20" fmla="*/ 214695 w 643320"/>
              <a:gd name="connsiteY20" fmla="*/ 309563 h 585028"/>
              <a:gd name="connsiteX21" fmla="*/ 200407 w 643320"/>
              <a:gd name="connsiteY21" fmla="*/ 300038 h 585028"/>
              <a:gd name="connsiteX22" fmla="*/ 193264 w 643320"/>
              <a:gd name="connsiteY22" fmla="*/ 295275 h 585028"/>
              <a:gd name="connsiteX23" fmla="*/ 186120 w 643320"/>
              <a:gd name="connsiteY23" fmla="*/ 292894 h 585028"/>
              <a:gd name="connsiteX24" fmla="*/ 183739 w 643320"/>
              <a:gd name="connsiteY24" fmla="*/ 285750 h 585028"/>
              <a:gd name="connsiteX25" fmla="*/ 209932 w 643320"/>
              <a:gd name="connsiteY25" fmla="*/ 283369 h 585028"/>
              <a:gd name="connsiteX26" fmla="*/ 217076 w 643320"/>
              <a:gd name="connsiteY26" fmla="*/ 280988 h 585028"/>
              <a:gd name="connsiteX27" fmla="*/ 224220 w 643320"/>
              <a:gd name="connsiteY27" fmla="*/ 266700 h 585028"/>
              <a:gd name="connsiteX28" fmla="*/ 236126 w 643320"/>
              <a:gd name="connsiteY28" fmla="*/ 252413 h 585028"/>
              <a:gd name="connsiteX29" fmla="*/ 245651 w 643320"/>
              <a:gd name="connsiteY29" fmla="*/ 250032 h 585028"/>
              <a:gd name="connsiteX30" fmla="*/ 257557 w 643320"/>
              <a:gd name="connsiteY30" fmla="*/ 245269 h 585028"/>
              <a:gd name="connsiteX31" fmla="*/ 286132 w 643320"/>
              <a:gd name="connsiteY31" fmla="*/ 240507 h 585028"/>
              <a:gd name="connsiteX32" fmla="*/ 300420 w 643320"/>
              <a:gd name="connsiteY32" fmla="*/ 228600 h 585028"/>
              <a:gd name="connsiteX33" fmla="*/ 321851 w 643320"/>
              <a:gd name="connsiteY33" fmla="*/ 204788 h 585028"/>
              <a:gd name="connsiteX34" fmla="*/ 333757 w 643320"/>
              <a:gd name="connsiteY34" fmla="*/ 202407 h 585028"/>
              <a:gd name="connsiteX35" fmla="*/ 355189 w 643320"/>
              <a:gd name="connsiteY35" fmla="*/ 219075 h 585028"/>
              <a:gd name="connsiteX36" fmla="*/ 390907 w 643320"/>
              <a:gd name="connsiteY36" fmla="*/ 202407 h 585028"/>
              <a:gd name="connsiteX37" fmla="*/ 383764 w 643320"/>
              <a:gd name="connsiteY37" fmla="*/ 197644 h 585028"/>
              <a:gd name="connsiteX38" fmla="*/ 388526 w 643320"/>
              <a:gd name="connsiteY38" fmla="*/ 178594 h 585028"/>
              <a:gd name="connsiteX39" fmla="*/ 398051 w 643320"/>
              <a:gd name="connsiteY39" fmla="*/ 180975 h 585028"/>
              <a:gd name="connsiteX40" fmla="*/ 400432 w 643320"/>
              <a:gd name="connsiteY40" fmla="*/ 188119 h 585028"/>
              <a:gd name="connsiteX41" fmla="*/ 402814 w 643320"/>
              <a:gd name="connsiteY41" fmla="*/ 197644 h 585028"/>
              <a:gd name="connsiteX42" fmla="*/ 407576 w 643320"/>
              <a:gd name="connsiteY42" fmla="*/ 209550 h 585028"/>
              <a:gd name="connsiteX43" fmla="*/ 424245 w 643320"/>
              <a:gd name="connsiteY43" fmla="*/ 211932 h 585028"/>
              <a:gd name="connsiteX44" fmla="*/ 448057 w 643320"/>
              <a:gd name="connsiteY44" fmla="*/ 202407 h 585028"/>
              <a:gd name="connsiteX45" fmla="*/ 476632 w 643320"/>
              <a:gd name="connsiteY45" fmla="*/ 211932 h 585028"/>
              <a:gd name="connsiteX46" fmla="*/ 467107 w 643320"/>
              <a:gd name="connsiteY46" fmla="*/ 192881 h 585028"/>
              <a:gd name="connsiteX47" fmla="*/ 490920 w 643320"/>
              <a:gd name="connsiteY47" fmla="*/ 183357 h 585028"/>
              <a:gd name="connsiteX48" fmla="*/ 502826 w 643320"/>
              <a:gd name="connsiteY48" fmla="*/ 159544 h 585028"/>
              <a:gd name="connsiteX49" fmla="*/ 512351 w 643320"/>
              <a:gd name="connsiteY49" fmla="*/ 161925 h 585028"/>
              <a:gd name="connsiteX50" fmla="*/ 526639 w 643320"/>
              <a:gd name="connsiteY50" fmla="*/ 152400 h 585028"/>
              <a:gd name="connsiteX51" fmla="*/ 531401 w 643320"/>
              <a:gd name="connsiteY51" fmla="*/ 130969 h 585028"/>
              <a:gd name="connsiteX52" fmla="*/ 524257 w 643320"/>
              <a:gd name="connsiteY52" fmla="*/ 126207 h 585028"/>
              <a:gd name="connsiteX53" fmla="*/ 486158 w 643320"/>
              <a:gd name="connsiteY53" fmla="*/ 135732 h 585028"/>
              <a:gd name="connsiteX54" fmla="*/ 483776 w 643320"/>
              <a:gd name="connsiteY54" fmla="*/ 142876 h 585028"/>
              <a:gd name="connsiteX55" fmla="*/ 438532 w 643320"/>
              <a:gd name="connsiteY55" fmla="*/ 142875 h 585028"/>
              <a:gd name="connsiteX56" fmla="*/ 462345 w 643320"/>
              <a:gd name="connsiteY56" fmla="*/ 154782 h 585028"/>
              <a:gd name="connsiteX57" fmla="*/ 433770 w 643320"/>
              <a:gd name="connsiteY57" fmla="*/ 169069 h 585028"/>
              <a:gd name="connsiteX58" fmla="*/ 429007 w 643320"/>
              <a:gd name="connsiteY58" fmla="*/ 161925 h 585028"/>
              <a:gd name="connsiteX59" fmla="*/ 426626 w 643320"/>
              <a:gd name="connsiteY59" fmla="*/ 145257 h 585028"/>
              <a:gd name="connsiteX60" fmla="*/ 419482 w 643320"/>
              <a:gd name="connsiteY60" fmla="*/ 142875 h 585028"/>
              <a:gd name="connsiteX61" fmla="*/ 412339 w 643320"/>
              <a:gd name="connsiteY61" fmla="*/ 138113 h 585028"/>
              <a:gd name="connsiteX62" fmla="*/ 417101 w 643320"/>
              <a:gd name="connsiteY62" fmla="*/ 130969 h 585028"/>
              <a:gd name="connsiteX63" fmla="*/ 436151 w 643320"/>
              <a:gd name="connsiteY63" fmla="*/ 121444 h 585028"/>
              <a:gd name="connsiteX64" fmla="*/ 443295 w 643320"/>
              <a:gd name="connsiteY64" fmla="*/ 92869 h 585028"/>
              <a:gd name="connsiteX65" fmla="*/ 469489 w 643320"/>
              <a:gd name="connsiteY65" fmla="*/ 64294 h 585028"/>
              <a:gd name="connsiteX66" fmla="*/ 486157 w 643320"/>
              <a:gd name="connsiteY66" fmla="*/ 50007 h 585028"/>
              <a:gd name="connsiteX67" fmla="*/ 502826 w 643320"/>
              <a:gd name="connsiteY67" fmla="*/ 28575 h 585028"/>
              <a:gd name="connsiteX68" fmla="*/ 512351 w 643320"/>
              <a:gd name="connsiteY68" fmla="*/ 30957 h 585028"/>
              <a:gd name="connsiteX69" fmla="*/ 519495 w 643320"/>
              <a:gd name="connsiteY69" fmla="*/ 33338 h 585028"/>
              <a:gd name="connsiteX70" fmla="*/ 536164 w 643320"/>
              <a:gd name="connsiteY70" fmla="*/ 30957 h 585028"/>
              <a:gd name="connsiteX71" fmla="*/ 543307 w 643320"/>
              <a:gd name="connsiteY71" fmla="*/ 21432 h 585028"/>
              <a:gd name="connsiteX72" fmla="*/ 550451 w 643320"/>
              <a:gd name="connsiteY72" fmla="*/ 14288 h 585028"/>
              <a:gd name="connsiteX73" fmla="*/ 552832 w 643320"/>
              <a:gd name="connsiteY73" fmla="*/ 7144 h 585028"/>
              <a:gd name="connsiteX74" fmla="*/ 557595 w 643320"/>
              <a:gd name="connsiteY74" fmla="*/ 0 h 585028"/>
              <a:gd name="connsiteX75" fmla="*/ 579026 w 643320"/>
              <a:gd name="connsiteY75" fmla="*/ 19050 h 585028"/>
              <a:gd name="connsiteX76" fmla="*/ 586170 w 643320"/>
              <a:gd name="connsiteY76" fmla="*/ 28575 h 585028"/>
              <a:gd name="connsiteX77" fmla="*/ 590932 w 643320"/>
              <a:gd name="connsiteY77" fmla="*/ 35719 h 585028"/>
              <a:gd name="connsiteX78" fmla="*/ 600457 w 643320"/>
              <a:gd name="connsiteY78" fmla="*/ 42863 h 585028"/>
              <a:gd name="connsiteX79" fmla="*/ 607601 w 643320"/>
              <a:gd name="connsiteY79" fmla="*/ 52388 h 585028"/>
              <a:gd name="connsiteX80" fmla="*/ 614745 w 643320"/>
              <a:gd name="connsiteY80" fmla="*/ 59532 h 585028"/>
              <a:gd name="connsiteX81" fmla="*/ 621889 w 643320"/>
              <a:gd name="connsiteY81" fmla="*/ 69057 h 585028"/>
              <a:gd name="connsiteX82" fmla="*/ 636176 w 643320"/>
              <a:gd name="connsiteY82" fmla="*/ 83344 h 585028"/>
              <a:gd name="connsiteX83" fmla="*/ 643320 w 643320"/>
              <a:gd name="connsiteY83" fmla="*/ 90488 h 585028"/>
              <a:gd name="connsiteX84" fmla="*/ 640939 w 643320"/>
              <a:gd name="connsiteY84" fmla="*/ 100013 h 585028"/>
              <a:gd name="connsiteX85" fmla="*/ 631414 w 643320"/>
              <a:gd name="connsiteY85" fmla="*/ 102394 h 585028"/>
              <a:gd name="connsiteX86" fmla="*/ 612364 w 643320"/>
              <a:gd name="connsiteY86" fmla="*/ 119063 h 585028"/>
              <a:gd name="connsiteX87" fmla="*/ 598076 w 643320"/>
              <a:gd name="connsiteY87" fmla="*/ 128588 h 585028"/>
              <a:gd name="connsiteX88" fmla="*/ 579026 w 643320"/>
              <a:gd name="connsiteY88" fmla="*/ 147638 h 585028"/>
              <a:gd name="connsiteX89" fmla="*/ 574264 w 643320"/>
              <a:gd name="connsiteY89" fmla="*/ 157163 h 585028"/>
              <a:gd name="connsiteX90" fmla="*/ 571882 w 643320"/>
              <a:gd name="connsiteY90" fmla="*/ 166688 h 585028"/>
              <a:gd name="connsiteX91" fmla="*/ 569501 w 643320"/>
              <a:gd name="connsiteY91" fmla="*/ 173832 h 585028"/>
              <a:gd name="connsiteX92" fmla="*/ 564739 w 643320"/>
              <a:gd name="connsiteY92" fmla="*/ 195263 h 585028"/>
              <a:gd name="connsiteX93" fmla="*/ 559976 w 643320"/>
              <a:gd name="connsiteY93" fmla="*/ 207169 h 585028"/>
              <a:gd name="connsiteX94" fmla="*/ 552832 w 643320"/>
              <a:gd name="connsiteY94" fmla="*/ 216694 h 585028"/>
              <a:gd name="connsiteX95" fmla="*/ 557595 w 643320"/>
              <a:gd name="connsiteY95" fmla="*/ 223838 h 585028"/>
              <a:gd name="connsiteX96" fmla="*/ 557595 w 643320"/>
              <a:gd name="connsiteY96" fmla="*/ 240507 h 585028"/>
              <a:gd name="connsiteX97" fmla="*/ 559976 w 643320"/>
              <a:gd name="connsiteY97" fmla="*/ 250032 h 585028"/>
              <a:gd name="connsiteX98" fmla="*/ 567120 w 643320"/>
              <a:gd name="connsiteY98" fmla="*/ 257175 h 585028"/>
              <a:gd name="connsiteX99" fmla="*/ 569501 w 643320"/>
              <a:gd name="connsiteY99" fmla="*/ 269082 h 585028"/>
              <a:gd name="connsiteX100" fmla="*/ 574264 w 643320"/>
              <a:gd name="connsiteY100" fmla="*/ 302419 h 585028"/>
              <a:gd name="connsiteX101" fmla="*/ 559976 w 643320"/>
              <a:gd name="connsiteY101" fmla="*/ 359569 h 585028"/>
              <a:gd name="connsiteX102" fmla="*/ 557595 w 643320"/>
              <a:gd name="connsiteY102" fmla="*/ 381000 h 585028"/>
              <a:gd name="connsiteX103" fmla="*/ 559976 w 643320"/>
              <a:gd name="connsiteY103" fmla="*/ 431007 h 585028"/>
              <a:gd name="connsiteX104" fmla="*/ 557595 w 643320"/>
              <a:gd name="connsiteY104" fmla="*/ 461963 h 585028"/>
              <a:gd name="connsiteX105" fmla="*/ 555214 w 643320"/>
              <a:gd name="connsiteY105" fmla="*/ 469107 h 585028"/>
              <a:gd name="connsiteX106" fmla="*/ 548070 w 643320"/>
              <a:gd name="connsiteY106" fmla="*/ 473869 h 585028"/>
              <a:gd name="connsiteX107" fmla="*/ 490920 w 643320"/>
              <a:gd name="connsiteY107" fmla="*/ 473869 h 585028"/>
              <a:gd name="connsiteX108" fmla="*/ 495682 w 643320"/>
              <a:gd name="connsiteY108" fmla="*/ 481013 h 585028"/>
              <a:gd name="connsiteX109" fmla="*/ 474251 w 643320"/>
              <a:gd name="connsiteY109" fmla="*/ 500063 h 585028"/>
              <a:gd name="connsiteX110" fmla="*/ 457582 w 643320"/>
              <a:gd name="connsiteY110" fmla="*/ 514350 h 585028"/>
              <a:gd name="connsiteX111" fmla="*/ 431389 w 643320"/>
              <a:gd name="connsiteY111" fmla="*/ 511969 h 585028"/>
              <a:gd name="connsiteX112" fmla="*/ 417101 w 643320"/>
              <a:gd name="connsiteY112" fmla="*/ 509588 h 585028"/>
              <a:gd name="connsiteX113" fmla="*/ 400432 w 643320"/>
              <a:gd name="connsiteY113" fmla="*/ 516732 h 585028"/>
              <a:gd name="connsiteX114" fmla="*/ 357569 w 643320"/>
              <a:gd name="connsiteY114" fmla="*/ 519113 h 585028"/>
              <a:gd name="connsiteX115" fmla="*/ 343282 w 643320"/>
              <a:gd name="connsiteY115" fmla="*/ 526257 h 585028"/>
              <a:gd name="connsiteX116" fmla="*/ 317089 w 643320"/>
              <a:gd name="connsiteY116" fmla="*/ 531019 h 585028"/>
              <a:gd name="connsiteX117" fmla="*/ 302801 w 643320"/>
              <a:gd name="connsiteY117" fmla="*/ 542925 h 585028"/>
              <a:gd name="connsiteX118" fmla="*/ 290895 w 643320"/>
              <a:gd name="connsiteY118" fmla="*/ 547688 h 585028"/>
              <a:gd name="connsiteX119" fmla="*/ 283751 w 643320"/>
              <a:gd name="connsiteY119" fmla="*/ 552450 h 585028"/>
              <a:gd name="connsiteX120" fmla="*/ 278989 w 643320"/>
              <a:gd name="connsiteY120" fmla="*/ 559594 h 585028"/>
              <a:gd name="connsiteX121" fmla="*/ 271845 w 643320"/>
              <a:gd name="connsiteY121" fmla="*/ 569119 h 585028"/>
              <a:gd name="connsiteX122" fmla="*/ 274226 w 643320"/>
              <a:gd name="connsiteY122" fmla="*/ 576263 h 585028"/>
              <a:gd name="connsiteX123" fmla="*/ 252795 w 643320"/>
              <a:gd name="connsiteY123" fmla="*/ 578644 h 585028"/>
              <a:gd name="connsiteX124" fmla="*/ 250414 w 643320"/>
              <a:gd name="connsiteY124" fmla="*/ 571500 h 585028"/>
              <a:gd name="connsiteX125" fmla="*/ 240889 w 643320"/>
              <a:gd name="connsiteY125" fmla="*/ 569119 h 585028"/>
              <a:gd name="connsiteX126" fmla="*/ 233745 w 643320"/>
              <a:gd name="connsiteY126" fmla="*/ 566738 h 585028"/>
              <a:gd name="connsiteX127" fmla="*/ 221839 w 643320"/>
              <a:gd name="connsiteY127" fmla="*/ 557213 h 585028"/>
              <a:gd name="connsiteX128" fmla="*/ 214695 w 643320"/>
              <a:gd name="connsiteY128" fmla="*/ 554832 h 585028"/>
              <a:gd name="connsiteX129" fmla="*/ 207551 w 643320"/>
              <a:gd name="connsiteY129" fmla="*/ 547688 h 585028"/>
              <a:gd name="connsiteX130" fmla="*/ 190882 w 643320"/>
              <a:gd name="connsiteY130" fmla="*/ 557213 h 585028"/>
              <a:gd name="connsiteX131" fmla="*/ 148020 w 643320"/>
              <a:gd name="connsiteY131" fmla="*/ 528638 h 585028"/>
              <a:gd name="connsiteX132" fmla="*/ 133732 w 643320"/>
              <a:gd name="connsiteY132" fmla="*/ 516732 h 585028"/>
              <a:gd name="connsiteX133" fmla="*/ 128970 w 643320"/>
              <a:gd name="connsiteY133" fmla="*/ 516732 h 585028"/>
              <a:gd name="connsiteX134" fmla="*/ 109921 w 643320"/>
              <a:gd name="connsiteY134" fmla="*/ 516731 h 585028"/>
              <a:gd name="connsiteX135" fmla="*/ 52769 w 643320"/>
              <a:gd name="connsiteY135" fmla="*/ 519113 h 585028"/>
              <a:gd name="connsiteX136" fmla="*/ 31339 w 643320"/>
              <a:gd name="connsiteY136" fmla="*/ 507207 h 585028"/>
              <a:gd name="connsiteX137" fmla="*/ 31339 w 643320"/>
              <a:gd name="connsiteY137" fmla="*/ 521494 h 585028"/>
              <a:gd name="connsiteX138" fmla="*/ 382 w 643320"/>
              <a:gd name="connsiteY138" fmla="*/ 511969 h 585028"/>
              <a:gd name="connsiteX139" fmla="*/ 9907 w 643320"/>
              <a:gd name="connsiteY139" fmla="*/ 528638 h 585028"/>
              <a:gd name="connsiteX0" fmla="*/ 7616 w 643410"/>
              <a:gd name="connsiteY0" fmla="*/ 523875 h 585028"/>
              <a:gd name="connsiteX1" fmla="*/ 9997 w 643410"/>
              <a:gd name="connsiteY1" fmla="*/ 504825 h 585028"/>
              <a:gd name="connsiteX2" fmla="*/ 14760 w 643410"/>
              <a:gd name="connsiteY2" fmla="*/ 497682 h 585028"/>
              <a:gd name="connsiteX3" fmla="*/ 17141 w 643410"/>
              <a:gd name="connsiteY3" fmla="*/ 488157 h 585028"/>
              <a:gd name="connsiteX4" fmla="*/ 19522 w 643410"/>
              <a:gd name="connsiteY4" fmla="*/ 457200 h 585028"/>
              <a:gd name="connsiteX5" fmla="*/ 121916 w 643410"/>
              <a:gd name="connsiteY5" fmla="*/ 442913 h 585028"/>
              <a:gd name="connsiteX6" fmla="*/ 129060 w 643410"/>
              <a:gd name="connsiteY6" fmla="*/ 428625 h 585028"/>
              <a:gd name="connsiteX7" fmla="*/ 100485 w 643410"/>
              <a:gd name="connsiteY7" fmla="*/ 433387 h 585028"/>
              <a:gd name="connsiteX8" fmla="*/ 95722 w 643410"/>
              <a:gd name="connsiteY8" fmla="*/ 411957 h 585028"/>
              <a:gd name="connsiteX9" fmla="*/ 105247 w 643410"/>
              <a:gd name="connsiteY9" fmla="*/ 388144 h 585028"/>
              <a:gd name="connsiteX10" fmla="*/ 112391 w 643410"/>
              <a:gd name="connsiteY10" fmla="*/ 390525 h 585028"/>
              <a:gd name="connsiteX11" fmla="*/ 98103 w 643410"/>
              <a:gd name="connsiteY11" fmla="*/ 397670 h 585028"/>
              <a:gd name="connsiteX12" fmla="*/ 133822 w 643410"/>
              <a:gd name="connsiteY12" fmla="*/ 395288 h 585028"/>
              <a:gd name="connsiteX13" fmla="*/ 136204 w 643410"/>
              <a:gd name="connsiteY13" fmla="*/ 383382 h 585028"/>
              <a:gd name="connsiteX14" fmla="*/ 138585 w 643410"/>
              <a:gd name="connsiteY14" fmla="*/ 361950 h 585028"/>
              <a:gd name="connsiteX15" fmla="*/ 140966 w 643410"/>
              <a:gd name="connsiteY15" fmla="*/ 345282 h 585028"/>
              <a:gd name="connsiteX16" fmla="*/ 145729 w 643410"/>
              <a:gd name="connsiteY16" fmla="*/ 338138 h 585028"/>
              <a:gd name="connsiteX17" fmla="*/ 217166 w 643410"/>
              <a:gd name="connsiteY17" fmla="*/ 335757 h 585028"/>
              <a:gd name="connsiteX18" fmla="*/ 226691 w 643410"/>
              <a:gd name="connsiteY18" fmla="*/ 321469 h 585028"/>
              <a:gd name="connsiteX19" fmla="*/ 229072 w 643410"/>
              <a:gd name="connsiteY19" fmla="*/ 314325 h 585028"/>
              <a:gd name="connsiteX20" fmla="*/ 214785 w 643410"/>
              <a:gd name="connsiteY20" fmla="*/ 309563 h 585028"/>
              <a:gd name="connsiteX21" fmla="*/ 200497 w 643410"/>
              <a:gd name="connsiteY21" fmla="*/ 300038 h 585028"/>
              <a:gd name="connsiteX22" fmla="*/ 193354 w 643410"/>
              <a:gd name="connsiteY22" fmla="*/ 295275 h 585028"/>
              <a:gd name="connsiteX23" fmla="*/ 186210 w 643410"/>
              <a:gd name="connsiteY23" fmla="*/ 292894 h 585028"/>
              <a:gd name="connsiteX24" fmla="*/ 183829 w 643410"/>
              <a:gd name="connsiteY24" fmla="*/ 285750 h 585028"/>
              <a:gd name="connsiteX25" fmla="*/ 210022 w 643410"/>
              <a:gd name="connsiteY25" fmla="*/ 283369 h 585028"/>
              <a:gd name="connsiteX26" fmla="*/ 217166 w 643410"/>
              <a:gd name="connsiteY26" fmla="*/ 280988 h 585028"/>
              <a:gd name="connsiteX27" fmla="*/ 224310 w 643410"/>
              <a:gd name="connsiteY27" fmla="*/ 266700 h 585028"/>
              <a:gd name="connsiteX28" fmla="*/ 236216 w 643410"/>
              <a:gd name="connsiteY28" fmla="*/ 252413 h 585028"/>
              <a:gd name="connsiteX29" fmla="*/ 245741 w 643410"/>
              <a:gd name="connsiteY29" fmla="*/ 250032 h 585028"/>
              <a:gd name="connsiteX30" fmla="*/ 257647 w 643410"/>
              <a:gd name="connsiteY30" fmla="*/ 245269 h 585028"/>
              <a:gd name="connsiteX31" fmla="*/ 286222 w 643410"/>
              <a:gd name="connsiteY31" fmla="*/ 240507 h 585028"/>
              <a:gd name="connsiteX32" fmla="*/ 300510 w 643410"/>
              <a:gd name="connsiteY32" fmla="*/ 228600 h 585028"/>
              <a:gd name="connsiteX33" fmla="*/ 321941 w 643410"/>
              <a:gd name="connsiteY33" fmla="*/ 204788 h 585028"/>
              <a:gd name="connsiteX34" fmla="*/ 333847 w 643410"/>
              <a:gd name="connsiteY34" fmla="*/ 202407 h 585028"/>
              <a:gd name="connsiteX35" fmla="*/ 355279 w 643410"/>
              <a:gd name="connsiteY35" fmla="*/ 219075 h 585028"/>
              <a:gd name="connsiteX36" fmla="*/ 390997 w 643410"/>
              <a:gd name="connsiteY36" fmla="*/ 202407 h 585028"/>
              <a:gd name="connsiteX37" fmla="*/ 383854 w 643410"/>
              <a:gd name="connsiteY37" fmla="*/ 197644 h 585028"/>
              <a:gd name="connsiteX38" fmla="*/ 388616 w 643410"/>
              <a:gd name="connsiteY38" fmla="*/ 178594 h 585028"/>
              <a:gd name="connsiteX39" fmla="*/ 398141 w 643410"/>
              <a:gd name="connsiteY39" fmla="*/ 180975 h 585028"/>
              <a:gd name="connsiteX40" fmla="*/ 400522 w 643410"/>
              <a:gd name="connsiteY40" fmla="*/ 188119 h 585028"/>
              <a:gd name="connsiteX41" fmla="*/ 402904 w 643410"/>
              <a:gd name="connsiteY41" fmla="*/ 197644 h 585028"/>
              <a:gd name="connsiteX42" fmla="*/ 407666 w 643410"/>
              <a:gd name="connsiteY42" fmla="*/ 209550 h 585028"/>
              <a:gd name="connsiteX43" fmla="*/ 424335 w 643410"/>
              <a:gd name="connsiteY43" fmla="*/ 211932 h 585028"/>
              <a:gd name="connsiteX44" fmla="*/ 448147 w 643410"/>
              <a:gd name="connsiteY44" fmla="*/ 202407 h 585028"/>
              <a:gd name="connsiteX45" fmla="*/ 476722 w 643410"/>
              <a:gd name="connsiteY45" fmla="*/ 211932 h 585028"/>
              <a:gd name="connsiteX46" fmla="*/ 467197 w 643410"/>
              <a:gd name="connsiteY46" fmla="*/ 192881 h 585028"/>
              <a:gd name="connsiteX47" fmla="*/ 491010 w 643410"/>
              <a:gd name="connsiteY47" fmla="*/ 183357 h 585028"/>
              <a:gd name="connsiteX48" fmla="*/ 502916 w 643410"/>
              <a:gd name="connsiteY48" fmla="*/ 159544 h 585028"/>
              <a:gd name="connsiteX49" fmla="*/ 512441 w 643410"/>
              <a:gd name="connsiteY49" fmla="*/ 161925 h 585028"/>
              <a:gd name="connsiteX50" fmla="*/ 526729 w 643410"/>
              <a:gd name="connsiteY50" fmla="*/ 152400 h 585028"/>
              <a:gd name="connsiteX51" fmla="*/ 531491 w 643410"/>
              <a:gd name="connsiteY51" fmla="*/ 130969 h 585028"/>
              <a:gd name="connsiteX52" fmla="*/ 524347 w 643410"/>
              <a:gd name="connsiteY52" fmla="*/ 126207 h 585028"/>
              <a:gd name="connsiteX53" fmla="*/ 486248 w 643410"/>
              <a:gd name="connsiteY53" fmla="*/ 135732 h 585028"/>
              <a:gd name="connsiteX54" fmla="*/ 483866 w 643410"/>
              <a:gd name="connsiteY54" fmla="*/ 142876 h 585028"/>
              <a:gd name="connsiteX55" fmla="*/ 438622 w 643410"/>
              <a:gd name="connsiteY55" fmla="*/ 142875 h 585028"/>
              <a:gd name="connsiteX56" fmla="*/ 462435 w 643410"/>
              <a:gd name="connsiteY56" fmla="*/ 154782 h 585028"/>
              <a:gd name="connsiteX57" fmla="*/ 433860 w 643410"/>
              <a:gd name="connsiteY57" fmla="*/ 169069 h 585028"/>
              <a:gd name="connsiteX58" fmla="*/ 429097 w 643410"/>
              <a:gd name="connsiteY58" fmla="*/ 161925 h 585028"/>
              <a:gd name="connsiteX59" fmla="*/ 426716 w 643410"/>
              <a:gd name="connsiteY59" fmla="*/ 145257 h 585028"/>
              <a:gd name="connsiteX60" fmla="*/ 419572 w 643410"/>
              <a:gd name="connsiteY60" fmla="*/ 142875 h 585028"/>
              <a:gd name="connsiteX61" fmla="*/ 412429 w 643410"/>
              <a:gd name="connsiteY61" fmla="*/ 138113 h 585028"/>
              <a:gd name="connsiteX62" fmla="*/ 417191 w 643410"/>
              <a:gd name="connsiteY62" fmla="*/ 130969 h 585028"/>
              <a:gd name="connsiteX63" fmla="*/ 436241 w 643410"/>
              <a:gd name="connsiteY63" fmla="*/ 121444 h 585028"/>
              <a:gd name="connsiteX64" fmla="*/ 443385 w 643410"/>
              <a:gd name="connsiteY64" fmla="*/ 92869 h 585028"/>
              <a:gd name="connsiteX65" fmla="*/ 469579 w 643410"/>
              <a:gd name="connsiteY65" fmla="*/ 64294 h 585028"/>
              <a:gd name="connsiteX66" fmla="*/ 486247 w 643410"/>
              <a:gd name="connsiteY66" fmla="*/ 50007 h 585028"/>
              <a:gd name="connsiteX67" fmla="*/ 502916 w 643410"/>
              <a:gd name="connsiteY67" fmla="*/ 28575 h 585028"/>
              <a:gd name="connsiteX68" fmla="*/ 512441 w 643410"/>
              <a:gd name="connsiteY68" fmla="*/ 30957 h 585028"/>
              <a:gd name="connsiteX69" fmla="*/ 519585 w 643410"/>
              <a:gd name="connsiteY69" fmla="*/ 33338 h 585028"/>
              <a:gd name="connsiteX70" fmla="*/ 536254 w 643410"/>
              <a:gd name="connsiteY70" fmla="*/ 30957 h 585028"/>
              <a:gd name="connsiteX71" fmla="*/ 543397 w 643410"/>
              <a:gd name="connsiteY71" fmla="*/ 21432 h 585028"/>
              <a:gd name="connsiteX72" fmla="*/ 550541 w 643410"/>
              <a:gd name="connsiteY72" fmla="*/ 14288 h 585028"/>
              <a:gd name="connsiteX73" fmla="*/ 552922 w 643410"/>
              <a:gd name="connsiteY73" fmla="*/ 7144 h 585028"/>
              <a:gd name="connsiteX74" fmla="*/ 557685 w 643410"/>
              <a:gd name="connsiteY74" fmla="*/ 0 h 585028"/>
              <a:gd name="connsiteX75" fmla="*/ 579116 w 643410"/>
              <a:gd name="connsiteY75" fmla="*/ 19050 h 585028"/>
              <a:gd name="connsiteX76" fmla="*/ 586260 w 643410"/>
              <a:gd name="connsiteY76" fmla="*/ 28575 h 585028"/>
              <a:gd name="connsiteX77" fmla="*/ 591022 w 643410"/>
              <a:gd name="connsiteY77" fmla="*/ 35719 h 585028"/>
              <a:gd name="connsiteX78" fmla="*/ 600547 w 643410"/>
              <a:gd name="connsiteY78" fmla="*/ 42863 h 585028"/>
              <a:gd name="connsiteX79" fmla="*/ 607691 w 643410"/>
              <a:gd name="connsiteY79" fmla="*/ 52388 h 585028"/>
              <a:gd name="connsiteX80" fmla="*/ 614835 w 643410"/>
              <a:gd name="connsiteY80" fmla="*/ 59532 h 585028"/>
              <a:gd name="connsiteX81" fmla="*/ 621979 w 643410"/>
              <a:gd name="connsiteY81" fmla="*/ 69057 h 585028"/>
              <a:gd name="connsiteX82" fmla="*/ 636266 w 643410"/>
              <a:gd name="connsiteY82" fmla="*/ 83344 h 585028"/>
              <a:gd name="connsiteX83" fmla="*/ 643410 w 643410"/>
              <a:gd name="connsiteY83" fmla="*/ 90488 h 585028"/>
              <a:gd name="connsiteX84" fmla="*/ 641029 w 643410"/>
              <a:gd name="connsiteY84" fmla="*/ 100013 h 585028"/>
              <a:gd name="connsiteX85" fmla="*/ 631504 w 643410"/>
              <a:gd name="connsiteY85" fmla="*/ 102394 h 585028"/>
              <a:gd name="connsiteX86" fmla="*/ 612454 w 643410"/>
              <a:gd name="connsiteY86" fmla="*/ 119063 h 585028"/>
              <a:gd name="connsiteX87" fmla="*/ 598166 w 643410"/>
              <a:gd name="connsiteY87" fmla="*/ 128588 h 585028"/>
              <a:gd name="connsiteX88" fmla="*/ 579116 w 643410"/>
              <a:gd name="connsiteY88" fmla="*/ 147638 h 585028"/>
              <a:gd name="connsiteX89" fmla="*/ 574354 w 643410"/>
              <a:gd name="connsiteY89" fmla="*/ 157163 h 585028"/>
              <a:gd name="connsiteX90" fmla="*/ 571972 w 643410"/>
              <a:gd name="connsiteY90" fmla="*/ 166688 h 585028"/>
              <a:gd name="connsiteX91" fmla="*/ 569591 w 643410"/>
              <a:gd name="connsiteY91" fmla="*/ 173832 h 585028"/>
              <a:gd name="connsiteX92" fmla="*/ 564829 w 643410"/>
              <a:gd name="connsiteY92" fmla="*/ 195263 h 585028"/>
              <a:gd name="connsiteX93" fmla="*/ 560066 w 643410"/>
              <a:gd name="connsiteY93" fmla="*/ 207169 h 585028"/>
              <a:gd name="connsiteX94" fmla="*/ 552922 w 643410"/>
              <a:gd name="connsiteY94" fmla="*/ 216694 h 585028"/>
              <a:gd name="connsiteX95" fmla="*/ 557685 w 643410"/>
              <a:gd name="connsiteY95" fmla="*/ 223838 h 585028"/>
              <a:gd name="connsiteX96" fmla="*/ 557685 w 643410"/>
              <a:gd name="connsiteY96" fmla="*/ 240507 h 585028"/>
              <a:gd name="connsiteX97" fmla="*/ 560066 w 643410"/>
              <a:gd name="connsiteY97" fmla="*/ 250032 h 585028"/>
              <a:gd name="connsiteX98" fmla="*/ 567210 w 643410"/>
              <a:gd name="connsiteY98" fmla="*/ 257175 h 585028"/>
              <a:gd name="connsiteX99" fmla="*/ 569591 w 643410"/>
              <a:gd name="connsiteY99" fmla="*/ 269082 h 585028"/>
              <a:gd name="connsiteX100" fmla="*/ 574354 w 643410"/>
              <a:gd name="connsiteY100" fmla="*/ 302419 h 585028"/>
              <a:gd name="connsiteX101" fmla="*/ 560066 w 643410"/>
              <a:gd name="connsiteY101" fmla="*/ 359569 h 585028"/>
              <a:gd name="connsiteX102" fmla="*/ 557685 w 643410"/>
              <a:gd name="connsiteY102" fmla="*/ 381000 h 585028"/>
              <a:gd name="connsiteX103" fmla="*/ 560066 w 643410"/>
              <a:gd name="connsiteY103" fmla="*/ 431007 h 585028"/>
              <a:gd name="connsiteX104" fmla="*/ 557685 w 643410"/>
              <a:gd name="connsiteY104" fmla="*/ 461963 h 585028"/>
              <a:gd name="connsiteX105" fmla="*/ 555304 w 643410"/>
              <a:gd name="connsiteY105" fmla="*/ 469107 h 585028"/>
              <a:gd name="connsiteX106" fmla="*/ 548160 w 643410"/>
              <a:gd name="connsiteY106" fmla="*/ 473869 h 585028"/>
              <a:gd name="connsiteX107" fmla="*/ 491010 w 643410"/>
              <a:gd name="connsiteY107" fmla="*/ 473869 h 585028"/>
              <a:gd name="connsiteX108" fmla="*/ 495772 w 643410"/>
              <a:gd name="connsiteY108" fmla="*/ 481013 h 585028"/>
              <a:gd name="connsiteX109" fmla="*/ 474341 w 643410"/>
              <a:gd name="connsiteY109" fmla="*/ 500063 h 585028"/>
              <a:gd name="connsiteX110" fmla="*/ 457672 w 643410"/>
              <a:gd name="connsiteY110" fmla="*/ 514350 h 585028"/>
              <a:gd name="connsiteX111" fmla="*/ 431479 w 643410"/>
              <a:gd name="connsiteY111" fmla="*/ 511969 h 585028"/>
              <a:gd name="connsiteX112" fmla="*/ 417191 w 643410"/>
              <a:gd name="connsiteY112" fmla="*/ 509588 h 585028"/>
              <a:gd name="connsiteX113" fmla="*/ 400522 w 643410"/>
              <a:gd name="connsiteY113" fmla="*/ 516732 h 585028"/>
              <a:gd name="connsiteX114" fmla="*/ 357659 w 643410"/>
              <a:gd name="connsiteY114" fmla="*/ 519113 h 585028"/>
              <a:gd name="connsiteX115" fmla="*/ 343372 w 643410"/>
              <a:gd name="connsiteY115" fmla="*/ 526257 h 585028"/>
              <a:gd name="connsiteX116" fmla="*/ 317179 w 643410"/>
              <a:gd name="connsiteY116" fmla="*/ 531019 h 585028"/>
              <a:gd name="connsiteX117" fmla="*/ 302891 w 643410"/>
              <a:gd name="connsiteY117" fmla="*/ 542925 h 585028"/>
              <a:gd name="connsiteX118" fmla="*/ 290985 w 643410"/>
              <a:gd name="connsiteY118" fmla="*/ 547688 h 585028"/>
              <a:gd name="connsiteX119" fmla="*/ 283841 w 643410"/>
              <a:gd name="connsiteY119" fmla="*/ 552450 h 585028"/>
              <a:gd name="connsiteX120" fmla="*/ 279079 w 643410"/>
              <a:gd name="connsiteY120" fmla="*/ 559594 h 585028"/>
              <a:gd name="connsiteX121" fmla="*/ 271935 w 643410"/>
              <a:gd name="connsiteY121" fmla="*/ 569119 h 585028"/>
              <a:gd name="connsiteX122" fmla="*/ 274316 w 643410"/>
              <a:gd name="connsiteY122" fmla="*/ 576263 h 585028"/>
              <a:gd name="connsiteX123" fmla="*/ 252885 w 643410"/>
              <a:gd name="connsiteY123" fmla="*/ 578644 h 585028"/>
              <a:gd name="connsiteX124" fmla="*/ 250504 w 643410"/>
              <a:gd name="connsiteY124" fmla="*/ 571500 h 585028"/>
              <a:gd name="connsiteX125" fmla="*/ 240979 w 643410"/>
              <a:gd name="connsiteY125" fmla="*/ 569119 h 585028"/>
              <a:gd name="connsiteX126" fmla="*/ 233835 w 643410"/>
              <a:gd name="connsiteY126" fmla="*/ 566738 h 585028"/>
              <a:gd name="connsiteX127" fmla="*/ 221929 w 643410"/>
              <a:gd name="connsiteY127" fmla="*/ 557213 h 585028"/>
              <a:gd name="connsiteX128" fmla="*/ 214785 w 643410"/>
              <a:gd name="connsiteY128" fmla="*/ 554832 h 585028"/>
              <a:gd name="connsiteX129" fmla="*/ 207641 w 643410"/>
              <a:gd name="connsiteY129" fmla="*/ 547688 h 585028"/>
              <a:gd name="connsiteX130" fmla="*/ 190972 w 643410"/>
              <a:gd name="connsiteY130" fmla="*/ 557213 h 585028"/>
              <a:gd name="connsiteX131" fmla="*/ 148110 w 643410"/>
              <a:gd name="connsiteY131" fmla="*/ 528638 h 585028"/>
              <a:gd name="connsiteX132" fmla="*/ 133822 w 643410"/>
              <a:gd name="connsiteY132" fmla="*/ 516732 h 585028"/>
              <a:gd name="connsiteX133" fmla="*/ 129060 w 643410"/>
              <a:gd name="connsiteY133" fmla="*/ 516732 h 585028"/>
              <a:gd name="connsiteX134" fmla="*/ 110011 w 643410"/>
              <a:gd name="connsiteY134" fmla="*/ 516731 h 585028"/>
              <a:gd name="connsiteX135" fmla="*/ 52859 w 643410"/>
              <a:gd name="connsiteY135" fmla="*/ 519113 h 585028"/>
              <a:gd name="connsiteX136" fmla="*/ 31429 w 643410"/>
              <a:gd name="connsiteY136" fmla="*/ 507207 h 585028"/>
              <a:gd name="connsiteX137" fmla="*/ 31429 w 643410"/>
              <a:gd name="connsiteY137" fmla="*/ 521494 h 585028"/>
              <a:gd name="connsiteX138" fmla="*/ 472 w 643410"/>
              <a:gd name="connsiteY138" fmla="*/ 511969 h 585028"/>
              <a:gd name="connsiteX139" fmla="*/ 7616 w 643410"/>
              <a:gd name="connsiteY139" fmla="*/ 523875 h 585028"/>
              <a:gd name="connsiteX0" fmla="*/ 7616 w 643410"/>
              <a:gd name="connsiteY0" fmla="*/ 523875 h 585028"/>
              <a:gd name="connsiteX1" fmla="*/ 9997 w 643410"/>
              <a:gd name="connsiteY1" fmla="*/ 504825 h 585028"/>
              <a:gd name="connsiteX2" fmla="*/ 14760 w 643410"/>
              <a:gd name="connsiteY2" fmla="*/ 497682 h 585028"/>
              <a:gd name="connsiteX3" fmla="*/ 17141 w 643410"/>
              <a:gd name="connsiteY3" fmla="*/ 488157 h 585028"/>
              <a:gd name="connsiteX4" fmla="*/ 19522 w 643410"/>
              <a:gd name="connsiteY4" fmla="*/ 457200 h 585028"/>
              <a:gd name="connsiteX5" fmla="*/ 121916 w 643410"/>
              <a:gd name="connsiteY5" fmla="*/ 442913 h 585028"/>
              <a:gd name="connsiteX6" fmla="*/ 129060 w 643410"/>
              <a:gd name="connsiteY6" fmla="*/ 428625 h 585028"/>
              <a:gd name="connsiteX7" fmla="*/ 100485 w 643410"/>
              <a:gd name="connsiteY7" fmla="*/ 433387 h 585028"/>
              <a:gd name="connsiteX8" fmla="*/ 95722 w 643410"/>
              <a:gd name="connsiteY8" fmla="*/ 411957 h 585028"/>
              <a:gd name="connsiteX9" fmla="*/ 105247 w 643410"/>
              <a:gd name="connsiteY9" fmla="*/ 388144 h 585028"/>
              <a:gd name="connsiteX10" fmla="*/ 112391 w 643410"/>
              <a:gd name="connsiteY10" fmla="*/ 390525 h 585028"/>
              <a:gd name="connsiteX11" fmla="*/ 98103 w 643410"/>
              <a:gd name="connsiteY11" fmla="*/ 397670 h 585028"/>
              <a:gd name="connsiteX12" fmla="*/ 133822 w 643410"/>
              <a:gd name="connsiteY12" fmla="*/ 395288 h 585028"/>
              <a:gd name="connsiteX13" fmla="*/ 136204 w 643410"/>
              <a:gd name="connsiteY13" fmla="*/ 383382 h 585028"/>
              <a:gd name="connsiteX14" fmla="*/ 138585 w 643410"/>
              <a:gd name="connsiteY14" fmla="*/ 361950 h 585028"/>
              <a:gd name="connsiteX15" fmla="*/ 140966 w 643410"/>
              <a:gd name="connsiteY15" fmla="*/ 345282 h 585028"/>
              <a:gd name="connsiteX16" fmla="*/ 145729 w 643410"/>
              <a:gd name="connsiteY16" fmla="*/ 338138 h 585028"/>
              <a:gd name="connsiteX17" fmla="*/ 217166 w 643410"/>
              <a:gd name="connsiteY17" fmla="*/ 335757 h 585028"/>
              <a:gd name="connsiteX18" fmla="*/ 226691 w 643410"/>
              <a:gd name="connsiteY18" fmla="*/ 321469 h 585028"/>
              <a:gd name="connsiteX19" fmla="*/ 229072 w 643410"/>
              <a:gd name="connsiteY19" fmla="*/ 314325 h 585028"/>
              <a:gd name="connsiteX20" fmla="*/ 214785 w 643410"/>
              <a:gd name="connsiteY20" fmla="*/ 309563 h 585028"/>
              <a:gd name="connsiteX21" fmla="*/ 200497 w 643410"/>
              <a:gd name="connsiteY21" fmla="*/ 300038 h 585028"/>
              <a:gd name="connsiteX22" fmla="*/ 193354 w 643410"/>
              <a:gd name="connsiteY22" fmla="*/ 295275 h 585028"/>
              <a:gd name="connsiteX23" fmla="*/ 186210 w 643410"/>
              <a:gd name="connsiteY23" fmla="*/ 292894 h 585028"/>
              <a:gd name="connsiteX24" fmla="*/ 183829 w 643410"/>
              <a:gd name="connsiteY24" fmla="*/ 285750 h 585028"/>
              <a:gd name="connsiteX25" fmla="*/ 210022 w 643410"/>
              <a:gd name="connsiteY25" fmla="*/ 283369 h 585028"/>
              <a:gd name="connsiteX26" fmla="*/ 217166 w 643410"/>
              <a:gd name="connsiteY26" fmla="*/ 280988 h 585028"/>
              <a:gd name="connsiteX27" fmla="*/ 224310 w 643410"/>
              <a:gd name="connsiteY27" fmla="*/ 266700 h 585028"/>
              <a:gd name="connsiteX28" fmla="*/ 236216 w 643410"/>
              <a:gd name="connsiteY28" fmla="*/ 252413 h 585028"/>
              <a:gd name="connsiteX29" fmla="*/ 245741 w 643410"/>
              <a:gd name="connsiteY29" fmla="*/ 250032 h 585028"/>
              <a:gd name="connsiteX30" fmla="*/ 257647 w 643410"/>
              <a:gd name="connsiteY30" fmla="*/ 245269 h 585028"/>
              <a:gd name="connsiteX31" fmla="*/ 286222 w 643410"/>
              <a:gd name="connsiteY31" fmla="*/ 240507 h 585028"/>
              <a:gd name="connsiteX32" fmla="*/ 300510 w 643410"/>
              <a:gd name="connsiteY32" fmla="*/ 228600 h 585028"/>
              <a:gd name="connsiteX33" fmla="*/ 321941 w 643410"/>
              <a:gd name="connsiteY33" fmla="*/ 204788 h 585028"/>
              <a:gd name="connsiteX34" fmla="*/ 333847 w 643410"/>
              <a:gd name="connsiteY34" fmla="*/ 202407 h 585028"/>
              <a:gd name="connsiteX35" fmla="*/ 355279 w 643410"/>
              <a:gd name="connsiteY35" fmla="*/ 219075 h 585028"/>
              <a:gd name="connsiteX36" fmla="*/ 390997 w 643410"/>
              <a:gd name="connsiteY36" fmla="*/ 202407 h 585028"/>
              <a:gd name="connsiteX37" fmla="*/ 383854 w 643410"/>
              <a:gd name="connsiteY37" fmla="*/ 197644 h 585028"/>
              <a:gd name="connsiteX38" fmla="*/ 388616 w 643410"/>
              <a:gd name="connsiteY38" fmla="*/ 178594 h 585028"/>
              <a:gd name="connsiteX39" fmla="*/ 398141 w 643410"/>
              <a:gd name="connsiteY39" fmla="*/ 180975 h 585028"/>
              <a:gd name="connsiteX40" fmla="*/ 400522 w 643410"/>
              <a:gd name="connsiteY40" fmla="*/ 188119 h 585028"/>
              <a:gd name="connsiteX41" fmla="*/ 402904 w 643410"/>
              <a:gd name="connsiteY41" fmla="*/ 197644 h 585028"/>
              <a:gd name="connsiteX42" fmla="*/ 407666 w 643410"/>
              <a:gd name="connsiteY42" fmla="*/ 209550 h 585028"/>
              <a:gd name="connsiteX43" fmla="*/ 424335 w 643410"/>
              <a:gd name="connsiteY43" fmla="*/ 211932 h 585028"/>
              <a:gd name="connsiteX44" fmla="*/ 448147 w 643410"/>
              <a:gd name="connsiteY44" fmla="*/ 202407 h 585028"/>
              <a:gd name="connsiteX45" fmla="*/ 476722 w 643410"/>
              <a:gd name="connsiteY45" fmla="*/ 211932 h 585028"/>
              <a:gd name="connsiteX46" fmla="*/ 467197 w 643410"/>
              <a:gd name="connsiteY46" fmla="*/ 192881 h 585028"/>
              <a:gd name="connsiteX47" fmla="*/ 491010 w 643410"/>
              <a:gd name="connsiteY47" fmla="*/ 183357 h 585028"/>
              <a:gd name="connsiteX48" fmla="*/ 502916 w 643410"/>
              <a:gd name="connsiteY48" fmla="*/ 159544 h 585028"/>
              <a:gd name="connsiteX49" fmla="*/ 512441 w 643410"/>
              <a:gd name="connsiteY49" fmla="*/ 161925 h 585028"/>
              <a:gd name="connsiteX50" fmla="*/ 526729 w 643410"/>
              <a:gd name="connsiteY50" fmla="*/ 152400 h 585028"/>
              <a:gd name="connsiteX51" fmla="*/ 531491 w 643410"/>
              <a:gd name="connsiteY51" fmla="*/ 130969 h 585028"/>
              <a:gd name="connsiteX52" fmla="*/ 524347 w 643410"/>
              <a:gd name="connsiteY52" fmla="*/ 126207 h 585028"/>
              <a:gd name="connsiteX53" fmla="*/ 486248 w 643410"/>
              <a:gd name="connsiteY53" fmla="*/ 135732 h 585028"/>
              <a:gd name="connsiteX54" fmla="*/ 483866 w 643410"/>
              <a:gd name="connsiteY54" fmla="*/ 142876 h 585028"/>
              <a:gd name="connsiteX55" fmla="*/ 438622 w 643410"/>
              <a:gd name="connsiteY55" fmla="*/ 142875 h 585028"/>
              <a:gd name="connsiteX56" fmla="*/ 462435 w 643410"/>
              <a:gd name="connsiteY56" fmla="*/ 154782 h 585028"/>
              <a:gd name="connsiteX57" fmla="*/ 433860 w 643410"/>
              <a:gd name="connsiteY57" fmla="*/ 169069 h 585028"/>
              <a:gd name="connsiteX58" fmla="*/ 429097 w 643410"/>
              <a:gd name="connsiteY58" fmla="*/ 161925 h 585028"/>
              <a:gd name="connsiteX59" fmla="*/ 426716 w 643410"/>
              <a:gd name="connsiteY59" fmla="*/ 145257 h 585028"/>
              <a:gd name="connsiteX60" fmla="*/ 419572 w 643410"/>
              <a:gd name="connsiteY60" fmla="*/ 142875 h 585028"/>
              <a:gd name="connsiteX61" fmla="*/ 412429 w 643410"/>
              <a:gd name="connsiteY61" fmla="*/ 138113 h 585028"/>
              <a:gd name="connsiteX62" fmla="*/ 417191 w 643410"/>
              <a:gd name="connsiteY62" fmla="*/ 130969 h 585028"/>
              <a:gd name="connsiteX63" fmla="*/ 436241 w 643410"/>
              <a:gd name="connsiteY63" fmla="*/ 121444 h 585028"/>
              <a:gd name="connsiteX64" fmla="*/ 443385 w 643410"/>
              <a:gd name="connsiteY64" fmla="*/ 92869 h 585028"/>
              <a:gd name="connsiteX65" fmla="*/ 469579 w 643410"/>
              <a:gd name="connsiteY65" fmla="*/ 64294 h 585028"/>
              <a:gd name="connsiteX66" fmla="*/ 486247 w 643410"/>
              <a:gd name="connsiteY66" fmla="*/ 50007 h 585028"/>
              <a:gd name="connsiteX67" fmla="*/ 502916 w 643410"/>
              <a:gd name="connsiteY67" fmla="*/ 28575 h 585028"/>
              <a:gd name="connsiteX68" fmla="*/ 512441 w 643410"/>
              <a:gd name="connsiteY68" fmla="*/ 30957 h 585028"/>
              <a:gd name="connsiteX69" fmla="*/ 519585 w 643410"/>
              <a:gd name="connsiteY69" fmla="*/ 33338 h 585028"/>
              <a:gd name="connsiteX70" fmla="*/ 536254 w 643410"/>
              <a:gd name="connsiteY70" fmla="*/ 30957 h 585028"/>
              <a:gd name="connsiteX71" fmla="*/ 543397 w 643410"/>
              <a:gd name="connsiteY71" fmla="*/ 21432 h 585028"/>
              <a:gd name="connsiteX72" fmla="*/ 550541 w 643410"/>
              <a:gd name="connsiteY72" fmla="*/ 14288 h 585028"/>
              <a:gd name="connsiteX73" fmla="*/ 552922 w 643410"/>
              <a:gd name="connsiteY73" fmla="*/ 7144 h 585028"/>
              <a:gd name="connsiteX74" fmla="*/ 557685 w 643410"/>
              <a:gd name="connsiteY74" fmla="*/ 0 h 585028"/>
              <a:gd name="connsiteX75" fmla="*/ 579116 w 643410"/>
              <a:gd name="connsiteY75" fmla="*/ 19050 h 585028"/>
              <a:gd name="connsiteX76" fmla="*/ 586260 w 643410"/>
              <a:gd name="connsiteY76" fmla="*/ 28575 h 585028"/>
              <a:gd name="connsiteX77" fmla="*/ 591022 w 643410"/>
              <a:gd name="connsiteY77" fmla="*/ 35719 h 585028"/>
              <a:gd name="connsiteX78" fmla="*/ 600547 w 643410"/>
              <a:gd name="connsiteY78" fmla="*/ 42863 h 585028"/>
              <a:gd name="connsiteX79" fmla="*/ 607691 w 643410"/>
              <a:gd name="connsiteY79" fmla="*/ 52388 h 585028"/>
              <a:gd name="connsiteX80" fmla="*/ 614835 w 643410"/>
              <a:gd name="connsiteY80" fmla="*/ 59532 h 585028"/>
              <a:gd name="connsiteX81" fmla="*/ 621979 w 643410"/>
              <a:gd name="connsiteY81" fmla="*/ 69057 h 585028"/>
              <a:gd name="connsiteX82" fmla="*/ 636266 w 643410"/>
              <a:gd name="connsiteY82" fmla="*/ 83344 h 585028"/>
              <a:gd name="connsiteX83" fmla="*/ 643410 w 643410"/>
              <a:gd name="connsiteY83" fmla="*/ 90488 h 585028"/>
              <a:gd name="connsiteX84" fmla="*/ 641029 w 643410"/>
              <a:gd name="connsiteY84" fmla="*/ 100013 h 585028"/>
              <a:gd name="connsiteX85" fmla="*/ 631504 w 643410"/>
              <a:gd name="connsiteY85" fmla="*/ 102394 h 585028"/>
              <a:gd name="connsiteX86" fmla="*/ 612454 w 643410"/>
              <a:gd name="connsiteY86" fmla="*/ 119063 h 585028"/>
              <a:gd name="connsiteX87" fmla="*/ 598166 w 643410"/>
              <a:gd name="connsiteY87" fmla="*/ 128588 h 585028"/>
              <a:gd name="connsiteX88" fmla="*/ 579116 w 643410"/>
              <a:gd name="connsiteY88" fmla="*/ 147638 h 585028"/>
              <a:gd name="connsiteX89" fmla="*/ 574354 w 643410"/>
              <a:gd name="connsiteY89" fmla="*/ 157163 h 585028"/>
              <a:gd name="connsiteX90" fmla="*/ 571972 w 643410"/>
              <a:gd name="connsiteY90" fmla="*/ 166688 h 585028"/>
              <a:gd name="connsiteX91" fmla="*/ 569591 w 643410"/>
              <a:gd name="connsiteY91" fmla="*/ 173832 h 585028"/>
              <a:gd name="connsiteX92" fmla="*/ 564829 w 643410"/>
              <a:gd name="connsiteY92" fmla="*/ 195263 h 585028"/>
              <a:gd name="connsiteX93" fmla="*/ 560066 w 643410"/>
              <a:gd name="connsiteY93" fmla="*/ 207169 h 585028"/>
              <a:gd name="connsiteX94" fmla="*/ 552922 w 643410"/>
              <a:gd name="connsiteY94" fmla="*/ 216694 h 585028"/>
              <a:gd name="connsiteX95" fmla="*/ 557685 w 643410"/>
              <a:gd name="connsiteY95" fmla="*/ 223838 h 585028"/>
              <a:gd name="connsiteX96" fmla="*/ 557685 w 643410"/>
              <a:gd name="connsiteY96" fmla="*/ 240507 h 585028"/>
              <a:gd name="connsiteX97" fmla="*/ 560066 w 643410"/>
              <a:gd name="connsiteY97" fmla="*/ 250032 h 585028"/>
              <a:gd name="connsiteX98" fmla="*/ 567210 w 643410"/>
              <a:gd name="connsiteY98" fmla="*/ 257175 h 585028"/>
              <a:gd name="connsiteX99" fmla="*/ 569591 w 643410"/>
              <a:gd name="connsiteY99" fmla="*/ 269082 h 585028"/>
              <a:gd name="connsiteX100" fmla="*/ 574354 w 643410"/>
              <a:gd name="connsiteY100" fmla="*/ 302419 h 585028"/>
              <a:gd name="connsiteX101" fmla="*/ 560066 w 643410"/>
              <a:gd name="connsiteY101" fmla="*/ 359569 h 585028"/>
              <a:gd name="connsiteX102" fmla="*/ 557685 w 643410"/>
              <a:gd name="connsiteY102" fmla="*/ 381000 h 585028"/>
              <a:gd name="connsiteX103" fmla="*/ 560066 w 643410"/>
              <a:gd name="connsiteY103" fmla="*/ 431007 h 585028"/>
              <a:gd name="connsiteX104" fmla="*/ 557685 w 643410"/>
              <a:gd name="connsiteY104" fmla="*/ 461963 h 585028"/>
              <a:gd name="connsiteX105" fmla="*/ 555304 w 643410"/>
              <a:gd name="connsiteY105" fmla="*/ 469107 h 585028"/>
              <a:gd name="connsiteX106" fmla="*/ 548160 w 643410"/>
              <a:gd name="connsiteY106" fmla="*/ 473869 h 585028"/>
              <a:gd name="connsiteX107" fmla="*/ 491010 w 643410"/>
              <a:gd name="connsiteY107" fmla="*/ 473869 h 585028"/>
              <a:gd name="connsiteX108" fmla="*/ 495772 w 643410"/>
              <a:gd name="connsiteY108" fmla="*/ 481013 h 585028"/>
              <a:gd name="connsiteX109" fmla="*/ 474341 w 643410"/>
              <a:gd name="connsiteY109" fmla="*/ 500063 h 585028"/>
              <a:gd name="connsiteX110" fmla="*/ 457672 w 643410"/>
              <a:gd name="connsiteY110" fmla="*/ 514350 h 585028"/>
              <a:gd name="connsiteX111" fmla="*/ 431479 w 643410"/>
              <a:gd name="connsiteY111" fmla="*/ 511969 h 585028"/>
              <a:gd name="connsiteX112" fmla="*/ 417191 w 643410"/>
              <a:gd name="connsiteY112" fmla="*/ 509588 h 585028"/>
              <a:gd name="connsiteX113" fmla="*/ 400522 w 643410"/>
              <a:gd name="connsiteY113" fmla="*/ 516732 h 585028"/>
              <a:gd name="connsiteX114" fmla="*/ 357659 w 643410"/>
              <a:gd name="connsiteY114" fmla="*/ 519113 h 585028"/>
              <a:gd name="connsiteX115" fmla="*/ 343372 w 643410"/>
              <a:gd name="connsiteY115" fmla="*/ 526257 h 585028"/>
              <a:gd name="connsiteX116" fmla="*/ 317179 w 643410"/>
              <a:gd name="connsiteY116" fmla="*/ 531019 h 585028"/>
              <a:gd name="connsiteX117" fmla="*/ 302891 w 643410"/>
              <a:gd name="connsiteY117" fmla="*/ 542925 h 585028"/>
              <a:gd name="connsiteX118" fmla="*/ 290985 w 643410"/>
              <a:gd name="connsiteY118" fmla="*/ 547688 h 585028"/>
              <a:gd name="connsiteX119" fmla="*/ 283841 w 643410"/>
              <a:gd name="connsiteY119" fmla="*/ 552450 h 585028"/>
              <a:gd name="connsiteX120" fmla="*/ 279079 w 643410"/>
              <a:gd name="connsiteY120" fmla="*/ 559594 h 585028"/>
              <a:gd name="connsiteX121" fmla="*/ 271935 w 643410"/>
              <a:gd name="connsiteY121" fmla="*/ 569119 h 585028"/>
              <a:gd name="connsiteX122" fmla="*/ 274316 w 643410"/>
              <a:gd name="connsiteY122" fmla="*/ 576263 h 585028"/>
              <a:gd name="connsiteX123" fmla="*/ 252885 w 643410"/>
              <a:gd name="connsiteY123" fmla="*/ 578644 h 585028"/>
              <a:gd name="connsiteX124" fmla="*/ 250504 w 643410"/>
              <a:gd name="connsiteY124" fmla="*/ 571500 h 585028"/>
              <a:gd name="connsiteX125" fmla="*/ 240979 w 643410"/>
              <a:gd name="connsiteY125" fmla="*/ 569119 h 585028"/>
              <a:gd name="connsiteX126" fmla="*/ 233835 w 643410"/>
              <a:gd name="connsiteY126" fmla="*/ 566738 h 585028"/>
              <a:gd name="connsiteX127" fmla="*/ 221929 w 643410"/>
              <a:gd name="connsiteY127" fmla="*/ 557213 h 585028"/>
              <a:gd name="connsiteX128" fmla="*/ 214785 w 643410"/>
              <a:gd name="connsiteY128" fmla="*/ 554832 h 585028"/>
              <a:gd name="connsiteX129" fmla="*/ 207641 w 643410"/>
              <a:gd name="connsiteY129" fmla="*/ 547688 h 585028"/>
              <a:gd name="connsiteX130" fmla="*/ 190972 w 643410"/>
              <a:gd name="connsiteY130" fmla="*/ 557213 h 585028"/>
              <a:gd name="connsiteX131" fmla="*/ 148110 w 643410"/>
              <a:gd name="connsiteY131" fmla="*/ 528638 h 585028"/>
              <a:gd name="connsiteX132" fmla="*/ 133822 w 643410"/>
              <a:gd name="connsiteY132" fmla="*/ 516732 h 585028"/>
              <a:gd name="connsiteX133" fmla="*/ 129060 w 643410"/>
              <a:gd name="connsiteY133" fmla="*/ 516732 h 585028"/>
              <a:gd name="connsiteX134" fmla="*/ 110011 w 643410"/>
              <a:gd name="connsiteY134" fmla="*/ 516731 h 585028"/>
              <a:gd name="connsiteX135" fmla="*/ 52859 w 643410"/>
              <a:gd name="connsiteY135" fmla="*/ 519113 h 585028"/>
              <a:gd name="connsiteX136" fmla="*/ 31429 w 643410"/>
              <a:gd name="connsiteY136" fmla="*/ 507207 h 585028"/>
              <a:gd name="connsiteX137" fmla="*/ 31429 w 643410"/>
              <a:gd name="connsiteY137" fmla="*/ 521494 h 585028"/>
              <a:gd name="connsiteX138" fmla="*/ 472 w 643410"/>
              <a:gd name="connsiteY138" fmla="*/ 511969 h 585028"/>
              <a:gd name="connsiteX139" fmla="*/ 7616 w 643410"/>
              <a:gd name="connsiteY139" fmla="*/ 523875 h 58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643410" h="585028">
                <a:moveTo>
                  <a:pt x="7616" y="523875"/>
                </a:moveTo>
                <a:cubicBezTo>
                  <a:pt x="9203" y="522684"/>
                  <a:pt x="8806" y="509190"/>
                  <a:pt x="9997" y="504825"/>
                </a:cubicBezTo>
                <a:cubicBezTo>
                  <a:pt x="11188" y="500460"/>
                  <a:pt x="13633" y="500312"/>
                  <a:pt x="14760" y="497682"/>
                </a:cubicBezTo>
                <a:cubicBezTo>
                  <a:pt x="16049" y="494674"/>
                  <a:pt x="16347" y="491332"/>
                  <a:pt x="17141" y="488157"/>
                </a:cubicBezTo>
                <a:cubicBezTo>
                  <a:pt x="17935" y="477838"/>
                  <a:pt x="9754" y="460619"/>
                  <a:pt x="19522" y="457200"/>
                </a:cubicBezTo>
                <a:cubicBezTo>
                  <a:pt x="97191" y="430015"/>
                  <a:pt x="96375" y="483049"/>
                  <a:pt x="121916" y="442913"/>
                </a:cubicBezTo>
                <a:cubicBezTo>
                  <a:pt x="124775" y="438421"/>
                  <a:pt x="126679" y="433388"/>
                  <a:pt x="129060" y="428625"/>
                </a:cubicBezTo>
                <a:cubicBezTo>
                  <a:pt x="123504" y="427831"/>
                  <a:pt x="106041" y="436165"/>
                  <a:pt x="100485" y="433387"/>
                </a:cubicBezTo>
                <a:cubicBezTo>
                  <a:pt x="94929" y="430609"/>
                  <a:pt x="94928" y="419497"/>
                  <a:pt x="95722" y="411957"/>
                </a:cubicBezTo>
                <a:cubicBezTo>
                  <a:pt x="96516" y="404417"/>
                  <a:pt x="102469" y="391716"/>
                  <a:pt x="105247" y="388144"/>
                </a:cubicBezTo>
                <a:cubicBezTo>
                  <a:pt x="108025" y="384572"/>
                  <a:pt x="113582" y="388937"/>
                  <a:pt x="112391" y="390525"/>
                </a:cubicBezTo>
                <a:cubicBezTo>
                  <a:pt x="111200" y="392113"/>
                  <a:pt x="97309" y="395289"/>
                  <a:pt x="98103" y="397670"/>
                </a:cubicBezTo>
                <a:cubicBezTo>
                  <a:pt x="104453" y="396876"/>
                  <a:pt x="127472" y="397669"/>
                  <a:pt x="133822" y="395288"/>
                </a:cubicBezTo>
                <a:cubicBezTo>
                  <a:pt x="140172" y="392907"/>
                  <a:pt x="135632" y="387389"/>
                  <a:pt x="136204" y="383382"/>
                </a:cubicBezTo>
                <a:cubicBezTo>
                  <a:pt x="137221" y="376266"/>
                  <a:pt x="137694" y="369082"/>
                  <a:pt x="138585" y="361950"/>
                </a:cubicBezTo>
                <a:cubicBezTo>
                  <a:pt x="139281" y="356381"/>
                  <a:pt x="139353" y="350658"/>
                  <a:pt x="140966" y="345282"/>
                </a:cubicBezTo>
                <a:cubicBezTo>
                  <a:pt x="141788" y="342541"/>
                  <a:pt x="142889" y="338493"/>
                  <a:pt x="145729" y="338138"/>
                </a:cubicBezTo>
                <a:cubicBezTo>
                  <a:pt x="169371" y="335183"/>
                  <a:pt x="193354" y="336551"/>
                  <a:pt x="217166" y="335757"/>
                </a:cubicBezTo>
                <a:cubicBezTo>
                  <a:pt x="222827" y="318770"/>
                  <a:pt x="214800" y="339307"/>
                  <a:pt x="226691" y="321469"/>
                </a:cubicBezTo>
                <a:cubicBezTo>
                  <a:pt x="228083" y="319380"/>
                  <a:pt x="228278" y="316706"/>
                  <a:pt x="229072" y="314325"/>
                </a:cubicBezTo>
                <a:cubicBezTo>
                  <a:pt x="224310" y="312738"/>
                  <a:pt x="218962" y="312347"/>
                  <a:pt x="214785" y="309563"/>
                </a:cubicBezTo>
                <a:lnTo>
                  <a:pt x="200497" y="300038"/>
                </a:lnTo>
                <a:cubicBezTo>
                  <a:pt x="198116" y="298451"/>
                  <a:pt x="196069" y="296180"/>
                  <a:pt x="193354" y="295275"/>
                </a:cubicBezTo>
                <a:lnTo>
                  <a:pt x="186210" y="292894"/>
                </a:lnTo>
                <a:cubicBezTo>
                  <a:pt x="185416" y="290513"/>
                  <a:pt x="182538" y="287902"/>
                  <a:pt x="183829" y="285750"/>
                </a:cubicBezTo>
                <a:cubicBezTo>
                  <a:pt x="188996" y="277139"/>
                  <a:pt x="204667" y="282604"/>
                  <a:pt x="210022" y="283369"/>
                </a:cubicBezTo>
                <a:cubicBezTo>
                  <a:pt x="212403" y="282575"/>
                  <a:pt x="215206" y="282556"/>
                  <a:pt x="217166" y="280988"/>
                </a:cubicBezTo>
                <a:cubicBezTo>
                  <a:pt x="222854" y="276438"/>
                  <a:pt x="221434" y="272453"/>
                  <a:pt x="224310" y="266700"/>
                </a:cubicBezTo>
                <a:cubicBezTo>
                  <a:pt x="226282" y="262755"/>
                  <a:pt x="232530" y="254519"/>
                  <a:pt x="236216" y="252413"/>
                </a:cubicBezTo>
                <a:cubicBezTo>
                  <a:pt x="239058" y="250789"/>
                  <a:pt x="242636" y="251067"/>
                  <a:pt x="245741" y="250032"/>
                </a:cubicBezTo>
                <a:cubicBezTo>
                  <a:pt x="249796" y="248680"/>
                  <a:pt x="253592" y="246621"/>
                  <a:pt x="257647" y="245269"/>
                </a:cubicBezTo>
                <a:cubicBezTo>
                  <a:pt x="267085" y="242123"/>
                  <a:pt x="276235" y="241755"/>
                  <a:pt x="286222" y="240507"/>
                </a:cubicBezTo>
                <a:cubicBezTo>
                  <a:pt x="293831" y="235434"/>
                  <a:pt x="294093" y="235934"/>
                  <a:pt x="300510" y="228600"/>
                </a:cubicBezTo>
                <a:cubicBezTo>
                  <a:pt x="305770" y="222588"/>
                  <a:pt x="315023" y="208939"/>
                  <a:pt x="321941" y="204788"/>
                </a:cubicBezTo>
                <a:cubicBezTo>
                  <a:pt x="325411" y="202706"/>
                  <a:pt x="329878" y="203201"/>
                  <a:pt x="333847" y="202407"/>
                </a:cubicBezTo>
                <a:cubicBezTo>
                  <a:pt x="349910" y="218469"/>
                  <a:pt x="341745" y="214564"/>
                  <a:pt x="355279" y="219075"/>
                </a:cubicBezTo>
                <a:cubicBezTo>
                  <a:pt x="357786" y="218391"/>
                  <a:pt x="388974" y="214540"/>
                  <a:pt x="390997" y="202407"/>
                </a:cubicBezTo>
                <a:cubicBezTo>
                  <a:pt x="391468" y="199584"/>
                  <a:pt x="386235" y="199232"/>
                  <a:pt x="383854" y="197644"/>
                </a:cubicBezTo>
                <a:cubicBezTo>
                  <a:pt x="381411" y="190318"/>
                  <a:pt x="377593" y="184893"/>
                  <a:pt x="388616" y="178594"/>
                </a:cubicBezTo>
                <a:cubicBezTo>
                  <a:pt x="391458" y="176970"/>
                  <a:pt x="394966" y="180181"/>
                  <a:pt x="398141" y="180975"/>
                </a:cubicBezTo>
                <a:cubicBezTo>
                  <a:pt x="398935" y="183356"/>
                  <a:pt x="399832" y="185705"/>
                  <a:pt x="400522" y="188119"/>
                </a:cubicBezTo>
                <a:cubicBezTo>
                  <a:pt x="401421" y="191266"/>
                  <a:pt x="401869" y="194539"/>
                  <a:pt x="402904" y="197644"/>
                </a:cubicBezTo>
                <a:cubicBezTo>
                  <a:pt x="404256" y="201699"/>
                  <a:pt x="404110" y="207179"/>
                  <a:pt x="407666" y="209550"/>
                </a:cubicBezTo>
                <a:cubicBezTo>
                  <a:pt x="412336" y="212664"/>
                  <a:pt x="418779" y="211138"/>
                  <a:pt x="424335" y="211932"/>
                </a:cubicBezTo>
                <a:cubicBezTo>
                  <a:pt x="438680" y="223408"/>
                  <a:pt x="431832" y="206246"/>
                  <a:pt x="448147" y="202407"/>
                </a:cubicBezTo>
                <a:cubicBezTo>
                  <a:pt x="457704" y="200158"/>
                  <a:pt x="473547" y="213520"/>
                  <a:pt x="476722" y="211932"/>
                </a:cubicBezTo>
                <a:cubicBezTo>
                  <a:pt x="479897" y="210344"/>
                  <a:pt x="465670" y="197462"/>
                  <a:pt x="467197" y="192881"/>
                </a:cubicBezTo>
                <a:cubicBezTo>
                  <a:pt x="468855" y="187906"/>
                  <a:pt x="487692" y="186675"/>
                  <a:pt x="491010" y="183357"/>
                </a:cubicBezTo>
                <a:cubicBezTo>
                  <a:pt x="495438" y="170071"/>
                  <a:pt x="489839" y="169352"/>
                  <a:pt x="502916" y="159544"/>
                </a:cubicBezTo>
                <a:cubicBezTo>
                  <a:pt x="506508" y="156850"/>
                  <a:pt x="508472" y="163116"/>
                  <a:pt x="512441" y="161925"/>
                </a:cubicBezTo>
                <a:cubicBezTo>
                  <a:pt x="516410" y="160734"/>
                  <a:pt x="526729" y="152400"/>
                  <a:pt x="526729" y="152400"/>
                </a:cubicBezTo>
                <a:cubicBezTo>
                  <a:pt x="530351" y="145155"/>
                  <a:pt x="537745" y="138786"/>
                  <a:pt x="531491" y="130969"/>
                </a:cubicBezTo>
                <a:cubicBezTo>
                  <a:pt x="529703" y="128734"/>
                  <a:pt x="526728" y="127794"/>
                  <a:pt x="524347" y="126207"/>
                </a:cubicBezTo>
                <a:cubicBezTo>
                  <a:pt x="523982" y="126233"/>
                  <a:pt x="492995" y="132954"/>
                  <a:pt x="486248" y="135732"/>
                </a:cubicBezTo>
                <a:cubicBezTo>
                  <a:pt x="479501" y="138510"/>
                  <a:pt x="491804" y="141686"/>
                  <a:pt x="483866" y="142876"/>
                </a:cubicBezTo>
                <a:cubicBezTo>
                  <a:pt x="475928" y="144066"/>
                  <a:pt x="444178" y="141288"/>
                  <a:pt x="438622" y="142875"/>
                </a:cubicBezTo>
                <a:cubicBezTo>
                  <a:pt x="439416" y="146050"/>
                  <a:pt x="462435" y="151509"/>
                  <a:pt x="462435" y="154782"/>
                </a:cubicBezTo>
                <a:cubicBezTo>
                  <a:pt x="462435" y="162468"/>
                  <a:pt x="437747" y="163237"/>
                  <a:pt x="433860" y="169069"/>
                </a:cubicBezTo>
                <a:cubicBezTo>
                  <a:pt x="432272" y="166688"/>
                  <a:pt x="429919" y="164666"/>
                  <a:pt x="429097" y="161925"/>
                </a:cubicBezTo>
                <a:cubicBezTo>
                  <a:pt x="427484" y="156549"/>
                  <a:pt x="429226" y="150277"/>
                  <a:pt x="426716" y="145257"/>
                </a:cubicBezTo>
                <a:cubicBezTo>
                  <a:pt x="425593" y="143012"/>
                  <a:pt x="421817" y="143998"/>
                  <a:pt x="419572" y="142875"/>
                </a:cubicBezTo>
                <a:cubicBezTo>
                  <a:pt x="417013" y="141595"/>
                  <a:pt x="414810" y="139700"/>
                  <a:pt x="412429" y="138113"/>
                </a:cubicBezTo>
                <a:cubicBezTo>
                  <a:pt x="414016" y="135732"/>
                  <a:pt x="414631" y="132249"/>
                  <a:pt x="417191" y="130969"/>
                </a:cubicBezTo>
                <a:cubicBezTo>
                  <a:pt x="433920" y="122604"/>
                  <a:pt x="429027" y="135873"/>
                  <a:pt x="436241" y="121444"/>
                </a:cubicBezTo>
                <a:cubicBezTo>
                  <a:pt x="440631" y="112662"/>
                  <a:pt x="438994" y="101651"/>
                  <a:pt x="443385" y="92869"/>
                </a:cubicBezTo>
                <a:cubicBezTo>
                  <a:pt x="451573" y="76494"/>
                  <a:pt x="457602" y="73277"/>
                  <a:pt x="469579" y="64294"/>
                </a:cubicBezTo>
                <a:cubicBezTo>
                  <a:pt x="484010" y="42645"/>
                  <a:pt x="460402" y="75852"/>
                  <a:pt x="486247" y="50007"/>
                </a:cubicBezTo>
                <a:cubicBezTo>
                  <a:pt x="492647" y="43607"/>
                  <a:pt x="502916" y="28575"/>
                  <a:pt x="502916" y="28575"/>
                </a:cubicBezTo>
                <a:cubicBezTo>
                  <a:pt x="506091" y="29369"/>
                  <a:pt x="509294" y="30058"/>
                  <a:pt x="512441" y="30957"/>
                </a:cubicBezTo>
                <a:cubicBezTo>
                  <a:pt x="514855" y="31647"/>
                  <a:pt x="517075" y="33338"/>
                  <a:pt x="519585" y="33338"/>
                </a:cubicBezTo>
                <a:cubicBezTo>
                  <a:pt x="525198" y="33338"/>
                  <a:pt x="530698" y="31751"/>
                  <a:pt x="536254" y="30957"/>
                </a:cubicBezTo>
                <a:cubicBezTo>
                  <a:pt x="538635" y="27782"/>
                  <a:pt x="540814" y="24445"/>
                  <a:pt x="543397" y="21432"/>
                </a:cubicBezTo>
                <a:cubicBezTo>
                  <a:pt x="545589" y="18875"/>
                  <a:pt x="548673" y="17090"/>
                  <a:pt x="550541" y="14288"/>
                </a:cubicBezTo>
                <a:cubicBezTo>
                  <a:pt x="551933" y="12199"/>
                  <a:pt x="551799" y="9389"/>
                  <a:pt x="552922" y="7144"/>
                </a:cubicBezTo>
                <a:cubicBezTo>
                  <a:pt x="554202" y="4584"/>
                  <a:pt x="556097" y="2381"/>
                  <a:pt x="557685" y="0"/>
                </a:cubicBezTo>
                <a:cubicBezTo>
                  <a:pt x="573996" y="16312"/>
                  <a:pt x="566368" y="10552"/>
                  <a:pt x="579116" y="19050"/>
                </a:cubicBezTo>
                <a:cubicBezTo>
                  <a:pt x="581497" y="22225"/>
                  <a:pt x="583953" y="25345"/>
                  <a:pt x="586260" y="28575"/>
                </a:cubicBezTo>
                <a:cubicBezTo>
                  <a:pt x="587923" y="30904"/>
                  <a:pt x="588998" y="33695"/>
                  <a:pt x="591022" y="35719"/>
                </a:cubicBezTo>
                <a:cubicBezTo>
                  <a:pt x="593828" y="38525"/>
                  <a:pt x="597741" y="40057"/>
                  <a:pt x="600547" y="42863"/>
                </a:cubicBezTo>
                <a:cubicBezTo>
                  <a:pt x="603353" y="45669"/>
                  <a:pt x="605108" y="49375"/>
                  <a:pt x="607691" y="52388"/>
                </a:cubicBezTo>
                <a:cubicBezTo>
                  <a:pt x="609883" y="54945"/>
                  <a:pt x="612643" y="56975"/>
                  <a:pt x="614835" y="59532"/>
                </a:cubicBezTo>
                <a:cubicBezTo>
                  <a:pt x="617418" y="62545"/>
                  <a:pt x="619324" y="66107"/>
                  <a:pt x="621979" y="69057"/>
                </a:cubicBezTo>
                <a:cubicBezTo>
                  <a:pt x="626484" y="74063"/>
                  <a:pt x="631504" y="78582"/>
                  <a:pt x="636266" y="83344"/>
                </a:cubicBezTo>
                <a:lnTo>
                  <a:pt x="643410" y="90488"/>
                </a:lnTo>
                <a:cubicBezTo>
                  <a:pt x="642616" y="93663"/>
                  <a:pt x="643343" y="97699"/>
                  <a:pt x="641029" y="100013"/>
                </a:cubicBezTo>
                <a:cubicBezTo>
                  <a:pt x="638715" y="102327"/>
                  <a:pt x="634431" y="100930"/>
                  <a:pt x="631504" y="102394"/>
                </a:cubicBezTo>
                <a:cubicBezTo>
                  <a:pt x="622052" y="107120"/>
                  <a:pt x="620639" y="112515"/>
                  <a:pt x="612454" y="119063"/>
                </a:cubicBezTo>
                <a:cubicBezTo>
                  <a:pt x="607984" y="122639"/>
                  <a:pt x="602512" y="124863"/>
                  <a:pt x="598166" y="128588"/>
                </a:cubicBezTo>
                <a:cubicBezTo>
                  <a:pt x="591348" y="134432"/>
                  <a:pt x="579116" y="147638"/>
                  <a:pt x="579116" y="147638"/>
                </a:cubicBezTo>
                <a:cubicBezTo>
                  <a:pt x="577529" y="150813"/>
                  <a:pt x="575600" y="153839"/>
                  <a:pt x="574354" y="157163"/>
                </a:cubicBezTo>
                <a:cubicBezTo>
                  <a:pt x="573205" y="160227"/>
                  <a:pt x="572871" y="163541"/>
                  <a:pt x="571972" y="166688"/>
                </a:cubicBezTo>
                <a:cubicBezTo>
                  <a:pt x="571282" y="169102"/>
                  <a:pt x="570200" y="171397"/>
                  <a:pt x="569591" y="173832"/>
                </a:cubicBezTo>
                <a:cubicBezTo>
                  <a:pt x="567705" y="181375"/>
                  <a:pt x="567272" y="187935"/>
                  <a:pt x="564829" y="195263"/>
                </a:cubicBezTo>
                <a:cubicBezTo>
                  <a:pt x="563477" y="199318"/>
                  <a:pt x="562142" y="203433"/>
                  <a:pt x="560066" y="207169"/>
                </a:cubicBezTo>
                <a:cubicBezTo>
                  <a:pt x="558138" y="210638"/>
                  <a:pt x="553319" y="213916"/>
                  <a:pt x="552922" y="216694"/>
                </a:cubicBezTo>
                <a:cubicBezTo>
                  <a:pt x="552525" y="219472"/>
                  <a:pt x="559272" y="221457"/>
                  <a:pt x="557685" y="223838"/>
                </a:cubicBezTo>
                <a:cubicBezTo>
                  <a:pt x="561631" y="229757"/>
                  <a:pt x="557288" y="236141"/>
                  <a:pt x="557685" y="240507"/>
                </a:cubicBezTo>
                <a:cubicBezTo>
                  <a:pt x="558082" y="244873"/>
                  <a:pt x="558442" y="247191"/>
                  <a:pt x="560066" y="250032"/>
                </a:cubicBezTo>
                <a:cubicBezTo>
                  <a:pt x="561737" y="252956"/>
                  <a:pt x="564829" y="254794"/>
                  <a:pt x="567210" y="257175"/>
                </a:cubicBezTo>
                <a:cubicBezTo>
                  <a:pt x="568004" y="261144"/>
                  <a:pt x="568400" y="261541"/>
                  <a:pt x="569591" y="269082"/>
                </a:cubicBezTo>
                <a:cubicBezTo>
                  <a:pt x="570782" y="276623"/>
                  <a:pt x="578734" y="289284"/>
                  <a:pt x="574354" y="302419"/>
                </a:cubicBezTo>
                <a:cubicBezTo>
                  <a:pt x="573560" y="320675"/>
                  <a:pt x="561206" y="341331"/>
                  <a:pt x="560066" y="359569"/>
                </a:cubicBezTo>
                <a:cubicBezTo>
                  <a:pt x="559618" y="366743"/>
                  <a:pt x="557685" y="373812"/>
                  <a:pt x="557685" y="381000"/>
                </a:cubicBezTo>
                <a:cubicBezTo>
                  <a:pt x="557685" y="397688"/>
                  <a:pt x="559272" y="414338"/>
                  <a:pt x="560066" y="431007"/>
                </a:cubicBezTo>
                <a:cubicBezTo>
                  <a:pt x="559272" y="441326"/>
                  <a:pt x="558969" y="451694"/>
                  <a:pt x="557685" y="461963"/>
                </a:cubicBezTo>
                <a:cubicBezTo>
                  <a:pt x="557374" y="464454"/>
                  <a:pt x="556872" y="467147"/>
                  <a:pt x="555304" y="469107"/>
                </a:cubicBezTo>
                <a:cubicBezTo>
                  <a:pt x="553516" y="471342"/>
                  <a:pt x="550541" y="472282"/>
                  <a:pt x="548160" y="473869"/>
                </a:cubicBezTo>
                <a:cubicBezTo>
                  <a:pt x="529738" y="471822"/>
                  <a:pt x="509216" y="468267"/>
                  <a:pt x="491010" y="473869"/>
                </a:cubicBezTo>
                <a:cubicBezTo>
                  <a:pt x="488275" y="474711"/>
                  <a:pt x="494185" y="478632"/>
                  <a:pt x="495772" y="481013"/>
                </a:cubicBezTo>
                <a:cubicBezTo>
                  <a:pt x="489507" y="486234"/>
                  <a:pt x="480105" y="493339"/>
                  <a:pt x="474341" y="500063"/>
                </a:cubicBezTo>
                <a:cubicBezTo>
                  <a:pt x="462749" y="513587"/>
                  <a:pt x="472820" y="506777"/>
                  <a:pt x="457672" y="514350"/>
                </a:cubicBezTo>
                <a:cubicBezTo>
                  <a:pt x="448941" y="513556"/>
                  <a:pt x="440186" y="512993"/>
                  <a:pt x="431479" y="511969"/>
                </a:cubicBezTo>
                <a:cubicBezTo>
                  <a:pt x="426684" y="511405"/>
                  <a:pt x="422351" y="508794"/>
                  <a:pt x="417191" y="509588"/>
                </a:cubicBezTo>
                <a:cubicBezTo>
                  <a:pt x="412032" y="510382"/>
                  <a:pt x="406078" y="517526"/>
                  <a:pt x="400522" y="516732"/>
                </a:cubicBezTo>
                <a:cubicBezTo>
                  <a:pt x="381472" y="517526"/>
                  <a:pt x="367184" y="517526"/>
                  <a:pt x="357659" y="519113"/>
                </a:cubicBezTo>
                <a:cubicBezTo>
                  <a:pt x="348134" y="520701"/>
                  <a:pt x="350119" y="524273"/>
                  <a:pt x="343372" y="526257"/>
                </a:cubicBezTo>
                <a:cubicBezTo>
                  <a:pt x="336625" y="528241"/>
                  <a:pt x="323926" y="528241"/>
                  <a:pt x="317179" y="531019"/>
                </a:cubicBezTo>
                <a:cubicBezTo>
                  <a:pt x="310432" y="533797"/>
                  <a:pt x="308121" y="539597"/>
                  <a:pt x="302891" y="542925"/>
                </a:cubicBezTo>
                <a:cubicBezTo>
                  <a:pt x="299285" y="545220"/>
                  <a:pt x="294808" y="545776"/>
                  <a:pt x="290985" y="547688"/>
                </a:cubicBezTo>
                <a:cubicBezTo>
                  <a:pt x="288425" y="548968"/>
                  <a:pt x="286222" y="550863"/>
                  <a:pt x="283841" y="552450"/>
                </a:cubicBezTo>
                <a:cubicBezTo>
                  <a:pt x="282254" y="554831"/>
                  <a:pt x="280742" y="557265"/>
                  <a:pt x="279079" y="559594"/>
                </a:cubicBezTo>
                <a:cubicBezTo>
                  <a:pt x="276772" y="562824"/>
                  <a:pt x="273025" y="565303"/>
                  <a:pt x="271935" y="569119"/>
                </a:cubicBezTo>
                <a:cubicBezTo>
                  <a:pt x="271245" y="571533"/>
                  <a:pt x="273522" y="573882"/>
                  <a:pt x="274316" y="576263"/>
                </a:cubicBezTo>
                <a:cubicBezTo>
                  <a:pt x="267884" y="585912"/>
                  <a:pt x="269205" y="588845"/>
                  <a:pt x="252885" y="578644"/>
                </a:cubicBezTo>
                <a:cubicBezTo>
                  <a:pt x="250756" y="577314"/>
                  <a:pt x="252464" y="573068"/>
                  <a:pt x="250504" y="571500"/>
                </a:cubicBezTo>
                <a:cubicBezTo>
                  <a:pt x="247948" y="569456"/>
                  <a:pt x="244126" y="570018"/>
                  <a:pt x="240979" y="569119"/>
                </a:cubicBezTo>
                <a:cubicBezTo>
                  <a:pt x="238565" y="568429"/>
                  <a:pt x="236216" y="567532"/>
                  <a:pt x="233835" y="566738"/>
                </a:cubicBezTo>
                <a:cubicBezTo>
                  <a:pt x="229866" y="563563"/>
                  <a:pt x="226239" y="559907"/>
                  <a:pt x="221929" y="557213"/>
                </a:cubicBezTo>
                <a:cubicBezTo>
                  <a:pt x="219800" y="555883"/>
                  <a:pt x="216874" y="556224"/>
                  <a:pt x="214785" y="554832"/>
                </a:cubicBezTo>
                <a:cubicBezTo>
                  <a:pt x="211983" y="552964"/>
                  <a:pt x="211610" y="547291"/>
                  <a:pt x="207641" y="547688"/>
                </a:cubicBezTo>
                <a:cubicBezTo>
                  <a:pt x="203672" y="548085"/>
                  <a:pt x="194089" y="558210"/>
                  <a:pt x="190972" y="557213"/>
                </a:cubicBezTo>
                <a:cubicBezTo>
                  <a:pt x="174238" y="551858"/>
                  <a:pt x="164779" y="534194"/>
                  <a:pt x="148110" y="528638"/>
                </a:cubicBezTo>
                <a:cubicBezTo>
                  <a:pt x="143347" y="524669"/>
                  <a:pt x="136997" y="518716"/>
                  <a:pt x="133822" y="516732"/>
                </a:cubicBezTo>
                <a:cubicBezTo>
                  <a:pt x="130647" y="514748"/>
                  <a:pt x="133028" y="516732"/>
                  <a:pt x="129060" y="516732"/>
                </a:cubicBezTo>
                <a:cubicBezTo>
                  <a:pt x="125092" y="516732"/>
                  <a:pt x="122711" y="516334"/>
                  <a:pt x="110011" y="516731"/>
                </a:cubicBezTo>
                <a:cubicBezTo>
                  <a:pt x="97311" y="517128"/>
                  <a:pt x="65956" y="520700"/>
                  <a:pt x="52859" y="519113"/>
                </a:cubicBezTo>
                <a:cubicBezTo>
                  <a:pt x="39762" y="517526"/>
                  <a:pt x="36985" y="506413"/>
                  <a:pt x="31429" y="507207"/>
                </a:cubicBezTo>
                <a:cubicBezTo>
                  <a:pt x="28254" y="508794"/>
                  <a:pt x="34753" y="520248"/>
                  <a:pt x="31429" y="521494"/>
                </a:cubicBezTo>
                <a:cubicBezTo>
                  <a:pt x="24551" y="524073"/>
                  <a:pt x="7458" y="515961"/>
                  <a:pt x="472" y="511969"/>
                </a:cubicBezTo>
                <a:cubicBezTo>
                  <a:pt x="-2013" y="510549"/>
                  <a:pt x="6029" y="525066"/>
                  <a:pt x="7616" y="523875"/>
                </a:cubicBezTo>
                <a:close/>
              </a:path>
            </a:pathLst>
          </a:custGeom>
          <a:solidFill>
            <a:srgbClr val="00A194"/>
          </a:solidFill>
          <a:ln w="12700">
            <a:solidFill>
              <a:schemeClr val="bg1"/>
            </a:solidFill>
            <a:round/>
            <a:headEnd/>
            <a:tailEnd/>
          </a:ln>
          <a:effectLst/>
        </p:spPr>
        <p:txBody>
          <a:bodyPr wrap="square"/>
          <a:lstStyle/>
          <a:p>
            <a:endParaRPr lang="en-US" sz="1100" i="1">
              <a:latin typeface="+mn-lt"/>
              <a:ea typeface="+mn-ea"/>
            </a:endParaRPr>
          </a:p>
        </p:txBody>
      </p:sp>
      <p:sp>
        <p:nvSpPr>
          <p:cNvPr id="13" name="Rechteck 12">
            <a:extLst>
              <a:ext uri="{FF2B5EF4-FFF2-40B4-BE49-F238E27FC236}">
                <a16:creationId xmlns:a16="http://schemas.microsoft.com/office/drawing/2014/main" id="{47B0B0F4-D96C-B892-2037-C875C463DC76}"/>
              </a:ext>
            </a:extLst>
          </p:cNvPr>
          <p:cNvSpPr/>
          <p:nvPr/>
        </p:nvSpPr>
        <p:spPr>
          <a:xfrm>
            <a:off x="9368768" y="1878081"/>
            <a:ext cx="64770" cy="68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Freihandform: Form 13">
            <a:extLst>
              <a:ext uri="{FF2B5EF4-FFF2-40B4-BE49-F238E27FC236}">
                <a16:creationId xmlns:a16="http://schemas.microsoft.com/office/drawing/2014/main" id="{9649EF9E-5E13-CBD0-422F-CA974EB7D4D6}"/>
              </a:ext>
            </a:extLst>
          </p:cNvPr>
          <p:cNvSpPr/>
          <p:nvPr/>
        </p:nvSpPr>
        <p:spPr>
          <a:xfrm>
            <a:off x="9341500" y="2030728"/>
            <a:ext cx="319403" cy="288608"/>
          </a:xfrm>
          <a:custGeom>
            <a:avLst/>
            <a:gdLst>
              <a:gd name="connsiteX0" fmla="*/ 14603 w 319403"/>
              <a:gd name="connsiteY0" fmla="*/ 17094 h 295701"/>
              <a:gd name="connsiteX1" fmla="*/ 19366 w 319403"/>
              <a:gd name="connsiteY1" fmla="*/ 55194 h 295701"/>
              <a:gd name="connsiteX2" fmla="*/ 16985 w 319403"/>
              <a:gd name="connsiteY2" fmla="*/ 67101 h 295701"/>
              <a:gd name="connsiteX3" fmla="*/ 7460 w 319403"/>
              <a:gd name="connsiteY3" fmla="*/ 71863 h 295701"/>
              <a:gd name="connsiteX4" fmla="*/ 12222 w 319403"/>
              <a:gd name="connsiteY4" fmla="*/ 79007 h 295701"/>
              <a:gd name="connsiteX5" fmla="*/ 24128 w 319403"/>
              <a:gd name="connsiteY5" fmla="*/ 88532 h 295701"/>
              <a:gd name="connsiteX6" fmla="*/ 21747 w 319403"/>
              <a:gd name="connsiteY6" fmla="*/ 112344 h 295701"/>
              <a:gd name="connsiteX7" fmla="*/ 26510 w 319403"/>
              <a:gd name="connsiteY7" fmla="*/ 112344 h 295701"/>
              <a:gd name="connsiteX8" fmla="*/ 50322 w 319403"/>
              <a:gd name="connsiteY8" fmla="*/ 114726 h 295701"/>
              <a:gd name="connsiteX9" fmla="*/ 45560 w 319403"/>
              <a:gd name="connsiteY9" fmla="*/ 129013 h 295701"/>
              <a:gd name="connsiteX10" fmla="*/ 38416 w 319403"/>
              <a:gd name="connsiteY10" fmla="*/ 136157 h 295701"/>
              <a:gd name="connsiteX11" fmla="*/ 33653 w 319403"/>
              <a:gd name="connsiteY11" fmla="*/ 143301 h 295701"/>
              <a:gd name="connsiteX12" fmla="*/ 12222 w 319403"/>
              <a:gd name="connsiteY12" fmla="*/ 155207 h 295701"/>
              <a:gd name="connsiteX13" fmla="*/ 7460 w 319403"/>
              <a:gd name="connsiteY13" fmla="*/ 162351 h 295701"/>
              <a:gd name="connsiteX14" fmla="*/ 5078 w 319403"/>
              <a:gd name="connsiteY14" fmla="*/ 176638 h 295701"/>
              <a:gd name="connsiteX15" fmla="*/ 14603 w 319403"/>
              <a:gd name="connsiteY15" fmla="*/ 179019 h 295701"/>
              <a:gd name="connsiteX16" fmla="*/ 24128 w 319403"/>
              <a:gd name="connsiteY16" fmla="*/ 176638 h 295701"/>
              <a:gd name="connsiteX17" fmla="*/ 36035 w 319403"/>
              <a:gd name="connsiteY17" fmla="*/ 190926 h 295701"/>
              <a:gd name="connsiteX18" fmla="*/ 43178 w 319403"/>
              <a:gd name="connsiteY18" fmla="*/ 193307 h 295701"/>
              <a:gd name="connsiteX19" fmla="*/ 57466 w 319403"/>
              <a:gd name="connsiteY19" fmla="*/ 190926 h 295701"/>
              <a:gd name="connsiteX20" fmla="*/ 74135 w 319403"/>
              <a:gd name="connsiteY20" fmla="*/ 188544 h 295701"/>
              <a:gd name="connsiteX21" fmla="*/ 86041 w 319403"/>
              <a:gd name="connsiteY21" fmla="*/ 176638 h 295701"/>
              <a:gd name="connsiteX22" fmla="*/ 78897 w 319403"/>
              <a:gd name="connsiteY22" fmla="*/ 174257 h 295701"/>
              <a:gd name="connsiteX23" fmla="*/ 81278 w 319403"/>
              <a:gd name="connsiteY23" fmla="*/ 157588 h 295701"/>
              <a:gd name="connsiteX24" fmla="*/ 97947 w 319403"/>
              <a:gd name="connsiteY24" fmla="*/ 138538 h 295701"/>
              <a:gd name="connsiteX25" fmla="*/ 114616 w 319403"/>
              <a:gd name="connsiteY25" fmla="*/ 121869 h 295701"/>
              <a:gd name="connsiteX26" fmla="*/ 128903 w 319403"/>
              <a:gd name="connsiteY26" fmla="*/ 129013 h 295701"/>
              <a:gd name="connsiteX27" fmla="*/ 136047 w 319403"/>
              <a:gd name="connsiteY27" fmla="*/ 133776 h 295701"/>
              <a:gd name="connsiteX28" fmla="*/ 147953 w 319403"/>
              <a:gd name="connsiteY28" fmla="*/ 138538 h 295701"/>
              <a:gd name="connsiteX29" fmla="*/ 150335 w 319403"/>
              <a:gd name="connsiteY29" fmla="*/ 157588 h 295701"/>
              <a:gd name="connsiteX30" fmla="*/ 140810 w 319403"/>
              <a:gd name="connsiteY30" fmla="*/ 162351 h 295701"/>
              <a:gd name="connsiteX31" fmla="*/ 133666 w 319403"/>
              <a:gd name="connsiteY31" fmla="*/ 169494 h 295701"/>
              <a:gd name="connsiteX32" fmla="*/ 124141 w 319403"/>
              <a:gd name="connsiteY32" fmla="*/ 186163 h 295701"/>
              <a:gd name="connsiteX33" fmla="*/ 114616 w 319403"/>
              <a:gd name="connsiteY33" fmla="*/ 188544 h 295701"/>
              <a:gd name="connsiteX34" fmla="*/ 105091 w 319403"/>
              <a:gd name="connsiteY34" fmla="*/ 186163 h 295701"/>
              <a:gd name="connsiteX35" fmla="*/ 93185 w 319403"/>
              <a:gd name="connsiteY35" fmla="*/ 198069 h 295701"/>
              <a:gd name="connsiteX36" fmla="*/ 90803 w 319403"/>
              <a:gd name="connsiteY36" fmla="*/ 214738 h 295701"/>
              <a:gd name="connsiteX37" fmla="*/ 71753 w 319403"/>
              <a:gd name="connsiteY37" fmla="*/ 229026 h 295701"/>
              <a:gd name="connsiteX38" fmla="*/ 62228 w 319403"/>
              <a:gd name="connsiteY38" fmla="*/ 236169 h 295701"/>
              <a:gd name="connsiteX39" fmla="*/ 45560 w 319403"/>
              <a:gd name="connsiteY39" fmla="*/ 248076 h 295701"/>
              <a:gd name="connsiteX40" fmla="*/ 81278 w 319403"/>
              <a:gd name="connsiteY40" fmla="*/ 257601 h 295701"/>
              <a:gd name="connsiteX41" fmla="*/ 83660 w 319403"/>
              <a:gd name="connsiteY41" fmla="*/ 269507 h 295701"/>
              <a:gd name="connsiteX42" fmla="*/ 81278 w 319403"/>
              <a:gd name="connsiteY42" fmla="*/ 276651 h 295701"/>
              <a:gd name="connsiteX43" fmla="*/ 88422 w 319403"/>
              <a:gd name="connsiteY43" fmla="*/ 279032 h 295701"/>
              <a:gd name="connsiteX44" fmla="*/ 128903 w 319403"/>
              <a:gd name="connsiteY44" fmla="*/ 281413 h 295701"/>
              <a:gd name="connsiteX45" fmla="*/ 145572 w 319403"/>
              <a:gd name="connsiteY45" fmla="*/ 288557 h 295701"/>
              <a:gd name="connsiteX46" fmla="*/ 162241 w 319403"/>
              <a:gd name="connsiteY46" fmla="*/ 295701 h 295701"/>
              <a:gd name="connsiteX47" fmla="*/ 176528 w 319403"/>
              <a:gd name="connsiteY47" fmla="*/ 293319 h 295701"/>
              <a:gd name="connsiteX48" fmla="*/ 197960 w 319403"/>
              <a:gd name="connsiteY48" fmla="*/ 288557 h 295701"/>
              <a:gd name="connsiteX49" fmla="*/ 217010 w 319403"/>
              <a:gd name="connsiteY49" fmla="*/ 286176 h 295701"/>
              <a:gd name="connsiteX50" fmla="*/ 238441 w 319403"/>
              <a:gd name="connsiteY50" fmla="*/ 279032 h 295701"/>
              <a:gd name="connsiteX51" fmla="*/ 288447 w 319403"/>
              <a:gd name="connsiteY51" fmla="*/ 281413 h 295701"/>
              <a:gd name="connsiteX52" fmla="*/ 302735 w 319403"/>
              <a:gd name="connsiteY52" fmla="*/ 279032 h 295701"/>
              <a:gd name="connsiteX53" fmla="*/ 295591 w 319403"/>
              <a:gd name="connsiteY53" fmla="*/ 264744 h 295701"/>
              <a:gd name="connsiteX54" fmla="*/ 305116 w 319403"/>
              <a:gd name="connsiteY54" fmla="*/ 245694 h 295701"/>
              <a:gd name="connsiteX55" fmla="*/ 309878 w 319403"/>
              <a:gd name="connsiteY55" fmla="*/ 231407 h 295701"/>
              <a:gd name="connsiteX56" fmla="*/ 319403 w 319403"/>
              <a:gd name="connsiteY56" fmla="*/ 214738 h 295701"/>
              <a:gd name="connsiteX57" fmla="*/ 317022 w 319403"/>
              <a:gd name="connsiteY57" fmla="*/ 205213 h 295701"/>
              <a:gd name="connsiteX58" fmla="*/ 314641 w 319403"/>
              <a:gd name="connsiteY58" fmla="*/ 152826 h 295701"/>
              <a:gd name="connsiteX59" fmla="*/ 305116 w 319403"/>
              <a:gd name="connsiteY59" fmla="*/ 138538 h 295701"/>
              <a:gd name="connsiteX60" fmla="*/ 300353 w 319403"/>
              <a:gd name="connsiteY60" fmla="*/ 117107 h 295701"/>
              <a:gd name="connsiteX61" fmla="*/ 293210 w 319403"/>
              <a:gd name="connsiteY61" fmla="*/ 109963 h 295701"/>
              <a:gd name="connsiteX62" fmla="*/ 286066 w 319403"/>
              <a:gd name="connsiteY62" fmla="*/ 90913 h 295701"/>
              <a:gd name="connsiteX63" fmla="*/ 274160 w 319403"/>
              <a:gd name="connsiteY63" fmla="*/ 64719 h 295701"/>
              <a:gd name="connsiteX64" fmla="*/ 269397 w 319403"/>
              <a:gd name="connsiteY64" fmla="*/ 57576 h 295701"/>
              <a:gd name="connsiteX65" fmla="*/ 217010 w 319403"/>
              <a:gd name="connsiteY65" fmla="*/ 43288 h 295701"/>
              <a:gd name="connsiteX66" fmla="*/ 200341 w 319403"/>
              <a:gd name="connsiteY66" fmla="*/ 38526 h 295701"/>
              <a:gd name="connsiteX67" fmla="*/ 193197 w 319403"/>
              <a:gd name="connsiteY67" fmla="*/ 36144 h 295701"/>
              <a:gd name="connsiteX68" fmla="*/ 178910 w 319403"/>
              <a:gd name="connsiteY68" fmla="*/ 33763 h 295701"/>
              <a:gd name="connsiteX69" fmla="*/ 159860 w 319403"/>
              <a:gd name="connsiteY69" fmla="*/ 29001 h 295701"/>
              <a:gd name="connsiteX70" fmla="*/ 136047 w 319403"/>
              <a:gd name="connsiteY70" fmla="*/ 26619 h 295701"/>
              <a:gd name="connsiteX71" fmla="*/ 86041 w 319403"/>
              <a:gd name="connsiteY71" fmla="*/ 19476 h 295701"/>
              <a:gd name="connsiteX72" fmla="*/ 66991 w 319403"/>
              <a:gd name="connsiteY72" fmla="*/ 17094 h 295701"/>
              <a:gd name="connsiteX73" fmla="*/ 28891 w 319403"/>
              <a:gd name="connsiteY73" fmla="*/ 2807 h 295701"/>
              <a:gd name="connsiteX74" fmla="*/ 12222 w 319403"/>
              <a:gd name="connsiteY74" fmla="*/ 426 h 295701"/>
              <a:gd name="connsiteX75" fmla="*/ 14603 w 319403"/>
              <a:gd name="connsiteY75" fmla="*/ 17094 h 295701"/>
              <a:gd name="connsiteX0" fmla="*/ 14603 w 319403"/>
              <a:gd name="connsiteY0" fmla="*/ 17094 h 295701"/>
              <a:gd name="connsiteX1" fmla="*/ 19366 w 319403"/>
              <a:gd name="connsiteY1" fmla="*/ 55194 h 295701"/>
              <a:gd name="connsiteX2" fmla="*/ 16985 w 319403"/>
              <a:gd name="connsiteY2" fmla="*/ 67101 h 295701"/>
              <a:gd name="connsiteX3" fmla="*/ 7460 w 319403"/>
              <a:gd name="connsiteY3" fmla="*/ 71863 h 295701"/>
              <a:gd name="connsiteX4" fmla="*/ 12222 w 319403"/>
              <a:gd name="connsiteY4" fmla="*/ 79007 h 295701"/>
              <a:gd name="connsiteX5" fmla="*/ 24128 w 319403"/>
              <a:gd name="connsiteY5" fmla="*/ 88532 h 295701"/>
              <a:gd name="connsiteX6" fmla="*/ 21747 w 319403"/>
              <a:gd name="connsiteY6" fmla="*/ 112344 h 295701"/>
              <a:gd name="connsiteX7" fmla="*/ 26510 w 319403"/>
              <a:gd name="connsiteY7" fmla="*/ 112344 h 295701"/>
              <a:gd name="connsiteX8" fmla="*/ 50322 w 319403"/>
              <a:gd name="connsiteY8" fmla="*/ 114726 h 295701"/>
              <a:gd name="connsiteX9" fmla="*/ 45560 w 319403"/>
              <a:gd name="connsiteY9" fmla="*/ 129013 h 295701"/>
              <a:gd name="connsiteX10" fmla="*/ 38416 w 319403"/>
              <a:gd name="connsiteY10" fmla="*/ 136157 h 295701"/>
              <a:gd name="connsiteX11" fmla="*/ 33653 w 319403"/>
              <a:gd name="connsiteY11" fmla="*/ 143301 h 295701"/>
              <a:gd name="connsiteX12" fmla="*/ 12222 w 319403"/>
              <a:gd name="connsiteY12" fmla="*/ 155207 h 295701"/>
              <a:gd name="connsiteX13" fmla="*/ 7460 w 319403"/>
              <a:gd name="connsiteY13" fmla="*/ 162351 h 295701"/>
              <a:gd name="connsiteX14" fmla="*/ 5078 w 319403"/>
              <a:gd name="connsiteY14" fmla="*/ 176638 h 295701"/>
              <a:gd name="connsiteX15" fmla="*/ 14603 w 319403"/>
              <a:gd name="connsiteY15" fmla="*/ 179019 h 295701"/>
              <a:gd name="connsiteX16" fmla="*/ 24128 w 319403"/>
              <a:gd name="connsiteY16" fmla="*/ 176638 h 295701"/>
              <a:gd name="connsiteX17" fmla="*/ 36035 w 319403"/>
              <a:gd name="connsiteY17" fmla="*/ 190926 h 295701"/>
              <a:gd name="connsiteX18" fmla="*/ 43178 w 319403"/>
              <a:gd name="connsiteY18" fmla="*/ 193307 h 295701"/>
              <a:gd name="connsiteX19" fmla="*/ 57466 w 319403"/>
              <a:gd name="connsiteY19" fmla="*/ 190926 h 295701"/>
              <a:gd name="connsiteX20" fmla="*/ 74135 w 319403"/>
              <a:gd name="connsiteY20" fmla="*/ 188544 h 295701"/>
              <a:gd name="connsiteX21" fmla="*/ 86041 w 319403"/>
              <a:gd name="connsiteY21" fmla="*/ 176638 h 295701"/>
              <a:gd name="connsiteX22" fmla="*/ 78897 w 319403"/>
              <a:gd name="connsiteY22" fmla="*/ 174257 h 295701"/>
              <a:gd name="connsiteX23" fmla="*/ 81278 w 319403"/>
              <a:gd name="connsiteY23" fmla="*/ 157588 h 295701"/>
              <a:gd name="connsiteX24" fmla="*/ 97947 w 319403"/>
              <a:gd name="connsiteY24" fmla="*/ 138538 h 295701"/>
              <a:gd name="connsiteX25" fmla="*/ 114616 w 319403"/>
              <a:gd name="connsiteY25" fmla="*/ 121869 h 295701"/>
              <a:gd name="connsiteX26" fmla="*/ 128903 w 319403"/>
              <a:gd name="connsiteY26" fmla="*/ 129013 h 295701"/>
              <a:gd name="connsiteX27" fmla="*/ 136047 w 319403"/>
              <a:gd name="connsiteY27" fmla="*/ 133776 h 295701"/>
              <a:gd name="connsiteX28" fmla="*/ 147953 w 319403"/>
              <a:gd name="connsiteY28" fmla="*/ 138538 h 295701"/>
              <a:gd name="connsiteX29" fmla="*/ 150335 w 319403"/>
              <a:gd name="connsiteY29" fmla="*/ 157588 h 295701"/>
              <a:gd name="connsiteX30" fmla="*/ 140810 w 319403"/>
              <a:gd name="connsiteY30" fmla="*/ 162351 h 295701"/>
              <a:gd name="connsiteX31" fmla="*/ 133666 w 319403"/>
              <a:gd name="connsiteY31" fmla="*/ 169494 h 295701"/>
              <a:gd name="connsiteX32" fmla="*/ 124141 w 319403"/>
              <a:gd name="connsiteY32" fmla="*/ 186163 h 295701"/>
              <a:gd name="connsiteX33" fmla="*/ 114616 w 319403"/>
              <a:gd name="connsiteY33" fmla="*/ 188544 h 295701"/>
              <a:gd name="connsiteX34" fmla="*/ 105091 w 319403"/>
              <a:gd name="connsiteY34" fmla="*/ 186163 h 295701"/>
              <a:gd name="connsiteX35" fmla="*/ 93185 w 319403"/>
              <a:gd name="connsiteY35" fmla="*/ 198069 h 295701"/>
              <a:gd name="connsiteX36" fmla="*/ 90803 w 319403"/>
              <a:gd name="connsiteY36" fmla="*/ 214738 h 295701"/>
              <a:gd name="connsiteX37" fmla="*/ 71753 w 319403"/>
              <a:gd name="connsiteY37" fmla="*/ 229026 h 295701"/>
              <a:gd name="connsiteX38" fmla="*/ 62228 w 319403"/>
              <a:gd name="connsiteY38" fmla="*/ 236169 h 295701"/>
              <a:gd name="connsiteX39" fmla="*/ 45560 w 319403"/>
              <a:gd name="connsiteY39" fmla="*/ 248076 h 295701"/>
              <a:gd name="connsiteX40" fmla="*/ 81278 w 319403"/>
              <a:gd name="connsiteY40" fmla="*/ 257601 h 295701"/>
              <a:gd name="connsiteX41" fmla="*/ 83660 w 319403"/>
              <a:gd name="connsiteY41" fmla="*/ 269507 h 295701"/>
              <a:gd name="connsiteX42" fmla="*/ 81278 w 319403"/>
              <a:gd name="connsiteY42" fmla="*/ 276651 h 295701"/>
              <a:gd name="connsiteX43" fmla="*/ 88422 w 319403"/>
              <a:gd name="connsiteY43" fmla="*/ 279032 h 295701"/>
              <a:gd name="connsiteX44" fmla="*/ 128903 w 319403"/>
              <a:gd name="connsiteY44" fmla="*/ 281413 h 295701"/>
              <a:gd name="connsiteX45" fmla="*/ 145572 w 319403"/>
              <a:gd name="connsiteY45" fmla="*/ 288557 h 295701"/>
              <a:gd name="connsiteX46" fmla="*/ 162241 w 319403"/>
              <a:gd name="connsiteY46" fmla="*/ 295701 h 295701"/>
              <a:gd name="connsiteX47" fmla="*/ 176528 w 319403"/>
              <a:gd name="connsiteY47" fmla="*/ 293319 h 295701"/>
              <a:gd name="connsiteX48" fmla="*/ 197960 w 319403"/>
              <a:gd name="connsiteY48" fmla="*/ 288557 h 295701"/>
              <a:gd name="connsiteX49" fmla="*/ 217010 w 319403"/>
              <a:gd name="connsiteY49" fmla="*/ 286176 h 295701"/>
              <a:gd name="connsiteX50" fmla="*/ 238441 w 319403"/>
              <a:gd name="connsiteY50" fmla="*/ 279032 h 295701"/>
              <a:gd name="connsiteX51" fmla="*/ 288447 w 319403"/>
              <a:gd name="connsiteY51" fmla="*/ 281413 h 295701"/>
              <a:gd name="connsiteX52" fmla="*/ 302735 w 319403"/>
              <a:gd name="connsiteY52" fmla="*/ 279032 h 295701"/>
              <a:gd name="connsiteX53" fmla="*/ 295591 w 319403"/>
              <a:gd name="connsiteY53" fmla="*/ 264744 h 295701"/>
              <a:gd name="connsiteX54" fmla="*/ 305116 w 319403"/>
              <a:gd name="connsiteY54" fmla="*/ 245694 h 295701"/>
              <a:gd name="connsiteX55" fmla="*/ 309878 w 319403"/>
              <a:gd name="connsiteY55" fmla="*/ 231407 h 295701"/>
              <a:gd name="connsiteX56" fmla="*/ 319403 w 319403"/>
              <a:gd name="connsiteY56" fmla="*/ 214738 h 295701"/>
              <a:gd name="connsiteX57" fmla="*/ 317022 w 319403"/>
              <a:gd name="connsiteY57" fmla="*/ 205213 h 295701"/>
              <a:gd name="connsiteX58" fmla="*/ 314641 w 319403"/>
              <a:gd name="connsiteY58" fmla="*/ 152826 h 295701"/>
              <a:gd name="connsiteX59" fmla="*/ 305116 w 319403"/>
              <a:gd name="connsiteY59" fmla="*/ 138538 h 295701"/>
              <a:gd name="connsiteX60" fmla="*/ 300353 w 319403"/>
              <a:gd name="connsiteY60" fmla="*/ 117107 h 295701"/>
              <a:gd name="connsiteX61" fmla="*/ 293210 w 319403"/>
              <a:gd name="connsiteY61" fmla="*/ 109963 h 295701"/>
              <a:gd name="connsiteX62" fmla="*/ 286066 w 319403"/>
              <a:gd name="connsiteY62" fmla="*/ 90913 h 295701"/>
              <a:gd name="connsiteX63" fmla="*/ 274160 w 319403"/>
              <a:gd name="connsiteY63" fmla="*/ 64719 h 295701"/>
              <a:gd name="connsiteX64" fmla="*/ 269397 w 319403"/>
              <a:gd name="connsiteY64" fmla="*/ 57576 h 295701"/>
              <a:gd name="connsiteX65" fmla="*/ 217010 w 319403"/>
              <a:gd name="connsiteY65" fmla="*/ 43288 h 295701"/>
              <a:gd name="connsiteX66" fmla="*/ 200341 w 319403"/>
              <a:gd name="connsiteY66" fmla="*/ 38526 h 295701"/>
              <a:gd name="connsiteX67" fmla="*/ 193197 w 319403"/>
              <a:gd name="connsiteY67" fmla="*/ 36144 h 295701"/>
              <a:gd name="connsiteX68" fmla="*/ 178910 w 319403"/>
              <a:gd name="connsiteY68" fmla="*/ 33763 h 295701"/>
              <a:gd name="connsiteX69" fmla="*/ 159860 w 319403"/>
              <a:gd name="connsiteY69" fmla="*/ 29001 h 295701"/>
              <a:gd name="connsiteX70" fmla="*/ 136047 w 319403"/>
              <a:gd name="connsiteY70" fmla="*/ 26619 h 295701"/>
              <a:gd name="connsiteX71" fmla="*/ 102709 w 319403"/>
              <a:gd name="connsiteY71" fmla="*/ 14714 h 295701"/>
              <a:gd name="connsiteX72" fmla="*/ 66991 w 319403"/>
              <a:gd name="connsiteY72" fmla="*/ 17094 h 295701"/>
              <a:gd name="connsiteX73" fmla="*/ 28891 w 319403"/>
              <a:gd name="connsiteY73" fmla="*/ 2807 h 295701"/>
              <a:gd name="connsiteX74" fmla="*/ 12222 w 319403"/>
              <a:gd name="connsiteY74" fmla="*/ 426 h 295701"/>
              <a:gd name="connsiteX75" fmla="*/ 14603 w 319403"/>
              <a:gd name="connsiteY75" fmla="*/ 17094 h 295701"/>
              <a:gd name="connsiteX0" fmla="*/ 14603 w 319403"/>
              <a:gd name="connsiteY0" fmla="*/ 17094 h 295701"/>
              <a:gd name="connsiteX1" fmla="*/ 19366 w 319403"/>
              <a:gd name="connsiteY1" fmla="*/ 55194 h 295701"/>
              <a:gd name="connsiteX2" fmla="*/ 16985 w 319403"/>
              <a:gd name="connsiteY2" fmla="*/ 67101 h 295701"/>
              <a:gd name="connsiteX3" fmla="*/ 7460 w 319403"/>
              <a:gd name="connsiteY3" fmla="*/ 71863 h 295701"/>
              <a:gd name="connsiteX4" fmla="*/ 12222 w 319403"/>
              <a:gd name="connsiteY4" fmla="*/ 79007 h 295701"/>
              <a:gd name="connsiteX5" fmla="*/ 24128 w 319403"/>
              <a:gd name="connsiteY5" fmla="*/ 88532 h 295701"/>
              <a:gd name="connsiteX6" fmla="*/ 21747 w 319403"/>
              <a:gd name="connsiteY6" fmla="*/ 112344 h 295701"/>
              <a:gd name="connsiteX7" fmla="*/ 26510 w 319403"/>
              <a:gd name="connsiteY7" fmla="*/ 112344 h 295701"/>
              <a:gd name="connsiteX8" fmla="*/ 50322 w 319403"/>
              <a:gd name="connsiteY8" fmla="*/ 114726 h 295701"/>
              <a:gd name="connsiteX9" fmla="*/ 45560 w 319403"/>
              <a:gd name="connsiteY9" fmla="*/ 129013 h 295701"/>
              <a:gd name="connsiteX10" fmla="*/ 38416 w 319403"/>
              <a:gd name="connsiteY10" fmla="*/ 136157 h 295701"/>
              <a:gd name="connsiteX11" fmla="*/ 33653 w 319403"/>
              <a:gd name="connsiteY11" fmla="*/ 143301 h 295701"/>
              <a:gd name="connsiteX12" fmla="*/ 12222 w 319403"/>
              <a:gd name="connsiteY12" fmla="*/ 155207 h 295701"/>
              <a:gd name="connsiteX13" fmla="*/ 7460 w 319403"/>
              <a:gd name="connsiteY13" fmla="*/ 162351 h 295701"/>
              <a:gd name="connsiteX14" fmla="*/ 5078 w 319403"/>
              <a:gd name="connsiteY14" fmla="*/ 176638 h 295701"/>
              <a:gd name="connsiteX15" fmla="*/ 14603 w 319403"/>
              <a:gd name="connsiteY15" fmla="*/ 179019 h 295701"/>
              <a:gd name="connsiteX16" fmla="*/ 24128 w 319403"/>
              <a:gd name="connsiteY16" fmla="*/ 176638 h 295701"/>
              <a:gd name="connsiteX17" fmla="*/ 36035 w 319403"/>
              <a:gd name="connsiteY17" fmla="*/ 190926 h 295701"/>
              <a:gd name="connsiteX18" fmla="*/ 43178 w 319403"/>
              <a:gd name="connsiteY18" fmla="*/ 193307 h 295701"/>
              <a:gd name="connsiteX19" fmla="*/ 57466 w 319403"/>
              <a:gd name="connsiteY19" fmla="*/ 190926 h 295701"/>
              <a:gd name="connsiteX20" fmla="*/ 74135 w 319403"/>
              <a:gd name="connsiteY20" fmla="*/ 188544 h 295701"/>
              <a:gd name="connsiteX21" fmla="*/ 86041 w 319403"/>
              <a:gd name="connsiteY21" fmla="*/ 176638 h 295701"/>
              <a:gd name="connsiteX22" fmla="*/ 78897 w 319403"/>
              <a:gd name="connsiteY22" fmla="*/ 174257 h 295701"/>
              <a:gd name="connsiteX23" fmla="*/ 81278 w 319403"/>
              <a:gd name="connsiteY23" fmla="*/ 157588 h 295701"/>
              <a:gd name="connsiteX24" fmla="*/ 97947 w 319403"/>
              <a:gd name="connsiteY24" fmla="*/ 138538 h 295701"/>
              <a:gd name="connsiteX25" fmla="*/ 114616 w 319403"/>
              <a:gd name="connsiteY25" fmla="*/ 121869 h 295701"/>
              <a:gd name="connsiteX26" fmla="*/ 128903 w 319403"/>
              <a:gd name="connsiteY26" fmla="*/ 129013 h 295701"/>
              <a:gd name="connsiteX27" fmla="*/ 136047 w 319403"/>
              <a:gd name="connsiteY27" fmla="*/ 133776 h 295701"/>
              <a:gd name="connsiteX28" fmla="*/ 147953 w 319403"/>
              <a:gd name="connsiteY28" fmla="*/ 138538 h 295701"/>
              <a:gd name="connsiteX29" fmla="*/ 150335 w 319403"/>
              <a:gd name="connsiteY29" fmla="*/ 157588 h 295701"/>
              <a:gd name="connsiteX30" fmla="*/ 140810 w 319403"/>
              <a:gd name="connsiteY30" fmla="*/ 162351 h 295701"/>
              <a:gd name="connsiteX31" fmla="*/ 133666 w 319403"/>
              <a:gd name="connsiteY31" fmla="*/ 169494 h 295701"/>
              <a:gd name="connsiteX32" fmla="*/ 124141 w 319403"/>
              <a:gd name="connsiteY32" fmla="*/ 186163 h 295701"/>
              <a:gd name="connsiteX33" fmla="*/ 114616 w 319403"/>
              <a:gd name="connsiteY33" fmla="*/ 188544 h 295701"/>
              <a:gd name="connsiteX34" fmla="*/ 105091 w 319403"/>
              <a:gd name="connsiteY34" fmla="*/ 186163 h 295701"/>
              <a:gd name="connsiteX35" fmla="*/ 93185 w 319403"/>
              <a:gd name="connsiteY35" fmla="*/ 198069 h 295701"/>
              <a:gd name="connsiteX36" fmla="*/ 90803 w 319403"/>
              <a:gd name="connsiteY36" fmla="*/ 214738 h 295701"/>
              <a:gd name="connsiteX37" fmla="*/ 71753 w 319403"/>
              <a:gd name="connsiteY37" fmla="*/ 229026 h 295701"/>
              <a:gd name="connsiteX38" fmla="*/ 62228 w 319403"/>
              <a:gd name="connsiteY38" fmla="*/ 236169 h 295701"/>
              <a:gd name="connsiteX39" fmla="*/ 45560 w 319403"/>
              <a:gd name="connsiteY39" fmla="*/ 248076 h 295701"/>
              <a:gd name="connsiteX40" fmla="*/ 81278 w 319403"/>
              <a:gd name="connsiteY40" fmla="*/ 257601 h 295701"/>
              <a:gd name="connsiteX41" fmla="*/ 83660 w 319403"/>
              <a:gd name="connsiteY41" fmla="*/ 269507 h 295701"/>
              <a:gd name="connsiteX42" fmla="*/ 81278 w 319403"/>
              <a:gd name="connsiteY42" fmla="*/ 276651 h 295701"/>
              <a:gd name="connsiteX43" fmla="*/ 88422 w 319403"/>
              <a:gd name="connsiteY43" fmla="*/ 279032 h 295701"/>
              <a:gd name="connsiteX44" fmla="*/ 128903 w 319403"/>
              <a:gd name="connsiteY44" fmla="*/ 281413 h 295701"/>
              <a:gd name="connsiteX45" fmla="*/ 145572 w 319403"/>
              <a:gd name="connsiteY45" fmla="*/ 288557 h 295701"/>
              <a:gd name="connsiteX46" fmla="*/ 162241 w 319403"/>
              <a:gd name="connsiteY46" fmla="*/ 295701 h 295701"/>
              <a:gd name="connsiteX47" fmla="*/ 176528 w 319403"/>
              <a:gd name="connsiteY47" fmla="*/ 293319 h 295701"/>
              <a:gd name="connsiteX48" fmla="*/ 197960 w 319403"/>
              <a:gd name="connsiteY48" fmla="*/ 288557 h 295701"/>
              <a:gd name="connsiteX49" fmla="*/ 217010 w 319403"/>
              <a:gd name="connsiteY49" fmla="*/ 286176 h 295701"/>
              <a:gd name="connsiteX50" fmla="*/ 238441 w 319403"/>
              <a:gd name="connsiteY50" fmla="*/ 279032 h 295701"/>
              <a:gd name="connsiteX51" fmla="*/ 288447 w 319403"/>
              <a:gd name="connsiteY51" fmla="*/ 281413 h 295701"/>
              <a:gd name="connsiteX52" fmla="*/ 302735 w 319403"/>
              <a:gd name="connsiteY52" fmla="*/ 279032 h 295701"/>
              <a:gd name="connsiteX53" fmla="*/ 295591 w 319403"/>
              <a:gd name="connsiteY53" fmla="*/ 264744 h 295701"/>
              <a:gd name="connsiteX54" fmla="*/ 305116 w 319403"/>
              <a:gd name="connsiteY54" fmla="*/ 245694 h 295701"/>
              <a:gd name="connsiteX55" fmla="*/ 309878 w 319403"/>
              <a:gd name="connsiteY55" fmla="*/ 231407 h 295701"/>
              <a:gd name="connsiteX56" fmla="*/ 319403 w 319403"/>
              <a:gd name="connsiteY56" fmla="*/ 214738 h 295701"/>
              <a:gd name="connsiteX57" fmla="*/ 317022 w 319403"/>
              <a:gd name="connsiteY57" fmla="*/ 205213 h 295701"/>
              <a:gd name="connsiteX58" fmla="*/ 314641 w 319403"/>
              <a:gd name="connsiteY58" fmla="*/ 152826 h 295701"/>
              <a:gd name="connsiteX59" fmla="*/ 305116 w 319403"/>
              <a:gd name="connsiteY59" fmla="*/ 138538 h 295701"/>
              <a:gd name="connsiteX60" fmla="*/ 300353 w 319403"/>
              <a:gd name="connsiteY60" fmla="*/ 117107 h 295701"/>
              <a:gd name="connsiteX61" fmla="*/ 293210 w 319403"/>
              <a:gd name="connsiteY61" fmla="*/ 109963 h 295701"/>
              <a:gd name="connsiteX62" fmla="*/ 286066 w 319403"/>
              <a:gd name="connsiteY62" fmla="*/ 90913 h 295701"/>
              <a:gd name="connsiteX63" fmla="*/ 274160 w 319403"/>
              <a:gd name="connsiteY63" fmla="*/ 64719 h 295701"/>
              <a:gd name="connsiteX64" fmla="*/ 269397 w 319403"/>
              <a:gd name="connsiteY64" fmla="*/ 57576 h 295701"/>
              <a:gd name="connsiteX65" fmla="*/ 217010 w 319403"/>
              <a:gd name="connsiteY65" fmla="*/ 43288 h 295701"/>
              <a:gd name="connsiteX66" fmla="*/ 200341 w 319403"/>
              <a:gd name="connsiteY66" fmla="*/ 38526 h 295701"/>
              <a:gd name="connsiteX67" fmla="*/ 193197 w 319403"/>
              <a:gd name="connsiteY67" fmla="*/ 36144 h 295701"/>
              <a:gd name="connsiteX68" fmla="*/ 178910 w 319403"/>
              <a:gd name="connsiteY68" fmla="*/ 33763 h 295701"/>
              <a:gd name="connsiteX69" fmla="*/ 155098 w 319403"/>
              <a:gd name="connsiteY69" fmla="*/ 24239 h 295701"/>
              <a:gd name="connsiteX70" fmla="*/ 136047 w 319403"/>
              <a:gd name="connsiteY70" fmla="*/ 26619 h 295701"/>
              <a:gd name="connsiteX71" fmla="*/ 102709 w 319403"/>
              <a:gd name="connsiteY71" fmla="*/ 14714 h 295701"/>
              <a:gd name="connsiteX72" fmla="*/ 66991 w 319403"/>
              <a:gd name="connsiteY72" fmla="*/ 17094 h 295701"/>
              <a:gd name="connsiteX73" fmla="*/ 28891 w 319403"/>
              <a:gd name="connsiteY73" fmla="*/ 2807 h 295701"/>
              <a:gd name="connsiteX74" fmla="*/ 12222 w 319403"/>
              <a:gd name="connsiteY74" fmla="*/ 426 h 295701"/>
              <a:gd name="connsiteX75" fmla="*/ 14603 w 319403"/>
              <a:gd name="connsiteY75" fmla="*/ 17094 h 295701"/>
              <a:gd name="connsiteX0" fmla="*/ 14603 w 319403"/>
              <a:gd name="connsiteY0" fmla="*/ 17094 h 295701"/>
              <a:gd name="connsiteX1" fmla="*/ 19366 w 319403"/>
              <a:gd name="connsiteY1" fmla="*/ 55194 h 295701"/>
              <a:gd name="connsiteX2" fmla="*/ 16985 w 319403"/>
              <a:gd name="connsiteY2" fmla="*/ 67101 h 295701"/>
              <a:gd name="connsiteX3" fmla="*/ 7460 w 319403"/>
              <a:gd name="connsiteY3" fmla="*/ 71863 h 295701"/>
              <a:gd name="connsiteX4" fmla="*/ 12222 w 319403"/>
              <a:gd name="connsiteY4" fmla="*/ 79007 h 295701"/>
              <a:gd name="connsiteX5" fmla="*/ 24128 w 319403"/>
              <a:gd name="connsiteY5" fmla="*/ 88532 h 295701"/>
              <a:gd name="connsiteX6" fmla="*/ 21747 w 319403"/>
              <a:gd name="connsiteY6" fmla="*/ 112344 h 295701"/>
              <a:gd name="connsiteX7" fmla="*/ 26510 w 319403"/>
              <a:gd name="connsiteY7" fmla="*/ 112344 h 295701"/>
              <a:gd name="connsiteX8" fmla="*/ 50322 w 319403"/>
              <a:gd name="connsiteY8" fmla="*/ 114726 h 295701"/>
              <a:gd name="connsiteX9" fmla="*/ 45560 w 319403"/>
              <a:gd name="connsiteY9" fmla="*/ 129013 h 295701"/>
              <a:gd name="connsiteX10" fmla="*/ 38416 w 319403"/>
              <a:gd name="connsiteY10" fmla="*/ 136157 h 295701"/>
              <a:gd name="connsiteX11" fmla="*/ 33653 w 319403"/>
              <a:gd name="connsiteY11" fmla="*/ 143301 h 295701"/>
              <a:gd name="connsiteX12" fmla="*/ 12222 w 319403"/>
              <a:gd name="connsiteY12" fmla="*/ 155207 h 295701"/>
              <a:gd name="connsiteX13" fmla="*/ 7460 w 319403"/>
              <a:gd name="connsiteY13" fmla="*/ 162351 h 295701"/>
              <a:gd name="connsiteX14" fmla="*/ 5078 w 319403"/>
              <a:gd name="connsiteY14" fmla="*/ 176638 h 295701"/>
              <a:gd name="connsiteX15" fmla="*/ 14603 w 319403"/>
              <a:gd name="connsiteY15" fmla="*/ 179019 h 295701"/>
              <a:gd name="connsiteX16" fmla="*/ 24128 w 319403"/>
              <a:gd name="connsiteY16" fmla="*/ 176638 h 295701"/>
              <a:gd name="connsiteX17" fmla="*/ 36035 w 319403"/>
              <a:gd name="connsiteY17" fmla="*/ 190926 h 295701"/>
              <a:gd name="connsiteX18" fmla="*/ 43178 w 319403"/>
              <a:gd name="connsiteY18" fmla="*/ 193307 h 295701"/>
              <a:gd name="connsiteX19" fmla="*/ 57466 w 319403"/>
              <a:gd name="connsiteY19" fmla="*/ 190926 h 295701"/>
              <a:gd name="connsiteX20" fmla="*/ 74135 w 319403"/>
              <a:gd name="connsiteY20" fmla="*/ 188544 h 295701"/>
              <a:gd name="connsiteX21" fmla="*/ 86041 w 319403"/>
              <a:gd name="connsiteY21" fmla="*/ 176638 h 295701"/>
              <a:gd name="connsiteX22" fmla="*/ 78897 w 319403"/>
              <a:gd name="connsiteY22" fmla="*/ 174257 h 295701"/>
              <a:gd name="connsiteX23" fmla="*/ 81278 w 319403"/>
              <a:gd name="connsiteY23" fmla="*/ 157588 h 295701"/>
              <a:gd name="connsiteX24" fmla="*/ 97947 w 319403"/>
              <a:gd name="connsiteY24" fmla="*/ 138538 h 295701"/>
              <a:gd name="connsiteX25" fmla="*/ 114616 w 319403"/>
              <a:gd name="connsiteY25" fmla="*/ 121869 h 295701"/>
              <a:gd name="connsiteX26" fmla="*/ 128903 w 319403"/>
              <a:gd name="connsiteY26" fmla="*/ 129013 h 295701"/>
              <a:gd name="connsiteX27" fmla="*/ 136047 w 319403"/>
              <a:gd name="connsiteY27" fmla="*/ 133776 h 295701"/>
              <a:gd name="connsiteX28" fmla="*/ 147953 w 319403"/>
              <a:gd name="connsiteY28" fmla="*/ 138538 h 295701"/>
              <a:gd name="connsiteX29" fmla="*/ 150335 w 319403"/>
              <a:gd name="connsiteY29" fmla="*/ 157588 h 295701"/>
              <a:gd name="connsiteX30" fmla="*/ 140810 w 319403"/>
              <a:gd name="connsiteY30" fmla="*/ 162351 h 295701"/>
              <a:gd name="connsiteX31" fmla="*/ 133666 w 319403"/>
              <a:gd name="connsiteY31" fmla="*/ 169494 h 295701"/>
              <a:gd name="connsiteX32" fmla="*/ 124141 w 319403"/>
              <a:gd name="connsiteY32" fmla="*/ 186163 h 295701"/>
              <a:gd name="connsiteX33" fmla="*/ 114616 w 319403"/>
              <a:gd name="connsiteY33" fmla="*/ 188544 h 295701"/>
              <a:gd name="connsiteX34" fmla="*/ 105091 w 319403"/>
              <a:gd name="connsiteY34" fmla="*/ 186163 h 295701"/>
              <a:gd name="connsiteX35" fmla="*/ 93185 w 319403"/>
              <a:gd name="connsiteY35" fmla="*/ 198069 h 295701"/>
              <a:gd name="connsiteX36" fmla="*/ 90803 w 319403"/>
              <a:gd name="connsiteY36" fmla="*/ 214738 h 295701"/>
              <a:gd name="connsiteX37" fmla="*/ 71753 w 319403"/>
              <a:gd name="connsiteY37" fmla="*/ 229026 h 295701"/>
              <a:gd name="connsiteX38" fmla="*/ 62228 w 319403"/>
              <a:gd name="connsiteY38" fmla="*/ 236169 h 295701"/>
              <a:gd name="connsiteX39" fmla="*/ 45560 w 319403"/>
              <a:gd name="connsiteY39" fmla="*/ 248076 h 295701"/>
              <a:gd name="connsiteX40" fmla="*/ 81278 w 319403"/>
              <a:gd name="connsiteY40" fmla="*/ 257601 h 295701"/>
              <a:gd name="connsiteX41" fmla="*/ 83660 w 319403"/>
              <a:gd name="connsiteY41" fmla="*/ 269507 h 295701"/>
              <a:gd name="connsiteX42" fmla="*/ 81278 w 319403"/>
              <a:gd name="connsiteY42" fmla="*/ 276651 h 295701"/>
              <a:gd name="connsiteX43" fmla="*/ 88422 w 319403"/>
              <a:gd name="connsiteY43" fmla="*/ 279032 h 295701"/>
              <a:gd name="connsiteX44" fmla="*/ 128903 w 319403"/>
              <a:gd name="connsiteY44" fmla="*/ 281413 h 295701"/>
              <a:gd name="connsiteX45" fmla="*/ 145572 w 319403"/>
              <a:gd name="connsiteY45" fmla="*/ 288557 h 295701"/>
              <a:gd name="connsiteX46" fmla="*/ 162241 w 319403"/>
              <a:gd name="connsiteY46" fmla="*/ 295701 h 295701"/>
              <a:gd name="connsiteX47" fmla="*/ 176528 w 319403"/>
              <a:gd name="connsiteY47" fmla="*/ 293319 h 295701"/>
              <a:gd name="connsiteX48" fmla="*/ 197960 w 319403"/>
              <a:gd name="connsiteY48" fmla="*/ 288557 h 295701"/>
              <a:gd name="connsiteX49" fmla="*/ 217010 w 319403"/>
              <a:gd name="connsiteY49" fmla="*/ 286176 h 295701"/>
              <a:gd name="connsiteX50" fmla="*/ 238441 w 319403"/>
              <a:gd name="connsiteY50" fmla="*/ 279032 h 295701"/>
              <a:gd name="connsiteX51" fmla="*/ 288447 w 319403"/>
              <a:gd name="connsiteY51" fmla="*/ 281413 h 295701"/>
              <a:gd name="connsiteX52" fmla="*/ 302735 w 319403"/>
              <a:gd name="connsiteY52" fmla="*/ 279032 h 295701"/>
              <a:gd name="connsiteX53" fmla="*/ 295591 w 319403"/>
              <a:gd name="connsiteY53" fmla="*/ 264744 h 295701"/>
              <a:gd name="connsiteX54" fmla="*/ 305116 w 319403"/>
              <a:gd name="connsiteY54" fmla="*/ 245694 h 295701"/>
              <a:gd name="connsiteX55" fmla="*/ 309878 w 319403"/>
              <a:gd name="connsiteY55" fmla="*/ 231407 h 295701"/>
              <a:gd name="connsiteX56" fmla="*/ 319403 w 319403"/>
              <a:gd name="connsiteY56" fmla="*/ 214738 h 295701"/>
              <a:gd name="connsiteX57" fmla="*/ 317022 w 319403"/>
              <a:gd name="connsiteY57" fmla="*/ 205213 h 295701"/>
              <a:gd name="connsiteX58" fmla="*/ 314641 w 319403"/>
              <a:gd name="connsiteY58" fmla="*/ 152826 h 295701"/>
              <a:gd name="connsiteX59" fmla="*/ 305116 w 319403"/>
              <a:gd name="connsiteY59" fmla="*/ 138538 h 295701"/>
              <a:gd name="connsiteX60" fmla="*/ 300353 w 319403"/>
              <a:gd name="connsiteY60" fmla="*/ 117107 h 295701"/>
              <a:gd name="connsiteX61" fmla="*/ 293210 w 319403"/>
              <a:gd name="connsiteY61" fmla="*/ 109963 h 295701"/>
              <a:gd name="connsiteX62" fmla="*/ 286066 w 319403"/>
              <a:gd name="connsiteY62" fmla="*/ 90913 h 295701"/>
              <a:gd name="connsiteX63" fmla="*/ 274160 w 319403"/>
              <a:gd name="connsiteY63" fmla="*/ 64719 h 295701"/>
              <a:gd name="connsiteX64" fmla="*/ 269397 w 319403"/>
              <a:gd name="connsiteY64" fmla="*/ 57576 h 295701"/>
              <a:gd name="connsiteX65" fmla="*/ 217010 w 319403"/>
              <a:gd name="connsiteY65" fmla="*/ 43288 h 295701"/>
              <a:gd name="connsiteX66" fmla="*/ 200341 w 319403"/>
              <a:gd name="connsiteY66" fmla="*/ 38526 h 295701"/>
              <a:gd name="connsiteX67" fmla="*/ 193197 w 319403"/>
              <a:gd name="connsiteY67" fmla="*/ 36144 h 295701"/>
              <a:gd name="connsiteX68" fmla="*/ 178910 w 319403"/>
              <a:gd name="connsiteY68" fmla="*/ 33763 h 295701"/>
              <a:gd name="connsiteX69" fmla="*/ 155098 w 319403"/>
              <a:gd name="connsiteY69" fmla="*/ 24239 h 295701"/>
              <a:gd name="connsiteX70" fmla="*/ 147953 w 319403"/>
              <a:gd name="connsiteY70" fmla="*/ 19475 h 295701"/>
              <a:gd name="connsiteX71" fmla="*/ 102709 w 319403"/>
              <a:gd name="connsiteY71" fmla="*/ 14714 h 295701"/>
              <a:gd name="connsiteX72" fmla="*/ 66991 w 319403"/>
              <a:gd name="connsiteY72" fmla="*/ 17094 h 295701"/>
              <a:gd name="connsiteX73" fmla="*/ 28891 w 319403"/>
              <a:gd name="connsiteY73" fmla="*/ 2807 h 295701"/>
              <a:gd name="connsiteX74" fmla="*/ 12222 w 319403"/>
              <a:gd name="connsiteY74" fmla="*/ 426 h 295701"/>
              <a:gd name="connsiteX75" fmla="*/ 14603 w 319403"/>
              <a:gd name="connsiteY75" fmla="*/ 17094 h 295701"/>
              <a:gd name="connsiteX0" fmla="*/ 14603 w 319403"/>
              <a:gd name="connsiteY0" fmla="*/ 17094 h 293456"/>
              <a:gd name="connsiteX1" fmla="*/ 19366 w 319403"/>
              <a:gd name="connsiteY1" fmla="*/ 55194 h 293456"/>
              <a:gd name="connsiteX2" fmla="*/ 16985 w 319403"/>
              <a:gd name="connsiteY2" fmla="*/ 67101 h 293456"/>
              <a:gd name="connsiteX3" fmla="*/ 7460 w 319403"/>
              <a:gd name="connsiteY3" fmla="*/ 71863 h 293456"/>
              <a:gd name="connsiteX4" fmla="*/ 12222 w 319403"/>
              <a:gd name="connsiteY4" fmla="*/ 79007 h 293456"/>
              <a:gd name="connsiteX5" fmla="*/ 24128 w 319403"/>
              <a:gd name="connsiteY5" fmla="*/ 88532 h 293456"/>
              <a:gd name="connsiteX6" fmla="*/ 21747 w 319403"/>
              <a:gd name="connsiteY6" fmla="*/ 112344 h 293456"/>
              <a:gd name="connsiteX7" fmla="*/ 26510 w 319403"/>
              <a:gd name="connsiteY7" fmla="*/ 112344 h 293456"/>
              <a:gd name="connsiteX8" fmla="*/ 50322 w 319403"/>
              <a:gd name="connsiteY8" fmla="*/ 114726 h 293456"/>
              <a:gd name="connsiteX9" fmla="*/ 45560 w 319403"/>
              <a:gd name="connsiteY9" fmla="*/ 129013 h 293456"/>
              <a:gd name="connsiteX10" fmla="*/ 38416 w 319403"/>
              <a:gd name="connsiteY10" fmla="*/ 136157 h 293456"/>
              <a:gd name="connsiteX11" fmla="*/ 33653 w 319403"/>
              <a:gd name="connsiteY11" fmla="*/ 143301 h 293456"/>
              <a:gd name="connsiteX12" fmla="*/ 12222 w 319403"/>
              <a:gd name="connsiteY12" fmla="*/ 155207 h 293456"/>
              <a:gd name="connsiteX13" fmla="*/ 7460 w 319403"/>
              <a:gd name="connsiteY13" fmla="*/ 162351 h 293456"/>
              <a:gd name="connsiteX14" fmla="*/ 5078 w 319403"/>
              <a:gd name="connsiteY14" fmla="*/ 176638 h 293456"/>
              <a:gd name="connsiteX15" fmla="*/ 14603 w 319403"/>
              <a:gd name="connsiteY15" fmla="*/ 179019 h 293456"/>
              <a:gd name="connsiteX16" fmla="*/ 24128 w 319403"/>
              <a:gd name="connsiteY16" fmla="*/ 176638 h 293456"/>
              <a:gd name="connsiteX17" fmla="*/ 36035 w 319403"/>
              <a:gd name="connsiteY17" fmla="*/ 190926 h 293456"/>
              <a:gd name="connsiteX18" fmla="*/ 43178 w 319403"/>
              <a:gd name="connsiteY18" fmla="*/ 193307 h 293456"/>
              <a:gd name="connsiteX19" fmla="*/ 57466 w 319403"/>
              <a:gd name="connsiteY19" fmla="*/ 190926 h 293456"/>
              <a:gd name="connsiteX20" fmla="*/ 74135 w 319403"/>
              <a:gd name="connsiteY20" fmla="*/ 188544 h 293456"/>
              <a:gd name="connsiteX21" fmla="*/ 86041 w 319403"/>
              <a:gd name="connsiteY21" fmla="*/ 176638 h 293456"/>
              <a:gd name="connsiteX22" fmla="*/ 78897 w 319403"/>
              <a:gd name="connsiteY22" fmla="*/ 174257 h 293456"/>
              <a:gd name="connsiteX23" fmla="*/ 81278 w 319403"/>
              <a:gd name="connsiteY23" fmla="*/ 157588 h 293456"/>
              <a:gd name="connsiteX24" fmla="*/ 97947 w 319403"/>
              <a:gd name="connsiteY24" fmla="*/ 138538 h 293456"/>
              <a:gd name="connsiteX25" fmla="*/ 114616 w 319403"/>
              <a:gd name="connsiteY25" fmla="*/ 121869 h 293456"/>
              <a:gd name="connsiteX26" fmla="*/ 128903 w 319403"/>
              <a:gd name="connsiteY26" fmla="*/ 129013 h 293456"/>
              <a:gd name="connsiteX27" fmla="*/ 136047 w 319403"/>
              <a:gd name="connsiteY27" fmla="*/ 133776 h 293456"/>
              <a:gd name="connsiteX28" fmla="*/ 147953 w 319403"/>
              <a:gd name="connsiteY28" fmla="*/ 138538 h 293456"/>
              <a:gd name="connsiteX29" fmla="*/ 150335 w 319403"/>
              <a:gd name="connsiteY29" fmla="*/ 157588 h 293456"/>
              <a:gd name="connsiteX30" fmla="*/ 140810 w 319403"/>
              <a:gd name="connsiteY30" fmla="*/ 162351 h 293456"/>
              <a:gd name="connsiteX31" fmla="*/ 133666 w 319403"/>
              <a:gd name="connsiteY31" fmla="*/ 169494 h 293456"/>
              <a:gd name="connsiteX32" fmla="*/ 124141 w 319403"/>
              <a:gd name="connsiteY32" fmla="*/ 186163 h 293456"/>
              <a:gd name="connsiteX33" fmla="*/ 114616 w 319403"/>
              <a:gd name="connsiteY33" fmla="*/ 188544 h 293456"/>
              <a:gd name="connsiteX34" fmla="*/ 105091 w 319403"/>
              <a:gd name="connsiteY34" fmla="*/ 186163 h 293456"/>
              <a:gd name="connsiteX35" fmla="*/ 93185 w 319403"/>
              <a:gd name="connsiteY35" fmla="*/ 198069 h 293456"/>
              <a:gd name="connsiteX36" fmla="*/ 90803 w 319403"/>
              <a:gd name="connsiteY36" fmla="*/ 214738 h 293456"/>
              <a:gd name="connsiteX37" fmla="*/ 71753 w 319403"/>
              <a:gd name="connsiteY37" fmla="*/ 229026 h 293456"/>
              <a:gd name="connsiteX38" fmla="*/ 62228 w 319403"/>
              <a:gd name="connsiteY38" fmla="*/ 236169 h 293456"/>
              <a:gd name="connsiteX39" fmla="*/ 45560 w 319403"/>
              <a:gd name="connsiteY39" fmla="*/ 248076 h 293456"/>
              <a:gd name="connsiteX40" fmla="*/ 81278 w 319403"/>
              <a:gd name="connsiteY40" fmla="*/ 257601 h 293456"/>
              <a:gd name="connsiteX41" fmla="*/ 83660 w 319403"/>
              <a:gd name="connsiteY41" fmla="*/ 269507 h 293456"/>
              <a:gd name="connsiteX42" fmla="*/ 81278 w 319403"/>
              <a:gd name="connsiteY42" fmla="*/ 276651 h 293456"/>
              <a:gd name="connsiteX43" fmla="*/ 88422 w 319403"/>
              <a:gd name="connsiteY43" fmla="*/ 279032 h 293456"/>
              <a:gd name="connsiteX44" fmla="*/ 128903 w 319403"/>
              <a:gd name="connsiteY44" fmla="*/ 281413 h 293456"/>
              <a:gd name="connsiteX45" fmla="*/ 145572 w 319403"/>
              <a:gd name="connsiteY45" fmla="*/ 288557 h 293456"/>
              <a:gd name="connsiteX46" fmla="*/ 169385 w 319403"/>
              <a:gd name="connsiteY46" fmla="*/ 283795 h 293456"/>
              <a:gd name="connsiteX47" fmla="*/ 176528 w 319403"/>
              <a:gd name="connsiteY47" fmla="*/ 293319 h 293456"/>
              <a:gd name="connsiteX48" fmla="*/ 197960 w 319403"/>
              <a:gd name="connsiteY48" fmla="*/ 288557 h 293456"/>
              <a:gd name="connsiteX49" fmla="*/ 217010 w 319403"/>
              <a:gd name="connsiteY49" fmla="*/ 286176 h 293456"/>
              <a:gd name="connsiteX50" fmla="*/ 238441 w 319403"/>
              <a:gd name="connsiteY50" fmla="*/ 279032 h 293456"/>
              <a:gd name="connsiteX51" fmla="*/ 288447 w 319403"/>
              <a:gd name="connsiteY51" fmla="*/ 281413 h 293456"/>
              <a:gd name="connsiteX52" fmla="*/ 302735 w 319403"/>
              <a:gd name="connsiteY52" fmla="*/ 279032 h 293456"/>
              <a:gd name="connsiteX53" fmla="*/ 295591 w 319403"/>
              <a:gd name="connsiteY53" fmla="*/ 264744 h 293456"/>
              <a:gd name="connsiteX54" fmla="*/ 305116 w 319403"/>
              <a:gd name="connsiteY54" fmla="*/ 245694 h 293456"/>
              <a:gd name="connsiteX55" fmla="*/ 309878 w 319403"/>
              <a:gd name="connsiteY55" fmla="*/ 231407 h 293456"/>
              <a:gd name="connsiteX56" fmla="*/ 319403 w 319403"/>
              <a:gd name="connsiteY56" fmla="*/ 214738 h 293456"/>
              <a:gd name="connsiteX57" fmla="*/ 317022 w 319403"/>
              <a:gd name="connsiteY57" fmla="*/ 205213 h 293456"/>
              <a:gd name="connsiteX58" fmla="*/ 314641 w 319403"/>
              <a:gd name="connsiteY58" fmla="*/ 152826 h 293456"/>
              <a:gd name="connsiteX59" fmla="*/ 305116 w 319403"/>
              <a:gd name="connsiteY59" fmla="*/ 138538 h 293456"/>
              <a:gd name="connsiteX60" fmla="*/ 300353 w 319403"/>
              <a:gd name="connsiteY60" fmla="*/ 117107 h 293456"/>
              <a:gd name="connsiteX61" fmla="*/ 293210 w 319403"/>
              <a:gd name="connsiteY61" fmla="*/ 109963 h 293456"/>
              <a:gd name="connsiteX62" fmla="*/ 286066 w 319403"/>
              <a:gd name="connsiteY62" fmla="*/ 90913 h 293456"/>
              <a:gd name="connsiteX63" fmla="*/ 274160 w 319403"/>
              <a:gd name="connsiteY63" fmla="*/ 64719 h 293456"/>
              <a:gd name="connsiteX64" fmla="*/ 269397 w 319403"/>
              <a:gd name="connsiteY64" fmla="*/ 57576 h 293456"/>
              <a:gd name="connsiteX65" fmla="*/ 217010 w 319403"/>
              <a:gd name="connsiteY65" fmla="*/ 43288 h 293456"/>
              <a:gd name="connsiteX66" fmla="*/ 200341 w 319403"/>
              <a:gd name="connsiteY66" fmla="*/ 38526 h 293456"/>
              <a:gd name="connsiteX67" fmla="*/ 193197 w 319403"/>
              <a:gd name="connsiteY67" fmla="*/ 36144 h 293456"/>
              <a:gd name="connsiteX68" fmla="*/ 178910 w 319403"/>
              <a:gd name="connsiteY68" fmla="*/ 33763 h 293456"/>
              <a:gd name="connsiteX69" fmla="*/ 155098 w 319403"/>
              <a:gd name="connsiteY69" fmla="*/ 24239 h 293456"/>
              <a:gd name="connsiteX70" fmla="*/ 147953 w 319403"/>
              <a:gd name="connsiteY70" fmla="*/ 19475 h 293456"/>
              <a:gd name="connsiteX71" fmla="*/ 102709 w 319403"/>
              <a:gd name="connsiteY71" fmla="*/ 14714 h 293456"/>
              <a:gd name="connsiteX72" fmla="*/ 66991 w 319403"/>
              <a:gd name="connsiteY72" fmla="*/ 17094 h 293456"/>
              <a:gd name="connsiteX73" fmla="*/ 28891 w 319403"/>
              <a:gd name="connsiteY73" fmla="*/ 2807 h 293456"/>
              <a:gd name="connsiteX74" fmla="*/ 12222 w 319403"/>
              <a:gd name="connsiteY74" fmla="*/ 426 h 293456"/>
              <a:gd name="connsiteX75" fmla="*/ 14603 w 319403"/>
              <a:gd name="connsiteY75" fmla="*/ 17094 h 293456"/>
              <a:gd name="connsiteX0" fmla="*/ 14603 w 319403"/>
              <a:gd name="connsiteY0" fmla="*/ 17094 h 288608"/>
              <a:gd name="connsiteX1" fmla="*/ 19366 w 319403"/>
              <a:gd name="connsiteY1" fmla="*/ 55194 h 288608"/>
              <a:gd name="connsiteX2" fmla="*/ 16985 w 319403"/>
              <a:gd name="connsiteY2" fmla="*/ 67101 h 288608"/>
              <a:gd name="connsiteX3" fmla="*/ 7460 w 319403"/>
              <a:gd name="connsiteY3" fmla="*/ 71863 h 288608"/>
              <a:gd name="connsiteX4" fmla="*/ 12222 w 319403"/>
              <a:gd name="connsiteY4" fmla="*/ 79007 h 288608"/>
              <a:gd name="connsiteX5" fmla="*/ 24128 w 319403"/>
              <a:gd name="connsiteY5" fmla="*/ 88532 h 288608"/>
              <a:gd name="connsiteX6" fmla="*/ 21747 w 319403"/>
              <a:gd name="connsiteY6" fmla="*/ 112344 h 288608"/>
              <a:gd name="connsiteX7" fmla="*/ 26510 w 319403"/>
              <a:gd name="connsiteY7" fmla="*/ 112344 h 288608"/>
              <a:gd name="connsiteX8" fmla="*/ 50322 w 319403"/>
              <a:gd name="connsiteY8" fmla="*/ 114726 h 288608"/>
              <a:gd name="connsiteX9" fmla="*/ 45560 w 319403"/>
              <a:gd name="connsiteY9" fmla="*/ 129013 h 288608"/>
              <a:gd name="connsiteX10" fmla="*/ 38416 w 319403"/>
              <a:gd name="connsiteY10" fmla="*/ 136157 h 288608"/>
              <a:gd name="connsiteX11" fmla="*/ 33653 w 319403"/>
              <a:gd name="connsiteY11" fmla="*/ 143301 h 288608"/>
              <a:gd name="connsiteX12" fmla="*/ 12222 w 319403"/>
              <a:gd name="connsiteY12" fmla="*/ 155207 h 288608"/>
              <a:gd name="connsiteX13" fmla="*/ 7460 w 319403"/>
              <a:gd name="connsiteY13" fmla="*/ 162351 h 288608"/>
              <a:gd name="connsiteX14" fmla="*/ 5078 w 319403"/>
              <a:gd name="connsiteY14" fmla="*/ 176638 h 288608"/>
              <a:gd name="connsiteX15" fmla="*/ 14603 w 319403"/>
              <a:gd name="connsiteY15" fmla="*/ 179019 h 288608"/>
              <a:gd name="connsiteX16" fmla="*/ 24128 w 319403"/>
              <a:gd name="connsiteY16" fmla="*/ 176638 h 288608"/>
              <a:gd name="connsiteX17" fmla="*/ 36035 w 319403"/>
              <a:gd name="connsiteY17" fmla="*/ 190926 h 288608"/>
              <a:gd name="connsiteX18" fmla="*/ 43178 w 319403"/>
              <a:gd name="connsiteY18" fmla="*/ 193307 h 288608"/>
              <a:gd name="connsiteX19" fmla="*/ 57466 w 319403"/>
              <a:gd name="connsiteY19" fmla="*/ 190926 h 288608"/>
              <a:gd name="connsiteX20" fmla="*/ 74135 w 319403"/>
              <a:gd name="connsiteY20" fmla="*/ 188544 h 288608"/>
              <a:gd name="connsiteX21" fmla="*/ 86041 w 319403"/>
              <a:gd name="connsiteY21" fmla="*/ 176638 h 288608"/>
              <a:gd name="connsiteX22" fmla="*/ 78897 w 319403"/>
              <a:gd name="connsiteY22" fmla="*/ 174257 h 288608"/>
              <a:gd name="connsiteX23" fmla="*/ 81278 w 319403"/>
              <a:gd name="connsiteY23" fmla="*/ 157588 h 288608"/>
              <a:gd name="connsiteX24" fmla="*/ 97947 w 319403"/>
              <a:gd name="connsiteY24" fmla="*/ 138538 h 288608"/>
              <a:gd name="connsiteX25" fmla="*/ 114616 w 319403"/>
              <a:gd name="connsiteY25" fmla="*/ 121869 h 288608"/>
              <a:gd name="connsiteX26" fmla="*/ 128903 w 319403"/>
              <a:gd name="connsiteY26" fmla="*/ 129013 h 288608"/>
              <a:gd name="connsiteX27" fmla="*/ 136047 w 319403"/>
              <a:gd name="connsiteY27" fmla="*/ 133776 h 288608"/>
              <a:gd name="connsiteX28" fmla="*/ 147953 w 319403"/>
              <a:gd name="connsiteY28" fmla="*/ 138538 h 288608"/>
              <a:gd name="connsiteX29" fmla="*/ 150335 w 319403"/>
              <a:gd name="connsiteY29" fmla="*/ 157588 h 288608"/>
              <a:gd name="connsiteX30" fmla="*/ 140810 w 319403"/>
              <a:gd name="connsiteY30" fmla="*/ 162351 h 288608"/>
              <a:gd name="connsiteX31" fmla="*/ 133666 w 319403"/>
              <a:gd name="connsiteY31" fmla="*/ 169494 h 288608"/>
              <a:gd name="connsiteX32" fmla="*/ 124141 w 319403"/>
              <a:gd name="connsiteY32" fmla="*/ 186163 h 288608"/>
              <a:gd name="connsiteX33" fmla="*/ 114616 w 319403"/>
              <a:gd name="connsiteY33" fmla="*/ 188544 h 288608"/>
              <a:gd name="connsiteX34" fmla="*/ 105091 w 319403"/>
              <a:gd name="connsiteY34" fmla="*/ 186163 h 288608"/>
              <a:gd name="connsiteX35" fmla="*/ 93185 w 319403"/>
              <a:gd name="connsiteY35" fmla="*/ 198069 h 288608"/>
              <a:gd name="connsiteX36" fmla="*/ 90803 w 319403"/>
              <a:gd name="connsiteY36" fmla="*/ 214738 h 288608"/>
              <a:gd name="connsiteX37" fmla="*/ 71753 w 319403"/>
              <a:gd name="connsiteY37" fmla="*/ 229026 h 288608"/>
              <a:gd name="connsiteX38" fmla="*/ 62228 w 319403"/>
              <a:gd name="connsiteY38" fmla="*/ 236169 h 288608"/>
              <a:gd name="connsiteX39" fmla="*/ 45560 w 319403"/>
              <a:gd name="connsiteY39" fmla="*/ 248076 h 288608"/>
              <a:gd name="connsiteX40" fmla="*/ 81278 w 319403"/>
              <a:gd name="connsiteY40" fmla="*/ 257601 h 288608"/>
              <a:gd name="connsiteX41" fmla="*/ 83660 w 319403"/>
              <a:gd name="connsiteY41" fmla="*/ 269507 h 288608"/>
              <a:gd name="connsiteX42" fmla="*/ 81278 w 319403"/>
              <a:gd name="connsiteY42" fmla="*/ 276651 h 288608"/>
              <a:gd name="connsiteX43" fmla="*/ 88422 w 319403"/>
              <a:gd name="connsiteY43" fmla="*/ 279032 h 288608"/>
              <a:gd name="connsiteX44" fmla="*/ 128903 w 319403"/>
              <a:gd name="connsiteY44" fmla="*/ 281413 h 288608"/>
              <a:gd name="connsiteX45" fmla="*/ 145572 w 319403"/>
              <a:gd name="connsiteY45" fmla="*/ 288557 h 288608"/>
              <a:gd name="connsiteX46" fmla="*/ 169385 w 319403"/>
              <a:gd name="connsiteY46" fmla="*/ 283795 h 288608"/>
              <a:gd name="connsiteX47" fmla="*/ 176528 w 319403"/>
              <a:gd name="connsiteY47" fmla="*/ 283794 h 288608"/>
              <a:gd name="connsiteX48" fmla="*/ 197960 w 319403"/>
              <a:gd name="connsiteY48" fmla="*/ 288557 h 288608"/>
              <a:gd name="connsiteX49" fmla="*/ 217010 w 319403"/>
              <a:gd name="connsiteY49" fmla="*/ 286176 h 288608"/>
              <a:gd name="connsiteX50" fmla="*/ 238441 w 319403"/>
              <a:gd name="connsiteY50" fmla="*/ 279032 h 288608"/>
              <a:gd name="connsiteX51" fmla="*/ 288447 w 319403"/>
              <a:gd name="connsiteY51" fmla="*/ 281413 h 288608"/>
              <a:gd name="connsiteX52" fmla="*/ 302735 w 319403"/>
              <a:gd name="connsiteY52" fmla="*/ 279032 h 288608"/>
              <a:gd name="connsiteX53" fmla="*/ 295591 w 319403"/>
              <a:gd name="connsiteY53" fmla="*/ 264744 h 288608"/>
              <a:gd name="connsiteX54" fmla="*/ 305116 w 319403"/>
              <a:gd name="connsiteY54" fmla="*/ 245694 h 288608"/>
              <a:gd name="connsiteX55" fmla="*/ 309878 w 319403"/>
              <a:gd name="connsiteY55" fmla="*/ 231407 h 288608"/>
              <a:gd name="connsiteX56" fmla="*/ 319403 w 319403"/>
              <a:gd name="connsiteY56" fmla="*/ 214738 h 288608"/>
              <a:gd name="connsiteX57" fmla="*/ 317022 w 319403"/>
              <a:gd name="connsiteY57" fmla="*/ 205213 h 288608"/>
              <a:gd name="connsiteX58" fmla="*/ 314641 w 319403"/>
              <a:gd name="connsiteY58" fmla="*/ 152826 h 288608"/>
              <a:gd name="connsiteX59" fmla="*/ 305116 w 319403"/>
              <a:gd name="connsiteY59" fmla="*/ 138538 h 288608"/>
              <a:gd name="connsiteX60" fmla="*/ 300353 w 319403"/>
              <a:gd name="connsiteY60" fmla="*/ 117107 h 288608"/>
              <a:gd name="connsiteX61" fmla="*/ 293210 w 319403"/>
              <a:gd name="connsiteY61" fmla="*/ 109963 h 288608"/>
              <a:gd name="connsiteX62" fmla="*/ 286066 w 319403"/>
              <a:gd name="connsiteY62" fmla="*/ 90913 h 288608"/>
              <a:gd name="connsiteX63" fmla="*/ 274160 w 319403"/>
              <a:gd name="connsiteY63" fmla="*/ 64719 h 288608"/>
              <a:gd name="connsiteX64" fmla="*/ 269397 w 319403"/>
              <a:gd name="connsiteY64" fmla="*/ 57576 h 288608"/>
              <a:gd name="connsiteX65" fmla="*/ 217010 w 319403"/>
              <a:gd name="connsiteY65" fmla="*/ 43288 h 288608"/>
              <a:gd name="connsiteX66" fmla="*/ 200341 w 319403"/>
              <a:gd name="connsiteY66" fmla="*/ 38526 h 288608"/>
              <a:gd name="connsiteX67" fmla="*/ 193197 w 319403"/>
              <a:gd name="connsiteY67" fmla="*/ 36144 h 288608"/>
              <a:gd name="connsiteX68" fmla="*/ 178910 w 319403"/>
              <a:gd name="connsiteY68" fmla="*/ 33763 h 288608"/>
              <a:gd name="connsiteX69" fmla="*/ 155098 w 319403"/>
              <a:gd name="connsiteY69" fmla="*/ 24239 h 288608"/>
              <a:gd name="connsiteX70" fmla="*/ 147953 w 319403"/>
              <a:gd name="connsiteY70" fmla="*/ 19475 h 288608"/>
              <a:gd name="connsiteX71" fmla="*/ 102709 w 319403"/>
              <a:gd name="connsiteY71" fmla="*/ 14714 h 288608"/>
              <a:gd name="connsiteX72" fmla="*/ 66991 w 319403"/>
              <a:gd name="connsiteY72" fmla="*/ 17094 h 288608"/>
              <a:gd name="connsiteX73" fmla="*/ 28891 w 319403"/>
              <a:gd name="connsiteY73" fmla="*/ 2807 h 288608"/>
              <a:gd name="connsiteX74" fmla="*/ 12222 w 319403"/>
              <a:gd name="connsiteY74" fmla="*/ 426 h 288608"/>
              <a:gd name="connsiteX75" fmla="*/ 14603 w 319403"/>
              <a:gd name="connsiteY75" fmla="*/ 17094 h 288608"/>
              <a:gd name="connsiteX0" fmla="*/ 14603 w 319403"/>
              <a:gd name="connsiteY0" fmla="*/ 17094 h 288608"/>
              <a:gd name="connsiteX1" fmla="*/ 19366 w 319403"/>
              <a:gd name="connsiteY1" fmla="*/ 55194 h 288608"/>
              <a:gd name="connsiteX2" fmla="*/ 16985 w 319403"/>
              <a:gd name="connsiteY2" fmla="*/ 67101 h 288608"/>
              <a:gd name="connsiteX3" fmla="*/ 7460 w 319403"/>
              <a:gd name="connsiteY3" fmla="*/ 71863 h 288608"/>
              <a:gd name="connsiteX4" fmla="*/ 12222 w 319403"/>
              <a:gd name="connsiteY4" fmla="*/ 79007 h 288608"/>
              <a:gd name="connsiteX5" fmla="*/ 24128 w 319403"/>
              <a:gd name="connsiteY5" fmla="*/ 88532 h 288608"/>
              <a:gd name="connsiteX6" fmla="*/ 21747 w 319403"/>
              <a:gd name="connsiteY6" fmla="*/ 112344 h 288608"/>
              <a:gd name="connsiteX7" fmla="*/ 26510 w 319403"/>
              <a:gd name="connsiteY7" fmla="*/ 112344 h 288608"/>
              <a:gd name="connsiteX8" fmla="*/ 50322 w 319403"/>
              <a:gd name="connsiteY8" fmla="*/ 114726 h 288608"/>
              <a:gd name="connsiteX9" fmla="*/ 45560 w 319403"/>
              <a:gd name="connsiteY9" fmla="*/ 129013 h 288608"/>
              <a:gd name="connsiteX10" fmla="*/ 38416 w 319403"/>
              <a:gd name="connsiteY10" fmla="*/ 136157 h 288608"/>
              <a:gd name="connsiteX11" fmla="*/ 33653 w 319403"/>
              <a:gd name="connsiteY11" fmla="*/ 143301 h 288608"/>
              <a:gd name="connsiteX12" fmla="*/ 12222 w 319403"/>
              <a:gd name="connsiteY12" fmla="*/ 155207 h 288608"/>
              <a:gd name="connsiteX13" fmla="*/ 7460 w 319403"/>
              <a:gd name="connsiteY13" fmla="*/ 162351 h 288608"/>
              <a:gd name="connsiteX14" fmla="*/ 5078 w 319403"/>
              <a:gd name="connsiteY14" fmla="*/ 176638 h 288608"/>
              <a:gd name="connsiteX15" fmla="*/ 14603 w 319403"/>
              <a:gd name="connsiteY15" fmla="*/ 179019 h 288608"/>
              <a:gd name="connsiteX16" fmla="*/ 24128 w 319403"/>
              <a:gd name="connsiteY16" fmla="*/ 176638 h 288608"/>
              <a:gd name="connsiteX17" fmla="*/ 36035 w 319403"/>
              <a:gd name="connsiteY17" fmla="*/ 190926 h 288608"/>
              <a:gd name="connsiteX18" fmla="*/ 43178 w 319403"/>
              <a:gd name="connsiteY18" fmla="*/ 193307 h 288608"/>
              <a:gd name="connsiteX19" fmla="*/ 57466 w 319403"/>
              <a:gd name="connsiteY19" fmla="*/ 190926 h 288608"/>
              <a:gd name="connsiteX20" fmla="*/ 74135 w 319403"/>
              <a:gd name="connsiteY20" fmla="*/ 188544 h 288608"/>
              <a:gd name="connsiteX21" fmla="*/ 86041 w 319403"/>
              <a:gd name="connsiteY21" fmla="*/ 176638 h 288608"/>
              <a:gd name="connsiteX22" fmla="*/ 78897 w 319403"/>
              <a:gd name="connsiteY22" fmla="*/ 174257 h 288608"/>
              <a:gd name="connsiteX23" fmla="*/ 81278 w 319403"/>
              <a:gd name="connsiteY23" fmla="*/ 157588 h 288608"/>
              <a:gd name="connsiteX24" fmla="*/ 97947 w 319403"/>
              <a:gd name="connsiteY24" fmla="*/ 138538 h 288608"/>
              <a:gd name="connsiteX25" fmla="*/ 114616 w 319403"/>
              <a:gd name="connsiteY25" fmla="*/ 121869 h 288608"/>
              <a:gd name="connsiteX26" fmla="*/ 128903 w 319403"/>
              <a:gd name="connsiteY26" fmla="*/ 129013 h 288608"/>
              <a:gd name="connsiteX27" fmla="*/ 136047 w 319403"/>
              <a:gd name="connsiteY27" fmla="*/ 133776 h 288608"/>
              <a:gd name="connsiteX28" fmla="*/ 147953 w 319403"/>
              <a:gd name="connsiteY28" fmla="*/ 138538 h 288608"/>
              <a:gd name="connsiteX29" fmla="*/ 150335 w 319403"/>
              <a:gd name="connsiteY29" fmla="*/ 157588 h 288608"/>
              <a:gd name="connsiteX30" fmla="*/ 140810 w 319403"/>
              <a:gd name="connsiteY30" fmla="*/ 162351 h 288608"/>
              <a:gd name="connsiteX31" fmla="*/ 133666 w 319403"/>
              <a:gd name="connsiteY31" fmla="*/ 169494 h 288608"/>
              <a:gd name="connsiteX32" fmla="*/ 124141 w 319403"/>
              <a:gd name="connsiteY32" fmla="*/ 186163 h 288608"/>
              <a:gd name="connsiteX33" fmla="*/ 114616 w 319403"/>
              <a:gd name="connsiteY33" fmla="*/ 188544 h 288608"/>
              <a:gd name="connsiteX34" fmla="*/ 105091 w 319403"/>
              <a:gd name="connsiteY34" fmla="*/ 186163 h 288608"/>
              <a:gd name="connsiteX35" fmla="*/ 93185 w 319403"/>
              <a:gd name="connsiteY35" fmla="*/ 198069 h 288608"/>
              <a:gd name="connsiteX36" fmla="*/ 90803 w 319403"/>
              <a:gd name="connsiteY36" fmla="*/ 214738 h 288608"/>
              <a:gd name="connsiteX37" fmla="*/ 71753 w 319403"/>
              <a:gd name="connsiteY37" fmla="*/ 229026 h 288608"/>
              <a:gd name="connsiteX38" fmla="*/ 62228 w 319403"/>
              <a:gd name="connsiteY38" fmla="*/ 236169 h 288608"/>
              <a:gd name="connsiteX39" fmla="*/ 45560 w 319403"/>
              <a:gd name="connsiteY39" fmla="*/ 248076 h 288608"/>
              <a:gd name="connsiteX40" fmla="*/ 81278 w 319403"/>
              <a:gd name="connsiteY40" fmla="*/ 257601 h 288608"/>
              <a:gd name="connsiteX41" fmla="*/ 83660 w 319403"/>
              <a:gd name="connsiteY41" fmla="*/ 269507 h 288608"/>
              <a:gd name="connsiteX42" fmla="*/ 81278 w 319403"/>
              <a:gd name="connsiteY42" fmla="*/ 276651 h 288608"/>
              <a:gd name="connsiteX43" fmla="*/ 88422 w 319403"/>
              <a:gd name="connsiteY43" fmla="*/ 279032 h 288608"/>
              <a:gd name="connsiteX44" fmla="*/ 128903 w 319403"/>
              <a:gd name="connsiteY44" fmla="*/ 281413 h 288608"/>
              <a:gd name="connsiteX45" fmla="*/ 150334 w 319403"/>
              <a:gd name="connsiteY45" fmla="*/ 279032 h 288608"/>
              <a:gd name="connsiteX46" fmla="*/ 169385 w 319403"/>
              <a:gd name="connsiteY46" fmla="*/ 283795 h 288608"/>
              <a:gd name="connsiteX47" fmla="*/ 176528 w 319403"/>
              <a:gd name="connsiteY47" fmla="*/ 283794 h 288608"/>
              <a:gd name="connsiteX48" fmla="*/ 197960 w 319403"/>
              <a:gd name="connsiteY48" fmla="*/ 288557 h 288608"/>
              <a:gd name="connsiteX49" fmla="*/ 217010 w 319403"/>
              <a:gd name="connsiteY49" fmla="*/ 286176 h 288608"/>
              <a:gd name="connsiteX50" fmla="*/ 238441 w 319403"/>
              <a:gd name="connsiteY50" fmla="*/ 279032 h 288608"/>
              <a:gd name="connsiteX51" fmla="*/ 288447 w 319403"/>
              <a:gd name="connsiteY51" fmla="*/ 281413 h 288608"/>
              <a:gd name="connsiteX52" fmla="*/ 302735 w 319403"/>
              <a:gd name="connsiteY52" fmla="*/ 279032 h 288608"/>
              <a:gd name="connsiteX53" fmla="*/ 295591 w 319403"/>
              <a:gd name="connsiteY53" fmla="*/ 264744 h 288608"/>
              <a:gd name="connsiteX54" fmla="*/ 305116 w 319403"/>
              <a:gd name="connsiteY54" fmla="*/ 245694 h 288608"/>
              <a:gd name="connsiteX55" fmla="*/ 309878 w 319403"/>
              <a:gd name="connsiteY55" fmla="*/ 231407 h 288608"/>
              <a:gd name="connsiteX56" fmla="*/ 319403 w 319403"/>
              <a:gd name="connsiteY56" fmla="*/ 214738 h 288608"/>
              <a:gd name="connsiteX57" fmla="*/ 317022 w 319403"/>
              <a:gd name="connsiteY57" fmla="*/ 205213 h 288608"/>
              <a:gd name="connsiteX58" fmla="*/ 314641 w 319403"/>
              <a:gd name="connsiteY58" fmla="*/ 152826 h 288608"/>
              <a:gd name="connsiteX59" fmla="*/ 305116 w 319403"/>
              <a:gd name="connsiteY59" fmla="*/ 138538 h 288608"/>
              <a:gd name="connsiteX60" fmla="*/ 300353 w 319403"/>
              <a:gd name="connsiteY60" fmla="*/ 117107 h 288608"/>
              <a:gd name="connsiteX61" fmla="*/ 293210 w 319403"/>
              <a:gd name="connsiteY61" fmla="*/ 109963 h 288608"/>
              <a:gd name="connsiteX62" fmla="*/ 286066 w 319403"/>
              <a:gd name="connsiteY62" fmla="*/ 90913 h 288608"/>
              <a:gd name="connsiteX63" fmla="*/ 274160 w 319403"/>
              <a:gd name="connsiteY63" fmla="*/ 64719 h 288608"/>
              <a:gd name="connsiteX64" fmla="*/ 269397 w 319403"/>
              <a:gd name="connsiteY64" fmla="*/ 57576 h 288608"/>
              <a:gd name="connsiteX65" fmla="*/ 217010 w 319403"/>
              <a:gd name="connsiteY65" fmla="*/ 43288 h 288608"/>
              <a:gd name="connsiteX66" fmla="*/ 200341 w 319403"/>
              <a:gd name="connsiteY66" fmla="*/ 38526 h 288608"/>
              <a:gd name="connsiteX67" fmla="*/ 193197 w 319403"/>
              <a:gd name="connsiteY67" fmla="*/ 36144 h 288608"/>
              <a:gd name="connsiteX68" fmla="*/ 178910 w 319403"/>
              <a:gd name="connsiteY68" fmla="*/ 33763 h 288608"/>
              <a:gd name="connsiteX69" fmla="*/ 155098 w 319403"/>
              <a:gd name="connsiteY69" fmla="*/ 24239 h 288608"/>
              <a:gd name="connsiteX70" fmla="*/ 147953 w 319403"/>
              <a:gd name="connsiteY70" fmla="*/ 19475 h 288608"/>
              <a:gd name="connsiteX71" fmla="*/ 102709 w 319403"/>
              <a:gd name="connsiteY71" fmla="*/ 14714 h 288608"/>
              <a:gd name="connsiteX72" fmla="*/ 66991 w 319403"/>
              <a:gd name="connsiteY72" fmla="*/ 17094 h 288608"/>
              <a:gd name="connsiteX73" fmla="*/ 28891 w 319403"/>
              <a:gd name="connsiteY73" fmla="*/ 2807 h 288608"/>
              <a:gd name="connsiteX74" fmla="*/ 12222 w 319403"/>
              <a:gd name="connsiteY74" fmla="*/ 426 h 288608"/>
              <a:gd name="connsiteX75" fmla="*/ 14603 w 319403"/>
              <a:gd name="connsiteY75" fmla="*/ 17094 h 28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19403" h="288608">
                <a:moveTo>
                  <a:pt x="14603" y="17094"/>
                </a:moveTo>
                <a:cubicBezTo>
                  <a:pt x="15794" y="26222"/>
                  <a:pt x="21876" y="42644"/>
                  <a:pt x="19366" y="55194"/>
                </a:cubicBezTo>
                <a:cubicBezTo>
                  <a:pt x="18572" y="59163"/>
                  <a:pt x="19338" y="63807"/>
                  <a:pt x="16985" y="67101"/>
                </a:cubicBezTo>
                <a:cubicBezTo>
                  <a:pt x="14922" y="69990"/>
                  <a:pt x="10635" y="70276"/>
                  <a:pt x="7460" y="71863"/>
                </a:cubicBezTo>
                <a:cubicBezTo>
                  <a:pt x="9047" y="74244"/>
                  <a:pt x="9841" y="77419"/>
                  <a:pt x="12222" y="79007"/>
                </a:cubicBezTo>
                <a:cubicBezTo>
                  <a:pt x="26318" y="88405"/>
                  <a:pt x="19074" y="73369"/>
                  <a:pt x="24128" y="88532"/>
                </a:cubicBezTo>
                <a:cubicBezTo>
                  <a:pt x="23334" y="96469"/>
                  <a:pt x="24473" y="104847"/>
                  <a:pt x="21747" y="112344"/>
                </a:cubicBezTo>
                <a:cubicBezTo>
                  <a:pt x="21172" y="113924"/>
                  <a:pt x="-4643" y="118576"/>
                  <a:pt x="26510" y="112344"/>
                </a:cubicBezTo>
                <a:cubicBezTo>
                  <a:pt x="34447" y="113138"/>
                  <a:pt x="44319" y="109473"/>
                  <a:pt x="50322" y="114726"/>
                </a:cubicBezTo>
                <a:cubicBezTo>
                  <a:pt x="54100" y="118032"/>
                  <a:pt x="47998" y="124625"/>
                  <a:pt x="45560" y="129013"/>
                </a:cubicBezTo>
                <a:cubicBezTo>
                  <a:pt x="43925" y="131957"/>
                  <a:pt x="40572" y="133570"/>
                  <a:pt x="38416" y="136157"/>
                </a:cubicBezTo>
                <a:cubicBezTo>
                  <a:pt x="36584" y="138356"/>
                  <a:pt x="35807" y="141416"/>
                  <a:pt x="33653" y="143301"/>
                </a:cubicBezTo>
                <a:cubicBezTo>
                  <a:pt x="23575" y="152120"/>
                  <a:pt x="22034" y="151937"/>
                  <a:pt x="12222" y="155207"/>
                </a:cubicBezTo>
                <a:cubicBezTo>
                  <a:pt x="10635" y="157588"/>
                  <a:pt x="9292" y="160152"/>
                  <a:pt x="7460" y="162351"/>
                </a:cubicBezTo>
                <a:cubicBezTo>
                  <a:pt x="2758" y="167993"/>
                  <a:pt x="-5347" y="169687"/>
                  <a:pt x="5078" y="176638"/>
                </a:cubicBezTo>
                <a:cubicBezTo>
                  <a:pt x="7801" y="178453"/>
                  <a:pt x="11428" y="178225"/>
                  <a:pt x="14603" y="179019"/>
                </a:cubicBezTo>
                <a:cubicBezTo>
                  <a:pt x="17778" y="178225"/>
                  <a:pt x="20881" y="176232"/>
                  <a:pt x="24128" y="176638"/>
                </a:cubicBezTo>
                <a:cubicBezTo>
                  <a:pt x="41025" y="178751"/>
                  <a:pt x="28694" y="181750"/>
                  <a:pt x="36035" y="190926"/>
                </a:cubicBezTo>
                <a:cubicBezTo>
                  <a:pt x="37603" y="192886"/>
                  <a:pt x="40797" y="192513"/>
                  <a:pt x="43178" y="193307"/>
                </a:cubicBezTo>
                <a:cubicBezTo>
                  <a:pt x="38363" y="178861"/>
                  <a:pt x="39780" y="189663"/>
                  <a:pt x="57466" y="190926"/>
                </a:cubicBezTo>
                <a:cubicBezTo>
                  <a:pt x="63065" y="191326"/>
                  <a:pt x="68579" y="189338"/>
                  <a:pt x="74135" y="188544"/>
                </a:cubicBezTo>
                <a:cubicBezTo>
                  <a:pt x="76176" y="187183"/>
                  <a:pt x="87175" y="181174"/>
                  <a:pt x="86041" y="176638"/>
                </a:cubicBezTo>
                <a:cubicBezTo>
                  <a:pt x="85432" y="174203"/>
                  <a:pt x="81278" y="175051"/>
                  <a:pt x="78897" y="174257"/>
                </a:cubicBezTo>
                <a:cubicBezTo>
                  <a:pt x="79691" y="168701"/>
                  <a:pt x="79263" y="162827"/>
                  <a:pt x="81278" y="157588"/>
                </a:cubicBezTo>
                <a:cubicBezTo>
                  <a:pt x="86067" y="145135"/>
                  <a:pt x="89203" y="144368"/>
                  <a:pt x="97947" y="138538"/>
                </a:cubicBezTo>
                <a:cubicBezTo>
                  <a:pt x="108864" y="122162"/>
                  <a:pt x="102042" y="126061"/>
                  <a:pt x="114616" y="121869"/>
                </a:cubicBezTo>
                <a:cubicBezTo>
                  <a:pt x="135092" y="135520"/>
                  <a:pt x="109185" y="119153"/>
                  <a:pt x="128903" y="129013"/>
                </a:cubicBezTo>
                <a:cubicBezTo>
                  <a:pt x="131463" y="130293"/>
                  <a:pt x="133487" y="132496"/>
                  <a:pt x="136047" y="133776"/>
                </a:cubicBezTo>
                <a:cubicBezTo>
                  <a:pt x="139870" y="135688"/>
                  <a:pt x="143984" y="136951"/>
                  <a:pt x="147953" y="138538"/>
                </a:cubicBezTo>
                <a:cubicBezTo>
                  <a:pt x="157971" y="153565"/>
                  <a:pt x="162788" y="150472"/>
                  <a:pt x="150335" y="157588"/>
                </a:cubicBezTo>
                <a:cubicBezTo>
                  <a:pt x="147253" y="159349"/>
                  <a:pt x="143699" y="160288"/>
                  <a:pt x="140810" y="162351"/>
                </a:cubicBezTo>
                <a:cubicBezTo>
                  <a:pt x="138070" y="164308"/>
                  <a:pt x="136047" y="167113"/>
                  <a:pt x="133666" y="169494"/>
                </a:cubicBezTo>
                <a:cubicBezTo>
                  <a:pt x="131511" y="175959"/>
                  <a:pt x="130449" y="181658"/>
                  <a:pt x="124141" y="186163"/>
                </a:cubicBezTo>
                <a:cubicBezTo>
                  <a:pt x="121478" y="188065"/>
                  <a:pt x="117791" y="187750"/>
                  <a:pt x="114616" y="188544"/>
                </a:cubicBezTo>
                <a:cubicBezTo>
                  <a:pt x="111441" y="187750"/>
                  <a:pt x="108331" y="185700"/>
                  <a:pt x="105091" y="186163"/>
                </a:cubicBezTo>
                <a:cubicBezTo>
                  <a:pt x="99242" y="186999"/>
                  <a:pt x="95859" y="194058"/>
                  <a:pt x="93185" y="198069"/>
                </a:cubicBezTo>
                <a:cubicBezTo>
                  <a:pt x="92391" y="203625"/>
                  <a:pt x="93998" y="210123"/>
                  <a:pt x="90803" y="214738"/>
                </a:cubicBezTo>
                <a:cubicBezTo>
                  <a:pt x="86285" y="221264"/>
                  <a:pt x="78103" y="224263"/>
                  <a:pt x="71753" y="229026"/>
                </a:cubicBezTo>
                <a:cubicBezTo>
                  <a:pt x="68578" y="231407"/>
                  <a:pt x="65438" y="233835"/>
                  <a:pt x="62228" y="236169"/>
                </a:cubicBezTo>
                <a:cubicBezTo>
                  <a:pt x="56706" y="240185"/>
                  <a:pt x="45560" y="248076"/>
                  <a:pt x="45560" y="248076"/>
                </a:cubicBezTo>
                <a:cubicBezTo>
                  <a:pt x="56908" y="249022"/>
                  <a:pt x="74629" y="244302"/>
                  <a:pt x="81278" y="257601"/>
                </a:cubicBezTo>
                <a:cubicBezTo>
                  <a:pt x="83088" y="261221"/>
                  <a:pt x="82866" y="265538"/>
                  <a:pt x="83660" y="269507"/>
                </a:cubicBezTo>
                <a:cubicBezTo>
                  <a:pt x="82866" y="271888"/>
                  <a:pt x="80155" y="274406"/>
                  <a:pt x="81278" y="276651"/>
                </a:cubicBezTo>
                <a:cubicBezTo>
                  <a:pt x="82400" y="278896"/>
                  <a:pt x="85924" y="278782"/>
                  <a:pt x="88422" y="279032"/>
                </a:cubicBezTo>
                <a:cubicBezTo>
                  <a:pt x="101872" y="280377"/>
                  <a:pt x="115409" y="280619"/>
                  <a:pt x="128903" y="281413"/>
                </a:cubicBezTo>
                <a:cubicBezTo>
                  <a:pt x="134459" y="283794"/>
                  <a:pt x="143587" y="278635"/>
                  <a:pt x="150334" y="279032"/>
                </a:cubicBezTo>
                <a:cubicBezTo>
                  <a:pt x="157081" y="279429"/>
                  <a:pt x="155752" y="279249"/>
                  <a:pt x="169385" y="283795"/>
                </a:cubicBezTo>
                <a:cubicBezTo>
                  <a:pt x="174147" y="283001"/>
                  <a:pt x="171766" y="283000"/>
                  <a:pt x="176528" y="283794"/>
                </a:cubicBezTo>
                <a:cubicBezTo>
                  <a:pt x="181290" y="284588"/>
                  <a:pt x="191213" y="288160"/>
                  <a:pt x="197960" y="288557"/>
                </a:cubicBezTo>
                <a:cubicBezTo>
                  <a:pt x="204707" y="288954"/>
                  <a:pt x="210660" y="286970"/>
                  <a:pt x="217010" y="286176"/>
                </a:cubicBezTo>
                <a:cubicBezTo>
                  <a:pt x="224154" y="283795"/>
                  <a:pt x="230928" y="279533"/>
                  <a:pt x="238441" y="279032"/>
                </a:cubicBezTo>
                <a:cubicBezTo>
                  <a:pt x="255092" y="277922"/>
                  <a:pt x="271759" y="281413"/>
                  <a:pt x="288447" y="281413"/>
                </a:cubicBezTo>
                <a:cubicBezTo>
                  <a:pt x="293275" y="281413"/>
                  <a:pt x="297972" y="279826"/>
                  <a:pt x="302735" y="279032"/>
                </a:cubicBezTo>
                <a:cubicBezTo>
                  <a:pt x="301414" y="277051"/>
                  <a:pt x="294637" y="268243"/>
                  <a:pt x="295591" y="264744"/>
                </a:cubicBezTo>
                <a:cubicBezTo>
                  <a:pt x="297459" y="257895"/>
                  <a:pt x="302871" y="252429"/>
                  <a:pt x="305116" y="245694"/>
                </a:cubicBezTo>
                <a:cubicBezTo>
                  <a:pt x="306703" y="240932"/>
                  <a:pt x="307633" y="235897"/>
                  <a:pt x="309878" y="231407"/>
                </a:cubicBezTo>
                <a:cubicBezTo>
                  <a:pt x="315921" y="219322"/>
                  <a:pt x="312672" y="224836"/>
                  <a:pt x="319403" y="214738"/>
                </a:cubicBezTo>
                <a:cubicBezTo>
                  <a:pt x="318609" y="211563"/>
                  <a:pt x="317273" y="208476"/>
                  <a:pt x="317022" y="205213"/>
                </a:cubicBezTo>
                <a:cubicBezTo>
                  <a:pt x="315681" y="187784"/>
                  <a:pt x="317714" y="170034"/>
                  <a:pt x="314641" y="152826"/>
                </a:cubicBezTo>
                <a:cubicBezTo>
                  <a:pt x="313635" y="147191"/>
                  <a:pt x="305116" y="138538"/>
                  <a:pt x="305116" y="138538"/>
                </a:cubicBezTo>
                <a:cubicBezTo>
                  <a:pt x="304971" y="137814"/>
                  <a:pt x="301390" y="118921"/>
                  <a:pt x="300353" y="117107"/>
                </a:cubicBezTo>
                <a:cubicBezTo>
                  <a:pt x="298682" y="114183"/>
                  <a:pt x="295591" y="112344"/>
                  <a:pt x="293210" y="109963"/>
                </a:cubicBezTo>
                <a:cubicBezTo>
                  <a:pt x="287798" y="93730"/>
                  <a:pt x="294618" y="113721"/>
                  <a:pt x="286066" y="90913"/>
                </a:cubicBezTo>
                <a:cubicBezTo>
                  <a:pt x="281732" y="79355"/>
                  <a:pt x="283982" y="79448"/>
                  <a:pt x="274160" y="64719"/>
                </a:cubicBezTo>
                <a:cubicBezTo>
                  <a:pt x="272572" y="62338"/>
                  <a:pt x="271570" y="59438"/>
                  <a:pt x="269397" y="57576"/>
                </a:cubicBezTo>
                <a:cubicBezTo>
                  <a:pt x="255277" y="45474"/>
                  <a:pt x="234260" y="45204"/>
                  <a:pt x="217010" y="43288"/>
                </a:cubicBezTo>
                <a:cubicBezTo>
                  <a:pt x="199861" y="37572"/>
                  <a:pt x="221298" y="44514"/>
                  <a:pt x="200341" y="38526"/>
                </a:cubicBezTo>
                <a:cubicBezTo>
                  <a:pt x="197927" y="37836"/>
                  <a:pt x="195647" y="36689"/>
                  <a:pt x="193197" y="36144"/>
                </a:cubicBezTo>
                <a:cubicBezTo>
                  <a:pt x="188484" y="35097"/>
                  <a:pt x="185260" y="35747"/>
                  <a:pt x="178910" y="33763"/>
                </a:cubicBezTo>
                <a:cubicBezTo>
                  <a:pt x="172560" y="31779"/>
                  <a:pt x="160257" y="26620"/>
                  <a:pt x="155098" y="24239"/>
                </a:cubicBezTo>
                <a:cubicBezTo>
                  <a:pt x="149939" y="21858"/>
                  <a:pt x="155891" y="20269"/>
                  <a:pt x="147953" y="19475"/>
                </a:cubicBezTo>
                <a:cubicBezTo>
                  <a:pt x="118863" y="12203"/>
                  <a:pt x="140191" y="17597"/>
                  <a:pt x="102709" y="14714"/>
                </a:cubicBezTo>
                <a:cubicBezTo>
                  <a:pt x="85389" y="3166"/>
                  <a:pt x="79294" y="19079"/>
                  <a:pt x="66991" y="17094"/>
                </a:cubicBezTo>
                <a:cubicBezTo>
                  <a:pt x="54688" y="15110"/>
                  <a:pt x="46998" y="7980"/>
                  <a:pt x="28891" y="2807"/>
                </a:cubicBezTo>
                <a:cubicBezTo>
                  <a:pt x="23494" y="1265"/>
                  <a:pt x="17667" y="-935"/>
                  <a:pt x="12222" y="426"/>
                </a:cubicBezTo>
                <a:cubicBezTo>
                  <a:pt x="9787" y="1035"/>
                  <a:pt x="13412" y="7966"/>
                  <a:pt x="14603" y="17094"/>
                </a:cubicBezTo>
                <a:close/>
              </a:path>
            </a:pathLst>
          </a:custGeom>
          <a:solidFill>
            <a:srgbClr val="00A194"/>
          </a:solidFill>
          <a:ln w="12700">
            <a:solidFill>
              <a:schemeClr val="bg1"/>
            </a:solidFill>
            <a:round/>
            <a:headEnd/>
            <a:tailEnd/>
          </a:ln>
          <a:effectLst/>
        </p:spPr>
        <p:txBody>
          <a:bodyPr wrap="square"/>
          <a:lstStyle/>
          <a:p>
            <a:endParaRPr lang="en-US" sz="1100" i="1">
              <a:latin typeface="+mn-lt"/>
              <a:ea typeface="+mn-ea"/>
            </a:endParaRPr>
          </a:p>
        </p:txBody>
      </p:sp>
      <p:sp>
        <p:nvSpPr>
          <p:cNvPr id="15" name="Freihandform: Form 14">
            <a:extLst>
              <a:ext uri="{FF2B5EF4-FFF2-40B4-BE49-F238E27FC236}">
                <a16:creationId xmlns:a16="http://schemas.microsoft.com/office/drawing/2014/main" id="{A7F50C7B-25B1-D205-B3BF-4B8D513D4B70}"/>
              </a:ext>
            </a:extLst>
          </p:cNvPr>
          <p:cNvSpPr/>
          <p:nvPr/>
        </p:nvSpPr>
        <p:spPr>
          <a:xfrm>
            <a:off x="9632169" y="1982993"/>
            <a:ext cx="330994" cy="431019"/>
          </a:xfrm>
          <a:custGeom>
            <a:avLst/>
            <a:gdLst>
              <a:gd name="connsiteX0" fmla="*/ 214313 w 330994"/>
              <a:gd name="connsiteY0" fmla="*/ 426244 h 426244"/>
              <a:gd name="connsiteX1" fmla="*/ 202406 w 330994"/>
              <a:gd name="connsiteY1" fmla="*/ 416719 h 426244"/>
              <a:gd name="connsiteX2" fmla="*/ 197644 w 330994"/>
              <a:gd name="connsiteY2" fmla="*/ 409575 h 426244"/>
              <a:gd name="connsiteX3" fmla="*/ 178594 w 330994"/>
              <a:gd name="connsiteY3" fmla="*/ 404813 h 426244"/>
              <a:gd name="connsiteX4" fmla="*/ 161925 w 330994"/>
              <a:gd name="connsiteY4" fmla="*/ 392907 h 426244"/>
              <a:gd name="connsiteX5" fmla="*/ 157163 w 330994"/>
              <a:gd name="connsiteY5" fmla="*/ 366713 h 426244"/>
              <a:gd name="connsiteX6" fmla="*/ 161925 w 330994"/>
              <a:gd name="connsiteY6" fmla="*/ 319088 h 426244"/>
              <a:gd name="connsiteX7" fmla="*/ 166688 w 330994"/>
              <a:gd name="connsiteY7" fmla="*/ 304800 h 426244"/>
              <a:gd name="connsiteX8" fmla="*/ 159544 w 330994"/>
              <a:gd name="connsiteY8" fmla="*/ 290513 h 426244"/>
              <a:gd name="connsiteX9" fmla="*/ 138113 w 330994"/>
              <a:gd name="connsiteY9" fmla="*/ 292894 h 426244"/>
              <a:gd name="connsiteX10" fmla="*/ 123825 w 330994"/>
              <a:gd name="connsiteY10" fmla="*/ 304800 h 426244"/>
              <a:gd name="connsiteX11" fmla="*/ 119063 w 330994"/>
              <a:gd name="connsiteY11" fmla="*/ 311944 h 426244"/>
              <a:gd name="connsiteX12" fmla="*/ 111919 w 330994"/>
              <a:gd name="connsiteY12" fmla="*/ 316707 h 426244"/>
              <a:gd name="connsiteX13" fmla="*/ 107156 w 330994"/>
              <a:gd name="connsiteY13" fmla="*/ 328613 h 426244"/>
              <a:gd name="connsiteX14" fmla="*/ 95250 w 330994"/>
              <a:gd name="connsiteY14" fmla="*/ 354807 h 426244"/>
              <a:gd name="connsiteX15" fmla="*/ 66675 w 330994"/>
              <a:gd name="connsiteY15" fmla="*/ 335757 h 426244"/>
              <a:gd name="connsiteX16" fmla="*/ 54769 w 330994"/>
              <a:gd name="connsiteY16" fmla="*/ 330994 h 426244"/>
              <a:gd name="connsiteX17" fmla="*/ 47625 w 330994"/>
              <a:gd name="connsiteY17" fmla="*/ 328613 h 426244"/>
              <a:gd name="connsiteX18" fmla="*/ 21431 w 330994"/>
              <a:gd name="connsiteY18" fmla="*/ 314325 h 426244"/>
              <a:gd name="connsiteX19" fmla="*/ 23813 w 330994"/>
              <a:gd name="connsiteY19" fmla="*/ 230982 h 426244"/>
              <a:gd name="connsiteX20" fmla="*/ 26194 w 330994"/>
              <a:gd name="connsiteY20" fmla="*/ 221457 h 426244"/>
              <a:gd name="connsiteX21" fmla="*/ 28575 w 330994"/>
              <a:gd name="connsiteY21" fmla="*/ 164307 h 426244"/>
              <a:gd name="connsiteX22" fmla="*/ 23813 w 330994"/>
              <a:gd name="connsiteY22" fmla="*/ 140494 h 426244"/>
              <a:gd name="connsiteX23" fmla="*/ 16669 w 330994"/>
              <a:gd name="connsiteY23" fmla="*/ 138113 h 426244"/>
              <a:gd name="connsiteX24" fmla="*/ 9525 w 330994"/>
              <a:gd name="connsiteY24" fmla="*/ 130969 h 426244"/>
              <a:gd name="connsiteX25" fmla="*/ 7144 w 330994"/>
              <a:gd name="connsiteY25" fmla="*/ 121444 h 426244"/>
              <a:gd name="connsiteX26" fmla="*/ 0 w 330994"/>
              <a:gd name="connsiteY26" fmla="*/ 100013 h 426244"/>
              <a:gd name="connsiteX27" fmla="*/ 19050 w 330994"/>
              <a:gd name="connsiteY27" fmla="*/ 95250 h 426244"/>
              <a:gd name="connsiteX28" fmla="*/ 26194 w 330994"/>
              <a:gd name="connsiteY28" fmla="*/ 90488 h 426244"/>
              <a:gd name="connsiteX29" fmla="*/ 45244 w 330994"/>
              <a:gd name="connsiteY29" fmla="*/ 80963 h 426244"/>
              <a:gd name="connsiteX30" fmla="*/ 66675 w 330994"/>
              <a:gd name="connsiteY30" fmla="*/ 64294 h 426244"/>
              <a:gd name="connsiteX31" fmla="*/ 69056 w 330994"/>
              <a:gd name="connsiteY31" fmla="*/ 57150 h 426244"/>
              <a:gd name="connsiteX32" fmla="*/ 142875 w 330994"/>
              <a:gd name="connsiteY32" fmla="*/ 45244 h 426244"/>
              <a:gd name="connsiteX33" fmla="*/ 207169 w 330994"/>
              <a:gd name="connsiteY33" fmla="*/ 38100 h 426244"/>
              <a:gd name="connsiteX34" fmla="*/ 209550 w 330994"/>
              <a:gd name="connsiteY34" fmla="*/ 28575 h 426244"/>
              <a:gd name="connsiteX35" fmla="*/ 211931 w 330994"/>
              <a:gd name="connsiteY35" fmla="*/ 11907 h 426244"/>
              <a:gd name="connsiteX36" fmla="*/ 221456 w 330994"/>
              <a:gd name="connsiteY36" fmla="*/ 0 h 426244"/>
              <a:gd name="connsiteX37" fmla="*/ 238125 w 330994"/>
              <a:gd name="connsiteY37" fmla="*/ 2382 h 426244"/>
              <a:gd name="connsiteX38" fmla="*/ 247650 w 330994"/>
              <a:gd name="connsiteY38" fmla="*/ 4763 h 426244"/>
              <a:gd name="connsiteX39" fmla="*/ 290513 w 330994"/>
              <a:gd name="connsiteY39" fmla="*/ 7144 h 426244"/>
              <a:gd name="connsiteX40" fmla="*/ 297656 w 330994"/>
              <a:gd name="connsiteY40" fmla="*/ 9525 h 426244"/>
              <a:gd name="connsiteX41" fmla="*/ 323850 w 330994"/>
              <a:gd name="connsiteY41" fmla="*/ 33338 h 426244"/>
              <a:gd name="connsiteX42" fmla="*/ 330994 w 330994"/>
              <a:gd name="connsiteY42" fmla="*/ 40482 h 426244"/>
              <a:gd name="connsiteX43" fmla="*/ 316706 w 330994"/>
              <a:gd name="connsiteY43" fmla="*/ 45244 h 426244"/>
              <a:gd name="connsiteX44" fmla="*/ 314325 w 330994"/>
              <a:gd name="connsiteY44" fmla="*/ 64294 h 426244"/>
              <a:gd name="connsiteX45" fmla="*/ 309563 w 330994"/>
              <a:gd name="connsiteY45" fmla="*/ 73819 h 426244"/>
              <a:gd name="connsiteX46" fmla="*/ 276225 w 330994"/>
              <a:gd name="connsiteY46" fmla="*/ 76200 h 426244"/>
              <a:gd name="connsiteX47" fmla="*/ 278606 w 330994"/>
              <a:gd name="connsiteY47" fmla="*/ 100013 h 426244"/>
              <a:gd name="connsiteX48" fmla="*/ 280988 w 330994"/>
              <a:gd name="connsiteY48" fmla="*/ 128588 h 426244"/>
              <a:gd name="connsiteX49" fmla="*/ 288131 w 330994"/>
              <a:gd name="connsiteY49" fmla="*/ 138113 h 426244"/>
              <a:gd name="connsiteX50" fmla="*/ 292894 w 330994"/>
              <a:gd name="connsiteY50" fmla="*/ 147638 h 426244"/>
              <a:gd name="connsiteX51" fmla="*/ 297656 w 330994"/>
              <a:gd name="connsiteY51" fmla="*/ 171450 h 426244"/>
              <a:gd name="connsiteX52" fmla="*/ 295275 w 330994"/>
              <a:gd name="connsiteY52" fmla="*/ 207169 h 426244"/>
              <a:gd name="connsiteX53" fmla="*/ 290513 w 330994"/>
              <a:gd name="connsiteY53" fmla="*/ 216694 h 426244"/>
              <a:gd name="connsiteX54" fmla="*/ 288131 w 330994"/>
              <a:gd name="connsiteY54" fmla="*/ 252413 h 426244"/>
              <a:gd name="connsiteX55" fmla="*/ 280988 w 330994"/>
              <a:gd name="connsiteY55" fmla="*/ 254794 h 426244"/>
              <a:gd name="connsiteX56" fmla="*/ 254794 w 330994"/>
              <a:gd name="connsiteY56" fmla="*/ 266700 h 426244"/>
              <a:gd name="connsiteX57" fmla="*/ 247650 w 330994"/>
              <a:gd name="connsiteY57" fmla="*/ 269082 h 426244"/>
              <a:gd name="connsiteX58" fmla="*/ 233363 w 330994"/>
              <a:gd name="connsiteY58" fmla="*/ 288132 h 426244"/>
              <a:gd name="connsiteX59" fmla="*/ 226219 w 330994"/>
              <a:gd name="connsiteY59" fmla="*/ 297657 h 426244"/>
              <a:gd name="connsiteX60" fmla="*/ 219075 w 330994"/>
              <a:gd name="connsiteY60" fmla="*/ 314325 h 426244"/>
              <a:gd name="connsiteX61" fmla="*/ 216694 w 330994"/>
              <a:gd name="connsiteY61" fmla="*/ 330994 h 426244"/>
              <a:gd name="connsiteX62" fmla="*/ 214313 w 330994"/>
              <a:gd name="connsiteY62" fmla="*/ 338138 h 426244"/>
              <a:gd name="connsiteX63" fmla="*/ 216694 w 330994"/>
              <a:gd name="connsiteY63" fmla="*/ 345282 h 426244"/>
              <a:gd name="connsiteX64" fmla="*/ 219075 w 330994"/>
              <a:gd name="connsiteY64" fmla="*/ 361950 h 426244"/>
              <a:gd name="connsiteX65" fmla="*/ 221456 w 330994"/>
              <a:gd name="connsiteY65" fmla="*/ 373857 h 426244"/>
              <a:gd name="connsiteX66" fmla="*/ 219075 w 330994"/>
              <a:gd name="connsiteY66" fmla="*/ 404813 h 426244"/>
              <a:gd name="connsiteX67" fmla="*/ 216694 w 330994"/>
              <a:gd name="connsiteY67" fmla="*/ 411957 h 426244"/>
              <a:gd name="connsiteX68" fmla="*/ 221456 w 330994"/>
              <a:gd name="connsiteY68" fmla="*/ 404813 h 426244"/>
              <a:gd name="connsiteX69" fmla="*/ 233363 w 330994"/>
              <a:gd name="connsiteY69" fmla="*/ 378619 h 426244"/>
              <a:gd name="connsiteX0" fmla="*/ 214313 w 330994"/>
              <a:gd name="connsiteY0" fmla="*/ 426244 h 426244"/>
              <a:gd name="connsiteX1" fmla="*/ 202406 w 330994"/>
              <a:gd name="connsiteY1" fmla="*/ 416719 h 426244"/>
              <a:gd name="connsiteX2" fmla="*/ 197644 w 330994"/>
              <a:gd name="connsiteY2" fmla="*/ 409575 h 426244"/>
              <a:gd name="connsiteX3" fmla="*/ 178594 w 330994"/>
              <a:gd name="connsiteY3" fmla="*/ 404813 h 426244"/>
              <a:gd name="connsiteX4" fmla="*/ 161925 w 330994"/>
              <a:gd name="connsiteY4" fmla="*/ 392907 h 426244"/>
              <a:gd name="connsiteX5" fmla="*/ 157163 w 330994"/>
              <a:gd name="connsiteY5" fmla="*/ 366713 h 426244"/>
              <a:gd name="connsiteX6" fmla="*/ 161925 w 330994"/>
              <a:gd name="connsiteY6" fmla="*/ 319088 h 426244"/>
              <a:gd name="connsiteX7" fmla="*/ 166688 w 330994"/>
              <a:gd name="connsiteY7" fmla="*/ 304800 h 426244"/>
              <a:gd name="connsiteX8" fmla="*/ 159544 w 330994"/>
              <a:gd name="connsiteY8" fmla="*/ 290513 h 426244"/>
              <a:gd name="connsiteX9" fmla="*/ 138113 w 330994"/>
              <a:gd name="connsiteY9" fmla="*/ 292894 h 426244"/>
              <a:gd name="connsiteX10" fmla="*/ 123825 w 330994"/>
              <a:gd name="connsiteY10" fmla="*/ 304800 h 426244"/>
              <a:gd name="connsiteX11" fmla="*/ 119063 w 330994"/>
              <a:gd name="connsiteY11" fmla="*/ 311944 h 426244"/>
              <a:gd name="connsiteX12" fmla="*/ 111919 w 330994"/>
              <a:gd name="connsiteY12" fmla="*/ 316707 h 426244"/>
              <a:gd name="connsiteX13" fmla="*/ 107156 w 330994"/>
              <a:gd name="connsiteY13" fmla="*/ 328613 h 426244"/>
              <a:gd name="connsiteX14" fmla="*/ 95250 w 330994"/>
              <a:gd name="connsiteY14" fmla="*/ 354807 h 426244"/>
              <a:gd name="connsiteX15" fmla="*/ 66675 w 330994"/>
              <a:gd name="connsiteY15" fmla="*/ 335757 h 426244"/>
              <a:gd name="connsiteX16" fmla="*/ 54769 w 330994"/>
              <a:gd name="connsiteY16" fmla="*/ 330994 h 426244"/>
              <a:gd name="connsiteX17" fmla="*/ 47625 w 330994"/>
              <a:gd name="connsiteY17" fmla="*/ 328613 h 426244"/>
              <a:gd name="connsiteX18" fmla="*/ 21431 w 330994"/>
              <a:gd name="connsiteY18" fmla="*/ 314325 h 426244"/>
              <a:gd name="connsiteX19" fmla="*/ 23813 w 330994"/>
              <a:gd name="connsiteY19" fmla="*/ 230982 h 426244"/>
              <a:gd name="connsiteX20" fmla="*/ 26194 w 330994"/>
              <a:gd name="connsiteY20" fmla="*/ 221457 h 426244"/>
              <a:gd name="connsiteX21" fmla="*/ 28575 w 330994"/>
              <a:gd name="connsiteY21" fmla="*/ 164307 h 426244"/>
              <a:gd name="connsiteX22" fmla="*/ 23813 w 330994"/>
              <a:gd name="connsiteY22" fmla="*/ 140494 h 426244"/>
              <a:gd name="connsiteX23" fmla="*/ 16669 w 330994"/>
              <a:gd name="connsiteY23" fmla="*/ 138113 h 426244"/>
              <a:gd name="connsiteX24" fmla="*/ 9525 w 330994"/>
              <a:gd name="connsiteY24" fmla="*/ 130969 h 426244"/>
              <a:gd name="connsiteX25" fmla="*/ 7144 w 330994"/>
              <a:gd name="connsiteY25" fmla="*/ 121444 h 426244"/>
              <a:gd name="connsiteX26" fmla="*/ 0 w 330994"/>
              <a:gd name="connsiteY26" fmla="*/ 100013 h 426244"/>
              <a:gd name="connsiteX27" fmla="*/ 19050 w 330994"/>
              <a:gd name="connsiteY27" fmla="*/ 95250 h 426244"/>
              <a:gd name="connsiteX28" fmla="*/ 26194 w 330994"/>
              <a:gd name="connsiteY28" fmla="*/ 90488 h 426244"/>
              <a:gd name="connsiteX29" fmla="*/ 45244 w 330994"/>
              <a:gd name="connsiteY29" fmla="*/ 80963 h 426244"/>
              <a:gd name="connsiteX30" fmla="*/ 66675 w 330994"/>
              <a:gd name="connsiteY30" fmla="*/ 64294 h 426244"/>
              <a:gd name="connsiteX31" fmla="*/ 69056 w 330994"/>
              <a:gd name="connsiteY31" fmla="*/ 57150 h 426244"/>
              <a:gd name="connsiteX32" fmla="*/ 142875 w 330994"/>
              <a:gd name="connsiteY32" fmla="*/ 45244 h 426244"/>
              <a:gd name="connsiteX33" fmla="*/ 207169 w 330994"/>
              <a:gd name="connsiteY33" fmla="*/ 38100 h 426244"/>
              <a:gd name="connsiteX34" fmla="*/ 209550 w 330994"/>
              <a:gd name="connsiteY34" fmla="*/ 28575 h 426244"/>
              <a:gd name="connsiteX35" fmla="*/ 211931 w 330994"/>
              <a:gd name="connsiteY35" fmla="*/ 11907 h 426244"/>
              <a:gd name="connsiteX36" fmla="*/ 221456 w 330994"/>
              <a:gd name="connsiteY36" fmla="*/ 0 h 426244"/>
              <a:gd name="connsiteX37" fmla="*/ 238125 w 330994"/>
              <a:gd name="connsiteY37" fmla="*/ 2382 h 426244"/>
              <a:gd name="connsiteX38" fmla="*/ 247650 w 330994"/>
              <a:gd name="connsiteY38" fmla="*/ 4763 h 426244"/>
              <a:gd name="connsiteX39" fmla="*/ 290513 w 330994"/>
              <a:gd name="connsiteY39" fmla="*/ 7144 h 426244"/>
              <a:gd name="connsiteX40" fmla="*/ 297656 w 330994"/>
              <a:gd name="connsiteY40" fmla="*/ 9525 h 426244"/>
              <a:gd name="connsiteX41" fmla="*/ 323850 w 330994"/>
              <a:gd name="connsiteY41" fmla="*/ 33338 h 426244"/>
              <a:gd name="connsiteX42" fmla="*/ 330994 w 330994"/>
              <a:gd name="connsiteY42" fmla="*/ 40482 h 426244"/>
              <a:gd name="connsiteX43" fmla="*/ 316706 w 330994"/>
              <a:gd name="connsiteY43" fmla="*/ 45244 h 426244"/>
              <a:gd name="connsiteX44" fmla="*/ 314325 w 330994"/>
              <a:gd name="connsiteY44" fmla="*/ 64294 h 426244"/>
              <a:gd name="connsiteX45" fmla="*/ 309563 w 330994"/>
              <a:gd name="connsiteY45" fmla="*/ 73819 h 426244"/>
              <a:gd name="connsiteX46" fmla="*/ 276225 w 330994"/>
              <a:gd name="connsiteY46" fmla="*/ 76200 h 426244"/>
              <a:gd name="connsiteX47" fmla="*/ 278606 w 330994"/>
              <a:gd name="connsiteY47" fmla="*/ 100013 h 426244"/>
              <a:gd name="connsiteX48" fmla="*/ 280988 w 330994"/>
              <a:gd name="connsiteY48" fmla="*/ 128588 h 426244"/>
              <a:gd name="connsiteX49" fmla="*/ 288131 w 330994"/>
              <a:gd name="connsiteY49" fmla="*/ 138113 h 426244"/>
              <a:gd name="connsiteX50" fmla="*/ 292894 w 330994"/>
              <a:gd name="connsiteY50" fmla="*/ 147638 h 426244"/>
              <a:gd name="connsiteX51" fmla="*/ 297656 w 330994"/>
              <a:gd name="connsiteY51" fmla="*/ 171450 h 426244"/>
              <a:gd name="connsiteX52" fmla="*/ 295275 w 330994"/>
              <a:gd name="connsiteY52" fmla="*/ 207169 h 426244"/>
              <a:gd name="connsiteX53" fmla="*/ 300038 w 330994"/>
              <a:gd name="connsiteY53" fmla="*/ 219075 h 426244"/>
              <a:gd name="connsiteX54" fmla="*/ 288131 w 330994"/>
              <a:gd name="connsiteY54" fmla="*/ 252413 h 426244"/>
              <a:gd name="connsiteX55" fmla="*/ 280988 w 330994"/>
              <a:gd name="connsiteY55" fmla="*/ 254794 h 426244"/>
              <a:gd name="connsiteX56" fmla="*/ 254794 w 330994"/>
              <a:gd name="connsiteY56" fmla="*/ 266700 h 426244"/>
              <a:gd name="connsiteX57" fmla="*/ 247650 w 330994"/>
              <a:gd name="connsiteY57" fmla="*/ 269082 h 426244"/>
              <a:gd name="connsiteX58" fmla="*/ 233363 w 330994"/>
              <a:gd name="connsiteY58" fmla="*/ 288132 h 426244"/>
              <a:gd name="connsiteX59" fmla="*/ 226219 w 330994"/>
              <a:gd name="connsiteY59" fmla="*/ 297657 h 426244"/>
              <a:gd name="connsiteX60" fmla="*/ 219075 w 330994"/>
              <a:gd name="connsiteY60" fmla="*/ 314325 h 426244"/>
              <a:gd name="connsiteX61" fmla="*/ 216694 w 330994"/>
              <a:gd name="connsiteY61" fmla="*/ 330994 h 426244"/>
              <a:gd name="connsiteX62" fmla="*/ 214313 w 330994"/>
              <a:gd name="connsiteY62" fmla="*/ 338138 h 426244"/>
              <a:gd name="connsiteX63" fmla="*/ 216694 w 330994"/>
              <a:gd name="connsiteY63" fmla="*/ 345282 h 426244"/>
              <a:gd name="connsiteX64" fmla="*/ 219075 w 330994"/>
              <a:gd name="connsiteY64" fmla="*/ 361950 h 426244"/>
              <a:gd name="connsiteX65" fmla="*/ 221456 w 330994"/>
              <a:gd name="connsiteY65" fmla="*/ 373857 h 426244"/>
              <a:gd name="connsiteX66" fmla="*/ 219075 w 330994"/>
              <a:gd name="connsiteY66" fmla="*/ 404813 h 426244"/>
              <a:gd name="connsiteX67" fmla="*/ 216694 w 330994"/>
              <a:gd name="connsiteY67" fmla="*/ 411957 h 426244"/>
              <a:gd name="connsiteX68" fmla="*/ 221456 w 330994"/>
              <a:gd name="connsiteY68" fmla="*/ 404813 h 426244"/>
              <a:gd name="connsiteX69" fmla="*/ 233363 w 330994"/>
              <a:gd name="connsiteY69" fmla="*/ 378619 h 426244"/>
              <a:gd name="connsiteX0" fmla="*/ 214313 w 330994"/>
              <a:gd name="connsiteY0" fmla="*/ 426244 h 426244"/>
              <a:gd name="connsiteX1" fmla="*/ 202406 w 330994"/>
              <a:gd name="connsiteY1" fmla="*/ 416719 h 426244"/>
              <a:gd name="connsiteX2" fmla="*/ 197644 w 330994"/>
              <a:gd name="connsiteY2" fmla="*/ 409575 h 426244"/>
              <a:gd name="connsiteX3" fmla="*/ 178594 w 330994"/>
              <a:gd name="connsiteY3" fmla="*/ 404813 h 426244"/>
              <a:gd name="connsiteX4" fmla="*/ 161925 w 330994"/>
              <a:gd name="connsiteY4" fmla="*/ 392907 h 426244"/>
              <a:gd name="connsiteX5" fmla="*/ 157163 w 330994"/>
              <a:gd name="connsiteY5" fmla="*/ 366713 h 426244"/>
              <a:gd name="connsiteX6" fmla="*/ 161925 w 330994"/>
              <a:gd name="connsiteY6" fmla="*/ 319088 h 426244"/>
              <a:gd name="connsiteX7" fmla="*/ 166688 w 330994"/>
              <a:gd name="connsiteY7" fmla="*/ 304800 h 426244"/>
              <a:gd name="connsiteX8" fmla="*/ 159544 w 330994"/>
              <a:gd name="connsiteY8" fmla="*/ 290513 h 426244"/>
              <a:gd name="connsiteX9" fmla="*/ 138113 w 330994"/>
              <a:gd name="connsiteY9" fmla="*/ 292894 h 426244"/>
              <a:gd name="connsiteX10" fmla="*/ 123825 w 330994"/>
              <a:gd name="connsiteY10" fmla="*/ 304800 h 426244"/>
              <a:gd name="connsiteX11" fmla="*/ 119063 w 330994"/>
              <a:gd name="connsiteY11" fmla="*/ 311944 h 426244"/>
              <a:gd name="connsiteX12" fmla="*/ 111919 w 330994"/>
              <a:gd name="connsiteY12" fmla="*/ 316707 h 426244"/>
              <a:gd name="connsiteX13" fmla="*/ 107156 w 330994"/>
              <a:gd name="connsiteY13" fmla="*/ 328613 h 426244"/>
              <a:gd name="connsiteX14" fmla="*/ 95250 w 330994"/>
              <a:gd name="connsiteY14" fmla="*/ 354807 h 426244"/>
              <a:gd name="connsiteX15" fmla="*/ 66675 w 330994"/>
              <a:gd name="connsiteY15" fmla="*/ 335757 h 426244"/>
              <a:gd name="connsiteX16" fmla="*/ 54769 w 330994"/>
              <a:gd name="connsiteY16" fmla="*/ 330994 h 426244"/>
              <a:gd name="connsiteX17" fmla="*/ 47625 w 330994"/>
              <a:gd name="connsiteY17" fmla="*/ 328613 h 426244"/>
              <a:gd name="connsiteX18" fmla="*/ 21431 w 330994"/>
              <a:gd name="connsiteY18" fmla="*/ 314325 h 426244"/>
              <a:gd name="connsiteX19" fmla="*/ 23813 w 330994"/>
              <a:gd name="connsiteY19" fmla="*/ 230982 h 426244"/>
              <a:gd name="connsiteX20" fmla="*/ 26194 w 330994"/>
              <a:gd name="connsiteY20" fmla="*/ 221457 h 426244"/>
              <a:gd name="connsiteX21" fmla="*/ 28575 w 330994"/>
              <a:gd name="connsiteY21" fmla="*/ 164307 h 426244"/>
              <a:gd name="connsiteX22" fmla="*/ 23813 w 330994"/>
              <a:gd name="connsiteY22" fmla="*/ 140494 h 426244"/>
              <a:gd name="connsiteX23" fmla="*/ 16669 w 330994"/>
              <a:gd name="connsiteY23" fmla="*/ 138113 h 426244"/>
              <a:gd name="connsiteX24" fmla="*/ 9525 w 330994"/>
              <a:gd name="connsiteY24" fmla="*/ 130969 h 426244"/>
              <a:gd name="connsiteX25" fmla="*/ 7144 w 330994"/>
              <a:gd name="connsiteY25" fmla="*/ 121444 h 426244"/>
              <a:gd name="connsiteX26" fmla="*/ 0 w 330994"/>
              <a:gd name="connsiteY26" fmla="*/ 100013 h 426244"/>
              <a:gd name="connsiteX27" fmla="*/ 19050 w 330994"/>
              <a:gd name="connsiteY27" fmla="*/ 95250 h 426244"/>
              <a:gd name="connsiteX28" fmla="*/ 26194 w 330994"/>
              <a:gd name="connsiteY28" fmla="*/ 90488 h 426244"/>
              <a:gd name="connsiteX29" fmla="*/ 45244 w 330994"/>
              <a:gd name="connsiteY29" fmla="*/ 80963 h 426244"/>
              <a:gd name="connsiteX30" fmla="*/ 66675 w 330994"/>
              <a:gd name="connsiteY30" fmla="*/ 64294 h 426244"/>
              <a:gd name="connsiteX31" fmla="*/ 69056 w 330994"/>
              <a:gd name="connsiteY31" fmla="*/ 57150 h 426244"/>
              <a:gd name="connsiteX32" fmla="*/ 142875 w 330994"/>
              <a:gd name="connsiteY32" fmla="*/ 45244 h 426244"/>
              <a:gd name="connsiteX33" fmla="*/ 207169 w 330994"/>
              <a:gd name="connsiteY33" fmla="*/ 38100 h 426244"/>
              <a:gd name="connsiteX34" fmla="*/ 209550 w 330994"/>
              <a:gd name="connsiteY34" fmla="*/ 28575 h 426244"/>
              <a:gd name="connsiteX35" fmla="*/ 211931 w 330994"/>
              <a:gd name="connsiteY35" fmla="*/ 11907 h 426244"/>
              <a:gd name="connsiteX36" fmla="*/ 221456 w 330994"/>
              <a:gd name="connsiteY36" fmla="*/ 0 h 426244"/>
              <a:gd name="connsiteX37" fmla="*/ 238125 w 330994"/>
              <a:gd name="connsiteY37" fmla="*/ 2382 h 426244"/>
              <a:gd name="connsiteX38" fmla="*/ 247650 w 330994"/>
              <a:gd name="connsiteY38" fmla="*/ 4763 h 426244"/>
              <a:gd name="connsiteX39" fmla="*/ 290513 w 330994"/>
              <a:gd name="connsiteY39" fmla="*/ 7144 h 426244"/>
              <a:gd name="connsiteX40" fmla="*/ 297656 w 330994"/>
              <a:gd name="connsiteY40" fmla="*/ 9525 h 426244"/>
              <a:gd name="connsiteX41" fmla="*/ 323850 w 330994"/>
              <a:gd name="connsiteY41" fmla="*/ 33338 h 426244"/>
              <a:gd name="connsiteX42" fmla="*/ 330994 w 330994"/>
              <a:gd name="connsiteY42" fmla="*/ 40482 h 426244"/>
              <a:gd name="connsiteX43" fmla="*/ 316706 w 330994"/>
              <a:gd name="connsiteY43" fmla="*/ 45244 h 426244"/>
              <a:gd name="connsiteX44" fmla="*/ 314325 w 330994"/>
              <a:gd name="connsiteY44" fmla="*/ 64294 h 426244"/>
              <a:gd name="connsiteX45" fmla="*/ 309563 w 330994"/>
              <a:gd name="connsiteY45" fmla="*/ 73819 h 426244"/>
              <a:gd name="connsiteX46" fmla="*/ 276225 w 330994"/>
              <a:gd name="connsiteY46" fmla="*/ 76200 h 426244"/>
              <a:gd name="connsiteX47" fmla="*/ 278606 w 330994"/>
              <a:gd name="connsiteY47" fmla="*/ 100013 h 426244"/>
              <a:gd name="connsiteX48" fmla="*/ 280988 w 330994"/>
              <a:gd name="connsiteY48" fmla="*/ 128588 h 426244"/>
              <a:gd name="connsiteX49" fmla="*/ 288131 w 330994"/>
              <a:gd name="connsiteY49" fmla="*/ 138113 h 426244"/>
              <a:gd name="connsiteX50" fmla="*/ 292894 w 330994"/>
              <a:gd name="connsiteY50" fmla="*/ 147638 h 426244"/>
              <a:gd name="connsiteX51" fmla="*/ 297656 w 330994"/>
              <a:gd name="connsiteY51" fmla="*/ 171450 h 426244"/>
              <a:gd name="connsiteX52" fmla="*/ 295275 w 330994"/>
              <a:gd name="connsiteY52" fmla="*/ 207169 h 426244"/>
              <a:gd name="connsiteX53" fmla="*/ 300038 w 330994"/>
              <a:gd name="connsiteY53" fmla="*/ 219075 h 426244"/>
              <a:gd name="connsiteX54" fmla="*/ 288131 w 330994"/>
              <a:gd name="connsiteY54" fmla="*/ 252413 h 426244"/>
              <a:gd name="connsiteX55" fmla="*/ 280988 w 330994"/>
              <a:gd name="connsiteY55" fmla="*/ 254794 h 426244"/>
              <a:gd name="connsiteX56" fmla="*/ 254794 w 330994"/>
              <a:gd name="connsiteY56" fmla="*/ 266700 h 426244"/>
              <a:gd name="connsiteX57" fmla="*/ 247650 w 330994"/>
              <a:gd name="connsiteY57" fmla="*/ 269082 h 426244"/>
              <a:gd name="connsiteX58" fmla="*/ 233363 w 330994"/>
              <a:gd name="connsiteY58" fmla="*/ 288132 h 426244"/>
              <a:gd name="connsiteX59" fmla="*/ 233363 w 330994"/>
              <a:gd name="connsiteY59" fmla="*/ 302420 h 426244"/>
              <a:gd name="connsiteX60" fmla="*/ 219075 w 330994"/>
              <a:gd name="connsiteY60" fmla="*/ 314325 h 426244"/>
              <a:gd name="connsiteX61" fmla="*/ 216694 w 330994"/>
              <a:gd name="connsiteY61" fmla="*/ 330994 h 426244"/>
              <a:gd name="connsiteX62" fmla="*/ 214313 w 330994"/>
              <a:gd name="connsiteY62" fmla="*/ 338138 h 426244"/>
              <a:gd name="connsiteX63" fmla="*/ 216694 w 330994"/>
              <a:gd name="connsiteY63" fmla="*/ 345282 h 426244"/>
              <a:gd name="connsiteX64" fmla="*/ 219075 w 330994"/>
              <a:gd name="connsiteY64" fmla="*/ 361950 h 426244"/>
              <a:gd name="connsiteX65" fmla="*/ 221456 w 330994"/>
              <a:gd name="connsiteY65" fmla="*/ 373857 h 426244"/>
              <a:gd name="connsiteX66" fmla="*/ 219075 w 330994"/>
              <a:gd name="connsiteY66" fmla="*/ 404813 h 426244"/>
              <a:gd name="connsiteX67" fmla="*/ 216694 w 330994"/>
              <a:gd name="connsiteY67" fmla="*/ 411957 h 426244"/>
              <a:gd name="connsiteX68" fmla="*/ 221456 w 330994"/>
              <a:gd name="connsiteY68" fmla="*/ 404813 h 426244"/>
              <a:gd name="connsiteX69" fmla="*/ 233363 w 330994"/>
              <a:gd name="connsiteY69" fmla="*/ 378619 h 426244"/>
              <a:gd name="connsiteX0" fmla="*/ 214313 w 330994"/>
              <a:gd name="connsiteY0" fmla="*/ 426244 h 426244"/>
              <a:gd name="connsiteX1" fmla="*/ 202406 w 330994"/>
              <a:gd name="connsiteY1" fmla="*/ 416719 h 426244"/>
              <a:gd name="connsiteX2" fmla="*/ 197644 w 330994"/>
              <a:gd name="connsiteY2" fmla="*/ 409575 h 426244"/>
              <a:gd name="connsiteX3" fmla="*/ 178594 w 330994"/>
              <a:gd name="connsiteY3" fmla="*/ 404813 h 426244"/>
              <a:gd name="connsiteX4" fmla="*/ 161925 w 330994"/>
              <a:gd name="connsiteY4" fmla="*/ 392907 h 426244"/>
              <a:gd name="connsiteX5" fmla="*/ 157163 w 330994"/>
              <a:gd name="connsiteY5" fmla="*/ 366713 h 426244"/>
              <a:gd name="connsiteX6" fmla="*/ 161925 w 330994"/>
              <a:gd name="connsiteY6" fmla="*/ 319088 h 426244"/>
              <a:gd name="connsiteX7" fmla="*/ 166688 w 330994"/>
              <a:gd name="connsiteY7" fmla="*/ 304800 h 426244"/>
              <a:gd name="connsiteX8" fmla="*/ 159544 w 330994"/>
              <a:gd name="connsiteY8" fmla="*/ 290513 h 426244"/>
              <a:gd name="connsiteX9" fmla="*/ 138113 w 330994"/>
              <a:gd name="connsiteY9" fmla="*/ 292894 h 426244"/>
              <a:gd name="connsiteX10" fmla="*/ 123825 w 330994"/>
              <a:gd name="connsiteY10" fmla="*/ 304800 h 426244"/>
              <a:gd name="connsiteX11" fmla="*/ 119063 w 330994"/>
              <a:gd name="connsiteY11" fmla="*/ 311944 h 426244"/>
              <a:gd name="connsiteX12" fmla="*/ 111919 w 330994"/>
              <a:gd name="connsiteY12" fmla="*/ 316707 h 426244"/>
              <a:gd name="connsiteX13" fmla="*/ 107156 w 330994"/>
              <a:gd name="connsiteY13" fmla="*/ 328613 h 426244"/>
              <a:gd name="connsiteX14" fmla="*/ 95250 w 330994"/>
              <a:gd name="connsiteY14" fmla="*/ 354807 h 426244"/>
              <a:gd name="connsiteX15" fmla="*/ 66675 w 330994"/>
              <a:gd name="connsiteY15" fmla="*/ 335757 h 426244"/>
              <a:gd name="connsiteX16" fmla="*/ 54769 w 330994"/>
              <a:gd name="connsiteY16" fmla="*/ 330994 h 426244"/>
              <a:gd name="connsiteX17" fmla="*/ 47625 w 330994"/>
              <a:gd name="connsiteY17" fmla="*/ 328613 h 426244"/>
              <a:gd name="connsiteX18" fmla="*/ 21431 w 330994"/>
              <a:gd name="connsiteY18" fmla="*/ 314325 h 426244"/>
              <a:gd name="connsiteX19" fmla="*/ 23813 w 330994"/>
              <a:gd name="connsiteY19" fmla="*/ 230982 h 426244"/>
              <a:gd name="connsiteX20" fmla="*/ 26194 w 330994"/>
              <a:gd name="connsiteY20" fmla="*/ 221457 h 426244"/>
              <a:gd name="connsiteX21" fmla="*/ 28575 w 330994"/>
              <a:gd name="connsiteY21" fmla="*/ 164307 h 426244"/>
              <a:gd name="connsiteX22" fmla="*/ 23813 w 330994"/>
              <a:gd name="connsiteY22" fmla="*/ 140494 h 426244"/>
              <a:gd name="connsiteX23" fmla="*/ 16669 w 330994"/>
              <a:gd name="connsiteY23" fmla="*/ 138113 h 426244"/>
              <a:gd name="connsiteX24" fmla="*/ 9525 w 330994"/>
              <a:gd name="connsiteY24" fmla="*/ 130969 h 426244"/>
              <a:gd name="connsiteX25" fmla="*/ 7144 w 330994"/>
              <a:gd name="connsiteY25" fmla="*/ 121444 h 426244"/>
              <a:gd name="connsiteX26" fmla="*/ 0 w 330994"/>
              <a:gd name="connsiteY26" fmla="*/ 100013 h 426244"/>
              <a:gd name="connsiteX27" fmla="*/ 19050 w 330994"/>
              <a:gd name="connsiteY27" fmla="*/ 95250 h 426244"/>
              <a:gd name="connsiteX28" fmla="*/ 26194 w 330994"/>
              <a:gd name="connsiteY28" fmla="*/ 90488 h 426244"/>
              <a:gd name="connsiteX29" fmla="*/ 45244 w 330994"/>
              <a:gd name="connsiteY29" fmla="*/ 80963 h 426244"/>
              <a:gd name="connsiteX30" fmla="*/ 66675 w 330994"/>
              <a:gd name="connsiteY30" fmla="*/ 64294 h 426244"/>
              <a:gd name="connsiteX31" fmla="*/ 69056 w 330994"/>
              <a:gd name="connsiteY31" fmla="*/ 57150 h 426244"/>
              <a:gd name="connsiteX32" fmla="*/ 142875 w 330994"/>
              <a:gd name="connsiteY32" fmla="*/ 45244 h 426244"/>
              <a:gd name="connsiteX33" fmla="*/ 207169 w 330994"/>
              <a:gd name="connsiteY33" fmla="*/ 38100 h 426244"/>
              <a:gd name="connsiteX34" fmla="*/ 209550 w 330994"/>
              <a:gd name="connsiteY34" fmla="*/ 28575 h 426244"/>
              <a:gd name="connsiteX35" fmla="*/ 211931 w 330994"/>
              <a:gd name="connsiteY35" fmla="*/ 11907 h 426244"/>
              <a:gd name="connsiteX36" fmla="*/ 221456 w 330994"/>
              <a:gd name="connsiteY36" fmla="*/ 0 h 426244"/>
              <a:gd name="connsiteX37" fmla="*/ 238125 w 330994"/>
              <a:gd name="connsiteY37" fmla="*/ 2382 h 426244"/>
              <a:gd name="connsiteX38" fmla="*/ 247650 w 330994"/>
              <a:gd name="connsiteY38" fmla="*/ 4763 h 426244"/>
              <a:gd name="connsiteX39" fmla="*/ 290513 w 330994"/>
              <a:gd name="connsiteY39" fmla="*/ 7144 h 426244"/>
              <a:gd name="connsiteX40" fmla="*/ 297656 w 330994"/>
              <a:gd name="connsiteY40" fmla="*/ 9525 h 426244"/>
              <a:gd name="connsiteX41" fmla="*/ 323850 w 330994"/>
              <a:gd name="connsiteY41" fmla="*/ 33338 h 426244"/>
              <a:gd name="connsiteX42" fmla="*/ 330994 w 330994"/>
              <a:gd name="connsiteY42" fmla="*/ 40482 h 426244"/>
              <a:gd name="connsiteX43" fmla="*/ 316706 w 330994"/>
              <a:gd name="connsiteY43" fmla="*/ 45244 h 426244"/>
              <a:gd name="connsiteX44" fmla="*/ 314325 w 330994"/>
              <a:gd name="connsiteY44" fmla="*/ 64294 h 426244"/>
              <a:gd name="connsiteX45" fmla="*/ 309563 w 330994"/>
              <a:gd name="connsiteY45" fmla="*/ 73819 h 426244"/>
              <a:gd name="connsiteX46" fmla="*/ 276225 w 330994"/>
              <a:gd name="connsiteY46" fmla="*/ 76200 h 426244"/>
              <a:gd name="connsiteX47" fmla="*/ 278606 w 330994"/>
              <a:gd name="connsiteY47" fmla="*/ 100013 h 426244"/>
              <a:gd name="connsiteX48" fmla="*/ 280988 w 330994"/>
              <a:gd name="connsiteY48" fmla="*/ 128588 h 426244"/>
              <a:gd name="connsiteX49" fmla="*/ 288131 w 330994"/>
              <a:gd name="connsiteY49" fmla="*/ 138113 h 426244"/>
              <a:gd name="connsiteX50" fmla="*/ 292894 w 330994"/>
              <a:gd name="connsiteY50" fmla="*/ 147638 h 426244"/>
              <a:gd name="connsiteX51" fmla="*/ 297656 w 330994"/>
              <a:gd name="connsiteY51" fmla="*/ 171450 h 426244"/>
              <a:gd name="connsiteX52" fmla="*/ 295275 w 330994"/>
              <a:gd name="connsiteY52" fmla="*/ 207169 h 426244"/>
              <a:gd name="connsiteX53" fmla="*/ 300038 w 330994"/>
              <a:gd name="connsiteY53" fmla="*/ 219075 h 426244"/>
              <a:gd name="connsiteX54" fmla="*/ 288131 w 330994"/>
              <a:gd name="connsiteY54" fmla="*/ 252413 h 426244"/>
              <a:gd name="connsiteX55" fmla="*/ 280988 w 330994"/>
              <a:gd name="connsiteY55" fmla="*/ 254794 h 426244"/>
              <a:gd name="connsiteX56" fmla="*/ 254794 w 330994"/>
              <a:gd name="connsiteY56" fmla="*/ 266700 h 426244"/>
              <a:gd name="connsiteX57" fmla="*/ 247650 w 330994"/>
              <a:gd name="connsiteY57" fmla="*/ 269082 h 426244"/>
              <a:gd name="connsiteX58" fmla="*/ 233363 w 330994"/>
              <a:gd name="connsiteY58" fmla="*/ 288132 h 426244"/>
              <a:gd name="connsiteX59" fmla="*/ 233363 w 330994"/>
              <a:gd name="connsiteY59" fmla="*/ 302420 h 426244"/>
              <a:gd name="connsiteX60" fmla="*/ 219075 w 330994"/>
              <a:gd name="connsiteY60" fmla="*/ 314325 h 426244"/>
              <a:gd name="connsiteX61" fmla="*/ 216694 w 330994"/>
              <a:gd name="connsiteY61" fmla="*/ 330994 h 426244"/>
              <a:gd name="connsiteX62" fmla="*/ 221456 w 330994"/>
              <a:gd name="connsiteY62" fmla="*/ 338138 h 426244"/>
              <a:gd name="connsiteX63" fmla="*/ 216694 w 330994"/>
              <a:gd name="connsiteY63" fmla="*/ 345282 h 426244"/>
              <a:gd name="connsiteX64" fmla="*/ 219075 w 330994"/>
              <a:gd name="connsiteY64" fmla="*/ 361950 h 426244"/>
              <a:gd name="connsiteX65" fmla="*/ 221456 w 330994"/>
              <a:gd name="connsiteY65" fmla="*/ 373857 h 426244"/>
              <a:gd name="connsiteX66" fmla="*/ 219075 w 330994"/>
              <a:gd name="connsiteY66" fmla="*/ 404813 h 426244"/>
              <a:gd name="connsiteX67" fmla="*/ 216694 w 330994"/>
              <a:gd name="connsiteY67" fmla="*/ 411957 h 426244"/>
              <a:gd name="connsiteX68" fmla="*/ 221456 w 330994"/>
              <a:gd name="connsiteY68" fmla="*/ 404813 h 426244"/>
              <a:gd name="connsiteX69" fmla="*/ 233363 w 330994"/>
              <a:gd name="connsiteY69" fmla="*/ 378619 h 426244"/>
              <a:gd name="connsiteX0" fmla="*/ 214313 w 330994"/>
              <a:gd name="connsiteY0" fmla="*/ 426244 h 426244"/>
              <a:gd name="connsiteX1" fmla="*/ 202406 w 330994"/>
              <a:gd name="connsiteY1" fmla="*/ 416719 h 426244"/>
              <a:gd name="connsiteX2" fmla="*/ 197644 w 330994"/>
              <a:gd name="connsiteY2" fmla="*/ 409575 h 426244"/>
              <a:gd name="connsiteX3" fmla="*/ 178594 w 330994"/>
              <a:gd name="connsiteY3" fmla="*/ 404813 h 426244"/>
              <a:gd name="connsiteX4" fmla="*/ 161925 w 330994"/>
              <a:gd name="connsiteY4" fmla="*/ 392907 h 426244"/>
              <a:gd name="connsiteX5" fmla="*/ 157163 w 330994"/>
              <a:gd name="connsiteY5" fmla="*/ 366713 h 426244"/>
              <a:gd name="connsiteX6" fmla="*/ 161925 w 330994"/>
              <a:gd name="connsiteY6" fmla="*/ 319088 h 426244"/>
              <a:gd name="connsiteX7" fmla="*/ 166688 w 330994"/>
              <a:gd name="connsiteY7" fmla="*/ 304800 h 426244"/>
              <a:gd name="connsiteX8" fmla="*/ 159544 w 330994"/>
              <a:gd name="connsiteY8" fmla="*/ 290513 h 426244"/>
              <a:gd name="connsiteX9" fmla="*/ 138113 w 330994"/>
              <a:gd name="connsiteY9" fmla="*/ 292894 h 426244"/>
              <a:gd name="connsiteX10" fmla="*/ 123825 w 330994"/>
              <a:gd name="connsiteY10" fmla="*/ 304800 h 426244"/>
              <a:gd name="connsiteX11" fmla="*/ 119063 w 330994"/>
              <a:gd name="connsiteY11" fmla="*/ 311944 h 426244"/>
              <a:gd name="connsiteX12" fmla="*/ 111919 w 330994"/>
              <a:gd name="connsiteY12" fmla="*/ 316707 h 426244"/>
              <a:gd name="connsiteX13" fmla="*/ 107156 w 330994"/>
              <a:gd name="connsiteY13" fmla="*/ 328613 h 426244"/>
              <a:gd name="connsiteX14" fmla="*/ 95250 w 330994"/>
              <a:gd name="connsiteY14" fmla="*/ 354807 h 426244"/>
              <a:gd name="connsiteX15" fmla="*/ 66675 w 330994"/>
              <a:gd name="connsiteY15" fmla="*/ 335757 h 426244"/>
              <a:gd name="connsiteX16" fmla="*/ 54769 w 330994"/>
              <a:gd name="connsiteY16" fmla="*/ 330994 h 426244"/>
              <a:gd name="connsiteX17" fmla="*/ 47625 w 330994"/>
              <a:gd name="connsiteY17" fmla="*/ 328613 h 426244"/>
              <a:gd name="connsiteX18" fmla="*/ 21431 w 330994"/>
              <a:gd name="connsiteY18" fmla="*/ 314325 h 426244"/>
              <a:gd name="connsiteX19" fmla="*/ 23813 w 330994"/>
              <a:gd name="connsiteY19" fmla="*/ 230982 h 426244"/>
              <a:gd name="connsiteX20" fmla="*/ 26194 w 330994"/>
              <a:gd name="connsiteY20" fmla="*/ 221457 h 426244"/>
              <a:gd name="connsiteX21" fmla="*/ 28575 w 330994"/>
              <a:gd name="connsiteY21" fmla="*/ 164307 h 426244"/>
              <a:gd name="connsiteX22" fmla="*/ 23813 w 330994"/>
              <a:gd name="connsiteY22" fmla="*/ 140494 h 426244"/>
              <a:gd name="connsiteX23" fmla="*/ 16669 w 330994"/>
              <a:gd name="connsiteY23" fmla="*/ 138113 h 426244"/>
              <a:gd name="connsiteX24" fmla="*/ 9525 w 330994"/>
              <a:gd name="connsiteY24" fmla="*/ 130969 h 426244"/>
              <a:gd name="connsiteX25" fmla="*/ 7144 w 330994"/>
              <a:gd name="connsiteY25" fmla="*/ 121444 h 426244"/>
              <a:gd name="connsiteX26" fmla="*/ 0 w 330994"/>
              <a:gd name="connsiteY26" fmla="*/ 100013 h 426244"/>
              <a:gd name="connsiteX27" fmla="*/ 19050 w 330994"/>
              <a:gd name="connsiteY27" fmla="*/ 95250 h 426244"/>
              <a:gd name="connsiteX28" fmla="*/ 26194 w 330994"/>
              <a:gd name="connsiteY28" fmla="*/ 90488 h 426244"/>
              <a:gd name="connsiteX29" fmla="*/ 45244 w 330994"/>
              <a:gd name="connsiteY29" fmla="*/ 80963 h 426244"/>
              <a:gd name="connsiteX30" fmla="*/ 66675 w 330994"/>
              <a:gd name="connsiteY30" fmla="*/ 64294 h 426244"/>
              <a:gd name="connsiteX31" fmla="*/ 59531 w 330994"/>
              <a:gd name="connsiteY31" fmla="*/ 52387 h 426244"/>
              <a:gd name="connsiteX32" fmla="*/ 142875 w 330994"/>
              <a:gd name="connsiteY32" fmla="*/ 45244 h 426244"/>
              <a:gd name="connsiteX33" fmla="*/ 207169 w 330994"/>
              <a:gd name="connsiteY33" fmla="*/ 38100 h 426244"/>
              <a:gd name="connsiteX34" fmla="*/ 209550 w 330994"/>
              <a:gd name="connsiteY34" fmla="*/ 28575 h 426244"/>
              <a:gd name="connsiteX35" fmla="*/ 211931 w 330994"/>
              <a:gd name="connsiteY35" fmla="*/ 11907 h 426244"/>
              <a:gd name="connsiteX36" fmla="*/ 221456 w 330994"/>
              <a:gd name="connsiteY36" fmla="*/ 0 h 426244"/>
              <a:gd name="connsiteX37" fmla="*/ 238125 w 330994"/>
              <a:gd name="connsiteY37" fmla="*/ 2382 h 426244"/>
              <a:gd name="connsiteX38" fmla="*/ 247650 w 330994"/>
              <a:gd name="connsiteY38" fmla="*/ 4763 h 426244"/>
              <a:gd name="connsiteX39" fmla="*/ 290513 w 330994"/>
              <a:gd name="connsiteY39" fmla="*/ 7144 h 426244"/>
              <a:gd name="connsiteX40" fmla="*/ 297656 w 330994"/>
              <a:gd name="connsiteY40" fmla="*/ 9525 h 426244"/>
              <a:gd name="connsiteX41" fmla="*/ 323850 w 330994"/>
              <a:gd name="connsiteY41" fmla="*/ 33338 h 426244"/>
              <a:gd name="connsiteX42" fmla="*/ 330994 w 330994"/>
              <a:gd name="connsiteY42" fmla="*/ 40482 h 426244"/>
              <a:gd name="connsiteX43" fmla="*/ 316706 w 330994"/>
              <a:gd name="connsiteY43" fmla="*/ 45244 h 426244"/>
              <a:gd name="connsiteX44" fmla="*/ 314325 w 330994"/>
              <a:gd name="connsiteY44" fmla="*/ 64294 h 426244"/>
              <a:gd name="connsiteX45" fmla="*/ 309563 w 330994"/>
              <a:gd name="connsiteY45" fmla="*/ 73819 h 426244"/>
              <a:gd name="connsiteX46" fmla="*/ 276225 w 330994"/>
              <a:gd name="connsiteY46" fmla="*/ 76200 h 426244"/>
              <a:gd name="connsiteX47" fmla="*/ 278606 w 330994"/>
              <a:gd name="connsiteY47" fmla="*/ 100013 h 426244"/>
              <a:gd name="connsiteX48" fmla="*/ 280988 w 330994"/>
              <a:gd name="connsiteY48" fmla="*/ 128588 h 426244"/>
              <a:gd name="connsiteX49" fmla="*/ 288131 w 330994"/>
              <a:gd name="connsiteY49" fmla="*/ 138113 h 426244"/>
              <a:gd name="connsiteX50" fmla="*/ 292894 w 330994"/>
              <a:gd name="connsiteY50" fmla="*/ 147638 h 426244"/>
              <a:gd name="connsiteX51" fmla="*/ 297656 w 330994"/>
              <a:gd name="connsiteY51" fmla="*/ 171450 h 426244"/>
              <a:gd name="connsiteX52" fmla="*/ 295275 w 330994"/>
              <a:gd name="connsiteY52" fmla="*/ 207169 h 426244"/>
              <a:gd name="connsiteX53" fmla="*/ 300038 w 330994"/>
              <a:gd name="connsiteY53" fmla="*/ 219075 h 426244"/>
              <a:gd name="connsiteX54" fmla="*/ 288131 w 330994"/>
              <a:gd name="connsiteY54" fmla="*/ 252413 h 426244"/>
              <a:gd name="connsiteX55" fmla="*/ 280988 w 330994"/>
              <a:gd name="connsiteY55" fmla="*/ 254794 h 426244"/>
              <a:gd name="connsiteX56" fmla="*/ 254794 w 330994"/>
              <a:gd name="connsiteY56" fmla="*/ 266700 h 426244"/>
              <a:gd name="connsiteX57" fmla="*/ 247650 w 330994"/>
              <a:gd name="connsiteY57" fmla="*/ 269082 h 426244"/>
              <a:gd name="connsiteX58" fmla="*/ 233363 w 330994"/>
              <a:gd name="connsiteY58" fmla="*/ 288132 h 426244"/>
              <a:gd name="connsiteX59" fmla="*/ 233363 w 330994"/>
              <a:gd name="connsiteY59" fmla="*/ 302420 h 426244"/>
              <a:gd name="connsiteX60" fmla="*/ 219075 w 330994"/>
              <a:gd name="connsiteY60" fmla="*/ 314325 h 426244"/>
              <a:gd name="connsiteX61" fmla="*/ 216694 w 330994"/>
              <a:gd name="connsiteY61" fmla="*/ 330994 h 426244"/>
              <a:gd name="connsiteX62" fmla="*/ 221456 w 330994"/>
              <a:gd name="connsiteY62" fmla="*/ 338138 h 426244"/>
              <a:gd name="connsiteX63" fmla="*/ 216694 w 330994"/>
              <a:gd name="connsiteY63" fmla="*/ 345282 h 426244"/>
              <a:gd name="connsiteX64" fmla="*/ 219075 w 330994"/>
              <a:gd name="connsiteY64" fmla="*/ 361950 h 426244"/>
              <a:gd name="connsiteX65" fmla="*/ 221456 w 330994"/>
              <a:gd name="connsiteY65" fmla="*/ 373857 h 426244"/>
              <a:gd name="connsiteX66" fmla="*/ 219075 w 330994"/>
              <a:gd name="connsiteY66" fmla="*/ 404813 h 426244"/>
              <a:gd name="connsiteX67" fmla="*/ 216694 w 330994"/>
              <a:gd name="connsiteY67" fmla="*/ 411957 h 426244"/>
              <a:gd name="connsiteX68" fmla="*/ 221456 w 330994"/>
              <a:gd name="connsiteY68" fmla="*/ 404813 h 426244"/>
              <a:gd name="connsiteX69" fmla="*/ 233363 w 330994"/>
              <a:gd name="connsiteY69" fmla="*/ 378619 h 426244"/>
              <a:gd name="connsiteX0" fmla="*/ 214313 w 330994"/>
              <a:gd name="connsiteY0" fmla="*/ 431019 h 431019"/>
              <a:gd name="connsiteX1" fmla="*/ 202406 w 330994"/>
              <a:gd name="connsiteY1" fmla="*/ 421494 h 431019"/>
              <a:gd name="connsiteX2" fmla="*/ 197644 w 330994"/>
              <a:gd name="connsiteY2" fmla="*/ 414350 h 431019"/>
              <a:gd name="connsiteX3" fmla="*/ 178594 w 330994"/>
              <a:gd name="connsiteY3" fmla="*/ 409588 h 431019"/>
              <a:gd name="connsiteX4" fmla="*/ 161925 w 330994"/>
              <a:gd name="connsiteY4" fmla="*/ 397682 h 431019"/>
              <a:gd name="connsiteX5" fmla="*/ 157163 w 330994"/>
              <a:gd name="connsiteY5" fmla="*/ 371488 h 431019"/>
              <a:gd name="connsiteX6" fmla="*/ 161925 w 330994"/>
              <a:gd name="connsiteY6" fmla="*/ 323863 h 431019"/>
              <a:gd name="connsiteX7" fmla="*/ 166688 w 330994"/>
              <a:gd name="connsiteY7" fmla="*/ 309575 h 431019"/>
              <a:gd name="connsiteX8" fmla="*/ 159544 w 330994"/>
              <a:gd name="connsiteY8" fmla="*/ 295288 h 431019"/>
              <a:gd name="connsiteX9" fmla="*/ 138113 w 330994"/>
              <a:gd name="connsiteY9" fmla="*/ 297669 h 431019"/>
              <a:gd name="connsiteX10" fmla="*/ 123825 w 330994"/>
              <a:gd name="connsiteY10" fmla="*/ 309575 h 431019"/>
              <a:gd name="connsiteX11" fmla="*/ 119063 w 330994"/>
              <a:gd name="connsiteY11" fmla="*/ 316719 h 431019"/>
              <a:gd name="connsiteX12" fmla="*/ 111919 w 330994"/>
              <a:gd name="connsiteY12" fmla="*/ 321482 h 431019"/>
              <a:gd name="connsiteX13" fmla="*/ 107156 w 330994"/>
              <a:gd name="connsiteY13" fmla="*/ 333388 h 431019"/>
              <a:gd name="connsiteX14" fmla="*/ 95250 w 330994"/>
              <a:gd name="connsiteY14" fmla="*/ 359582 h 431019"/>
              <a:gd name="connsiteX15" fmla="*/ 66675 w 330994"/>
              <a:gd name="connsiteY15" fmla="*/ 340532 h 431019"/>
              <a:gd name="connsiteX16" fmla="*/ 54769 w 330994"/>
              <a:gd name="connsiteY16" fmla="*/ 335769 h 431019"/>
              <a:gd name="connsiteX17" fmla="*/ 47625 w 330994"/>
              <a:gd name="connsiteY17" fmla="*/ 333388 h 431019"/>
              <a:gd name="connsiteX18" fmla="*/ 21431 w 330994"/>
              <a:gd name="connsiteY18" fmla="*/ 319100 h 431019"/>
              <a:gd name="connsiteX19" fmla="*/ 23813 w 330994"/>
              <a:gd name="connsiteY19" fmla="*/ 235757 h 431019"/>
              <a:gd name="connsiteX20" fmla="*/ 26194 w 330994"/>
              <a:gd name="connsiteY20" fmla="*/ 226232 h 431019"/>
              <a:gd name="connsiteX21" fmla="*/ 28575 w 330994"/>
              <a:gd name="connsiteY21" fmla="*/ 169082 h 431019"/>
              <a:gd name="connsiteX22" fmla="*/ 23813 w 330994"/>
              <a:gd name="connsiteY22" fmla="*/ 145269 h 431019"/>
              <a:gd name="connsiteX23" fmla="*/ 16669 w 330994"/>
              <a:gd name="connsiteY23" fmla="*/ 142888 h 431019"/>
              <a:gd name="connsiteX24" fmla="*/ 9525 w 330994"/>
              <a:gd name="connsiteY24" fmla="*/ 135744 h 431019"/>
              <a:gd name="connsiteX25" fmla="*/ 7144 w 330994"/>
              <a:gd name="connsiteY25" fmla="*/ 126219 h 431019"/>
              <a:gd name="connsiteX26" fmla="*/ 0 w 330994"/>
              <a:gd name="connsiteY26" fmla="*/ 104788 h 431019"/>
              <a:gd name="connsiteX27" fmla="*/ 19050 w 330994"/>
              <a:gd name="connsiteY27" fmla="*/ 100025 h 431019"/>
              <a:gd name="connsiteX28" fmla="*/ 26194 w 330994"/>
              <a:gd name="connsiteY28" fmla="*/ 95263 h 431019"/>
              <a:gd name="connsiteX29" fmla="*/ 45244 w 330994"/>
              <a:gd name="connsiteY29" fmla="*/ 85738 h 431019"/>
              <a:gd name="connsiteX30" fmla="*/ 66675 w 330994"/>
              <a:gd name="connsiteY30" fmla="*/ 69069 h 431019"/>
              <a:gd name="connsiteX31" fmla="*/ 59531 w 330994"/>
              <a:gd name="connsiteY31" fmla="*/ 57162 h 431019"/>
              <a:gd name="connsiteX32" fmla="*/ 142875 w 330994"/>
              <a:gd name="connsiteY32" fmla="*/ 50019 h 431019"/>
              <a:gd name="connsiteX33" fmla="*/ 207169 w 330994"/>
              <a:gd name="connsiteY33" fmla="*/ 42875 h 431019"/>
              <a:gd name="connsiteX34" fmla="*/ 209550 w 330994"/>
              <a:gd name="connsiteY34" fmla="*/ 33350 h 431019"/>
              <a:gd name="connsiteX35" fmla="*/ 211931 w 330994"/>
              <a:gd name="connsiteY35" fmla="*/ 16682 h 431019"/>
              <a:gd name="connsiteX36" fmla="*/ 221456 w 330994"/>
              <a:gd name="connsiteY36" fmla="*/ 4775 h 431019"/>
              <a:gd name="connsiteX37" fmla="*/ 238125 w 330994"/>
              <a:gd name="connsiteY37" fmla="*/ 7157 h 431019"/>
              <a:gd name="connsiteX38" fmla="*/ 247650 w 330994"/>
              <a:gd name="connsiteY38" fmla="*/ 9538 h 431019"/>
              <a:gd name="connsiteX39" fmla="*/ 264319 w 330994"/>
              <a:gd name="connsiteY39" fmla="*/ 13 h 431019"/>
              <a:gd name="connsiteX40" fmla="*/ 290513 w 330994"/>
              <a:gd name="connsiteY40" fmla="*/ 11919 h 431019"/>
              <a:gd name="connsiteX41" fmla="*/ 297656 w 330994"/>
              <a:gd name="connsiteY41" fmla="*/ 14300 h 431019"/>
              <a:gd name="connsiteX42" fmla="*/ 323850 w 330994"/>
              <a:gd name="connsiteY42" fmla="*/ 38113 h 431019"/>
              <a:gd name="connsiteX43" fmla="*/ 330994 w 330994"/>
              <a:gd name="connsiteY43" fmla="*/ 45257 h 431019"/>
              <a:gd name="connsiteX44" fmla="*/ 316706 w 330994"/>
              <a:gd name="connsiteY44" fmla="*/ 50019 h 431019"/>
              <a:gd name="connsiteX45" fmla="*/ 314325 w 330994"/>
              <a:gd name="connsiteY45" fmla="*/ 69069 h 431019"/>
              <a:gd name="connsiteX46" fmla="*/ 309563 w 330994"/>
              <a:gd name="connsiteY46" fmla="*/ 78594 h 431019"/>
              <a:gd name="connsiteX47" fmla="*/ 276225 w 330994"/>
              <a:gd name="connsiteY47" fmla="*/ 80975 h 431019"/>
              <a:gd name="connsiteX48" fmla="*/ 278606 w 330994"/>
              <a:gd name="connsiteY48" fmla="*/ 104788 h 431019"/>
              <a:gd name="connsiteX49" fmla="*/ 280988 w 330994"/>
              <a:gd name="connsiteY49" fmla="*/ 133363 h 431019"/>
              <a:gd name="connsiteX50" fmla="*/ 288131 w 330994"/>
              <a:gd name="connsiteY50" fmla="*/ 142888 h 431019"/>
              <a:gd name="connsiteX51" fmla="*/ 292894 w 330994"/>
              <a:gd name="connsiteY51" fmla="*/ 152413 h 431019"/>
              <a:gd name="connsiteX52" fmla="*/ 297656 w 330994"/>
              <a:gd name="connsiteY52" fmla="*/ 176225 h 431019"/>
              <a:gd name="connsiteX53" fmla="*/ 295275 w 330994"/>
              <a:gd name="connsiteY53" fmla="*/ 211944 h 431019"/>
              <a:gd name="connsiteX54" fmla="*/ 300038 w 330994"/>
              <a:gd name="connsiteY54" fmla="*/ 223850 h 431019"/>
              <a:gd name="connsiteX55" fmla="*/ 288131 w 330994"/>
              <a:gd name="connsiteY55" fmla="*/ 257188 h 431019"/>
              <a:gd name="connsiteX56" fmla="*/ 280988 w 330994"/>
              <a:gd name="connsiteY56" fmla="*/ 259569 h 431019"/>
              <a:gd name="connsiteX57" fmla="*/ 254794 w 330994"/>
              <a:gd name="connsiteY57" fmla="*/ 271475 h 431019"/>
              <a:gd name="connsiteX58" fmla="*/ 247650 w 330994"/>
              <a:gd name="connsiteY58" fmla="*/ 273857 h 431019"/>
              <a:gd name="connsiteX59" fmla="*/ 233363 w 330994"/>
              <a:gd name="connsiteY59" fmla="*/ 292907 h 431019"/>
              <a:gd name="connsiteX60" fmla="*/ 233363 w 330994"/>
              <a:gd name="connsiteY60" fmla="*/ 307195 h 431019"/>
              <a:gd name="connsiteX61" fmla="*/ 219075 w 330994"/>
              <a:gd name="connsiteY61" fmla="*/ 319100 h 431019"/>
              <a:gd name="connsiteX62" fmla="*/ 216694 w 330994"/>
              <a:gd name="connsiteY62" fmla="*/ 335769 h 431019"/>
              <a:gd name="connsiteX63" fmla="*/ 221456 w 330994"/>
              <a:gd name="connsiteY63" fmla="*/ 342913 h 431019"/>
              <a:gd name="connsiteX64" fmla="*/ 216694 w 330994"/>
              <a:gd name="connsiteY64" fmla="*/ 350057 h 431019"/>
              <a:gd name="connsiteX65" fmla="*/ 219075 w 330994"/>
              <a:gd name="connsiteY65" fmla="*/ 366725 h 431019"/>
              <a:gd name="connsiteX66" fmla="*/ 221456 w 330994"/>
              <a:gd name="connsiteY66" fmla="*/ 378632 h 431019"/>
              <a:gd name="connsiteX67" fmla="*/ 219075 w 330994"/>
              <a:gd name="connsiteY67" fmla="*/ 409588 h 431019"/>
              <a:gd name="connsiteX68" fmla="*/ 216694 w 330994"/>
              <a:gd name="connsiteY68" fmla="*/ 416732 h 431019"/>
              <a:gd name="connsiteX69" fmla="*/ 221456 w 330994"/>
              <a:gd name="connsiteY69" fmla="*/ 409588 h 431019"/>
              <a:gd name="connsiteX70" fmla="*/ 233363 w 330994"/>
              <a:gd name="connsiteY70" fmla="*/ 383394 h 43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30994" h="431019">
                <a:moveTo>
                  <a:pt x="214313" y="431019"/>
                </a:moveTo>
                <a:cubicBezTo>
                  <a:pt x="210344" y="427844"/>
                  <a:pt x="206000" y="425088"/>
                  <a:pt x="202406" y="421494"/>
                </a:cubicBezTo>
                <a:cubicBezTo>
                  <a:pt x="200382" y="419470"/>
                  <a:pt x="199879" y="416138"/>
                  <a:pt x="197644" y="414350"/>
                </a:cubicBezTo>
                <a:cubicBezTo>
                  <a:pt x="195204" y="412398"/>
                  <a:pt x="179186" y="409706"/>
                  <a:pt x="178594" y="409588"/>
                </a:cubicBezTo>
                <a:cubicBezTo>
                  <a:pt x="172843" y="406712"/>
                  <a:pt x="165142" y="404116"/>
                  <a:pt x="161925" y="397682"/>
                </a:cubicBezTo>
                <a:cubicBezTo>
                  <a:pt x="161094" y="396019"/>
                  <a:pt x="157232" y="371901"/>
                  <a:pt x="157163" y="371488"/>
                </a:cubicBezTo>
                <a:cubicBezTo>
                  <a:pt x="158750" y="355613"/>
                  <a:pt x="159499" y="339632"/>
                  <a:pt x="161925" y="323863"/>
                </a:cubicBezTo>
                <a:cubicBezTo>
                  <a:pt x="162688" y="318901"/>
                  <a:pt x="167105" y="314578"/>
                  <a:pt x="166688" y="309575"/>
                </a:cubicBezTo>
                <a:cubicBezTo>
                  <a:pt x="166246" y="304269"/>
                  <a:pt x="161925" y="300050"/>
                  <a:pt x="159544" y="295288"/>
                </a:cubicBezTo>
                <a:cubicBezTo>
                  <a:pt x="152400" y="296082"/>
                  <a:pt x="145086" y="295926"/>
                  <a:pt x="138113" y="297669"/>
                </a:cubicBezTo>
                <a:cubicBezTo>
                  <a:pt x="134171" y="298654"/>
                  <a:pt x="125928" y="307051"/>
                  <a:pt x="123825" y="309575"/>
                </a:cubicBezTo>
                <a:cubicBezTo>
                  <a:pt x="121993" y="311774"/>
                  <a:pt x="121087" y="314695"/>
                  <a:pt x="119063" y="316719"/>
                </a:cubicBezTo>
                <a:cubicBezTo>
                  <a:pt x="117039" y="318743"/>
                  <a:pt x="114300" y="319894"/>
                  <a:pt x="111919" y="321482"/>
                </a:cubicBezTo>
                <a:cubicBezTo>
                  <a:pt x="110331" y="325451"/>
                  <a:pt x="108135" y="329227"/>
                  <a:pt x="107156" y="333388"/>
                </a:cubicBezTo>
                <a:cubicBezTo>
                  <a:pt x="100005" y="363780"/>
                  <a:pt x="112069" y="365187"/>
                  <a:pt x="95250" y="359582"/>
                </a:cubicBezTo>
                <a:lnTo>
                  <a:pt x="66675" y="340532"/>
                </a:lnTo>
                <a:cubicBezTo>
                  <a:pt x="62706" y="338944"/>
                  <a:pt x="58771" y="337270"/>
                  <a:pt x="54769" y="335769"/>
                </a:cubicBezTo>
                <a:cubicBezTo>
                  <a:pt x="52419" y="334888"/>
                  <a:pt x="49919" y="334407"/>
                  <a:pt x="47625" y="333388"/>
                </a:cubicBezTo>
                <a:cubicBezTo>
                  <a:pt x="35784" y="328125"/>
                  <a:pt x="32179" y="325549"/>
                  <a:pt x="21431" y="319100"/>
                </a:cubicBezTo>
                <a:cubicBezTo>
                  <a:pt x="22225" y="291319"/>
                  <a:pt x="22389" y="263513"/>
                  <a:pt x="23813" y="235757"/>
                </a:cubicBezTo>
                <a:cubicBezTo>
                  <a:pt x="23981" y="232489"/>
                  <a:pt x="25961" y="229496"/>
                  <a:pt x="26194" y="226232"/>
                </a:cubicBezTo>
                <a:cubicBezTo>
                  <a:pt x="27552" y="207214"/>
                  <a:pt x="27781" y="188132"/>
                  <a:pt x="28575" y="169082"/>
                </a:cubicBezTo>
                <a:cubicBezTo>
                  <a:pt x="26988" y="161144"/>
                  <a:pt x="27163" y="152638"/>
                  <a:pt x="23813" y="145269"/>
                </a:cubicBezTo>
                <a:cubicBezTo>
                  <a:pt x="22774" y="142984"/>
                  <a:pt x="18758" y="144280"/>
                  <a:pt x="16669" y="142888"/>
                </a:cubicBezTo>
                <a:cubicBezTo>
                  <a:pt x="13867" y="141020"/>
                  <a:pt x="11906" y="138125"/>
                  <a:pt x="9525" y="135744"/>
                </a:cubicBezTo>
                <a:cubicBezTo>
                  <a:pt x="8731" y="132569"/>
                  <a:pt x="8179" y="129324"/>
                  <a:pt x="7144" y="126219"/>
                </a:cubicBezTo>
                <a:cubicBezTo>
                  <a:pt x="-1823" y="99319"/>
                  <a:pt x="5706" y="127614"/>
                  <a:pt x="0" y="104788"/>
                </a:cubicBezTo>
                <a:cubicBezTo>
                  <a:pt x="6350" y="103200"/>
                  <a:pt x="13604" y="103655"/>
                  <a:pt x="19050" y="100025"/>
                </a:cubicBezTo>
                <a:cubicBezTo>
                  <a:pt x="21431" y="98438"/>
                  <a:pt x="23682" y="96633"/>
                  <a:pt x="26194" y="95263"/>
                </a:cubicBezTo>
                <a:cubicBezTo>
                  <a:pt x="32427" y="91863"/>
                  <a:pt x="39337" y="89676"/>
                  <a:pt x="45244" y="85738"/>
                </a:cubicBezTo>
                <a:cubicBezTo>
                  <a:pt x="62333" y="74345"/>
                  <a:pt x="55484" y="80260"/>
                  <a:pt x="66675" y="69069"/>
                </a:cubicBezTo>
                <a:cubicBezTo>
                  <a:pt x="67469" y="66688"/>
                  <a:pt x="58072" y="59205"/>
                  <a:pt x="59531" y="57162"/>
                </a:cubicBezTo>
                <a:cubicBezTo>
                  <a:pt x="76974" y="32741"/>
                  <a:pt x="108705" y="51284"/>
                  <a:pt x="142875" y="50019"/>
                </a:cubicBezTo>
                <a:cubicBezTo>
                  <a:pt x="202527" y="45049"/>
                  <a:pt x="181890" y="51304"/>
                  <a:pt x="207169" y="42875"/>
                </a:cubicBezTo>
                <a:cubicBezTo>
                  <a:pt x="207963" y="39700"/>
                  <a:pt x="208965" y="36570"/>
                  <a:pt x="209550" y="33350"/>
                </a:cubicBezTo>
                <a:cubicBezTo>
                  <a:pt x="210554" y="27828"/>
                  <a:pt x="209772" y="21863"/>
                  <a:pt x="211931" y="16682"/>
                </a:cubicBezTo>
                <a:cubicBezTo>
                  <a:pt x="213886" y="11990"/>
                  <a:pt x="218281" y="8744"/>
                  <a:pt x="221456" y="4775"/>
                </a:cubicBezTo>
                <a:cubicBezTo>
                  <a:pt x="227012" y="5569"/>
                  <a:pt x="232603" y="6153"/>
                  <a:pt x="238125" y="7157"/>
                </a:cubicBezTo>
                <a:cubicBezTo>
                  <a:pt x="241345" y="7742"/>
                  <a:pt x="243284" y="10729"/>
                  <a:pt x="247650" y="9538"/>
                </a:cubicBezTo>
                <a:cubicBezTo>
                  <a:pt x="252016" y="8347"/>
                  <a:pt x="257175" y="-384"/>
                  <a:pt x="264319" y="13"/>
                </a:cubicBezTo>
                <a:cubicBezTo>
                  <a:pt x="271463" y="410"/>
                  <a:pt x="286148" y="10729"/>
                  <a:pt x="290513" y="11919"/>
                </a:cubicBezTo>
                <a:cubicBezTo>
                  <a:pt x="292894" y="12713"/>
                  <a:pt x="295411" y="13178"/>
                  <a:pt x="297656" y="14300"/>
                </a:cubicBezTo>
                <a:cubicBezTo>
                  <a:pt x="307399" y="19172"/>
                  <a:pt x="318065" y="32328"/>
                  <a:pt x="323850" y="38113"/>
                </a:cubicBezTo>
                <a:lnTo>
                  <a:pt x="330994" y="45257"/>
                </a:lnTo>
                <a:cubicBezTo>
                  <a:pt x="326231" y="46844"/>
                  <a:pt x="317329" y="45038"/>
                  <a:pt x="316706" y="50019"/>
                </a:cubicBezTo>
                <a:cubicBezTo>
                  <a:pt x="315912" y="56369"/>
                  <a:pt x="315877" y="62861"/>
                  <a:pt x="314325" y="69069"/>
                </a:cubicBezTo>
                <a:cubicBezTo>
                  <a:pt x="313464" y="72513"/>
                  <a:pt x="312951" y="77535"/>
                  <a:pt x="309563" y="78594"/>
                </a:cubicBezTo>
                <a:cubicBezTo>
                  <a:pt x="298929" y="81917"/>
                  <a:pt x="287338" y="80181"/>
                  <a:pt x="276225" y="80975"/>
                </a:cubicBezTo>
                <a:cubicBezTo>
                  <a:pt x="277019" y="88913"/>
                  <a:pt x="277884" y="96844"/>
                  <a:pt x="278606" y="104788"/>
                </a:cubicBezTo>
                <a:cubicBezTo>
                  <a:pt x="279471" y="114307"/>
                  <a:pt x="278670" y="124090"/>
                  <a:pt x="280988" y="133363"/>
                </a:cubicBezTo>
                <a:cubicBezTo>
                  <a:pt x="281951" y="137213"/>
                  <a:pt x="286028" y="139523"/>
                  <a:pt x="288131" y="142888"/>
                </a:cubicBezTo>
                <a:cubicBezTo>
                  <a:pt x="290012" y="145898"/>
                  <a:pt x="291306" y="149238"/>
                  <a:pt x="292894" y="152413"/>
                </a:cubicBezTo>
                <a:cubicBezTo>
                  <a:pt x="294467" y="158706"/>
                  <a:pt x="297656" y="170387"/>
                  <a:pt x="297656" y="176225"/>
                </a:cubicBezTo>
                <a:cubicBezTo>
                  <a:pt x="297656" y="188158"/>
                  <a:pt x="294878" y="204007"/>
                  <a:pt x="295275" y="211944"/>
                </a:cubicBezTo>
                <a:cubicBezTo>
                  <a:pt x="295672" y="219881"/>
                  <a:pt x="301625" y="220675"/>
                  <a:pt x="300038" y="223850"/>
                </a:cubicBezTo>
                <a:cubicBezTo>
                  <a:pt x="299244" y="235756"/>
                  <a:pt x="291306" y="251235"/>
                  <a:pt x="288131" y="257188"/>
                </a:cubicBezTo>
                <a:cubicBezTo>
                  <a:pt x="284956" y="263141"/>
                  <a:pt x="283233" y="258447"/>
                  <a:pt x="280988" y="259569"/>
                </a:cubicBezTo>
                <a:cubicBezTo>
                  <a:pt x="255046" y="272540"/>
                  <a:pt x="284025" y="261731"/>
                  <a:pt x="254794" y="271475"/>
                </a:cubicBezTo>
                <a:lnTo>
                  <a:pt x="247650" y="273857"/>
                </a:lnTo>
                <a:cubicBezTo>
                  <a:pt x="229904" y="291603"/>
                  <a:pt x="235744" y="287351"/>
                  <a:pt x="233363" y="292907"/>
                </a:cubicBezTo>
                <a:cubicBezTo>
                  <a:pt x="230982" y="298463"/>
                  <a:pt x="235467" y="303830"/>
                  <a:pt x="233363" y="307195"/>
                </a:cubicBezTo>
                <a:cubicBezTo>
                  <a:pt x="229158" y="313922"/>
                  <a:pt x="221390" y="312155"/>
                  <a:pt x="219075" y="319100"/>
                </a:cubicBezTo>
                <a:cubicBezTo>
                  <a:pt x="218281" y="324656"/>
                  <a:pt x="216297" y="331800"/>
                  <a:pt x="216694" y="335769"/>
                </a:cubicBezTo>
                <a:cubicBezTo>
                  <a:pt x="217091" y="339738"/>
                  <a:pt x="221456" y="340403"/>
                  <a:pt x="221456" y="342913"/>
                </a:cubicBezTo>
                <a:cubicBezTo>
                  <a:pt x="221456" y="345423"/>
                  <a:pt x="215900" y="347676"/>
                  <a:pt x="216694" y="350057"/>
                </a:cubicBezTo>
                <a:cubicBezTo>
                  <a:pt x="217488" y="355613"/>
                  <a:pt x="218152" y="361189"/>
                  <a:pt x="219075" y="366725"/>
                </a:cubicBezTo>
                <a:cubicBezTo>
                  <a:pt x="219740" y="370718"/>
                  <a:pt x="221456" y="374584"/>
                  <a:pt x="221456" y="378632"/>
                </a:cubicBezTo>
                <a:cubicBezTo>
                  <a:pt x="221456" y="388981"/>
                  <a:pt x="220359" y="399319"/>
                  <a:pt x="219075" y="409588"/>
                </a:cubicBezTo>
                <a:cubicBezTo>
                  <a:pt x="218764" y="412079"/>
                  <a:pt x="214184" y="416732"/>
                  <a:pt x="216694" y="416732"/>
                </a:cubicBezTo>
                <a:cubicBezTo>
                  <a:pt x="219556" y="416732"/>
                  <a:pt x="220176" y="412148"/>
                  <a:pt x="221456" y="409588"/>
                </a:cubicBezTo>
                <a:cubicBezTo>
                  <a:pt x="225745" y="401009"/>
                  <a:pt x="229394" y="392125"/>
                  <a:pt x="233363" y="383394"/>
                </a:cubicBezTo>
              </a:path>
            </a:pathLst>
          </a:custGeom>
          <a:solidFill>
            <a:srgbClr val="00A194"/>
          </a:solidFill>
          <a:ln w="12700">
            <a:solidFill>
              <a:schemeClr val="bg1"/>
            </a:solidFill>
            <a:round/>
            <a:headEnd/>
            <a:tailEnd/>
          </a:ln>
          <a:effectLst/>
        </p:spPr>
        <p:txBody>
          <a:bodyPr wrap="square"/>
          <a:lstStyle/>
          <a:p>
            <a:endParaRPr lang="en-US" sz="1100" i="1">
              <a:latin typeface="+mn-lt"/>
              <a:ea typeface="+mn-ea"/>
            </a:endParaRPr>
          </a:p>
        </p:txBody>
      </p:sp>
      <p:sp>
        <p:nvSpPr>
          <p:cNvPr id="16" name="Sweden 3">
            <a:extLst>
              <a:ext uri="{FF2B5EF4-FFF2-40B4-BE49-F238E27FC236}">
                <a16:creationId xmlns:a16="http://schemas.microsoft.com/office/drawing/2014/main" id="{C5570ED5-2A31-5DDD-92BC-91F00625FA10}"/>
              </a:ext>
            </a:extLst>
          </p:cNvPr>
          <p:cNvSpPr>
            <a:spLocks/>
          </p:cNvSpPr>
          <p:nvPr/>
        </p:nvSpPr>
        <p:spPr bwMode="auto">
          <a:xfrm rot="21249101">
            <a:off x="9800735" y="1847711"/>
            <a:ext cx="692439" cy="919773"/>
          </a:xfrm>
          <a:custGeom>
            <a:avLst/>
            <a:gdLst>
              <a:gd name="T0" fmla="*/ 2147483647 w 2296"/>
              <a:gd name="T1" fmla="*/ 2147483647 h 4909"/>
              <a:gd name="T2" fmla="*/ 2147483647 w 2296"/>
              <a:gd name="T3" fmla="*/ 2147483647 h 4909"/>
              <a:gd name="T4" fmla="*/ 2147483647 w 2296"/>
              <a:gd name="T5" fmla="*/ 2147483647 h 4909"/>
              <a:gd name="T6" fmla="*/ 2147483647 w 2296"/>
              <a:gd name="T7" fmla="*/ 2147483647 h 4909"/>
              <a:gd name="T8" fmla="*/ 2147483647 w 2296"/>
              <a:gd name="T9" fmla="*/ 2147483647 h 4909"/>
              <a:gd name="T10" fmla="*/ 2147483647 w 2296"/>
              <a:gd name="T11" fmla="*/ 2147483647 h 4909"/>
              <a:gd name="T12" fmla="*/ 2147483647 w 2296"/>
              <a:gd name="T13" fmla="*/ 2147483647 h 4909"/>
              <a:gd name="T14" fmla="*/ 2147483647 w 2296"/>
              <a:gd name="T15" fmla="*/ 2147483647 h 4909"/>
              <a:gd name="T16" fmla="*/ 2147483647 w 2296"/>
              <a:gd name="T17" fmla="*/ 2147483647 h 4909"/>
              <a:gd name="T18" fmla="*/ 2147483647 w 2296"/>
              <a:gd name="T19" fmla="*/ 2147483647 h 4909"/>
              <a:gd name="T20" fmla="*/ 2147483647 w 2296"/>
              <a:gd name="T21" fmla="*/ 2147483647 h 4909"/>
              <a:gd name="T22" fmla="*/ 2147483647 w 2296"/>
              <a:gd name="T23" fmla="*/ 2147483647 h 4909"/>
              <a:gd name="T24" fmla="*/ 2147483647 w 2296"/>
              <a:gd name="T25" fmla="*/ 2147483647 h 4909"/>
              <a:gd name="T26" fmla="*/ 2147483647 w 2296"/>
              <a:gd name="T27" fmla="*/ 2147483647 h 4909"/>
              <a:gd name="T28" fmla="*/ 2147483647 w 2296"/>
              <a:gd name="T29" fmla="*/ 2147483647 h 4909"/>
              <a:gd name="T30" fmla="*/ 2147483647 w 2296"/>
              <a:gd name="T31" fmla="*/ 2147483647 h 4909"/>
              <a:gd name="T32" fmla="*/ 2147483647 w 2296"/>
              <a:gd name="T33" fmla="*/ 2147483647 h 4909"/>
              <a:gd name="T34" fmla="*/ 2147483647 w 2296"/>
              <a:gd name="T35" fmla="*/ 2147483647 h 4909"/>
              <a:gd name="T36" fmla="*/ 2147483647 w 2296"/>
              <a:gd name="T37" fmla="*/ 2147483647 h 4909"/>
              <a:gd name="T38" fmla="*/ 2147483647 w 2296"/>
              <a:gd name="T39" fmla="*/ 2147483647 h 4909"/>
              <a:gd name="T40" fmla="*/ 2147483647 w 2296"/>
              <a:gd name="T41" fmla="*/ 2147483647 h 4909"/>
              <a:gd name="T42" fmla="*/ 2147483647 w 2296"/>
              <a:gd name="T43" fmla="*/ 2147483647 h 4909"/>
              <a:gd name="T44" fmla="*/ 2147483647 w 2296"/>
              <a:gd name="T45" fmla="*/ 2147483647 h 4909"/>
              <a:gd name="T46" fmla="*/ 2147483647 w 2296"/>
              <a:gd name="T47" fmla="*/ 2147483647 h 4909"/>
              <a:gd name="T48" fmla="*/ 2147483647 w 2296"/>
              <a:gd name="T49" fmla="*/ 2147483647 h 4909"/>
              <a:gd name="T50" fmla="*/ 2147483647 w 2296"/>
              <a:gd name="T51" fmla="*/ 2147483647 h 4909"/>
              <a:gd name="T52" fmla="*/ 2147483647 w 2296"/>
              <a:gd name="T53" fmla="*/ 2147483647 h 4909"/>
              <a:gd name="T54" fmla="*/ 2147483647 w 2296"/>
              <a:gd name="T55" fmla="*/ 2147483647 h 4909"/>
              <a:gd name="T56" fmla="*/ 2147483647 w 2296"/>
              <a:gd name="T57" fmla="*/ 2147483647 h 4909"/>
              <a:gd name="T58" fmla="*/ 2147483647 w 2296"/>
              <a:gd name="T59" fmla="*/ 2147483647 h 4909"/>
              <a:gd name="T60" fmla="*/ 2147483647 w 2296"/>
              <a:gd name="T61" fmla="*/ 2147483647 h 4909"/>
              <a:gd name="T62" fmla="*/ 2147483647 w 2296"/>
              <a:gd name="T63" fmla="*/ 2147483647 h 4909"/>
              <a:gd name="T64" fmla="*/ 2147483647 w 2296"/>
              <a:gd name="T65" fmla="*/ 2147483647 h 4909"/>
              <a:gd name="T66" fmla="*/ 2147483647 w 2296"/>
              <a:gd name="T67" fmla="*/ 2147483647 h 4909"/>
              <a:gd name="T68" fmla="*/ 2147483647 w 2296"/>
              <a:gd name="T69" fmla="*/ 2147483647 h 4909"/>
              <a:gd name="T70" fmla="*/ 2147483647 w 2296"/>
              <a:gd name="T71" fmla="*/ 2147483647 h 4909"/>
              <a:gd name="T72" fmla="*/ 2147483647 w 2296"/>
              <a:gd name="T73" fmla="*/ 2147483647 h 4909"/>
              <a:gd name="T74" fmla="*/ 2147483647 w 2296"/>
              <a:gd name="T75" fmla="*/ 2147483647 h 4909"/>
              <a:gd name="T76" fmla="*/ 2147483647 w 2296"/>
              <a:gd name="T77" fmla="*/ 2147483647 h 4909"/>
              <a:gd name="T78" fmla="*/ 2147483647 w 2296"/>
              <a:gd name="T79" fmla="*/ 2147483647 h 4909"/>
              <a:gd name="T80" fmla="*/ 2147483647 w 2296"/>
              <a:gd name="T81" fmla="*/ 2147483647 h 4909"/>
              <a:gd name="T82" fmla="*/ 2147483647 w 2296"/>
              <a:gd name="T83" fmla="*/ 2147483647 h 4909"/>
              <a:gd name="T84" fmla="*/ 2147483647 w 2296"/>
              <a:gd name="T85" fmla="*/ 2147483647 h 4909"/>
              <a:gd name="T86" fmla="*/ 2147483647 w 2296"/>
              <a:gd name="T87" fmla="*/ 2147483647 h 4909"/>
              <a:gd name="T88" fmla="*/ 2147483647 w 2296"/>
              <a:gd name="T89" fmla="*/ 2147483647 h 4909"/>
              <a:gd name="T90" fmla="*/ 2147483647 w 2296"/>
              <a:gd name="T91" fmla="*/ 2147483647 h 4909"/>
              <a:gd name="T92" fmla="*/ 2147483647 w 2296"/>
              <a:gd name="T93" fmla="*/ 2147483647 h 4909"/>
              <a:gd name="T94" fmla="*/ 2147483647 w 2296"/>
              <a:gd name="T95" fmla="*/ 2147483647 h 4909"/>
              <a:gd name="T96" fmla="*/ 2147483647 w 2296"/>
              <a:gd name="T97" fmla="*/ 2147483647 h 4909"/>
              <a:gd name="T98" fmla="*/ 2147483647 w 2296"/>
              <a:gd name="T99" fmla="*/ 2147483647 h 4909"/>
              <a:gd name="T100" fmla="*/ 2147483647 w 2296"/>
              <a:gd name="T101" fmla="*/ 2147483647 h 4909"/>
              <a:gd name="T102" fmla="*/ 2147483647 w 2296"/>
              <a:gd name="T103" fmla="*/ 2147483647 h 4909"/>
              <a:gd name="T104" fmla="*/ 2147483647 w 2296"/>
              <a:gd name="T105" fmla="*/ 2147483647 h 4909"/>
              <a:gd name="T106" fmla="*/ 2147483647 w 2296"/>
              <a:gd name="T107" fmla="*/ 2147483647 h 4909"/>
              <a:gd name="T108" fmla="*/ 2147483647 w 2296"/>
              <a:gd name="T109" fmla="*/ 2147483647 h 4909"/>
              <a:gd name="T110" fmla="*/ 2147483647 w 2296"/>
              <a:gd name="T111" fmla="*/ 2147483647 h 4909"/>
              <a:gd name="T112" fmla="*/ 2147483647 w 2296"/>
              <a:gd name="T113" fmla="*/ 2147483647 h 4909"/>
              <a:gd name="T114" fmla="*/ 2147483647 w 2296"/>
              <a:gd name="T115" fmla="*/ 2147483647 h 49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96"/>
              <a:gd name="T175" fmla="*/ 0 h 4909"/>
              <a:gd name="T176" fmla="*/ 2296 w 2296"/>
              <a:gd name="T177" fmla="*/ 4909 h 4909"/>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332 w 10000"/>
              <a:gd name="connsiteY210" fmla="*/ 3353 h 10000"/>
              <a:gd name="connsiteX211" fmla="*/ 8145 w 10000"/>
              <a:gd name="connsiteY211" fmla="*/ 3267 h 10000"/>
              <a:gd name="connsiteX212" fmla="*/ 8123 w 10000"/>
              <a:gd name="connsiteY212" fmla="*/ 3229 h 10000"/>
              <a:gd name="connsiteX213" fmla="*/ 8153 w 10000"/>
              <a:gd name="connsiteY213" fmla="*/ 3219 h 10000"/>
              <a:gd name="connsiteX214" fmla="*/ 8136 w 10000"/>
              <a:gd name="connsiteY214" fmla="*/ 3180 h 10000"/>
              <a:gd name="connsiteX215" fmla="*/ 8075 w 10000"/>
              <a:gd name="connsiteY215" fmla="*/ 3147 h 10000"/>
              <a:gd name="connsiteX216" fmla="*/ 8079 w 10000"/>
              <a:gd name="connsiteY216" fmla="*/ 3127 h 10000"/>
              <a:gd name="connsiteX217" fmla="*/ 8132 w 10000"/>
              <a:gd name="connsiteY217" fmla="*/ 3100 h 10000"/>
              <a:gd name="connsiteX218" fmla="*/ 8145 w 10000"/>
              <a:gd name="connsiteY218" fmla="*/ 3064 h 10000"/>
              <a:gd name="connsiteX219" fmla="*/ 8258 w 10000"/>
              <a:gd name="connsiteY219" fmla="*/ 3037 h 10000"/>
              <a:gd name="connsiteX220" fmla="*/ 8380 w 10000"/>
              <a:gd name="connsiteY220" fmla="*/ 2860 h 10000"/>
              <a:gd name="connsiteX221" fmla="*/ 8253 w 10000"/>
              <a:gd name="connsiteY221" fmla="*/ 2762 h 10000"/>
              <a:gd name="connsiteX222" fmla="*/ 8267 w 10000"/>
              <a:gd name="connsiteY222" fmla="*/ 2748 h 10000"/>
              <a:gd name="connsiteX223" fmla="*/ 8397 w 10000"/>
              <a:gd name="connsiteY223" fmla="*/ 2705 h 10000"/>
              <a:gd name="connsiteX224" fmla="*/ 8402 w 10000"/>
              <a:gd name="connsiteY224" fmla="*/ 2662 h 10000"/>
              <a:gd name="connsiteX225" fmla="*/ 8449 w 10000"/>
              <a:gd name="connsiteY225" fmla="*/ 2656 h 10000"/>
              <a:gd name="connsiteX226" fmla="*/ 8558 w 10000"/>
              <a:gd name="connsiteY226" fmla="*/ 2677 h 10000"/>
              <a:gd name="connsiteX227" fmla="*/ 8593 w 10000"/>
              <a:gd name="connsiteY227" fmla="*/ 2669 h 10000"/>
              <a:gd name="connsiteX228" fmla="*/ 8606 w 10000"/>
              <a:gd name="connsiteY228" fmla="*/ 2630 h 10000"/>
              <a:gd name="connsiteX229" fmla="*/ 8567 w 10000"/>
              <a:gd name="connsiteY229" fmla="*/ 2605 h 10000"/>
              <a:gd name="connsiteX230" fmla="*/ 8685 w 10000"/>
              <a:gd name="connsiteY230" fmla="*/ 2597 h 10000"/>
              <a:gd name="connsiteX231" fmla="*/ 8698 w 10000"/>
              <a:gd name="connsiteY231" fmla="*/ 2565 h 10000"/>
              <a:gd name="connsiteX232" fmla="*/ 8558 w 10000"/>
              <a:gd name="connsiteY232" fmla="*/ 2481 h 10000"/>
              <a:gd name="connsiteX233" fmla="*/ 8558 w 10000"/>
              <a:gd name="connsiteY233" fmla="*/ 2459 h 10000"/>
              <a:gd name="connsiteX234" fmla="*/ 8698 w 10000"/>
              <a:gd name="connsiteY234" fmla="*/ 2504 h 10000"/>
              <a:gd name="connsiteX235" fmla="*/ 8763 w 10000"/>
              <a:gd name="connsiteY235" fmla="*/ 2548 h 10000"/>
              <a:gd name="connsiteX236" fmla="*/ 8815 w 10000"/>
              <a:gd name="connsiteY236" fmla="*/ 2548 h 10000"/>
              <a:gd name="connsiteX237" fmla="*/ 8789 w 10000"/>
              <a:gd name="connsiteY237" fmla="*/ 2457 h 10000"/>
              <a:gd name="connsiteX238" fmla="*/ 8798 w 10000"/>
              <a:gd name="connsiteY238" fmla="*/ 2467 h 10000"/>
              <a:gd name="connsiteX239" fmla="*/ 8841 w 10000"/>
              <a:gd name="connsiteY239" fmla="*/ 2457 h 10000"/>
              <a:gd name="connsiteX240" fmla="*/ 8855 w 10000"/>
              <a:gd name="connsiteY240" fmla="*/ 2341 h 10000"/>
              <a:gd name="connsiteX241" fmla="*/ 8898 w 10000"/>
              <a:gd name="connsiteY241" fmla="*/ 2332 h 10000"/>
              <a:gd name="connsiteX242" fmla="*/ 8946 w 10000"/>
              <a:gd name="connsiteY242" fmla="*/ 2330 h 10000"/>
              <a:gd name="connsiteX243" fmla="*/ 8946 w 10000"/>
              <a:gd name="connsiteY243" fmla="*/ 2361 h 10000"/>
              <a:gd name="connsiteX244" fmla="*/ 8994 w 10000"/>
              <a:gd name="connsiteY244" fmla="*/ 2389 h 10000"/>
              <a:gd name="connsiteX245" fmla="*/ 9051 w 10000"/>
              <a:gd name="connsiteY245" fmla="*/ 2400 h 10000"/>
              <a:gd name="connsiteX246" fmla="*/ 9094 w 10000"/>
              <a:gd name="connsiteY246" fmla="*/ 2324 h 10000"/>
              <a:gd name="connsiteX247" fmla="*/ 9164 w 10000"/>
              <a:gd name="connsiteY247" fmla="*/ 2347 h 10000"/>
              <a:gd name="connsiteX248" fmla="*/ 9247 w 10000"/>
              <a:gd name="connsiteY248" fmla="*/ 2402 h 10000"/>
              <a:gd name="connsiteX249" fmla="*/ 9286 w 10000"/>
              <a:gd name="connsiteY249" fmla="*/ 2400 h 10000"/>
              <a:gd name="connsiteX250" fmla="*/ 9355 w 10000"/>
              <a:gd name="connsiteY250" fmla="*/ 2428 h 10000"/>
              <a:gd name="connsiteX251" fmla="*/ 9408 w 10000"/>
              <a:gd name="connsiteY251" fmla="*/ 2359 h 10000"/>
              <a:gd name="connsiteX252" fmla="*/ 9717 w 10000"/>
              <a:gd name="connsiteY252" fmla="*/ 2343 h 10000"/>
              <a:gd name="connsiteX253" fmla="*/ 9830 w 10000"/>
              <a:gd name="connsiteY253" fmla="*/ 2369 h 10000"/>
              <a:gd name="connsiteX254" fmla="*/ 9909 w 10000"/>
              <a:gd name="connsiteY254" fmla="*/ 2410 h 10000"/>
              <a:gd name="connsiteX255" fmla="*/ 9948 w 10000"/>
              <a:gd name="connsiteY255" fmla="*/ 2365 h 10000"/>
              <a:gd name="connsiteX256" fmla="*/ 10000 w 10000"/>
              <a:gd name="connsiteY256" fmla="*/ 2349 h 10000"/>
              <a:gd name="connsiteX257" fmla="*/ 9704 w 10000"/>
              <a:gd name="connsiteY257" fmla="*/ 1992 h 10000"/>
              <a:gd name="connsiteX258" fmla="*/ 9743 w 10000"/>
              <a:gd name="connsiteY258" fmla="*/ 1897 h 10000"/>
              <a:gd name="connsiteX259" fmla="*/ 9830 w 10000"/>
              <a:gd name="connsiteY259" fmla="*/ 1819 h 10000"/>
              <a:gd name="connsiteX260" fmla="*/ 9830 w 10000"/>
              <a:gd name="connsiteY260" fmla="*/ 1699 h 10000"/>
              <a:gd name="connsiteX261" fmla="*/ 9556 w 10000"/>
              <a:gd name="connsiteY261" fmla="*/ 1465 h 10000"/>
              <a:gd name="connsiteX262" fmla="*/ 9512 w 10000"/>
              <a:gd name="connsiteY262" fmla="*/ 1379 h 10000"/>
              <a:gd name="connsiteX263" fmla="*/ 9573 w 10000"/>
              <a:gd name="connsiteY263" fmla="*/ 1271 h 10000"/>
              <a:gd name="connsiteX264" fmla="*/ 9543 w 10000"/>
              <a:gd name="connsiteY264" fmla="*/ 1194 h 10000"/>
              <a:gd name="connsiteX265" fmla="*/ 9486 w 10000"/>
              <a:gd name="connsiteY265" fmla="*/ 1159 h 10000"/>
              <a:gd name="connsiteX266" fmla="*/ 9438 w 10000"/>
              <a:gd name="connsiteY266" fmla="*/ 978 h 10000"/>
              <a:gd name="connsiteX267" fmla="*/ 9495 w 10000"/>
              <a:gd name="connsiteY267" fmla="*/ 831 h 10000"/>
              <a:gd name="connsiteX268" fmla="*/ 9077 w 10000"/>
              <a:gd name="connsiteY268" fmla="*/ 517 h 10000"/>
              <a:gd name="connsiteX269" fmla="*/ 8872 w 10000"/>
              <a:gd name="connsiteY269" fmla="*/ 440 h 10000"/>
              <a:gd name="connsiteX270" fmla="*/ 8493 w 10000"/>
              <a:gd name="connsiteY270" fmla="*/ 389 h 10000"/>
              <a:gd name="connsiteX271" fmla="*/ 7709 w 10000"/>
              <a:gd name="connsiteY271" fmla="*/ 26 h 10000"/>
              <a:gd name="connsiteX272" fmla="*/ 7683 w 10000"/>
              <a:gd name="connsiteY272" fmla="*/ 2 h 10000"/>
              <a:gd name="connsiteX273" fmla="*/ 7417 w 10000"/>
              <a:gd name="connsiteY273" fmla="*/ 0 h 10000"/>
              <a:gd name="connsiteX274" fmla="*/ 7356 w 10000"/>
              <a:gd name="connsiteY274" fmla="*/ 14 h 10000"/>
              <a:gd name="connsiteX275" fmla="*/ 7369 w 10000"/>
              <a:gd name="connsiteY275" fmla="*/ 61 h 10000"/>
              <a:gd name="connsiteX276" fmla="*/ 7422 w 10000"/>
              <a:gd name="connsiteY276" fmla="*/ 86 h 10000"/>
              <a:gd name="connsiteX277" fmla="*/ 7435 w 10000"/>
              <a:gd name="connsiteY277" fmla="*/ 139 h 10000"/>
              <a:gd name="connsiteX278" fmla="*/ 7417 w 10000"/>
              <a:gd name="connsiteY278" fmla="*/ 181 h 10000"/>
              <a:gd name="connsiteX279" fmla="*/ 7369 w 10000"/>
              <a:gd name="connsiteY279" fmla="*/ 208 h 10000"/>
              <a:gd name="connsiteX280" fmla="*/ 7334 w 10000"/>
              <a:gd name="connsiteY280" fmla="*/ 283 h 10000"/>
              <a:gd name="connsiteX281" fmla="*/ 7269 w 10000"/>
              <a:gd name="connsiteY281" fmla="*/ 336 h 10000"/>
              <a:gd name="connsiteX282" fmla="*/ 7282 w 10000"/>
              <a:gd name="connsiteY282" fmla="*/ 387 h 10000"/>
              <a:gd name="connsiteX283" fmla="*/ 7382 w 10000"/>
              <a:gd name="connsiteY283" fmla="*/ 434 h 10000"/>
              <a:gd name="connsiteX284" fmla="*/ 7317 w 10000"/>
              <a:gd name="connsiteY284" fmla="*/ 475 h 10000"/>
              <a:gd name="connsiteX285" fmla="*/ 7221 w 10000"/>
              <a:gd name="connsiteY285" fmla="*/ 485 h 10000"/>
              <a:gd name="connsiteX286" fmla="*/ 6420 w 10000"/>
              <a:gd name="connsiteY286" fmla="*/ 387 h 10000"/>
              <a:gd name="connsiteX287" fmla="*/ 6324 w 10000"/>
              <a:gd name="connsiteY287" fmla="*/ 395 h 10000"/>
              <a:gd name="connsiteX288" fmla="*/ 6267 w 10000"/>
              <a:gd name="connsiteY288" fmla="*/ 414 h 10000"/>
              <a:gd name="connsiteX289" fmla="*/ 6211 w 10000"/>
              <a:gd name="connsiteY289" fmla="*/ 462 h 10000"/>
              <a:gd name="connsiteX290" fmla="*/ 6220 w 10000"/>
              <a:gd name="connsiteY290" fmla="*/ 581 h 10000"/>
              <a:gd name="connsiteX291" fmla="*/ 6132 w 10000"/>
              <a:gd name="connsiteY291" fmla="*/ 735 h 10000"/>
              <a:gd name="connsiteX292" fmla="*/ 6024 w 10000"/>
              <a:gd name="connsiteY292" fmla="*/ 815 h 10000"/>
              <a:gd name="connsiteX293" fmla="*/ 5980 w 10000"/>
              <a:gd name="connsiteY293" fmla="*/ 805 h 10000"/>
              <a:gd name="connsiteX294" fmla="*/ 5880 w 10000"/>
              <a:gd name="connsiteY294" fmla="*/ 739 h 10000"/>
              <a:gd name="connsiteX295" fmla="*/ 5753 w 10000"/>
              <a:gd name="connsiteY295" fmla="*/ 705 h 10000"/>
              <a:gd name="connsiteX296" fmla="*/ 5618 w 10000"/>
              <a:gd name="connsiteY296" fmla="*/ 715 h 10000"/>
              <a:gd name="connsiteX297" fmla="*/ 5301 w 10000"/>
              <a:gd name="connsiteY297" fmla="*/ 866 h 10000"/>
              <a:gd name="connsiteX298" fmla="*/ 5218 w 10000"/>
              <a:gd name="connsiteY298" fmla="*/ 1017 h 10000"/>
              <a:gd name="connsiteX299" fmla="*/ 4978 w 10000"/>
              <a:gd name="connsiteY299" fmla="*/ 1153 h 10000"/>
              <a:gd name="connsiteX300" fmla="*/ 4935 w 10000"/>
              <a:gd name="connsiteY300" fmla="*/ 1222 h 10000"/>
              <a:gd name="connsiteX301" fmla="*/ 5061 w 10000"/>
              <a:gd name="connsiteY301" fmla="*/ 1344 h 10000"/>
              <a:gd name="connsiteX302" fmla="*/ 5074 w 10000"/>
              <a:gd name="connsiteY302" fmla="*/ 1412 h 10000"/>
              <a:gd name="connsiteX303" fmla="*/ 4421 w 10000"/>
              <a:gd name="connsiteY303" fmla="*/ 1813 h 10000"/>
              <a:gd name="connsiteX304" fmla="*/ 4220 w 10000"/>
              <a:gd name="connsiteY304" fmla="*/ 2070 h 10000"/>
              <a:gd name="connsiteX305" fmla="*/ 4003 w 10000"/>
              <a:gd name="connsiteY305" fmla="*/ 2135 h 10000"/>
              <a:gd name="connsiteX306" fmla="*/ 3868 w 10000"/>
              <a:gd name="connsiteY306" fmla="*/ 2131 h 10000"/>
              <a:gd name="connsiteX307" fmla="*/ 3785 w 10000"/>
              <a:gd name="connsiteY307" fmla="*/ 2153 h 10000"/>
              <a:gd name="connsiteX308" fmla="*/ 3558 w 10000"/>
              <a:gd name="connsiteY308" fmla="*/ 2793 h 10000"/>
              <a:gd name="connsiteX309" fmla="*/ 3036 w 10000"/>
              <a:gd name="connsiteY309" fmla="*/ 3166 h 10000"/>
              <a:gd name="connsiteX310" fmla="*/ 3040 w 10000"/>
              <a:gd name="connsiteY310" fmla="*/ 3225 h 10000"/>
              <a:gd name="connsiteX311" fmla="*/ 3271 w 10000"/>
              <a:gd name="connsiteY311" fmla="*/ 3392 h 10000"/>
              <a:gd name="connsiteX312" fmla="*/ 3197 w 10000"/>
              <a:gd name="connsiteY312" fmla="*/ 3573 h 10000"/>
              <a:gd name="connsiteX313" fmla="*/ 3062 w 10000"/>
              <a:gd name="connsiteY313" fmla="*/ 3640 h 10000"/>
              <a:gd name="connsiteX314" fmla="*/ 2657 w 10000"/>
              <a:gd name="connsiteY314" fmla="*/ 3595 h 10000"/>
              <a:gd name="connsiteX315" fmla="*/ 2378 w 10000"/>
              <a:gd name="connsiteY315" fmla="*/ 3620 h 10000"/>
              <a:gd name="connsiteX316" fmla="*/ 2152 w 10000"/>
              <a:gd name="connsiteY316" fmla="*/ 3673 h 10000"/>
              <a:gd name="connsiteX317" fmla="*/ 1790 w 10000"/>
              <a:gd name="connsiteY317" fmla="*/ 3840 h 10000"/>
              <a:gd name="connsiteX318" fmla="*/ 1598 w 10000"/>
              <a:gd name="connsiteY318" fmla="*/ 4042 h 10000"/>
              <a:gd name="connsiteX319" fmla="*/ 1616 w 10000"/>
              <a:gd name="connsiteY319" fmla="*/ 4154 h 10000"/>
              <a:gd name="connsiteX320" fmla="*/ 1681 w 10000"/>
              <a:gd name="connsiteY320" fmla="*/ 4241 h 10000"/>
              <a:gd name="connsiteX321" fmla="*/ 1733 w 10000"/>
              <a:gd name="connsiteY321" fmla="*/ 4276 h 10000"/>
              <a:gd name="connsiteX322" fmla="*/ 1638 w 10000"/>
              <a:gd name="connsiteY322" fmla="*/ 4331 h 10000"/>
              <a:gd name="connsiteX323" fmla="*/ 1433 w 10000"/>
              <a:gd name="connsiteY323" fmla="*/ 4710 h 10000"/>
              <a:gd name="connsiteX324" fmla="*/ 1472 w 10000"/>
              <a:gd name="connsiteY324" fmla="*/ 4732 h 10000"/>
              <a:gd name="connsiteX325" fmla="*/ 1503 w 10000"/>
              <a:gd name="connsiteY325" fmla="*/ 4828 h 10000"/>
              <a:gd name="connsiteX326" fmla="*/ 1407 w 10000"/>
              <a:gd name="connsiteY326" fmla="*/ 5227 h 10000"/>
              <a:gd name="connsiteX327" fmla="*/ 1503 w 10000"/>
              <a:gd name="connsiteY327" fmla="*/ 5329 h 10000"/>
              <a:gd name="connsiteX328" fmla="*/ 1764 w 10000"/>
              <a:gd name="connsiteY328" fmla="*/ 5441 h 10000"/>
              <a:gd name="connsiteX329" fmla="*/ 1777 w 10000"/>
              <a:gd name="connsiteY329" fmla="*/ 5578 h 10000"/>
              <a:gd name="connsiteX330" fmla="*/ 1664 w 10000"/>
              <a:gd name="connsiteY330" fmla="*/ 5690 h 10000"/>
              <a:gd name="connsiteX331" fmla="*/ 1503 w 10000"/>
              <a:gd name="connsiteY331" fmla="*/ 5759 h 10000"/>
              <a:gd name="connsiteX332" fmla="*/ 1289 w 10000"/>
              <a:gd name="connsiteY332" fmla="*/ 5787 h 10000"/>
              <a:gd name="connsiteX333" fmla="*/ 1233 w 10000"/>
              <a:gd name="connsiteY333" fmla="*/ 5826 h 10000"/>
              <a:gd name="connsiteX334" fmla="*/ 1359 w 10000"/>
              <a:gd name="connsiteY334" fmla="*/ 5920 h 10000"/>
              <a:gd name="connsiteX335" fmla="*/ 1429 w 10000"/>
              <a:gd name="connsiteY335" fmla="*/ 6142 h 10000"/>
              <a:gd name="connsiteX336" fmla="*/ 1267 w 10000"/>
              <a:gd name="connsiteY336" fmla="*/ 6333 h 10000"/>
              <a:gd name="connsiteX337" fmla="*/ 1324 w 10000"/>
              <a:gd name="connsiteY337" fmla="*/ 6392 h 10000"/>
              <a:gd name="connsiteX338" fmla="*/ 1272 w 10000"/>
              <a:gd name="connsiteY338" fmla="*/ 6492 h 10000"/>
              <a:gd name="connsiteX339" fmla="*/ 1167 w 10000"/>
              <a:gd name="connsiteY339" fmla="*/ 6561 h 10000"/>
              <a:gd name="connsiteX340" fmla="*/ 758 w 10000"/>
              <a:gd name="connsiteY340" fmla="*/ 6614 h 10000"/>
              <a:gd name="connsiteX341" fmla="*/ 732 w 10000"/>
              <a:gd name="connsiteY341" fmla="*/ 6706 h 10000"/>
              <a:gd name="connsiteX342" fmla="*/ 510 w 10000"/>
              <a:gd name="connsiteY342" fmla="*/ 6843 h 10000"/>
              <a:gd name="connsiteX343" fmla="*/ 540 w 10000"/>
              <a:gd name="connsiteY343" fmla="*/ 7040 h 10000"/>
              <a:gd name="connsiteX344" fmla="*/ 353 w 10000"/>
              <a:gd name="connsiteY344" fmla="*/ 7293 h 10000"/>
              <a:gd name="connsiteX345" fmla="*/ 226 w 10000"/>
              <a:gd name="connsiteY345" fmla="*/ 7323 h 10000"/>
              <a:gd name="connsiteX346" fmla="*/ 174 w 10000"/>
              <a:gd name="connsiteY346" fmla="*/ 7262 h 10000"/>
              <a:gd name="connsiteX347" fmla="*/ 109 w 10000"/>
              <a:gd name="connsiteY347" fmla="*/ 7354 h 10000"/>
              <a:gd name="connsiteX348" fmla="*/ 152 w 10000"/>
              <a:gd name="connsiteY348" fmla="*/ 7197 h 10000"/>
              <a:gd name="connsiteX349" fmla="*/ 126 w 10000"/>
              <a:gd name="connsiteY34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145 w 10000"/>
              <a:gd name="connsiteY210" fmla="*/ 3267 h 10000"/>
              <a:gd name="connsiteX211" fmla="*/ 8123 w 10000"/>
              <a:gd name="connsiteY211" fmla="*/ 3229 h 10000"/>
              <a:gd name="connsiteX212" fmla="*/ 8153 w 10000"/>
              <a:gd name="connsiteY212" fmla="*/ 3219 h 10000"/>
              <a:gd name="connsiteX213" fmla="*/ 8136 w 10000"/>
              <a:gd name="connsiteY213" fmla="*/ 3180 h 10000"/>
              <a:gd name="connsiteX214" fmla="*/ 8075 w 10000"/>
              <a:gd name="connsiteY214" fmla="*/ 3147 h 10000"/>
              <a:gd name="connsiteX215" fmla="*/ 8079 w 10000"/>
              <a:gd name="connsiteY215" fmla="*/ 3127 h 10000"/>
              <a:gd name="connsiteX216" fmla="*/ 8132 w 10000"/>
              <a:gd name="connsiteY216" fmla="*/ 3100 h 10000"/>
              <a:gd name="connsiteX217" fmla="*/ 8145 w 10000"/>
              <a:gd name="connsiteY217" fmla="*/ 3064 h 10000"/>
              <a:gd name="connsiteX218" fmla="*/ 8258 w 10000"/>
              <a:gd name="connsiteY218" fmla="*/ 3037 h 10000"/>
              <a:gd name="connsiteX219" fmla="*/ 8380 w 10000"/>
              <a:gd name="connsiteY219" fmla="*/ 2860 h 10000"/>
              <a:gd name="connsiteX220" fmla="*/ 8253 w 10000"/>
              <a:gd name="connsiteY220" fmla="*/ 2762 h 10000"/>
              <a:gd name="connsiteX221" fmla="*/ 8267 w 10000"/>
              <a:gd name="connsiteY221" fmla="*/ 2748 h 10000"/>
              <a:gd name="connsiteX222" fmla="*/ 8397 w 10000"/>
              <a:gd name="connsiteY222" fmla="*/ 2705 h 10000"/>
              <a:gd name="connsiteX223" fmla="*/ 8402 w 10000"/>
              <a:gd name="connsiteY223" fmla="*/ 2662 h 10000"/>
              <a:gd name="connsiteX224" fmla="*/ 8449 w 10000"/>
              <a:gd name="connsiteY224" fmla="*/ 2656 h 10000"/>
              <a:gd name="connsiteX225" fmla="*/ 8558 w 10000"/>
              <a:gd name="connsiteY225" fmla="*/ 2677 h 10000"/>
              <a:gd name="connsiteX226" fmla="*/ 8593 w 10000"/>
              <a:gd name="connsiteY226" fmla="*/ 2669 h 10000"/>
              <a:gd name="connsiteX227" fmla="*/ 8606 w 10000"/>
              <a:gd name="connsiteY227" fmla="*/ 2630 h 10000"/>
              <a:gd name="connsiteX228" fmla="*/ 8567 w 10000"/>
              <a:gd name="connsiteY228" fmla="*/ 2605 h 10000"/>
              <a:gd name="connsiteX229" fmla="*/ 8685 w 10000"/>
              <a:gd name="connsiteY229" fmla="*/ 2597 h 10000"/>
              <a:gd name="connsiteX230" fmla="*/ 8698 w 10000"/>
              <a:gd name="connsiteY230" fmla="*/ 2565 h 10000"/>
              <a:gd name="connsiteX231" fmla="*/ 8558 w 10000"/>
              <a:gd name="connsiteY231" fmla="*/ 2481 h 10000"/>
              <a:gd name="connsiteX232" fmla="*/ 8558 w 10000"/>
              <a:gd name="connsiteY232" fmla="*/ 2459 h 10000"/>
              <a:gd name="connsiteX233" fmla="*/ 8698 w 10000"/>
              <a:gd name="connsiteY233" fmla="*/ 2504 h 10000"/>
              <a:gd name="connsiteX234" fmla="*/ 8763 w 10000"/>
              <a:gd name="connsiteY234" fmla="*/ 2548 h 10000"/>
              <a:gd name="connsiteX235" fmla="*/ 8815 w 10000"/>
              <a:gd name="connsiteY235" fmla="*/ 2548 h 10000"/>
              <a:gd name="connsiteX236" fmla="*/ 8789 w 10000"/>
              <a:gd name="connsiteY236" fmla="*/ 2457 h 10000"/>
              <a:gd name="connsiteX237" fmla="*/ 8798 w 10000"/>
              <a:gd name="connsiteY237" fmla="*/ 2467 h 10000"/>
              <a:gd name="connsiteX238" fmla="*/ 8841 w 10000"/>
              <a:gd name="connsiteY238" fmla="*/ 2457 h 10000"/>
              <a:gd name="connsiteX239" fmla="*/ 8855 w 10000"/>
              <a:gd name="connsiteY239" fmla="*/ 2341 h 10000"/>
              <a:gd name="connsiteX240" fmla="*/ 8898 w 10000"/>
              <a:gd name="connsiteY240" fmla="*/ 2332 h 10000"/>
              <a:gd name="connsiteX241" fmla="*/ 8946 w 10000"/>
              <a:gd name="connsiteY241" fmla="*/ 2330 h 10000"/>
              <a:gd name="connsiteX242" fmla="*/ 8946 w 10000"/>
              <a:gd name="connsiteY242" fmla="*/ 2361 h 10000"/>
              <a:gd name="connsiteX243" fmla="*/ 8994 w 10000"/>
              <a:gd name="connsiteY243" fmla="*/ 2389 h 10000"/>
              <a:gd name="connsiteX244" fmla="*/ 9051 w 10000"/>
              <a:gd name="connsiteY244" fmla="*/ 2400 h 10000"/>
              <a:gd name="connsiteX245" fmla="*/ 9094 w 10000"/>
              <a:gd name="connsiteY245" fmla="*/ 2324 h 10000"/>
              <a:gd name="connsiteX246" fmla="*/ 9164 w 10000"/>
              <a:gd name="connsiteY246" fmla="*/ 2347 h 10000"/>
              <a:gd name="connsiteX247" fmla="*/ 9247 w 10000"/>
              <a:gd name="connsiteY247" fmla="*/ 2402 h 10000"/>
              <a:gd name="connsiteX248" fmla="*/ 9286 w 10000"/>
              <a:gd name="connsiteY248" fmla="*/ 2400 h 10000"/>
              <a:gd name="connsiteX249" fmla="*/ 9355 w 10000"/>
              <a:gd name="connsiteY249" fmla="*/ 2428 h 10000"/>
              <a:gd name="connsiteX250" fmla="*/ 9408 w 10000"/>
              <a:gd name="connsiteY250" fmla="*/ 2359 h 10000"/>
              <a:gd name="connsiteX251" fmla="*/ 9717 w 10000"/>
              <a:gd name="connsiteY251" fmla="*/ 2343 h 10000"/>
              <a:gd name="connsiteX252" fmla="*/ 9830 w 10000"/>
              <a:gd name="connsiteY252" fmla="*/ 2369 h 10000"/>
              <a:gd name="connsiteX253" fmla="*/ 9909 w 10000"/>
              <a:gd name="connsiteY253" fmla="*/ 2410 h 10000"/>
              <a:gd name="connsiteX254" fmla="*/ 9948 w 10000"/>
              <a:gd name="connsiteY254" fmla="*/ 2365 h 10000"/>
              <a:gd name="connsiteX255" fmla="*/ 10000 w 10000"/>
              <a:gd name="connsiteY255" fmla="*/ 2349 h 10000"/>
              <a:gd name="connsiteX256" fmla="*/ 9704 w 10000"/>
              <a:gd name="connsiteY256" fmla="*/ 1992 h 10000"/>
              <a:gd name="connsiteX257" fmla="*/ 9743 w 10000"/>
              <a:gd name="connsiteY257" fmla="*/ 1897 h 10000"/>
              <a:gd name="connsiteX258" fmla="*/ 9830 w 10000"/>
              <a:gd name="connsiteY258" fmla="*/ 1819 h 10000"/>
              <a:gd name="connsiteX259" fmla="*/ 9830 w 10000"/>
              <a:gd name="connsiteY259" fmla="*/ 1699 h 10000"/>
              <a:gd name="connsiteX260" fmla="*/ 9556 w 10000"/>
              <a:gd name="connsiteY260" fmla="*/ 1465 h 10000"/>
              <a:gd name="connsiteX261" fmla="*/ 9512 w 10000"/>
              <a:gd name="connsiteY261" fmla="*/ 1379 h 10000"/>
              <a:gd name="connsiteX262" fmla="*/ 9573 w 10000"/>
              <a:gd name="connsiteY262" fmla="*/ 1271 h 10000"/>
              <a:gd name="connsiteX263" fmla="*/ 9543 w 10000"/>
              <a:gd name="connsiteY263" fmla="*/ 1194 h 10000"/>
              <a:gd name="connsiteX264" fmla="*/ 9486 w 10000"/>
              <a:gd name="connsiteY264" fmla="*/ 1159 h 10000"/>
              <a:gd name="connsiteX265" fmla="*/ 9438 w 10000"/>
              <a:gd name="connsiteY265" fmla="*/ 978 h 10000"/>
              <a:gd name="connsiteX266" fmla="*/ 9495 w 10000"/>
              <a:gd name="connsiteY266" fmla="*/ 831 h 10000"/>
              <a:gd name="connsiteX267" fmla="*/ 9077 w 10000"/>
              <a:gd name="connsiteY267" fmla="*/ 517 h 10000"/>
              <a:gd name="connsiteX268" fmla="*/ 8872 w 10000"/>
              <a:gd name="connsiteY268" fmla="*/ 440 h 10000"/>
              <a:gd name="connsiteX269" fmla="*/ 8493 w 10000"/>
              <a:gd name="connsiteY269" fmla="*/ 389 h 10000"/>
              <a:gd name="connsiteX270" fmla="*/ 7709 w 10000"/>
              <a:gd name="connsiteY270" fmla="*/ 26 h 10000"/>
              <a:gd name="connsiteX271" fmla="*/ 7683 w 10000"/>
              <a:gd name="connsiteY271" fmla="*/ 2 h 10000"/>
              <a:gd name="connsiteX272" fmla="*/ 7417 w 10000"/>
              <a:gd name="connsiteY272" fmla="*/ 0 h 10000"/>
              <a:gd name="connsiteX273" fmla="*/ 7356 w 10000"/>
              <a:gd name="connsiteY273" fmla="*/ 14 h 10000"/>
              <a:gd name="connsiteX274" fmla="*/ 7369 w 10000"/>
              <a:gd name="connsiteY274" fmla="*/ 61 h 10000"/>
              <a:gd name="connsiteX275" fmla="*/ 7422 w 10000"/>
              <a:gd name="connsiteY275" fmla="*/ 86 h 10000"/>
              <a:gd name="connsiteX276" fmla="*/ 7435 w 10000"/>
              <a:gd name="connsiteY276" fmla="*/ 139 h 10000"/>
              <a:gd name="connsiteX277" fmla="*/ 7417 w 10000"/>
              <a:gd name="connsiteY277" fmla="*/ 181 h 10000"/>
              <a:gd name="connsiteX278" fmla="*/ 7369 w 10000"/>
              <a:gd name="connsiteY278" fmla="*/ 208 h 10000"/>
              <a:gd name="connsiteX279" fmla="*/ 7334 w 10000"/>
              <a:gd name="connsiteY279" fmla="*/ 283 h 10000"/>
              <a:gd name="connsiteX280" fmla="*/ 7269 w 10000"/>
              <a:gd name="connsiteY280" fmla="*/ 336 h 10000"/>
              <a:gd name="connsiteX281" fmla="*/ 7282 w 10000"/>
              <a:gd name="connsiteY281" fmla="*/ 387 h 10000"/>
              <a:gd name="connsiteX282" fmla="*/ 7382 w 10000"/>
              <a:gd name="connsiteY282" fmla="*/ 434 h 10000"/>
              <a:gd name="connsiteX283" fmla="*/ 7317 w 10000"/>
              <a:gd name="connsiteY283" fmla="*/ 475 h 10000"/>
              <a:gd name="connsiteX284" fmla="*/ 7221 w 10000"/>
              <a:gd name="connsiteY284" fmla="*/ 485 h 10000"/>
              <a:gd name="connsiteX285" fmla="*/ 6420 w 10000"/>
              <a:gd name="connsiteY285" fmla="*/ 387 h 10000"/>
              <a:gd name="connsiteX286" fmla="*/ 6324 w 10000"/>
              <a:gd name="connsiteY286" fmla="*/ 395 h 10000"/>
              <a:gd name="connsiteX287" fmla="*/ 6267 w 10000"/>
              <a:gd name="connsiteY287" fmla="*/ 414 h 10000"/>
              <a:gd name="connsiteX288" fmla="*/ 6211 w 10000"/>
              <a:gd name="connsiteY288" fmla="*/ 462 h 10000"/>
              <a:gd name="connsiteX289" fmla="*/ 6220 w 10000"/>
              <a:gd name="connsiteY289" fmla="*/ 581 h 10000"/>
              <a:gd name="connsiteX290" fmla="*/ 6132 w 10000"/>
              <a:gd name="connsiteY290" fmla="*/ 735 h 10000"/>
              <a:gd name="connsiteX291" fmla="*/ 6024 w 10000"/>
              <a:gd name="connsiteY291" fmla="*/ 815 h 10000"/>
              <a:gd name="connsiteX292" fmla="*/ 5980 w 10000"/>
              <a:gd name="connsiteY292" fmla="*/ 805 h 10000"/>
              <a:gd name="connsiteX293" fmla="*/ 5880 w 10000"/>
              <a:gd name="connsiteY293" fmla="*/ 739 h 10000"/>
              <a:gd name="connsiteX294" fmla="*/ 5753 w 10000"/>
              <a:gd name="connsiteY294" fmla="*/ 705 h 10000"/>
              <a:gd name="connsiteX295" fmla="*/ 5618 w 10000"/>
              <a:gd name="connsiteY295" fmla="*/ 715 h 10000"/>
              <a:gd name="connsiteX296" fmla="*/ 5301 w 10000"/>
              <a:gd name="connsiteY296" fmla="*/ 866 h 10000"/>
              <a:gd name="connsiteX297" fmla="*/ 5218 w 10000"/>
              <a:gd name="connsiteY297" fmla="*/ 1017 h 10000"/>
              <a:gd name="connsiteX298" fmla="*/ 4978 w 10000"/>
              <a:gd name="connsiteY298" fmla="*/ 1153 h 10000"/>
              <a:gd name="connsiteX299" fmla="*/ 4935 w 10000"/>
              <a:gd name="connsiteY299" fmla="*/ 1222 h 10000"/>
              <a:gd name="connsiteX300" fmla="*/ 5061 w 10000"/>
              <a:gd name="connsiteY300" fmla="*/ 1344 h 10000"/>
              <a:gd name="connsiteX301" fmla="*/ 5074 w 10000"/>
              <a:gd name="connsiteY301" fmla="*/ 1412 h 10000"/>
              <a:gd name="connsiteX302" fmla="*/ 4421 w 10000"/>
              <a:gd name="connsiteY302" fmla="*/ 1813 h 10000"/>
              <a:gd name="connsiteX303" fmla="*/ 4220 w 10000"/>
              <a:gd name="connsiteY303" fmla="*/ 2070 h 10000"/>
              <a:gd name="connsiteX304" fmla="*/ 4003 w 10000"/>
              <a:gd name="connsiteY304" fmla="*/ 2135 h 10000"/>
              <a:gd name="connsiteX305" fmla="*/ 3868 w 10000"/>
              <a:gd name="connsiteY305" fmla="*/ 2131 h 10000"/>
              <a:gd name="connsiteX306" fmla="*/ 3785 w 10000"/>
              <a:gd name="connsiteY306" fmla="*/ 2153 h 10000"/>
              <a:gd name="connsiteX307" fmla="*/ 3558 w 10000"/>
              <a:gd name="connsiteY307" fmla="*/ 2793 h 10000"/>
              <a:gd name="connsiteX308" fmla="*/ 3036 w 10000"/>
              <a:gd name="connsiteY308" fmla="*/ 3166 h 10000"/>
              <a:gd name="connsiteX309" fmla="*/ 3040 w 10000"/>
              <a:gd name="connsiteY309" fmla="*/ 3225 h 10000"/>
              <a:gd name="connsiteX310" fmla="*/ 3271 w 10000"/>
              <a:gd name="connsiteY310" fmla="*/ 3392 h 10000"/>
              <a:gd name="connsiteX311" fmla="*/ 3197 w 10000"/>
              <a:gd name="connsiteY311" fmla="*/ 3573 h 10000"/>
              <a:gd name="connsiteX312" fmla="*/ 3062 w 10000"/>
              <a:gd name="connsiteY312" fmla="*/ 3640 h 10000"/>
              <a:gd name="connsiteX313" fmla="*/ 2657 w 10000"/>
              <a:gd name="connsiteY313" fmla="*/ 3595 h 10000"/>
              <a:gd name="connsiteX314" fmla="*/ 2378 w 10000"/>
              <a:gd name="connsiteY314" fmla="*/ 3620 h 10000"/>
              <a:gd name="connsiteX315" fmla="*/ 2152 w 10000"/>
              <a:gd name="connsiteY315" fmla="*/ 3673 h 10000"/>
              <a:gd name="connsiteX316" fmla="*/ 1790 w 10000"/>
              <a:gd name="connsiteY316" fmla="*/ 3840 h 10000"/>
              <a:gd name="connsiteX317" fmla="*/ 1598 w 10000"/>
              <a:gd name="connsiteY317" fmla="*/ 4042 h 10000"/>
              <a:gd name="connsiteX318" fmla="*/ 1616 w 10000"/>
              <a:gd name="connsiteY318" fmla="*/ 4154 h 10000"/>
              <a:gd name="connsiteX319" fmla="*/ 1681 w 10000"/>
              <a:gd name="connsiteY319" fmla="*/ 4241 h 10000"/>
              <a:gd name="connsiteX320" fmla="*/ 1733 w 10000"/>
              <a:gd name="connsiteY320" fmla="*/ 4276 h 10000"/>
              <a:gd name="connsiteX321" fmla="*/ 1638 w 10000"/>
              <a:gd name="connsiteY321" fmla="*/ 4331 h 10000"/>
              <a:gd name="connsiteX322" fmla="*/ 1433 w 10000"/>
              <a:gd name="connsiteY322" fmla="*/ 4710 h 10000"/>
              <a:gd name="connsiteX323" fmla="*/ 1472 w 10000"/>
              <a:gd name="connsiteY323" fmla="*/ 4732 h 10000"/>
              <a:gd name="connsiteX324" fmla="*/ 1503 w 10000"/>
              <a:gd name="connsiteY324" fmla="*/ 4828 h 10000"/>
              <a:gd name="connsiteX325" fmla="*/ 1407 w 10000"/>
              <a:gd name="connsiteY325" fmla="*/ 5227 h 10000"/>
              <a:gd name="connsiteX326" fmla="*/ 1503 w 10000"/>
              <a:gd name="connsiteY326" fmla="*/ 5329 h 10000"/>
              <a:gd name="connsiteX327" fmla="*/ 1764 w 10000"/>
              <a:gd name="connsiteY327" fmla="*/ 5441 h 10000"/>
              <a:gd name="connsiteX328" fmla="*/ 1777 w 10000"/>
              <a:gd name="connsiteY328" fmla="*/ 5578 h 10000"/>
              <a:gd name="connsiteX329" fmla="*/ 1664 w 10000"/>
              <a:gd name="connsiteY329" fmla="*/ 5690 h 10000"/>
              <a:gd name="connsiteX330" fmla="*/ 1503 w 10000"/>
              <a:gd name="connsiteY330" fmla="*/ 5759 h 10000"/>
              <a:gd name="connsiteX331" fmla="*/ 1289 w 10000"/>
              <a:gd name="connsiteY331" fmla="*/ 5787 h 10000"/>
              <a:gd name="connsiteX332" fmla="*/ 1233 w 10000"/>
              <a:gd name="connsiteY332" fmla="*/ 5826 h 10000"/>
              <a:gd name="connsiteX333" fmla="*/ 1359 w 10000"/>
              <a:gd name="connsiteY333" fmla="*/ 5920 h 10000"/>
              <a:gd name="connsiteX334" fmla="*/ 1429 w 10000"/>
              <a:gd name="connsiteY334" fmla="*/ 6142 h 10000"/>
              <a:gd name="connsiteX335" fmla="*/ 1267 w 10000"/>
              <a:gd name="connsiteY335" fmla="*/ 6333 h 10000"/>
              <a:gd name="connsiteX336" fmla="*/ 1324 w 10000"/>
              <a:gd name="connsiteY336" fmla="*/ 6392 h 10000"/>
              <a:gd name="connsiteX337" fmla="*/ 1272 w 10000"/>
              <a:gd name="connsiteY337" fmla="*/ 6492 h 10000"/>
              <a:gd name="connsiteX338" fmla="*/ 1167 w 10000"/>
              <a:gd name="connsiteY338" fmla="*/ 6561 h 10000"/>
              <a:gd name="connsiteX339" fmla="*/ 758 w 10000"/>
              <a:gd name="connsiteY339" fmla="*/ 6614 h 10000"/>
              <a:gd name="connsiteX340" fmla="*/ 732 w 10000"/>
              <a:gd name="connsiteY340" fmla="*/ 6706 h 10000"/>
              <a:gd name="connsiteX341" fmla="*/ 510 w 10000"/>
              <a:gd name="connsiteY341" fmla="*/ 6843 h 10000"/>
              <a:gd name="connsiteX342" fmla="*/ 540 w 10000"/>
              <a:gd name="connsiteY342" fmla="*/ 7040 h 10000"/>
              <a:gd name="connsiteX343" fmla="*/ 353 w 10000"/>
              <a:gd name="connsiteY343" fmla="*/ 7293 h 10000"/>
              <a:gd name="connsiteX344" fmla="*/ 226 w 10000"/>
              <a:gd name="connsiteY344" fmla="*/ 7323 h 10000"/>
              <a:gd name="connsiteX345" fmla="*/ 174 w 10000"/>
              <a:gd name="connsiteY345" fmla="*/ 7262 h 10000"/>
              <a:gd name="connsiteX346" fmla="*/ 109 w 10000"/>
              <a:gd name="connsiteY346" fmla="*/ 7354 h 10000"/>
              <a:gd name="connsiteX347" fmla="*/ 152 w 10000"/>
              <a:gd name="connsiteY347" fmla="*/ 7197 h 10000"/>
              <a:gd name="connsiteX348" fmla="*/ 126 w 10000"/>
              <a:gd name="connsiteY34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145 w 10000"/>
              <a:gd name="connsiteY210" fmla="*/ 3267 h 10000"/>
              <a:gd name="connsiteX211" fmla="*/ 8123 w 10000"/>
              <a:gd name="connsiteY211" fmla="*/ 3229 h 10000"/>
              <a:gd name="connsiteX212" fmla="*/ 8153 w 10000"/>
              <a:gd name="connsiteY212" fmla="*/ 3219 h 10000"/>
              <a:gd name="connsiteX213" fmla="*/ 8075 w 10000"/>
              <a:gd name="connsiteY213" fmla="*/ 3147 h 10000"/>
              <a:gd name="connsiteX214" fmla="*/ 8079 w 10000"/>
              <a:gd name="connsiteY214" fmla="*/ 3127 h 10000"/>
              <a:gd name="connsiteX215" fmla="*/ 8132 w 10000"/>
              <a:gd name="connsiteY215" fmla="*/ 3100 h 10000"/>
              <a:gd name="connsiteX216" fmla="*/ 8145 w 10000"/>
              <a:gd name="connsiteY216" fmla="*/ 3064 h 10000"/>
              <a:gd name="connsiteX217" fmla="*/ 8258 w 10000"/>
              <a:gd name="connsiteY217" fmla="*/ 3037 h 10000"/>
              <a:gd name="connsiteX218" fmla="*/ 8380 w 10000"/>
              <a:gd name="connsiteY218" fmla="*/ 2860 h 10000"/>
              <a:gd name="connsiteX219" fmla="*/ 8253 w 10000"/>
              <a:gd name="connsiteY219" fmla="*/ 2762 h 10000"/>
              <a:gd name="connsiteX220" fmla="*/ 8267 w 10000"/>
              <a:gd name="connsiteY220" fmla="*/ 2748 h 10000"/>
              <a:gd name="connsiteX221" fmla="*/ 8397 w 10000"/>
              <a:gd name="connsiteY221" fmla="*/ 2705 h 10000"/>
              <a:gd name="connsiteX222" fmla="*/ 8402 w 10000"/>
              <a:gd name="connsiteY222" fmla="*/ 2662 h 10000"/>
              <a:gd name="connsiteX223" fmla="*/ 8449 w 10000"/>
              <a:gd name="connsiteY223" fmla="*/ 2656 h 10000"/>
              <a:gd name="connsiteX224" fmla="*/ 8558 w 10000"/>
              <a:gd name="connsiteY224" fmla="*/ 2677 h 10000"/>
              <a:gd name="connsiteX225" fmla="*/ 8593 w 10000"/>
              <a:gd name="connsiteY225" fmla="*/ 2669 h 10000"/>
              <a:gd name="connsiteX226" fmla="*/ 8606 w 10000"/>
              <a:gd name="connsiteY226" fmla="*/ 2630 h 10000"/>
              <a:gd name="connsiteX227" fmla="*/ 8567 w 10000"/>
              <a:gd name="connsiteY227" fmla="*/ 2605 h 10000"/>
              <a:gd name="connsiteX228" fmla="*/ 8685 w 10000"/>
              <a:gd name="connsiteY228" fmla="*/ 2597 h 10000"/>
              <a:gd name="connsiteX229" fmla="*/ 8698 w 10000"/>
              <a:gd name="connsiteY229" fmla="*/ 2565 h 10000"/>
              <a:gd name="connsiteX230" fmla="*/ 8558 w 10000"/>
              <a:gd name="connsiteY230" fmla="*/ 2481 h 10000"/>
              <a:gd name="connsiteX231" fmla="*/ 8558 w 10000"/>
              <a:gd name="connsiteY231" fmla="*/ 2459 h 10000"/>
              <a:gd name="connsiteX232" fmla="*/ 8698 w 10000"/>
              <a:gd name="connsiteY232" fmla="*/ 2504 h 10000"/>
              <a:gd name="connsiteX233" fmla="*/ 8763 w 10000"/>
              <a:gd name="connsiteY233" fmla="*/ 2548 h 10000"/>
              <a:gd name="connsiteX234" fmla="*/ 8815 w 10000"/>
              <a:gd name="connsiteY234" fmla="*/ 2548 h 10000"/>
              <a:gd name="connsiteX235" fmla="*/ 8789 w 10000"/>
              <a:gd name="connsiteY235" fmla="*/ 2457 h 10000"/>
              <a:gd name="connsiteX236" fmla="*/ 8798 w 10000"/>
              <a:gd name="connsiteY236" fmla="*/ 2467 h 10000"/>
              <a:gd name="connsiteX237" fmla="*/ 8841 w 10000"/>
              <a:gd name="connsiteY237" fmla="*/ 2457 h 10000"/>
              <a:gd name="connsiteX238" fmla="*/ 8855 w 10000"/>
              <a:gd name="connsiteY238" fmla="*/ 2341 h 10000"/>
              <a:gd name="connsiteX239" fmla="*/ 8898 w 10000"/>
              <a:gd name="connsiteY239" fmla="*/ 2332 h 10000"/>
              <a:gd name="connsiteX240" fmla="*/ 8946 w 10000"/>
              <a:gd name="connsiteY240" fmla="*/ 2330 h 10000"/>
              <a:gd name="connsiteX241" fmla="*/ 8946 w 10000"/>
              <a:gd name="connsiteY241" fmla="*/ 2361 h 10000"/>
              <a:gd name="connsiteX242" fmla="*/ 8994 w 10000"/>
              <a:gd name="connsiteY242" fmla="*/ 2389 h 10000"/>
              <a:gd name="connsiteX243" fmla="*/ 9051 w 10000"/>
              <a:gd name="connsiteY243" fmla="*/ 2400 h 10000"/>
              <a:gd name="connsiteX244" fmla="*/ 9094 w 10000"/>
              <a:gd name="connsiteY244" fmla="*/ 2324 h 10000"/>
              <a:gd name="connsiteX245" fmla="*/ 9164 w 10000"/>
              <a:gd name="connsiteY245" fmla="*/ 2347 h 10000"/>
              <a:gd name="connsiteX246" fmla="*/ 9247 w 10000"/>
              <a:gd name="connsiteY246" fmla="*/ 2402 h 10000"/>
              <a:gd name="connsiteX247" fmla="*/ 9286 w 10000"/>
              <a:gd name="connsiteY247" fmla="*/ 2400 h 10000"/>
              <a:gd name="connsiteX248" fmla="*/ 9355 w 10000"/>
              <a:gd name="connsiteY248" fmla="*/ 2428 h 10000"/>
              <a:gd name="connsiteX249" fmla="*/ 9408 w 10000"/>
              <a:gd name="connsiteY249" fmla="*/ 2359 h 10000"/>
              <a:gd name="connsiteX250" fmla="*/ 9717 w 10000"/>
              <a:gd name="connsiteY250" fmla="*/ 2343 h 10000"/>
              <a:gd name="connsiteX251" fmla="*/ 9830 w 10000"/>
              <a:gd name="connsiteY251" fmla="*/ 2369 h 10000"/>
              <a:gd name="connsiteX252" fmla="*/ 9909 w 10000"/>
              <a:gd name="connsiteY252" fmla="*/ 2410 h 10000"/>
              <a:gd name="connsiteX253" fmla="*/ 9948 w 10000"/>
              <a:gd name="connsiteY253" fmla="*/ 2365 h 10000"/>
              <a:gd name="connsiteX254" fmla="*/ 10000 w 10000"/>
              <a:gd name="connsiteY254" fmla="*/ 2349 h 10000"/>
              <a:gd name="connsiteX255" fmla="*/ 9704 w 10000"/>
              <a:gd name="connsiteY255" fmla="*/ 1992 h 10000"/>
              <a:gd name="connsiteX256" fmla="*/ 9743 w 10000"/>
              <a:gd name="connsiteY256" fmla="*/ 1897 h 10000"/>
              <a:gd name="connsiteX257" fmla="*/ 9830 w 10000"/>
              <a:gd name="connsiteY257" fmla="*/ 1819 h 10000"/>
              <a:gd name="connsiteX258" fmla="*/ 9830 w 10000"/>
              <a:gd name="connsiteY258" fmla="*/ 1699 h 10000"/>
              <a:gd name="connsiteX259" fmla="*/ 9556 w 10000"/>
              <a:gd name="connsiteY259" fmla="*/ 1465 h 10000"/>
              <a:gd name="connsiteX260" fmla="*/ 9512 w 10000"/>
              <a:gd name="connsiteY260" fmla="*/ 1379 h 10000"/>
              <a:gd name="connsiteX261" fmla="*/ 9573 w 10000"/>
              <a:gd name="connsiteY261" fmla="*/ 1271 h 10000"/>
              <a:gd name="connsiteX262" fmla="*/ 9543 w 10000"/>
              <a:gd name="connsiteY262" fmla="*/ 1194 h 10000"/>
              <a:gd name="connsiteX263" fmla="*/ 9486 w 10000"/>
              <a:gd name="connsiteY263" fmla="*/ 1159 h 10000"/>
              <a:gd name="connsiteX264" fmla="*/ 9438 w 10000"/>
              <a:gd name="connsiteY264" fmla="*/ 978 h 10000"/>
              <a:gd name="connsiteX265" fmla="*/ 9495 w 10000"/>
              <a:gd name="connsiteY265" fmla="*/ 831 h 10000"/>
              <a:gd name="connsiteX266" fmla="*/ 9077 w 10000"/>
              <a:gd name="connsiteY266" fmla="*/ 517 h 10000"/>
              <a:gd name="connsiteX267" fmla="*/ 8872 w 10000"/>
              <a:gd name="connsiteY267" fmla="*/ 440 h 10000"/>
              <a:gd name="connsiteX268" fmla="*/ 8493 w 10000"/>
              <a:gd name="connsiteY268" fmla="*/ 389 h 10000"/>
              <a:gd name="connsiteX269" fmla="*/ 7709 w 10000"/>
              <a:gd name="connsiteY269" fmla="*/ 26 h 10000"/>
              <a:gd name="connsiteX270" fmla="*/ 7683 w 10000"/>
              <a:gd name="connsiteY270" fmla="*/ 2 h 10000"/>
              <a:gd name="connsiteX271" fmla="*/ 7417 w 10000"/>
              <a:gd name="connsiteY271" fmla="*/ 0 h 10000"/>
              <a:gd name="connsiteX272" fmla="*/ 7356 w 10000"/>
              <a:gd name="connsiteY272" fmla="*/ 14 h 10000"/>
              <a:gd name="connsiteX273" fmla="*/ 7369 w 10000"/>
              <a:gd name="connsiteY273" fmla="*/ 61 h 10000"/>
              <a:gd name="connsiteX274" fmla="*/ 7422 w 10000"/>
              <a:gd name="connsiteY274" fmla="*/ 86 h 10000"/>
              <a:gd name="connsiteX275" fmla="*/ 7435 w 10000"/>
              <a:gd name="connsiteY275" fmla="*/ 139 h 10000"/>
              <a:gd name="connsiteX276" fmla="*/ 7417 w 10000"/>
              <a:gd name="connsiteY276" fmla="*/ 181 h 10000"/>
              <a:gd name="connsiteX277" fmla="*/ 7369 w 10000"/>
              <a:gd name="connsiteY277" fmla="*/ 208 h 10000"/>
              <a:gd name="connsiteX278" fmla="*/ 7334 w 10000"/>
              <a:gd name="connsiteY278" fmla="*/ 283 h 10000"/>
              <a:gd name="connsiteX279" fmla="*/ 7269 w 10000"/>
              <a:gd name="connsiteY279" fmla="*/ 336 h 10000"/>
              <a:gd name="connsiteX280" fmla="*/ 7282 w 10000"/>
              <a:gd name="connsiteY280" fmla="*/ 387 h 10000"/>
              <a:gd name="connsiteX281" fmla="*/ 7382 w 10000"/>
              <a:gd name="connsiteY281" fmla="*/ 434 h 10000"/>
              <a:gd name="connsiteX282" fmla="*/ 7317 w 10000"/>
              <a:gd name="connsiteY282" fmla="*/ 475 h 10000"/>
              <a:gd name="connsiteX283" fmla="*/ 7221 w 10000"/>
              <a:gd name="connsiteY283" fmla="*/ 485 h 10000"/>
              <a:gd name="connsiteX284" fmla="*/ 6420 w 10000"/>
              <a:gd name="connsiteY284" fmla="*/ 387 h 10000"/>
              <a:gd name="connsiteX285" fmla="*/ 6324 w 10000"/>
              <a:gd name="connsiteY285" fmla="*/ 395 h 10000"/>
              <a:gd name="connsiteX286" fmla="*/ 6267 w 10000"/>
              <a:gd name="connsiteY286" fmla="*/ 414 h 10000"/>
              <a:gd name="connsiteX287" fmla="*/ 6211 w 10000"/>
              <a:gd name="connsiteY287" fmla="*/ 462 h 10000"/>
              <a:gd name="connsiteX288" fmla="*/ 6220 w 10000"/>
              <a:gd name="connsiteY288" fmla="*/ 581 h 10000"/>
              <a:gd name="connsiteX289" fmla="*/ 6132 w 10000"/>
              <a:gd name="connsiteY289" fmla="*/ 735 h 10000"/>
              <a:gd name="connsiteX290" fmla="*/ 6024 w 10000"/>
              <a:gd name="connsiteY290" fmla="*/ 815 h 10000"/>
              <a:gd name="connsiteX291" fmla="*/ 5980 w 10000"/>
              <a:gd name="connsiteY291" fmla="*/ 805 h 10000"/>
              <a:gd name="connsiteX292" fmla="*/ 5880 w 10000"/>
              <a:gd name="connsiteY292" fmla="*/ 739 h 10000"/>
              <a:gd name="connsiteX293" fmla="*/ 5753 w 10000"/>
              <a:gd name="connsiteY293" fmla="*/ 705 h 10000"/>
              <a:gd name="connsiteX294" fmla="*/ 5618 w 10000"/>
              <a:gd name="connsiteY294" fmla="*/ 715 h 10000"/>
              <a:gd name="connsiteX295" fmla="*/ 5301 w 10000"/>
              <a:gd name="connsiteY295" fmla="*/ 866 h 10000"/>
              <a:gd name="connsiteX296" fmla="*/ 5218 w 10000"/>
              <a:gd name="connsiteY296" fmla="*/ 1017 h 10000"/>
              <a:gd name="connsiteX297" fmla="*/ 4978 w 10000"/>
              <a:gd name="connsiteY297" fmla="*/ 1153 h 10000"/>
              <a:gd name="connsiteX298" fmla="*/ 4935 w 10000"/>
              <a:gd name="connsiteY298" fmla="*/ 1222 h 10000"/>
              <a:gd name="connsiteX299" fmla="*/ 5061 w 10000"/>
              <a:gd name="connsiteY299" fmla="*/ 1344 h 10000"/>
              <a:gd name="connsiteX300" fmla="*/ 5074 w 10000"/>
              <a:gd name="connsiteY300" fmla="*/ 1412 h 10000"/>
              <a:gd name="connsiteX301" fmla="*/ 4421 w 10000"/>
              <a:gd name="connsiteY301" fmla="*/ 1813 h 10000"/>
              <a:gd name="connsiteX302" fmla="*/ 4220 w 10000"/>
              <a:gd name="connsiteY302" fmla="*/ 2070 h 10000"/>
              <a:gd name="connsiteX303" fmla="*/ 4003 w 10000"/>
              <a:gd name="connsiteY303" fmla="*/ 2135 h 10000"/>
              <a:gd name="connsiteX304" fmla="*/ 3868 w 10000"/>
              <a:gd name="connsiteY304" fmla="*/ 2131 h 10000"/>
              <a:gd name="connsiteX305" fmla="*/ 3785 w 10000"/>
              <a:gd name="connsiteY305" fmla="*/ 2153 h 10000"/>
              <a:gd name="connsiteX306" fmla="*/ 3558 w 10000"/>
              <a:gd name="connsiteY306" fmla="*/ 2793 h 10000"/>
              <a:gd name="connsiteX307" fmla="*/ 3036 w 10000"/>
              <a:gd name="connsiteY307" fmla="*/ 3166 h 10000"/>
              <a:gd name="connsiteX308" fmla="*/ 3040 w 10000"/>
              <a:gd name="connsiteY308" fmla="*/ 3225 h 10000"/>
              <a:gd name="connsiteX309" fmla="*/ 3271 w 10000"/>
              <a:gd name="connsiteY309" fmla="*/ 3392 h 10000"/>
              <a:gd name="connsiteX310" fmla="*/ 3197 w 10000"/>
              <a:gd name="connsiteY310" fmla="*/ 3573 h 10000"/>
              <a:gd name="connsiteX311" fmla="*/ 3062 w 10000"/>
              <a:gd name="connsiteY311" fmla="*/ 3640 h 10000"/>
              <a:gd name="connsiteX312" fmla="*/ 2657 w 10000"/>
              <a:gd name="connsiteY312" fmla="*/ 3595 h 10000"/>
              <a:gd name="connsiteX313" fmla="*/ 2378 w 10000"/>
              <a:gd name="connsiteY313" fmla="*/ 3620 h 10000"/>
              <a:gd name="connsiteX314" fmla="*/ 2152 w 10000"/>
              <a:gd name="connsiteY314" fmla="*/ 3673 h 10000"/>
              <a:gd name="connsiteX315" fmla="*/ 1790 w 10000"/>
              <a:gd name="connsiteY315" fmla="*/ 3840 h 10000"/>
              <a:gd name="connsiteX316" fmla="*/ 1598 w 10000"/>
              <a:gd name="connsiteY316" fmla="*/ 4042 h 10000"/>
              <a:gd name="connsiteX317" fmla="*/ 1616 w 10000"/>
              <a:gd name="connsiteY317" fmla="*/ 4154 h 10000"/>
              <a:gd name="connsiteX318" fmla="*/ 1681 w 10000"/>
              <a:gd name="connsiteY318" fmla="*/ 4241 h 10000"/>
              <a:gd name="connsiteX319" fmla="*/ 1733 w 10000"/>
              <a:gd name="connsiteY319" fmla="*/ 4276 h 10000"/>
              <a:gd name="connsiteX320" fmla="*/ 1638 w 10000"/>
              <a:gd name="connsiteY320" fmla="*/ 4331 h 10000"/>
              <a:gd name="connsiteX321" fmla="*/ 1433 w 10000"/>
              <a:gd name="connsiteY321" fmla="*/ 4710 h 10000"/>
              <a:gd name="connsiteX322" fmla="*/ 1472 w 10000"/>
              <a:gd name="connsiteY322" fmla="*/ 4732 h 10000"/>
              <a:gd name="connsiteX323" fmla="*/ 1503 w 10000"/>
              <a:gd name="connsiteY323" fmla="*/ 4828 h 10000"/>
              <a:gd name="connsiteX324" fmla="*/ 1407 w 10000"/>
              <a:gd name="connsiteY324" fmla="*/ 5227 h 10000"/>
              <a:gd name="connsiteX325" fmla="*/ 1503 w 10000"/>
              <a:gd name="connsiteY325" fmla="*/ 5329 h 10000"/>
              <a:gd name="connsiteX326" fmla="*/ 1764 w 10000"/>
              <a:gd name="connsiteY326" fmla="*/ 5441 h 10000"/>
              <a:gd name="connsiteX327" fmla="*/ 1777 w 10000"/>
              <a:gd name="connsiteY327" fmla="*/ 5578 h 10000"/>
              <a:gd name="connsiteX328" fmla="*/ 1664 w 10000"/>
              <a:gd name="connsiteY328" fmla="*/ 5690 h 10000"/>
              <a:gd name="connsiteX329" fmla="*/ 1503 w 10000"/>
              <a:gd name="connsiteY329" fmla="*/ 5759 h 10000"/>
              <a:gd name="connsiteX330" fmla="*/ 1289 w 10000"/>
              <a:gd name="connsiteY330" fmla="*/ 5787 h 10000"/>
              <a:gd name="connsiteX331" fmla="*/ 1233 w 10000"/>
              <a:gd name="connsiteY331" fmla="*/ 5826 h 10000"/>
              <a:gd name="connsiteX332" fmla="*/ 1359 w 10000"/>
              <a:gd name="connsiteY332" fmla="*/ 5920 h 10000"/>
              <a:gd name="connsiteX333" fmla="*/ 1429 w 10000"/>
              <a:gd name="connsiteY333" fmla="*/ 6142 h 10000"/>
              <a:gd name="connsiteX334" fmla="*/ 1267 w 10000"/>
              <a:gd name="connsiteY334" fmla="*/ 6333 h 10000"/>
              <a:gd name="connsiteX335" fmla="*/ 1324 w 10000"/>
              <a:gd name="connsiteY335" fmla="*/ 6392 h 10000"/>
              <a:gd name="connsiteX336" fmla="*/ 1272 w 10000"/>
              <a:gd name="connsiteY336" fmla="*/ 6492 h 10000"/>
              <a:gd name="connsiteX337" fmla="*/ 1167 w 10000"/>
              <a:gd name="connsiteY337" fmla="*/ 6561 h 10000"/>
              <a:gd name="connsiteX338" fmla="*/ 758 w 10000"/>
              <a:gd name="connsiteY338" fmla="*/ 6614 h 10000"/>
              <a:gd name="connsiteX339" fmla="*/ 732 w 10000"/>
              <a:gd name="connsiteY339" fmla="*/ 6706 h 10000"/>
              <a:gd name="connsiteX340" fmla="*/ 510 w 10000"/>
              <a:gd name="connsiteY340" fmla="*/ 6843 h 10000"/>
              <a:gd name="connsiteX341" fmla="*/ 540 w 10000"/>
              <a:gd name="connsiteY341" fmla="*/ 7040 h 10000"/>
              <a:gd name="connsiteX342" fmla="*/ 353 w 10000"/>
              <a:gd name="connsiteY342" fmla="*/ 7293 h 10000"/>
              <a:gd name="connsiteX343" fmla="*/ 226 w 10000"/>
              <a:gd name="connsiteY343" fmla="*/ 7323 h 10000"/>
              <a:gd name="connsiteX344" fmla="*/ 174 w 10000"/>
              <a:gd name="connsiteY344" fmla="*/ 7262 h 10000"/>
              <a:gd name="connsiteX345" fmla="*/ 109 w 10000"/>
              <a:gd name="connsiteY345" fmla="*/ 7354 h 10000"/>
              <a:gd name="connsiteX346" fmla="*/ 152 w 10000"/>
              <a:gd name="connsiteY346" fmla="*/ 7197 h 10000"/>
              <a:gd name="connsiteX347" fmla="*/ 126 w 10000"/>
              <a:gd name="connsiteY34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145 w 10000"/>
              <a:gd name="connsiteY209" fmla="*/ 3267 h 10000"/>
              <a:gd name="connsiteX210" fmla="*/ 8123 w 10000"/>
              <a:gd name="connsiteY210" fmla="*/ 3229 h 10000"/>
              <a:gd name="connsiteX211" fmla="*/ 8153 w 10000"/>
              <a:gd name="connsiteY211" fmla="*/ 3219 h 10000"/>
              <a:gd name="connsiteX212" fmla="*/ 8075 w 10000"/>
              <a:gd name="connsiteY212" fmla="*/ 3147 h 10000"/>
              <a:gd name="connsiteX213" fmla="*/ 8079 w 10000"/>
              <a:gd name="connsiteY213" fmla="*/ 3127 h 10000"/>
              <a:gd name="connsiteX214" fmla="*/ 8132 w 10000"/>
              <a:gd name="connsiteY214" fmla="*/ 3100 h 10000"/>
              <a:gd name="connsiteX215" fmla="*/ 8145 w 10000"/>
              <a:gd name="connsiteY215" fmla="*/ 3064 h 10000"/>
              <a:gd name="connsiteX216" fmla="*/ 8258 w 10000"/>
              <a:gd name="connsiteY216" fmla="*/ 3037 h 10000"/>
              <a:gd name="connsiteX217" fmla="*/ 8380 w 10000"/>
              <a:gd name="connsiteY217" fmla="*/ 2860 h 10000"/>
              <a:gd name="connsiteX218" fmla="*/ 8253 w 10000"/>
              <a:gd name="connsiteY218" fmla="*/ 2762 h 10000"/>
              <a:gd name="connsiteX219" fmla="*/ 8267 w 10000"/>
              <a:gd name="connsiteY219" fmla="*/ 2748 h 10000"/>
              <a:gd name="connsiteX220" fmla="*/ 8397 w 10000"/>
              <a:gd name="connsiteY220" fmla="*/ 2705 h 10000"/>
              <a:gd name="connsiteX221" fmla="*/ 8402 w 10000"/>
              <a:gd name="connsiteY221" fmla="*/ 2662 h 10000"/>
              <a:gd name="connsiteX222" fmla="*/ 8449 w 10000"/>
              <a:gd name="connsiteY222" fmla="*/ 2656 h 10000"/>
              <a:gd name="connsiteX223" fmla="*/ 8558 w 10000"/>
              <a:gd name="connsiteY223" fmla="*/ 2677 h 10000"/>
              <a:gd name="connsiteX224" fmla="*/ 8593 w 10000"/>
              <a:gd name="connsiteY224" fmla="*/ 2669 h 10000"/>
              <a:gd name="connsiteX225" fmla="*/ 8606 w 10000"/>
              <a:gd name="connsiteY225" fmla="*/ 2630 h 10000"/>
              <a:gd name="connsiteX226" fmla="*/ 8567 w 10000"/>
              <a:gd name="connsiteY226" fmla="*/ 2605 h 10000"/>
              <a:gd name="connsiteX227" fmla="*/ 8685 w 10000"/>
              <a:gd name="connsiteY227" fmla="*/ 2597 h 10000"/>
              <a:gd name="connsiteX228" fmla="*/ 8698 w 10000"/>
              <a:gd name="connsiteY228" fmla="*/ 2565 h 10000"/>
              <a:gd name="connsiteX229" fmla="*/ 8558 w 10000"/>
              <a:gd name="connsiteY229" fmla="*/ 2481 h 10000"/>
              <a:gd name="connsiteX230" fmla="*/ 8558 w 10000"/>
              <a:gd name="connsiteY230" fmla="*/ 2459 h 10000"/>
              <a:gd name="connsiteX231" fmla="*/ 8698 w 10000"/>
              <a:gd name="connsiteY231" fmla="*/ 2504 h 10000"/>
              <a:gd name="connsiteX232" fmla="*/ 8763 w 10000"/>
              <a:gd name="connsiteY232" fmla="*/ 2548 h 10000"/>
              <a:gd name="connsiteX233" fmla="*/ 8815 w 10000"/>
              <a:gd name="connsiteY233" fmla="*/ 2548 h 10000"/>
              <a:gd name="connsiteX234" fmla="*/ 8789 w 10000"/>
              <a:gd name="connsiteY234" fmla="*/ 2457 h 10000"/>
              <a:gd name="connsiteX235" fmla="*/ 8798 w 10000"/>
              <a:gd name="connsiteY235" fmla="*/ 2467 h 10000"/>
              <a:gd name="connsiteX236" fmla="*/ 8841 w 10000"/>
              <a:gd name="connsiteY236" fmla="*/ 2457 h 10000"/>
              <a:gd name="connsiteX237" fmla="*/ 8855 w 10000"/>
              <a:gd name="connsiteY237" fmla="*/ 2341 h 10000"/>
              <a:gd name="connsiteX238" fmla="*/ 8898 w 10000"/>
              <a:gd name="connsiteY238" fmla="*/ 2332 h 10000"/>
              <a:gd name="connsiteX239" fmla="*/ 8946 w 10000"/>
              <a:gd name="connsiteY239" fmla="*/ 2330 h 10000"/>
              <a:gd name="connsiteX240" fmla="*/ 8946 w 10000"/>
              <a:gd name="connsiteY240" fmla="*/ 2361 h 10000"/>
              <a:gd name="connsiteX241" fmla="*/ 8994 w 10000"/>
              <a:gd name="connsiteY241" fmla="*/ 2389 h 10000"/>
              <a:gd name="connsiteX242" fmla="*/ 9051 w 10000"/>
              <a:gd name="connsiteY242" fmla="*/ 2400 h 10000"/>
              <a:gd name="connsiteX243" fmla="*/ 9094 w 10000"/>
              <a:gd name="connsiteY243" fmla="*/ 2324 h 10000"/>
              <a:gd name="connsiteX244" fmla="*/ 9164 w 10000"/>
              <a:gd name="connsiteY244" fmla="*/ 2347 h 10000"/>
              <a:gd name="connsiteX245" fmla="*/ 9247 w 10000"/>
              <a:gd name="connsiteY245" fmla="*/ 2402 h 10000"/>
              <a:gd name="connsiteX246" fmla="*/ 9286 w 10000"/>
              <a:gd name="connsiteY246" fmla="*/ 2400 h 10000"/>
              <a:gd name="connsiteX247" fmla="*/ 9355 w 10000"/>
              <a:gd name="connsiteY247" fmla="*/ 2428 h 10000"/>
              <a:gd name="connsiteX248" fmla="*/ 9408 w 10000"/>
              <a:gd name="connsiteY248" fmla="*/ 2359 h 10000"/>
              <a:gd name="connsiteX249" fmla="*/ 9717 w 10000"/>
              <a:gd name="connsiteY249" fmla="*/ 2343 h 10000"/>
              <a:gd name="connsiteX250" fmla="*/ 9830 w 10000"/>
              <a:gd name="connsiteY250" fmla="*/ 2369 h 10000"/>
              <a:gd name="connsiteX251" fmla="*/ 9909 w 10000"/>
              <a:gd name="connsiteY251" fmla="*/ 2410 h 10000"/>
              <a:gd name="connsiteX252" fmla="*/ 9948 w 10000"/>
              <a:gd name="connsiteY252" fmla="*/ 2365 h 10000"/>
              <a:gd name="connsiteX253" fmla="*/ 10000 w 10000"/>
              <a:gd name="connsiteY253" fmla="*/ 2349 h 10000"/>
              <a:gd name="connsiteX254" fmla="*/ 9704 w 10000"/>
              <a:gd name="connsiteY254" fmla="*/ 1992 h 10000"/>
              <a:gd name="connsiteX255" fmla="*/ 9743 w 10000"/>
              <a:gd name="connsiteY255" fmla="*/ 1897 h 10000"/>
              <a:gd name="connsiteX256" fmla="*/ 9830 w 10000"/>
              <a:gd name="connsiteY256" fmla="*/ 1819 h 10000"/>
              <a:gd name="connsiteX257" fmla="*/ 9830 w 10000"/>
              <a:gd name="connsiteY257" fmla="*/ 1699 h 10000"/>
              <a:gd name="connsiteX258" fmla="*/ 9556 w 10000"/>
              <a:gd name="connsiteY258" fmla="*/ 1465 h 10000"/>
              <a:gd name="connsiteX259" fmla="*/ 9512 w 10000"/>
              <a:gd name="connsiteY259" fmla="*/ 1379 h 10000"/>
              <a:gd name="connsiteX260" fmla="*/ 9573 w 10000"/>
              <a:gd name="connsiteY260" fmla="*/ 1271 h 10000"/>
              <a:gd name="connsiteX261" fmla="*/ 9543 w 10000"/>
              <a:gd name="connsiteY261" fmla="*/ 1194 h 10000"/>
              <a:gd name="connsiteX262" fmla="*/ 9486 w 10000"/>
              <a:gd name="connsiteY262" fmla="*/ 1159 h 10000"/>
              <a:gd name="connsiteX263" fmla="*/ 9438 w 10000"/>
              <a:gd name="connsiteY263" fmla="*/ 978 h 10000"/>
              <a:gd name="connsiteX264" fmla="*/ 9495 w 10000"/>
              <a:gd name="connsiteY264" fmla="*/ 831 h 10000"/>
              <a:gd name="connsiteX265" fmla="*/ 9077 w 10000"/>
              <a:gd name="connsiteY265" fmla="*/ 517 h 10000"/>
              <a:gd name="connsiteX266" fmla="*/ 8872 w 10000"/>
              <a:gd name="connsiteY266" fmla="*/ 440 h 10000"/>
              <a:gd name="connsiteX267" fmla="*/ 8493 w 10000"/>
              <a:gd name="connsiteY267" fmla="*/ 389 h 10000"/>
              <a:gd name="connsiteX268" fmla="*/ 7709 w 10000"/>
              <a:gd name="connsiteY268" fmla="*/ 26 h 10000"/>
              <a:gd name="connsiteX269" fmla="*/ 7683 w 10000"/>
              <a:gd name="connsiteY269" fmla="*/ 2 h 10000"/>
              <a:gd name="connsiteX270" fmla="*/ 7417 w 10000"/>
              <a:gd name="connsiteY270" fmla="*/ 0 h 10000"/>
              <a:gd name="connsiteX271" fmla="*/ 7356 w 10000"/>
              <a:gd name="connsiteY271" fmla="*/ 14 h 10000"/>
              <a:gd name="connsiteX272" fmla="*/ 7369 w 10000"/>
              <a:gd name="connsiteY272" fmla="*/ 61 h 10000"/>
              <a:gd name="connsiteX273" fmla="*/ 7422 w 10000"/>
              <a:gd name="connsiteY273" fmla="*/ 86 h 10000"/>
              <a:gd name="connsiteX274" fmla="*/ 7435 w 10000"/>
              <a:gd name="connsiteY274" fmla="*/ 139 h 10000"/>
              <a:gd name="connsiteX275" fmla="*/ 7417 w 10000"/>
              <a:gd name="connsiteY275" fmla="*/ 181 h 10000"/>
              <a:gd name="connsiteX276" fmla="*/ 7369 w 10000"/>
              <a:gd name="connsiteY276" fmla="*/ 208 h 10000"/>
              <a:gd name="connsiteX277" fmla="*/ 7334 w 10000"/>
              <a:gd name="connsiteY277" fmla="*/ 283 h 10000"/>
              <a:gd name="connsiteX278" fmla="*/ 7269 w 10000"/>
              <a:gd name="connsiteY278" fmla="*/ 336 h 10000"/>
              <a:gd name="connsiteX279" fmla="*/ 7282 w 10000"/>
              <a:gd name="connsiteY279" fmla="*/ 387 h 10000"/>
              <a:gd name="connsiteX280" fmla="*/ 7382 w 10000"/>
              <a:gd name="connsiteY280" fmla="*/ 434 h 10000"/>
              <a:gd name="connsiteX281" fmla="*/ 7317 w 10000"/>
              <a:gd name="connsiteY281" fmla="*/ 475 h 10000"/>
              <a:gd name="connsiteX282" fmla="*/ 7221 w 10000"/>
              <a:gd name="connsiteY282" fmla="*/ 485 h 10000"/>
              <a:gd name="connsiteX283" fmla="*/ 6420 w 10000"/>
              <a:gd name="connsiteY283" fmla="*/ 387 h 10000"/>
              <a:gd name="connsiteX284" fmla="*/ 6324 w 10000"/>
              <a:gd name="connsiteY284" fmla="*/ 395 h 10000"/>
              <a:gd name="connsiteX285" fmla="*/ 6267 w 10000"/>
              <a:gd name="connsiteY285" fmla="*/ 414 h 10000"/>
              <a:gd name="connsiteX286" fmla="*/ 6211 w 10000"/>
              <a:gd name="connsiteY286" fmla="*/ 462 h 10000"/>
              <a:gd name="connsiteX287" fmla="*/ 6220 w 10000"/>
              <a:gd name="connsiteY287" fmla="*/ 581 h 10000"/>
              <a:gd name="connsiteX288" fmla="*/ 6132 w 10000"/>
              <a:gd name="connsiteY288" fmla="*/ 735 h 10000"/>
              <a:gd name="connsiteX289" fmla="*/ 6024 w 10000"/>
              <a:gd name="connsiteY289" fmla="*/ 815 h 10000"/>
              <a:gd name="connsiteX290" fmla="*/ 5980 w 10000"/>
              <a:gd name="connsiteY290" fmla="*/ 805 h 10000"/>
              <a:gd name="connsiteX291" fmla="*/ 5880 w 10000"/>
              <a:gd name="connsiteY291" fmla="*/ 739 h 10000"/>
              <a:gd name="connsiteX292" fmla="*/ 5753 w 10000"/>
              <a:gd name="connsiteY292" fmla="*/ 705 h 10000"/>
              <a:gd name="connsiteX293" fmla="*/ 5618 w 10000"/>
              <a:gd name="connsiteY293" fmla="*/ 715 h 10000"/>
              <a:gd name="connsiteX294" fmla="*/ 5301 w 10000"/>
              <a:gd name="connsiteY294" fmla="*/ 866 h 10000"/>
              <a:gd name="connsiteX295" fmla="*/ 5218 w 10000"/>
              <a:gd name="connsiteY295" fmla="*/ 1017 h 10000"/>
              <a:gd name="connsiteX296" fmla="*/ 4978 w 10000"/>
              <a:gd name="connsiteY296" fmla="*/ 1153 h 10000"/>
              <a:gd name="connsiteX297" fmla="*/ 4935 w 10000"/>
              <a:gd name="connsiteY297" fmla="*/ 1222 h 10000"/>
              <a:gd name="connsiteX298" fmla="*/ 5061 w 10000"/>
              <a:gd name="connsiteY298" fmla="*/ 1344 h 10000"/>
              <a:gd name="connsiteX299" fmla="*/ 5074 w 10000"/>
              <a:gd name="connsiteY299" fmla="*/ 1412 h 10000"/>
              <a:gd name="connsiteX300" fmla="*/ 4421 w 10000"/>
              <a:gd name="connsiteY300" fmla="*/ 1813 h 10000"/>
              <a:gd name="connsiteX301" fmla="*/ 4220 w 10000"/>
              <a:gd name="connsiteY301" fmla="*/ 2070 h 10000"/>
              <a:gd name="connsiteX302" fmla="*/ 4003 w 10000"/>
              <a:gd name="connsiteY302" fmla="*/ 2135 h 10000"/>
              <a:gd name="connsiteX303" fmla="*/ 3868 w 10000"/>
              <a:gd name="connsiteY303" fmla="*/ 2131 h 10000"/>
              <a:gd name="connsiteX304" fmla="*/ 3785 w 10000"/>
              <a:gd name="connsiteY304" fmla="*/ 2153 h 10000"/>
              <a:gd name="connsiteX305" fmla="*/ 3558 w 10000"/>
              <a:gd name="connsiteY305" fmla="*/ 2793 h 10000"/>
              <a:gd name="connsiteX306" fmla="*/ 3036 w 10000"/>
              <a:gd name="connsiteY306" fmla="*/ 3166 h 10000"/>
              <a:gd name="connsiteX307" fmla="*/ 3040 w 10000"/>
              <a:gd name="connsiteY307" fmla="*/ 3225 h 10000"/>
              <a:gd name="connsiteX308" fmla="*/ 3271 w 10000"/>
              <a:gd name="connsiteY308" fmla="*/ 3392 h 10000"/>
              <a:gd name="connsiteX309" fmla="*/ 3197 w 10000"/>
              <a:gd name="connsiteY309" fmla="*/ 3573 h 10000"/>
              <a:gd name="connsiteX310" fmla="*/ 3062 w 10000"/>
              <a:gd name="connsiteY310" fmla="*/ 3640 h 10000"/>
              <a:gd name="connsiteX311" fmla="*/ 2657 w 10000"/>
              <a:gd name="connsiteY311" fmla="*/ 3595 h 10000"/>
              <a:gd name="connsiteX312" fmla="*/ 2378 w 10000"/>
              <a:gd name="connsiteY312" fmla="*/ 3620 h 10000"/>
              <a:gd name="connsiteX313" fmla="*/ 2152 w 10000"/>
              <a:gd name="connsiteY313" fmla="*/ 3673 h 10000"/>
              <a:gd name="connsiteX314" fmla="*/ 1790 w 10000"/>
              <a:gd name="connsiteY314" fmla="*/ 3840 h 10000"/>
              <a:gd name="connsiteX315" fmla="*/ 1598 w 10000"/>
              <a:gd name="connsiteY315" fmla="*/ 4042 h 10000"/>
              <a:gd name="connsiteX316" fmla="*/ 1616 w 10000"/>
              <a:gd name="connsiteY316" fmla="*/ 4154 h 10000"/>
              <a:gd name="connsiteX317" fmla="*/ 1681 w 10000"/>
              <a:gd name="connsiteY317" fmla="*/ 4241 h 10000"/>
              <a:gd name="connsiteX318" fmla="*/ 1733 w 10000"/>
              <a:gd name="connsiteY318" fmla="*/ 4276 h 10000"/>
              <a:gd name="connsiteX319" fmla="*/ 1638 w 10000"/>
              <a:gd name="connsiteY319" fmla="*/ 4331 h 10000"/>
              <a:gd name="connsiteX320" fmla="*/ 1433 w 10000"/>
              <a:gd name="connsiteY320" fmla="*/ 4710 h 10000"/>
              <a:gd name="connsiteX321" fmla="*/ 1472 w 10000"/>
              <a:gd name="connsiteY321" fmla="*/ 4732 h 10000"/>
              <a:gd name="connsiteX322" fmla="*/ 1503 w 10000"/>
              <a:gd name="connsiteY322" fmla="*/ 4828 h 10000"/>
              <a:gd name="connsiteX323" fmla="*/ 1407 w 10000"/>
              <a:gd name="connsiteY323" fmla="*/ 5227 h 10000"/>
              <a:gd name="connsiteX324" fmla="*/ 1503 w 10000"/>
              <a:gd name="connsiteY324" fmla="*/ 5329 h 10000"/>
              <a:gd name="connsiteX325" fmla="*/ 1764 w 10000"/>
              <a:gd name="connsiteY325" fmla="*/ 5441 h 10000"/>
              <a:gd name="connsiteX326" fmla="*/ 1777 w 10000"/>
              <a:gd name="connsiteY326" fmla="*/ 5578 h 10000"/>
              <a:gd name="connsiteX327" fmla="*/ 1664 w 10000"/>
              <a:gd name="connsiteY327" fmla="*/ 5690 h 10000"/>
              <a:gd name="connsiteX328" fmla="*/ 1503 w 10000"/>
              <a:gd name="connsiteY328" fmla="*/ 5759 h 10000"/>
              <a:gd name="connsiteX329" fmla="*/ 1289 w 10000"/>
              <a:gd name="connsiteY329" fmla="*/ 5787 h 10000"/>
              <a:gd name="connsiteX330" fmla="*/ 1233 w 10000"/>
              <a:gd name="connsiteY330" fmla="*/ 5826 h 10000"/>
              <a:gd name="connsiteX331" fmla="*/ 1359 w 10000"/>
              <a:gd name="connsiteY331" fmla="*/ 5920 h 10000"/>
              <a:gd name="connsiteX332" fmla="*/ 1429 w 10000"/>
              <a:gd name="connsiteY332" fmla="*/ 6142 h 10000"/>
              <a:gd name="connsiteX333" fmla="*/ 1267 w 10000"/>
              <a:gd name="connsiteY333" fmla="*/ 6333 h 10000"/>
              <a:gd name="connsiteX334" fmla="*/ 1324 w 10000"/>
              <a:gd name="connsiteY334" fmla="*/ 6392 h 10000"/>
              <a:gd name="connsiteX335" fmla="*/ 1272 w 10000"/>
              <a:gd name="connsiteY335" fmla="*/ 6492 h 10000"/>
              <a:gd name="connsiteX336" fmla="*/ 1167 w 10000"/>
              <a:gd name="connsiteY336" fmla="*/ 6561 h 10000"/>
              <a:gd name="connsiteX337" fmla="*/ 758 w 10000"/>
              <a:gd name="connsiteY337" fmla="*/ 6614 h 10000"/>
              <a:gd name="connsiteX338" fmla="*/ 732 w 10000"/>
              <a:gd name="connsiteY338" fmla="*/ 6706 h 10000"/>
              <a:gd name="connsiteX339" fmla="*/ 510 w 10000"/>
              <a:gd name="connsiteY339" fmla="*/ 6843 h 10000"/>
              <a:gd name="connsiteX340" fmla="*/ 540 w 10000"/>
              <a:gd name="connsiteY340" fmla="*/ 7040 h 10000"/>
              <a:gd name="connsiteX341" fmla="*/ 353 w 10000"/>
              <a:gd name="connsiteY341" fmla="*/ 7293 h 10000"/>
              <a:gd name="connsiteX342" fmla="*/ 226 w 10000"/>
              <a:gd name="connsiteY342" fmla="*/ 7323 h 10000"/>
              <a:gd name="connsiteX343" fmla="*/ 174 w 10000"/>
              <a:gd name="connsiteY343" fmla="*/ 7262 h 10000"/>
              <a:gd name="connsiteX344" fmla="*/ 109 w 10000"/>
              <a:gd name="connsiteY344" fmla="*/ 7354 h 10000"/>
              <a:gd name="connsiteX345" fmla="*/ 152 w 10000"/>
              <a:gd name="connsiteY345" fmla="*/ 7197 h 10000"/>
              <a:gd name="connsiteX346" fmla="*/ 126 w 10000"/>
              <a:gd name="connsiteY34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80 w 10000"/>
              <a:gd name="connsiteY207" fmla="*/ 3522 h 10000"/>
              <a:gd name="connsiteX208" fmla="*/ 8145 w 10000"/>
              <a:gd name="connsiteY208" fmla="*/ 3267 h 10000"/>
              <a:gd name="connsiteX209" fmla="*/ 8123 w 10000"/>
              <a:gd name="connsiteY209" fmla="*/ 3229 h 10000"/>
              <a:gd name="connsiteX210" fmla="*/ 8153 w 10000"/>
              <a:gd name="connsiteY210" fmla="*/ 3219 h 10000"/>
              <a:gd name="connsiteX211" fmla="*/ 8075 w 10000"/>
              <a:gd name="connsiteY211" fmla="*/ 3147 h 10000"/>
              <a:gd name="connsiteX212" fmla="*/ 8079 w 10000"/>
              <a:gd name="connsiteY212" fmla="*/ 3127 h 10000"/>
              <a:gd name="connsiteX213" fmla="*/ 8132 w 10000"/>
              <a:gd name="connsiteY213" fmla="*/ 3100 h 10000"/>
              <a:gd name="connsiteX214" fmla="*/ 8145 w 10000"/>
              <a:gd name="connsiteY214" fmla="*/ 3064 h 10000"/>
              <a:gd name="connsiteX215" fmla="*/ 8258 w 10000"/>
              <a:gd name="connsiteY215" fmla="*/ 3037 h 10000"/>
              <a:gd name="connsiteX216" fmla="*/ 8380 w 10000"/>
              <a:gd name="connsiteY216" fmla="*/ 2860 h 10000"/>
              <a:gd name="connsiteX217" fmla="*/ 8253 w 10000"/>
              <a:gd name="connsiteY217" fmla="*/ 2762 h 10000"/>
              <a:gd name="connsiteX218" fmla="*/ 8267 w 10000"/>
              <a:gd name="connsiteY218" fmla="*/ 2748 h 10000"/>
              <a:gd name="connsiteX219" fmla="*/ 8397 w 10000"/>
              <a:gd name="connsiteY219" fmla="*/ 2705 h 10000"/>
              <a:gd name="connsiteX220" fmla="*/ 8402 w 10000"/>
              <a:gd name="connsiteY220" fmla="*/ 2662 h 10000"/>
              <a:gd name="connsiteX221" fmla="*/ 8449 w 10000"/>
              <a:gd name="connsiteY221" fmla="*/ 2656 h 10000"/>
              <a:gd name="connsiteX222" fmla="*/ 8558 w 10000"/>
              <a:gd name="connsiteY222" fmla="*/ 2677 h 10000"/>
              <a:gd name="connsiteX223" fmla="*/ 8593 w 10000"/>
              <a:gd name="connsiteY223" fmla="*/ 2669 h 10000"/>
              <a:gd name="connsiteX224" fmla="*/ 8606 w 10000"/>
              <a:gd name="connsiteY224" fmla="*/ 2630 h 10000"/>
              <a:gd name="connsiteX225" fmla="*/ 8567 w 10000"/>
              <a:gd name="connsiteY225" fmla="*/ 2605 h 10000"/>
              <a:gd name="connsiteX226" fmla="*/ 8685 w 10000"/>
              <a:gd name="connsiteY226" fmla="*/ 2597 h 10000"/>
              <a:gd name="connsiteX227" fmla="*/ 8698 w 10000"/>
              <a:gd name="connsiteY227" fmla="*/ 2565 h 10000"/>
              <a:gd name="connsiteX228" fmla="*/ 8558 w 10000"/>
              <a:gd name="connsiteY228" fmla="*/ 2481 h 10000"/>
              <a:gd name="connsiteX229" fmla="*/ 8558 w 10000"/>
              <a:gd name="connsiteY229" fmla="*/ 2459 h 10000"/>
              <a:gd name="connsiteX230" fmla="*/ 8698 w 10000"/>
              <a:gd name="connsiteY230" fmla="*/ 2504 h 10000"/>
              <a:gd name="connsiteX231" fmla="*/ 8763 w 10000"/>
              <a:gd name="connsiteY231" fmla="*/ 2548 h 10000"/>
              <a:gd name="connsiteX232" fmla="*/ 8815 w 10000"/>
              <a:gd name="connsiteY232" fmla="*/ 2548 h 10000"/>
              <a:gd name="connsiteX233" fmla="*/ 8789 w 10000"/>
              <a:gd name="connsiteY233" fmla="*/ 2457 h 10000"/>
              <a:gd name="connsiteX234" fmla="*/ 8798 w 10000"/>
              <a:gd name="connsiteY234" fmla="*/ 2467 h 10000"/>
              <a:gd name="connsiteX235" fmla="*/ 8841 w 10000"/>
              <a:gd name="connsiteY235" fmla="*/ 2457 h 10000"/>
              <a:gd name="connsiteX236" fmla="*/ 8855 w 10000"/>
              <a:gd name="connsiteY236" fmla="*/ 2341 h 10000"/>
              <a:gd name="connsiteX237" fmla="*/ 8898 w 10000"/>
              <a:gd name="connsiteY237" fmla="*/ 2332 h 10000"/>
              <a:gd name="connsiteX238" fmla="*/ 8946 w 10000"/>
              <a:gd name="connsiteY238" fmla="*/ 2330 h 10000"/>
              <a:gd name="connsiteX239" fmla="*/ 8946 w 10000"/>
              <a:gd name="connsiteY239" fmla="*/ 2361 h 10000"/>
              <a:gd name="connsiteX240" fmla="*/ 8994 w 10000"/>
              <a:gd name="connsiteY240" fmla="*/ 2389 h 10000"/>
              <a:gd name="connsiteX241" fmla="*/ 9051 w 10000"/>
              <a:gd name="connsiteY241" fmla="*/ 2400 h 10000"/>
              <a:gd name="connsiteX242" fmla="*/ 9094 w 10000"/>
              <a:gd name="connsiteY242" fmla="*/ 2324 h 10000"/>
              <a:gd name="connsiteX243" fmla="*/ 9164 w 10000"/>
              <a:gd name="connsiteY243" fmla="*/ 2347 h 10000"/>
              <a:gd name="connsiteX244" fmla="*/ 9247 w 10000"/>
              <a:gd name="connsiteY244" fmla="*/ 2402 h 10000"/>
              <a:gd name="connsiteX245" fmla="*/ 9286 w 10000"/>
              <a:gd name="connsiteY245" fmla="*/ 2400 h 10000"/>
              <a:gd name="connsiteX246" fmla="*/ 9355 w 10000"/>
              <a:gd name="connsiteY246" fmla="*/ 2428 h 10000"/>
              <a:gd name="connsiteX247" fmla="*/ 9408 w 10000"/>
              <a:gd name="connsiteY247" fmla="*/ 2359 h 10000"/>
              <a:gd name="connsiteX248" fmla="*/ 9717 w 10000"/>
              <a:gd name="connsiteY248" fmla="*/ 2343 h 10000"/>
              <a:gd name="connsiteX249" fmla="*/ 9830 w 10000"/>
              <a:gd name="connsiteY249" fmla="*/ 2369 h 10000"/>
              <a:gd name="connsiteX250" fmla="*/ 9909 w 10000"/>
              <a:gd name="connsiteY250" fmla="*/ 2410 h 10000"/>
              <a:gd name="connsiteX251" fmla="*/ 9948 w 10000"/>
              <a:gd name="connsiteY251" fmla="*/ 2365 h 10000"/>
              <a:gd name="connsiteX252" fmla="*/ 10000 w 10000"/>
              <a:gd name="connsiteY252" fmla="*/ 2349 h 10000"/>
              <a:gd name="connsiteX253" fmla="*/ 9704 w 10000"/>
              <a:gd name="connsiteY253" fmla="*/ 1992 h 10000"/>
              <a:gd name="connsiteX254" fmla="*/ 9743 w 10000"/>
              <a:gd name="connsiteY254" fmla="*/ 1897 h 10000"/>
              <a:gd name="connsiteX255" fmla="*/ 9830 w 10000"/>
              <a:gd name="connsiteY255" fmla="*/ 1819 h 10000"/>
              <a:gd name="connsiteX256" fmla="*/ 9830 w 10000"/>
              <a:gd name="connsiteY256" fmla="*/ 1699 h 10000"/>
              <a:gd name="connsiteX257" fmla="*/ 9556 w 10000"/>
              <a:gd name="connsiteY257" fmla="*/ 1465 h 10000"/>
              <a:gd name="connsiteX258" fmla="*/ 9512 w 10000"/>
              <a:gd name="connsiteY258" fmla="*/ 1379 h 10000"/>
              <a:gd name="connsiteX259" fmla="*/ 9573 w 10000"/>
              <a:gd name="connsiteY259" fmla="*/ 1271 h 10000"/>
              <a:gd name="connsiteX260" fmla="*/ 9543 w 10000"/>
              <a:gd name="connsiteY260" fmla="*/ 1194 h 10000"/>
              <a:gd name="connsiteX261" fmla="*/ 9486 w 10000"/>
              <a:gd name="connsiteY261" fmla="*/ 1159 h 10000"/>
              <a:gd name="connsiteX262" fmla="*/ 9438 w 10000"/>
              <a:gd name="connsiteY262" fmla="*/ 978 h 10000"/>
              <a:gd name="connsiteX263" fmla="*/ 9495 w 10000"/>
              <a:gd name="connsiteY263" fmla="*/ 831 h 10000"/>
              <a:gd name="connsiteX264" fmla="*/ 9077 w 10000"/>
              <a:gd name="connsiteY264" fmla="*/ 517 h 10000"/>
              <a:gd name="connsiteX265" fmla="*/ 8872 w 10000"/>
              <a:gd name="connsiteY265" fmla="*/ 440 h 10000"/>
              <a:gd name="connsiteX266" fmla="*/ 8493 w 10000"/>
              <a:gd name="connsiteY266" fmla="*/ 389 h 10000"/>
              <a:gd name="connsiteX267" fmla="*/ 7709 w 10000"/>
              <a:gd name="connsiteY267" fmla="*/ 26 h 10000"/>
              <a:gd name="connsiteX268" fmla="*/ 7683 w 10000"/>
              <a:gd name="connsiteY268" fmla="*/ 2 h 10000"/>
              <a:gd name="connsiteX269" fmla="*/ 7417 w 10000"/>
              <a:gd name="connsiteY269" fmla="*/ 0 h 10000"/>
              <a:gd name="connsiteX270" fmla="*/ 7356 w 10000"/>
              <a:gd name="connsiteY270" fmla="*/ 14 h 10000"/>
              <a:gd name="connsiteX271" fmla="*/ 7369 w 10000"/>
              <a:gd name="connsiteY271" fmla="*/ 61 h 10000"/>
              <a:gd name="connsiteX272" fmla="*/ 7422 w 10000"/>
              <a:gd name="connsiteY272" fmla="*/ 86 h 10000"/>
              <a:gd name="connsiteX273" fmla="*/ 7435 w 10000"/>
              <a:gd name="connsiteY273" fmla="*/ 139 h 10000"/>
              <a:gd name="connsiteX274" fmla="*/ 7417 w 10000"/>
              <a:gd name="connsiteY274" fmla="*/ 181 h 10000"/>
              <a:gd name="connsiteX275" fmla="*/ 7369 w 10000"/>
              <a:gd name="connsiteY275" fmla="*/ 208 h 10000"/>
              <a:gd name="connsiteX276" fmla="*/ 7334 w 10000"/>
              <a:gd name="connsiteY276" fmla="*/ 283 h 10000"/>
              <a:gd name="connsiteX277" fmla="*/ 7269 w 10000"/>
              <a:gd name="connsiteY277" fmla="*/ 336 h 10000"/>
              <a:gd name="connsiteX278" fmla="*/ 7282 w 10000"/>
              <a:gd name="connsiteY278" fmla="*/ 387 h 10000"/>
              <a:gd name="connsiteX279" fmla="*/ 7382 w 10000"/>
              <a:gd name="connsiteY279" fmla="*/ 434 h 10000"/>
              <a:gd name="connsiteX280" fmla="*/ 7317 w 10000"/>
              <a:gd name="connsiteY280" fmla="*/ 475 h 10000"/>
              <a:gd name="connsiteX281" fmla="*/ 7221 w 10000"/>
              <a:gd name="connsiteY281" fmla="*/ 485 h 10000"/>
              <a:gd name="connsiteX282" fmla="*/ 6420 w 10000"/>
              <a:gd name="connsiteY282" fmla="*/ 387 h 10000"/>
              <a:gd name="connsiteX283" fmla="*/ 6324 w 10000"/>
              <a:gd name="connsiteY283" fmla="*/ 395 h 10000"/>
              <a:gd name="connsiteX284" fmla="*/ 6267 w 10000"/>
              <a:gd name="connsiteY284" fmla="*/ 414 h 10000"/>
              <a:gd name="connsiteX285" fmla="*/ 6211 w 10000"/>
              <a:gd name="connsiteY285" fmla="*/ 462 h 10000"/>
              <a:gd name="connsiteX286" fmla="*/ 6220 w 10000"/>
              <a:gd name="connsiteY286" fmla="*/ 581 h 10000"/>
              <a:gd name="connsiteX287" fmla="*/ 6132 w 10000"/>
              <a:gd name="connsiteY287" fmla="*/ 735 h 10000"/>
              <a:gd name="connsiteX288" fmla="*/ 6024 w 10000"/>
              <a:gd name="connsiteY288" fmla="*/ 815 h 10000"/>
              <a:gd name="connsiteX289" fmla="*/ 5980 w 10000"/>
              <a:gd name="connsiteY289" fmla="*/ 805 h 10000"/>
              <a:gd name="connsiteX290" fmla="*/ 5880 w 10000"/>
              <a:gd name="connsiteY290" fmla="*/ 739 h 10000"/>
              <a:gd name="connsiteX291" fmla="*/ 5753 w 10000"/>
              <a:gd name="connsiteY291" fmla="*/ 705 h 10000"/>
              <a:gd name="connsiteX292" fmla="*/ 5618 w 10000"/>
              <a:gd name="connsiteY292" fmla="*/ 715 h 10000"/>
              <a:gd name="connsiteX293" fmla="*/ 5301 w 10000"/>
              <a:gd name="connsiteY293" fmla="*/ 866 h 10000"/>
              <a:gd name="connsiteX294" fmla="*/ 5218 w 10000"/>
              <a:gd name="connsiteY294" fmla="*/ 1017 h 10000"/>
              <a:gd name="connsiteX295" fmla="*/ 4978 w 10000"/>
              <a:gd name="connsiteY295" fmla="*/ 1153 h 10000"/>
              <a:gd name="connsiteX296" fmla="*/ 4935 w 10000"/>
              <a:gd name="connsiteY296" fmla="*/ 1222 h 10000"/>
              <a:gd name="connsiteX297" fmla="*/ 5061 w 10000"/>
              <a:gd name="connsiteY297" fmla="*/ 1344 h 10000"/>
              <a:gd name="connsiteX298" fmla="*/ 5074 w 10000"/>
              <a:gd name="connsiteY298" fmla="*/ 1412 h 10000"/>
              <a:gd name="connsiteX299" fmla="*/ 4421 w 10000"/>
              <a:gd name="connsiteY299" fmla="*/ 1813 h 10000"/>
              <a:gd name="connsiteX300" fmla="*/ 4220 w 10000"/>
              <a:gd name="connsiteY300" fmla="*/ 2070 h 10000"/>
              <a:gd name="connsiteX301" fmla="*/ 4003 w 10000"/>
              <a:gd name="connsiteY301" fmla="*/ 2135 h 10000"/>
              <a:gd name="connsiteX302" fmla="*/ 3868 w 10000"/>
              <a:gd name="connsiteY302" fmla="*/ 2131 h 10000"/>
              <a:gd name="connsiteX303" fmla="*/ 3785 w 10000"/>
              <a:gd name="connsiteY303" fmla="*/ 2153 h 10000"/>
              <a:gd name="connsiteX304" fmla="*/ 3558 w 10000"/>
              <a:gd name="connsiteY304" fmla="*/ 2793 h 10000"/>
              <a:gd name="connsiteX305" fmla="*/ 3036 w 10000"/>
              <a:gd name="connsiteY305" fmla="*/ 3166 h 10000"/>
              <a:gd name="connsiteX306" fmla="*/ 3040 w 10000"/>
              <a:gd name="connsiteY306" fmla="*/ 3225 h 10000"/>
              <a:gd name="connsiteX307" fmla="*/ 3271 w 10000"/>
              <a:gd name="connsiteY307" fmla="*/ 3392 h 10000"/>
              <a:gd name="connsiteX308" fmla="*/ 3197 w 10000"/>
              <a:gd name="connsiteY308" fmla="*/ 3573 h 10000"/>
              <a:gd name="connsiteX309" fmla="*/ 3062 w 10000"/>
              <a:gd name="connsiteY309" fmla="*/ 3640 h 10000"/>
              <a:gd name="connsiteX310" fmla="*/ 2657 w 10000"/>
              <a:gd name="connsiteY310" fmla="*/ 3595 h 10000"/>
              <a:gd name="connsiteX311" fmla="*/ 2378 w 10000"/>
              <a:gd name="connsiteY311" fmla="*/ 3620 h 10000"/>
              <a:gd name="connsiteX312" fmla="*/ 2152 w 10000"/>
              <a:gd name="connsiteY312" fmla="*/ 3673 h 10000"/>
              <a:gd name="connsiteX313" fmla="*/ 1790 w 10000"/>
              <a:gd name="connsiteY313" fmla="*/ 3840 h 10000"/>
              <a:gd name="connsiteX314" fmla="*/ 1598 w 10000"/>
              <a:gd name="connsiteY314" fmla="*/ 4042 h 10000"/>
              <a:gd name="connsiteX315" fmla="*/ 1616 w 10000"/>
              <a:gd name="connsiteY315" fmla="*/ 4154 h 10000"/>
              <a:gd name="connsiteX316" fmla="*/ 1681 w 10000"/>
              <a:gd name="connsiteY316" fmla="*/ 4241 h 10000"/>
              <a:gd name="connsiteX317" fmla="*/ 1733 w 10000"/>
              <a:gd name="connsiteY317" fmla="*/ 4276 h 10000"/>
              <a:gd name="connsiteX318" fmla="*/ 1638 w 10000"/>
              <a:gd name="connsiteY318" fmla="*/ 4331 h 10000"/>
              <a:gd name="connsiteX319" fmla="*/ 1433 w 10000"/>
              <a:gd name="connsiteY319" fmla="*/ 4710 h 10000"/>
              <a:gd name="connsiteX320" fmla="*/ 1472 w 10000"/>
              <a:gd name="connsiteY320" fmla="*/ 4732 h 10000"/>
              <a:gd name="connsiteX321" fmla="*/ 1503 w 10000"/>
              <a:gd name="connsiteY321" fmla="*/ 4828 h 10000"/>
              <a:gd name="connsiteX322" fmla="*/ 1407 w 10000"/>
              <a:gd name="connsiteY322" fmla="*/ 5227 h 10000"/>
              <a:gd name="connsiteX323" fmla="*/ 1503 w 10000"/>
              <a:gd name="connsiteY323" fmla="*/ 5329 h 10000"/>
              <a:gd name="connsiteX324" fmla="*/ 1764 w 10000"/>
              <a:gd name="connsiteY324" fmla="*/ 5441 h 10000"/>
              <a:gd name="connsiteX325" fmla="*/ 1777 w 10000"/>
              <a:gd name="connsiteY325" fmla="*/ 5578 h 10000"/>
              <a:gd name="connsiteX326" fmla="*/ 1664 w 10000"/>
              <a:gd name="connsiteY326" fmla="*/ 5690 h 10000"/>
              <a:gd name="connsiteX327" fmla="*/ 1503 w 10000"/>
              <a:gd name="connsiteY327" fmla="*/ 5759 h 10000"/>
              <a:gd name="connsiteX328" fmla="*/ 1289 w 10000"/>
              <a:gd name="connsiteY328" fmla="*/ 5787 h 10000"/>
              <a:gd name="connsiteX329" fmla="*/ 1233 w 10000"/>
              <a:gd name="connsiteY329" fmla="*/ 5826 h 10000"/>
              <a:gd name="connsiteX330" fmla="*/ 1359 w 10000"/>
              <a:gd name="connsiteY330" fmla="*/ 5920 h 10000"/>
              <a:gd name="connsiteX331" fmla="*/ 1429 w 10000"/>
              <a:gd name="connsiteY331" fmla="*/ 6142 h 10000"/>
              <a:gd name="connsiteX332" fmla="*/ 1267 w 10000"/>
              <a:gd name="connsiteY332" fmla="*/ 6333 h 10000"/>
              <a:gd name="connsiteX333" fmla="*/ 1324 w 10000"/>
              <a:gd name="connsiteY333" fmla="*/ 6392 h 10000"/>
              <a:gd name="connsiteX334" fmla="*/ 1272 w 10000"/>
              <a:gd name="connsiteY334" fmla="*/ 6492 h 10000"/>
              <a:gd name="connsiteX335" fmla="*/ 1167 w 10000"/>
              <a:gd name="connsiteY335" fmla="*/ 6561 h 10000"/>
              <a:gd name="connsiteX336" fmla="*/ 758 w 10000"/>
              <a:gd name="connsiteY336" fmla="*/ 6614 h 10000"/>
              <a:gd name="connsiteX337" fmla="*/ 732 w 10000"/>
              <a:gd name="connsiteY337" fmla="*/ 6706 h 10000"/>
              <a:gd name="connsiteX338" fmla="*/ 510 w 10000"/>
              <a:gd name="connsiteY338" fmla="*/ 6843 h 10000"/>
              <a:gd name="connsiteX339" fmla="*/ 540 w 10000"/>
              <a:gd name="connsiteY339" fmla="*/ 7040 h 10000"/>
              <a:gd name="connsiteX340" fmla="*/ 353 w 10000"/>
              <a:gd name="connsiteY340" fmla="*/ 7293 h 10000"/>
              <a:gd name="connsiteX341" fmla="*/ 226 w 10000"/>
              <a:gd name="connsiteY341" fmla="*/ 7323 h 10000"/>
              <a:gd name="connsiteX342" fmla="*/ 174 w 10000"/>
              <a:gd name="connsiteY342" fmla="*/ 7262 h 10000"/>
              <a:gd name="connsiteX343" fmla="*/ 109 w 10000"/>
              <a:gd name="connsiteY343" fmla="*/ 7354 h 10000"/>
              <a:gd name="connsiteX344" fmla="*/ 152 w 10000"/>
              <a:gd name="connsiteY344" fmla="*/ 7197 h 10000"/>
              <a:gd name="connsiteX345" fmla="*/ 126 w 10000"/>
              <a:gd name="connsiteY34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123 w 10000"/>
              <a:gd name="connsiteY208" fmla="*/ 3229 h 10000"/>
              <a:gd name="connsiteX209" fmla="*/ 8153 w 10000"/>
              <a:gd name="connsiteY209" fmla="*/ 3219 h 10000"/>
              <a:gd name="connsiteX210" fmla="*/ 8075 w 10000"/>
              <a:gd name="connsiteY210" fmla="*/ 3147 h 10000"/>
              <a:gd name="connsiteX211" fmla="*/ 8079 w 10000"/>
              <a:gd name="connsiteY211" fmla="*/ 3127 h 10000"/>
              <a:gd name="connsiteX212" fmla="*/ 8132 w 10000"/>
              <a:gd name="connsiteY212" fmla="*/ 3100 h 10000"/>
              <a:gd name="connsiteX213" fmla="*/ 8145 w 10000"/>
              <a:gd name="connsiteY213" fmla="*/ 3064 h 10000"/>
              <a:gd name="connsiteX214" fmla="*/ 8258 w 10000"/>
              <a:gd name="connsiteY214" fmla="*/ 3037 h 10000"/>
              <a:gd name="connsiteX215" fmla="*/ 8380 w 10000"/>
              <a:gd name="connsiteY215" fmla="*/ 2860 h 10000"/>
              <a:gd name="connsiteX216" fmla="*/ 8253 w 10000"/>
              <a:gd name="connsiteY216" fmla="*/ 2762 h 10000"/>
              <a:gd name="connsiteX217" fmla="*/ 8267 w 10000"/>
              <a:gd name="connsiteY217" fmla="*/ 2748 h 10000"/>
              <a:gd name="connsiteX218" fmla="*/ 8397 w 10000"/>
              <a:gd name="connsiteY218" fmla="*/ 2705 h 10000"/>
              <a:gd name="connsiteX219" fmla="*/ 8402 w 10000"/>
              <a:gd name="connsiteY219" fmla="*/ 2662 h 10000"/>
              <a:gd name="connsiteX220" fmla="*/ 8449 w 10000"/>
              <a:gd name="connsiteY220" fmla="*/ 2656 h 10000"/>
              <a:gd name="connsiteX221" fmla="*/ 8558 w 10000"/>
              <a:gd name="connsiteY221" fmla="*/ 2677 h 10000"/>
              <a:gd name="connsiteX222" fmla="*/ 8593 w 10000"/>
              <a:gd name="connsiteY222" fmla="*/ 2669 h 10000"/>
              <a:gd name="connsiteX223" fmla="*/ 8606 w 10000"/>
              <a:gd name="connsiteY223" fmla="*/ 2630 h 10000"/>
              <a:gd name="connsiteX224" fmla="*/ 8567 w 10000"/>
              <a:gd name="connsiteY224" fmla="*/ 2605 h 10000"/>
              <a:gd name="connsiteX225" fmla="*/ 8685 w 10000"/>
              <a:gd name="connsiteY225" fmla="*/ 2597 h 10000"/>
              <a:gd name="connsiteX226" fmla="*/ 8698 w 10000"/>
              <a:gd name="connsiteY226" fmla="*/ 2565 h 10000"/>
              <a:gd name="connsiteX227" fmla="*/ 8558 w 10000"/>
              <a:gd name="connsiteY227" fmla="*/ 2481 h 10000"/>
              <a:gd name="connsiteX228" fmla="*/ 8558 w 10000"/>
              <a:gd name="connsiteY228" fmla="*/ 2459 h 10000"/>
              <a:gd name="connsiteX229" fmla="*/ 8698 w 10000"/>
              <a:gd name="connsiteY229" fmla="*/ 2504 h 10000"/>
              <a:gd name="connsiteX230" fmla="*/ 8763 w 10000"/>
              <a:gd name="connsiteY230" fmla="*/ 2548 h 10000"/>
              <a:gd name="connsiteX231" fmla="*/ 8815 w 10000"/>
              <a:gd name="connsiteY231" fmla="*/ 2548 h 10000"/>
              <a:gd name="connsiteX232" fmla="*/ 8789 w 10000"/>
              <a:gd name="connsiteY232" fmla="*/ 2457 h 10000"/>
              <a:gd name="connsiteX233" fmla="*/ 8798 w 10000"/>
              <a:gd name="connsiteY233" fmla="*/ 2467 h 10000"/>
              <a:gd name="connsiteX234" fmla="*/ 8841 w 10000"/>
              <a:gd name="connsiteY234" fmla="*/ 2457 h 10000"/>
              <a:gd name="connsiteX235" fmla="*/ 8855 w 10000"/>
              <a:gd name="connsiteY235" fmla="*/ 2341 h 10000"/>
              <a:gd name="connsiteX236" fmla="*/ 8898 w 10000"/>
              <a:gd name="connsiteY236" fmla="*/ 2332 h 10000"/>
              <a:gd name="connsiteX237" fmla="*/ 8946 w 10000"/>
              <a:gd name="connsiteY237" fmla="*/ 2330 h 10000"/>
              <a:gd name="connsiteX238" fmla="*/ 8946 w 10000"/>
              <a:gd name="connsiteY238" fmla="*/ 2361 h 10000"/>
              <a:gd name="connsiteX239" fmla="*/ 8994 w 10000"/>
              <a:gd name="connsiteY239" fmla="*/ 2389 h 10000"/>
              <a:gd name="connsiteX240" fmla="*/ 9051 w 10000"/>
              <a:gd name="connsiteY240" fmla="*/ 2400 h 10000"/>
              <a:gd name="connsiteX241" fmla="*/ 9094 w 10000"/>
              <a:gd name="connsiteY241" fmla="*/ 2324 h 10000"/>
              <a:gd name="connsiteX242" fmla="*/ 9164 w 10000"/>
              <a:gd name="connsiteY242" fmla="*/ 2347 h 10000"/>
              <a:gd name="connsiteX243" fmla="*/ 9247 w 10000"/>
              <a:gd name="connsiteY243" fmla="*/ 2402 h 10000"/>
              <a:gd name="connsiteX244" fmla="*/ 9286 w 10000"/>
              <a:gd name="connsiteY244" fmla="*/ 2400 h 10000"/>
              <a:gd name="connsiteX245" fmla="*/ 9355 w 10000"/>
              <a:gd name="connsiteY245" fmla="*/ 2428 h 10000"/>
              <a:gd name="connsiteX246" fmla="*/ 9408 w 10000"/>
              <a:gd name="connsiteY246" fmla="*/ 2359 h 10000"/>
              <a:gd name="connsiteX247" fmla="*/ 9717 w 10000"/>
              <a:gd name="connsiteY247" fmla="*/ 2343 h 10000"/>
              <a:gd name="connsiteX248" fmla="*/ 9830 w 10000"/>
              <a:gd name="connsiteY248" fmla="*/ 2369 h 10000"/>
              <a:gd name="connsiteX249" fmla="*/ 9909 w 10000"/>
              <a:gd name="connsiteY249" fmla="*/ 2410 h 10000"/>
              <a:gd name="connsiteX250" fmla="*/ 9948 w 10000"/>
              <a:gd name="connsiteY250" fmla="*/ 2365 h 10000"/>
              <a:gd name="connsiteX251" fmla="*/ 10000 w 10000"/>
              <a:gd name="connsiteY251" fmla="*/ 2349 h 10000"/>
              <a:gd name="connsiteX252" fmla="*/ 9704 w 10000"/>
              <a:gd name="connsiteY252" fmla="*/ 1992 h 10000"/>
              <a:gd name="connsiteX253" fmla="*/ 9743 w 10000"/>
              <a:gd name="connsiteY253" fmla="*/ 1897 h 10000"/>
              <a:gd name="connsiteX254" fmla="*/ 9830 w 10000"/>
              <a:gd name="connsiteY254" fmla="*/ 1819 h 10000"/>
              <a:gd name="connsiteX255" fmla="*/ 9830 w 10000"/>
              <a:gd name="connsiteY255" fmla="*/ 1699 h 10000"/>
              <a:gd name="connsiteX256" fmla="*/ 9556 w 10000"/>
              <a:gd name="connsiteY256" fmla="*/ 1465 h 10000"/>
              <a:gd name="connsiteX257" fmla="*/ 9512 w 10000"/>
              <a:gd name="connsiteY257" fmla="*/ 1379 h 10000"/>
              <a:gd name="connsiteX258" fmla="*/ 9573 w 10000"/>
              <a:gd name="connsiteY258" fmla="*/ 1271 h 10000"/>
              <a:gd name="connsiteX259" fmla="*/ 9543 w 10000"/>
              <a:gd name="connsiteY259" fmla="*/ 1194 h 10000"/>
              <a:gd name="connsiteX260" fmla="*/ 9486 w 10000"/>
              <a:gd name="connsiteY260" fmla="*/ 1159 h 10000"/>
              <a:gd name="connsiteX261" fmla="*/ 9438 w 10000"/>
              <a:gd name="connsiteY261" fmla="*/ 978 h 10000"/>
              <a:gd name="connsiteX262" fmla="*/ 9495 w 10000"/>
              <a:gd name="connsiteY262" fmla="*/ 831 h 10000"/>
              <a:gd name="connsiteX263" fmla="*/ 9077 w 10000"/>
              <a:gd name="connsiteY263" fmla="*/ 517 h 10000"/>
              <a:gd name="connsiteX264" fmla="*/ 8872 w 10000"/>
              <a:gd name="connsiteY264" fmla="*/ 440 h 10000"/>
              <a:gd name="connsiteX265" fmla="*/ 8493 w 10000"/>
              <a:gd name="connsiteY265" fmla="*/ 389 h 10000"/>
              <a:gd name="connsiteX266" fmla="*/ 7709 w 10000"/>
              <a:gd name="connsiteY266" fmla="*/ 26 h 10000"/>
              <a:gd name="connsiteX267" fmla="*/ 7683 w 10000"/>
              <a:gd name="connsiteY267" fmla="*/ 2 h 10000"/>
              <a:gd name="connsiteX268" fmla="*/ 7417 w 10000"/>
              <a:gd name="connsiteY268" fmla="*/ 0 h 10000"/>
              <a:gd name="connsiteX269" fmla="*/ 7356 w 10000"/>
              <a:gd name="connsiteY269" fmla="*/ 14 h 10000"/>
              <a:gd name="connsiteX270" fmla="*/ 7369 w 10000"/>
              <a:gd name="connsiteY270" fmla="*/ 61 h 10000"/>
              <a:gd name="connsiteX271" fmla="*/ 7422 w 10000"/>
              <a:gd name="connsiteY271" fmla="*/ 86 h 10000"/>
              <a:gd name="connsiteX272" fmla="*/ 7435 w 10000"/>
              <a:gd name="connsiteY272" fmla="*/ 139 h 10000"/>
              <a:gd name="connsiteX273" fmla="*/ 7417 w 10000"/>
              <a:gd name="connsiteY273" fmla="*/ 181 h 10000"/>
              <a:gd name="connsiteX274" fmla="*/ 7369 w 10000"/>
              <a:gd name="connsiteY274" fmla="*/ 208 h 10000"/>
              <a:gd name="connsiteX275" fmla="*/ 7334 w 10000"/>
              <a:gd name="connsiteY275" fmla="*/ 283 h 10000"/>
              <a:gd name="connsiteX276" fmla="*/ 7269 w 10000"/>
              <a:gd name="connsiteY276" fmla="*/ 336 h 10000"/>
              <a:gd name="connsiteX277" fmla="*/ 7282 w 10000"/>
              <a:gd name="connsiteY277" fmla="*/ 387 h 10000"/>
              <a:gd name="connsiteX278" fmla="*/ 7382 w 10000"/>
              <a:gd name="connsiteY278" fmla="*/ 434 h 10000"/>
              <a:gd name="connsiteX279" fmla="*/ 7317 w 10000"/>
              <a:gd name="connsiteY279" fmla="*/ 475 h 10000"/>
              <a:gd name="connsiteX280" fmla="*/ 7221 w 10000"/>
              <a:gd name="connsiteY280" fmla="*/ 485 h 10000"/>
              <a:gd name="connsiteX281" fmla="*/ 6420 w 10000"/>
              <a:gd name="connsiteY281" fmla="*/ 387 h 10000"/>
              <a:gd name="connsiteX282" fmla="*/ 6324 w 10000"/>
              <a:gd name="connsiteY282" fmla="*/ 395 h 10000"/>
              <a:gd name="connsiteX283" fmla="*/ 6267 w 10000"/>
              <a:gd name="connsiteY283" fmla="*/ 414 h 10000"/>
              <a:gd name="connsiteX284" fmla="*/ 6211 w 10000"/>
              <a:gd name="connsiteY284" fmla="*/ 462 h 10000"/>
              <a:gd name="connsiteX285" fmla="*/ 6220 w 10000"/>
              <a:gd name="connsiteY285" fmla="*/ 581 h 10000"/>
              <a:gd name="connsiteX286" fmla="*/ 6132 w 10000"/>
              <a:gd name="connsiteY286" fmla="*/ 735 h 10000"/>
              <a:gd name="connsiteX287" fmla="*/ 6024 w 10000"/>
              <a:gd name="connsiteY287" fmla="*/ 815 h 10000"/>
              <a:gd name="connsiteX288" fmla="*/ 5980 w 10000"/>
              <a:gd name="connsiteY288" fmla="*/ 805 h 10000"/>
              <a:gd name="connsiteX289" fmla="*/ 5880 w 10000"/>
              <a:gd name="connsiteY289" fmla="*/ 739 h 10000"/>
              <a:gd name="connsiteX290" fmla="*/ 5753 w 10000"/>
              <a:gd name="connsiteY290" fmla="*/ 705 h 10000"/>
              <a:gd name="connsiteX291" fmla="*/ 5618 w 10000"/>
              <a:gd name="connsiteY291" fmla="*/ 715 h 10000"/>
              <a:gd name="connsiteX292" fmla="*/ 5301 w 10000"/>
              <a:gd name="connsiteY292" fmla="*/ 866 h 10000"/>
              <a:gd name="connsiteX293" fmla="*/ 5218 w 10000"/>
              <a:gd name="connsiteY293" fmla="*/ 1017 h 10000"/>
              <a:gd name="connsiteX294" fmla="*/ 4978 w 10000"/>
              <a:gd name="connsiteY294" fmla="*/ 1153 h 10000"/>
              <a:gd name="connsiteX295" fmla="*/ 4935 w 10000"/>
              <a:gd name="connsiteY295" fmla="*/ 1222 h 10000"/>
              <a:gd name="connsiteX296" fmla="*/ 5061 w 10000"/>
              <a:gd name="connsiteY296" fmla="*/ 1344 h 10000"/>
              <a:gd name="connsiteX297" fmla="*/ 5074 w 10000"/>
              <a:gd name="connsiteY297" fmla="*/ 1412 h 10000"/>
              <a:gd name="connsiteX298" fmla="*/ 4421 w 10000"/>
              <a:gd name="connsiteY298" fmla="*/ 1813 h 10000"/>
              <a:gd name="connsiteX299" fmla="*/ 4220 w 10000"/>
              <a:gd name="connsiteY299" fmla="*/ 2070 h 10000"/>
              <a:gd name="connsiteX300" fmla="*/ 4003 w 10000"/>
              <a:gd name="connsiteY300" fmla="*/ 2135 h 10000"/>
              <a:gd name="connsiteX301" fmla="*/ 3868 w 10000"/>
              <a:gd name="connsiteY301" fmla="*/ 2131 h 10000"/>
              <a:gd name="connsiteX302" fmla="*/ 3785 w 10000"/>
              <a:gd name="connsiteY302" fmla="*/ 2153 h 10000"/>
              <a:gd name="connsiteX303" fmla="*/ 3558 w 10000"/>
              <a:gd name="connsiteY303" fmla="*/ 2793 h 10000"/>
              <a:gd name="connsiteX304" fmla="*/ 3036 w 10000"/>
              <a:gd name="connsiteY304" fmla="*/ 3166 h 10000"/>
              <a:gd name="connsiteX305" fmla="*/ 3040 w 10000"/>
              <a:gd name="connsiteY305" fmla="*/ 3225 h 10000"/>
              <a:gd name="connsiteX306" fmla="*/ 3271 w 10000"/>
              <a:gd name="connsiteY306" fmla="*/ 3392 h 10000"/>
              <a:gd name="connsiteX307" fmla="*/ 3197 w 10000"/>
              <a:gd name="connsiteY307" fmla="*/ 3573 h 10000"/>
              <a:gd name="connsiteX308" fmla="*/ 3062 w 10000"/>
              <a:gd name="connsiteY308" fmla="*/ 3640 h 10000"/>
              <a:gd name="connsiteX309" fmla="*/ 2657 w 10000"/>
              <a:gd name="connsiteY309" fmla="*/ 3595 h 10000"/>
              <a:gd name="connsiteX310" fmla="*/ 2378 w 10000"/>
              <a:gd name="connsiteY310" fmla="*/ 3620 h 10000"/>
              <a:gd name="connsiteX311" fmla="*/ 2152 w 10000"/>
              <a:gd name="connsiteY311" fmla="*/ 3673 h 10000"/>
              <a:gd name="connsiteX312" fmla="*/ 1790 w 10000"/>
              <a:gd name="connsiteY312" fmla="*/ 3840 h 10000"/>
              <a:gd name="connsiteX313" fmla="*/ 1598 w 10000"/>
              <a:gd name="connsiteY313" fmla="*/ 4042 h 10000"/>
              <a:gd name="connsiteX314" fmla="*/ 1616 w 10000"/>
              <a:gd name="connsiteY314" fmla="*/ 4154 h 10000"/>
              <a:gd name="connsiteX315" fmla="*/ 1681 w 10000"/>
              <a:gd name="connsiteY315" fmla="*/ 4241 h 10000"/>
              <a:gd name="connsiteX316" fmla="*/ 1733 w 10000"/>
              <a:gd name="connsiteY316" fmla="*/ 4276 h 10000"/>
              <a:gd name="connsiteX317" fmla="*/ 1638 w 10000"/>
              <a:gd name="connsiteY317" fmla="*/ 4331 h 10000"/>
              <a:gd name="connsiteX318" fmla="*/ 1433 w 10000"/>
              <a:gd name="connsiteY318" fmla="*/ 4710 h 10000"/>
              <a:gd name="connsiteX319" fmla="*/ 1472 w 10000"/>
              <a:gd name="connsiteY319" fmla="*/ 4732 h 10000"/>
              <a:gd name="connsiteX320" fmla="*/ 1503 w 10000"/>
              <a:gd name="connsiteY320" fmla="*/ 4828 h 10000"/>
              <a:gd name="connsiteX321" fmla="*/ 1407 w 10000"/>
              <a:gd name="connsiteY321" fmla="*/ 5227 h 10000"/>
              <a:gd name="connsiteX322" fmla="*/ 1503 w 10000"/>
              <a:gd name="connsiteY322" fmla="*/ 5329 h 10000"/>
              <a:gd name="connsiteX323" fmla="*/ 1764 w 10000"/>
              <a:gd name="connsiteY323" fmla="*/ 5441 h 10000"/>
              <a:gd name="connsiteX324" fmla="*/ 1777 w 10000"/>
              <a:gd name="connsiteY324" fmla="*/ 5578 h 10000"/>
              <a:gd name="connsiteX325" fmla="*/ 1664 w 10000"/>
              <a:gd name="connsiteY325" fmla="*/ 5690 h 10000"/>
              <a:gd name="connsiteX326" fmla="*/ 1503 w 10000"/>
              <a:gd name="connsiteY326" fmla="*/ 5759 h 10000"/>
              <a:gd name="connsiteX327" fmla="*/ 1289 w 10000"/>
              <a:gd name="connsiteY327" fmla="*/ 5787 h 10000"/>
              <a:gd name="connsiteX328" fmla="*/ 1233 w 10000"/>
              <a:gd name="connsiteY328" fmla="*/ 5826 h 10000"/>
              <a:gd name="connsiteX329" fmla="*/ 1359 w 10000"/>
              <a:gd name="connsiteY329" fmla="*/ 5920 h 10000"/>
              <a:gd name="connsiteX330" fmla="*/ 1429 w 10000"/>
              <a:gd name="connsiteY330" fmla="*/ 6142 h 10000"/>
              <a:gd name="connsiteX331" fmla="*/ 1267 w 10000"/>
              <a:gd name="connsiteY331" fmla="*/ 6333 h 10000"/>
              <a:gd name="connsiteX332" fmla="*/ 1324 w 10000"/>
              <a:gd name="connsiteY332" fmla="*/ 6392 h 10000"/>
              <a:gd name="connsiteX333" fmla="*/ 1272 w 10000"/>
              <a:gd name="connsiteY333" fmla="*/ 6492 h 10000"/>
              <a:gd name="connsiteX334" fmla="*/ 1167 w 10000"/>
              <a:gd name="connsiteY334" fmla="*/ 6561 h 10000"/>
              <a:gd name="connsiteX335" fmla="*/ 758 w 10000"/>
              <a:gd name="connsiteY335" fmla="*/ 6614 h 10000"/>
              <a:gd name="connsiteX336" fmla="*/ 732 w 10000"/>
              <a:gd name="connsiteY336" fmla="*/ 6706 h 10000"/>
              <a:gd name="connsiteX337" fmla="*/ 510 w 10000"/>
              <a:gd name="connsiteY337" fmla="*/ 6843 h 10000"/>
              <a:gd name="connsiteX338" fmla="*/ 540 w 10000"/>
              <a:gd name="connsiteY338" fmla="*/ 7040 h 10000"/>
              <a:gd name="connsiteX339" fmla="*/ 353 w 10000"/>
              <a:gd name="connsiteY339" fmla="*/ 7293 h 10000"/>
              <a:gd name="connsiteX340" fmla="*/ 226 w 10000"/>
              <a:gd name="connsiteY340" fmla="*/ 7323 h 10000"/>
              <a:gd name="connsiteX341" fmla="*/ 174 w 10000"/>
              <a:gd name="connsiteY341" fmla="*/ 7262 h 10000"/>
              <a:gd name="connsiteX342" fmla="*/ 109 w 10000"/>
              <a:gd name="connsiteY342" fmla="*/ 7354 h 10000"/>
              <a:gd name="connsiteX343" fmla="*/ 152 w 10000"/>
              <a:gd name="connsiteY343" fmla="*/ 7197 h 10000"/>
              <a:gd name="connsiteX344" fmla="*/ 126 w 10000"/>
              <a:gd name="connsiteY34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123 w 10000"/>
              <a:gd name="connsiteY208" fmla="*/ 3229 h 10000"/>
              <a:gd name="connsiteX209" fmla="*/ 8075 w 10000"/>
              <a:gd name="connsiteY209" fmla="*/ 3147 h 10000"/>
              <a:gd name="connsiteX210" fmla="*/ 8079 w 10000"/>
              <a:gd name="connsiteY210" fmla="*/ 3127 h 10000"/>
              <a:gd name="connsiteX211" fmla="*/ 8132 w 10000"/>
              <a:gd name="connsiteY211" fmla="*/ 3100 h 10000"/>
              <a:gd name="connsiteX212" fmla="*/ 8145 w 10000"/>
              <a:gd name="connsiteY212" fmla="*/ 3064 h 10000"/>
              <a:gd name="connsiteX213" fmla="*/ 8258 w 10000"/>
              <a:gd name="connsiteY213" fmla="*/ 3037 h 10000"/>
              <a:gd name="connsiteX214" fmla="*/ 8380 w 10000"/>
              <a:gd name="connsiteY214" fmla="*/ 2860 h 10000"/>
              <a:gd name="connsiteX215" fmla="*/ 8253 w 10000"/>
              <a:gd name="connsiteY215" fmla="*/ 2762 h 10000"/>
              <a:gd name="connsiteX216" fmla="*/ 8267 w 10000"/>
              <a:gd name="connsiteY216" fmla="*/ 2748 h 10000"/>
              <a:gd name="connsiteX217" fmla="*/ 8397 w 10000"/>
              <a:gd name="connsiteY217" fmla="*/ 2705 h 10000"/>
              <a:gd name="connsiteX218" fmla="*/ 8402 w 10000"/>
              <a:gd name="connsiteY218" fmla="*/ 2662 h 10000"/>
              <a:gd name="connsiteX219" fmla="*/ 8449 w 10000"/>
              <a:gd name="connsiteY219" fmla="*/ 2656 h 10000"/>
              <a:gd name="connsiteX220" fmla="*/ 8558 w 10000"/>
              <a:gd name="connsiteY220" fmla="*/ 2677 h 10000"/>
              <a:gd name="connsiteX221" fmla="*/ 8593 w 10000"/>
              <a:gd name="connsiteY221" fmla="*/ 2669 h 10000"/>
              <a:gd name="connsiteX222" fmla="*/ 8606 w 10000"/>
              <a:gd name="connsiteY222" fmla="*/ 2630 h 10000"/>
              <a:gd name="connsiteX223" fmla="*/ 8567 w 10000"/>
              <a:gd name="connsiteY223" fmla="*/ 2605 h 10000"/>
              <a:gd name="connsiteX224" fmla="*/ 8685 w 10000"/>
              <a:gd name="connsiteY224" fmla="*/ 2597 h 10000"/>
              <a:gd name="connsiteX225" fmla="*/ 8698 w 10000"/>
              <a:gd name="connsiteY225" fmla="*/ 2565 h 10000"/>
              <a:gd name="connsiteX226" fmla="*/ 8558 w 10000"/>
              <a:gd name="connsiteY226" fmla="*/ 2481 h 10000"/>
              <a:gd name="connsiteX227" fmla="*/ 8558 w 10000"/>
              <a:gd name="connsiteY227" fmla="*/ 2459 h 10000"/>
              <a:gd name="connsiteX228" fmla="*/ 8698 w 10000"/>
              <a:gd name="connsiteY228" fmla="*/ 2504 h 10000"/>
              <a:gd name="connsiteX229" fmla="*/ 8763 w 10000"/>
              <a:gd name="connsiteY229" fmla="*/ 2548 h 10000"/>
              <a:gd name="connsiteX230" fmla="*/ 8815 w 10000"/>
              <a:gd name="connsiteY230" fmla="*/ 2548 h 10000"/>
              <a:gd name="connsiteX231" fmla="*/ 8789 w 10000"/>
              <a:gd name="connsiteY231" fmla="*/ 2457 h 10000"/>
              <a:gd name="connsiteX232" fmla="*/ 8798 w 10000"/>
              <a:gd name="connsiteY232" fmla="*/ 2467 h 10000"/>
              <a:gd name="connsiteX233" fmla="*/ 8841 w 10000"/>
              <a:gd name="connsiteY233" fmla="*/ 2457 h 10000"/>
              <a:gd name="connsiteX234" fmla="*/ 8855 w 10000"/>
              <a:gd name="connsiteY234" fmla="*/ 2341 h 10000"/>
              <a:gd name="connsiteX235" fmla="*/ 8898 w 10000"/>
              <a:gd name="connsiteY235" fmla="*/ 2332 h 10000"/>
              <a:gd name="connsiteX236" fmla="*/ 8946 w 10000"/>
              <a:gd name="connsiteY236" fmla="*/ 2330 h 10000"/>
              <a:gd name="connsiteX237" fmla="*/ 8946 w 10000"/>
              <a:gd name="connsiteY237" fmla="*/ 2361 h 10000"/>
              <a:gd name="connsiteX238" fmla="*/ 8994 w 10000"/>
              <a:gd name="connsiteY238" fmla="*/ 2389 h 10000"/>
              <a:gd name="connsiteX239" fmla="*/ 9051 w 10000"/>
              <a:gd name="connsiteY239" fmla="*/ 2400 h 10000"/>
              <a:gd name="connsiteX240" fmla="*/ 9094 w 10000"/>
              <a:gd name="connsiteY240" fmla="*/ 2324 h 10000"/>
              <a:gd name="connsiteX241" fmla="*/ 9164 w 10000"/>
              <a:gd name="connsiteY241" fmla="*/ 2347 h 10000"/>
              <a:gd name="connsiteX242" fmla="*/ 9247 w 10000"/>
              <a:gd name="connsiteY242" fmla="*/ 2402 h 10000"/>
              <a:gd name="connsiteX243" fmla="*/ 9286 w 10000"/>
              <a:gd name="connsiteY243" fmla="*/ 2400 h 10000"/>
              <a:gd name="connsiteX244" fmla="*/ 9355 w 10000"/>
              <a:gd name="connsiteY244" fmla="*/ 2428 h 10000"/>
              <a:gd name="connsiteX245" fmla="*/ 9408 w 10000"/>
              <a:gd name="connsiteY245" fmla="*/ 2359 h 10000"/>
              <a:gd name="connsiteX246" fmla="*/ 9717 w 10000"/>
              <a:gd name="connsiteY246" fmla="*/ 2343 h 10000"/>
              <a:gd name="connsiteX247" fmla="*/ 9830 w 10000"/>
              <a:gd name="connsiteY247" fmla="*/ 2369 h 10000"/>
              <a:gd name="connsiteX248" fmla="*/ 9909 w 10000"/>
              <a:gd name="connsiteY248" fmla="*/ 2410 h 10000"/>
              <a:gd name="connsiteX249" fmla="*/ 9948 w 10000"/>
              <a:gd name="connsiteY249" fmla="*/ 2365 h 10000"/>
              <a:gd name="connsiteX250" fmla="*/ 10000 w 10000"/>
              <a:gd name="connsiteY250" fmla="*/ 2349 h 10000"/>
              <a:gd name="connsiteX251" fmla="*/ 9704 w 10000"/>
              <a:gd name="connsiteY251" fmla="*/ 1992 h 10000"/>
              <a:gd name="connsiteX252" fmla="*/ 9743 w 10000"/>
              <a:gd name="connsiteY252" fmla="*/ 1897 h 10000"/>
              <a:gd name="connsiteX253" fmla="*/ 9830 w 10000"/>
              <a:gd name="connsiteY253" fmla="*/ 1819 h 10000"/>
              <a:gd name="connsiteX254" fmla="*/ 9830 w 10000"/>
              <a:gd name="connsiteY254" fmla="*/ 1699 h 10000"/>
              <a:gd name="connsiteX255" fmla="*/ 9556 w 10000"/>
              <a:gd name="connsiteY255" fmla="*/ 1465 h 10000"/>
              <a:gd name="connsiteX256" fmla="*/ 9512 w 10000"/>
              <a:gd name="connsiteY256" fmla="*/ 1379 h 10000"/>
              <a:gd name="connsiteX257" fmla="*/ 9573 w 10000"/>
              <a:gd name="connsiteY257" fmla="*/ 1271 h 10000"/>
              <a:gd name="connsiteX258" fmla="*/ 9543 w 10000"/>
              <a:gd name="connsiteY258" fmla="*/ 1194 h 10000"/>
              <a:gd name="connsiteX259" fmla="*/ 9486 w 10000"/>
              <a:gd name="connsiteY259" fmla="*/ 1159 h 10000"/>
              <a:gd name="connsiteX260" fmla="*/ 9438 w 10000"/>
              <a:gd name="connsiteY260" fmla="*/ 978 h 10000"/>
              <a:gd name="connsiteX261" fmla="*/ 9495 w 10000"/>
              <a:gd name="connsiteY261" fmla="*/ 831 h 10000"/>
              <a:gd name="connsiteX262" fmla="*/ 9077 w 10000"/>
              <a:gd name="connsiteY262" fmla="*/ 517 h 10000"/>
              <a:gd name="connsiteX263" fmla="*/ 8872 w 10000"/>
              <a:gd name="connsiteY263" fmla="*/ 440 h 10000"/>
              <a:gd name="connsiteX264" fmla="*/ 8493 w 10000"/>
              <a:gd name="connsiteY264" fmla="*/ 389 h 10000"/>
              <a:gd name="connsiteX265" fmla="*/ 7709 w 10000"/>
              <a:gd name="connsiteY265" fmla="*/ 26 h 10000"/>
              <a:gd name="connsiteX266" fmla="*/ 7683 w 10000"/>
              <a:gd name="connsiteY266" fmla="*/ 2 h 10000"/>
              <a:gd name="connsiteX267" fmla="*/ 7417 w 10000"/>
              <a:gd name="connsiteY267" fmla="*/ 0 h 10000"/>
              <a:gd name="connsiteX268" fmla="*/ 7356 w 10000"/>
              <a:gd name="connsiteY268" fmla="*/ 14 h 10000"/>
              <a:gd name="connsiteX269" fmla="*/ 7369 w 10000"/>
              <a:gd name="connsiteY269" fmla="*/ 61 h 10000"/>
              <a:gd name="connsiteX270" fmla="*/ 7422 w 10000"/>
              <a:gd name="connsiteY270" fmla="*/ 86 h 10000"/>
              <a:gd name="connsiteX271" fmla="*/ 7435 w 10000"/>
              <a:gd name="connsiteY271" fmla="*/ 139 h 10000"/>
              <a:gd name="connsiteX272" fmla="*/ 7417 w 10000"/>
              <a:gd name="connsiteY272" fmla="*/ 181 h 10000"/>
              <a:gd name="connsiteX273" fmla="*/ 7369 w 10000"/>
              <a:gd name="connsiteY273" fmla="*/ 208 h 10000"/>
              <a:gd name="connsiteX274" fmla="*/ 7334 w 10000"/>
              <a:gd name="connsiteY274" fmla="*/ 283 h 10000"/>
              <a:gd name="connsiteX275" fmla="*/ 7269 w 10000"/>
              <a:gd name="connsiteY275" fmla="*/ 336 h 10000"/>
              <a:gd name="connsiteX276" fmla="*/ 7282 w 10000"/>
              <a:gd name="connsiteY276" fmla="*/ 387 h 10000"/>
              <a:gd name="connsiteX277" fmla="*/ 7382 w 10000"/>
              <a:gd name="connsiteY277" fmla="*/ 434 h 10000"/>
              <a:gd name="connsiteX278" fmla="*/ 7317 w 10000"/>
              <a:gd name="connsiteY278" fmla="*/ 475 h 10000"/>
              <a:gd name="connsiteX279" fmla="*/ 7221 w 10000"/>
              <a:gd name="connsiteY279" fmla="*/ 485 h 10000"/>
              <a:gd name="connsiteX280" fmla="*/ 6420 w 10000"/>
              <a:gd name="connsiteY280" fmla="*/ 387 h 10000"/>
              <a:gd name="connsiteX281" fmla="*/ 6324 w 10000"/>
              <a:gd name="connsiteY281" fmla="*/ 395 h 10000"/>
              <a:gd name="connsiteX282" fmla="*/ 6267 w 10000"/>
              <a:gd name="connsiteY282" fmla="*/ 414 h 10000"/>
              <a:gd name="connsiteX283" fmla="*/ 6211 w 10000"/>
              <a:gd name="connsiteY283" fmla="*/ 462 h 10000"/>
              <a:gd name="connsiteX284" fmla="*/ 6220 w 10000"/>
              <a:gd name="connsiteY284" fmla="*/ 581 h 10000"/>
              <a:gd name="connsiteX285" fmla="*/ 6132 w 10000"/>
              <a:gd name="connsiteY285" fmla="*/ 735 h 10000"/>
              <a:gd name="connsiteX286" fmla="*/ 6024 w 10000"/>
              <a:gd name="connsiteY286" fmla="*/ 815 h 10000"/>
              <a:gd name="connsiteX287" fmla="*/ 5980 w 10000"/>
              <a:gd name="connsiteY287" fmla="*/ 805 h 10000"/>
              <a:gd name="connsiteX288" fmla="*/ 5880 w 10000"/>
              <a:gd name="connsiteY288" fmla="*/ 739 h 10000"/>
              <a:gd name="connsiteX289" fmla="*/ 5753 w 10000"/>
              <a:gd name="connsiteY289" fmla="*/ 705 h 10000"/>
              <a:gd name="connsiteX290" fmla="*/ 5618 w 10000"/>
              <a:gd name="connsiteY290" fmla="*/ 715 h 10000"/>
              <a:gd name="connsiteX291" fmla="*/ 5301 w 10000"/>
              <a:gd name="connsiteY291" fmla="*/ 866 h 10000"/>
              <a:gd name="connsiteX292" fmla="*/ 5218 w 10000"/>
              <a:gd name="connsiteY292" fmla="*/ 1017 h 10000"/>
              <a:gd name="connsiteX293" fmla="*/ 4978 w 10000"/>
              <a:gd name="connsiteY293" fmla="*/ 1153 h 10000"/>
              <a:gd name="connsiteX294" fmla="*/ 4935 w 10000"/>
              <a:gd name="connsiteY294" fmla="*/ 1222 h 10000"/>
              <a:gd name="connsiteX295" fmla="*/ 5061 w 10000"/>
              <a:gd name="connsiteY295" fmla="*/ 1344 h 10000"/>
              <a:gd name="connsiteX296" fmla="*/ 5074 w 10000"/>
              <a:gd name="connsiteY296" fmla="*/ 1412 h 10000"/>
              <a:gd name="connsiteX297" fmla="*/ 4421 w 10000"/>
              <a:gd name="connsiteY297" fmla="*/ 1813 h 10000"/>
              <a:gd name="connsiteX298" fmla="*/ 4220 w 10000"/>
              <a:gd name="connsiteY298" fmla="*/ 2070 h 10000"/>
              <a:gd name="connsiteX299" fmla="*/ 4003 w 10000"/>
              <a:gd name="connsiteY299" fmla="*/ 2135 h 10000"/>
              <a:gd name="connsiteX300" fmla="*/ 3868 w 10000"/>
              <a:gd name="connsiteY300" fmla="*/ 2131 h 10000"/>
              <a:gd name="connsiteX301" fmla="*/ 3785 w 10000"/>
              <a:gd name="connsiteY301" fmla="*/ 2153 h 10000"/>
              <a:gd name="connsiteX302" fmla="*/ 3558 w 10000"/>
              <a:gd name="connsiteY302" fmla="*/ 2793 h 10000"/>
              <a:gd name="connsiteX303" fmla="*/ 3036 w 10000"/>
              <a:gd name="connsiteY303" fmla="*/ 3166 h 10000"/>
              <a:gd name="connsiteX304" fmla="*/ 3040 w 10000"/>
              <a:gd name="connsiteY304" fmla="*/ 3225 h 10000"/>
              <a:gd name="connsiteX305" fmla="*/ 3271 w 10000"/>
              <a:gd name="connsiteY305" fmla="*/ 3392 h 10000"/>
              <a:gd name="connsiteX306" fmla="*/ 3197 w 10000"/>
              <a:gd name="connsiteY306" fmla="*/ 3573 h 10000"/>
              <a:gd name="connsiteX307" fmla="*/ 3062 w 10000"/>
              <a:gd name="connsiteY307" fmla="*/ 3640 h 10000"/>
              <a:gd name="connsiteX308" fmla="*/ 2657 w 10000"/>
              <a:gd name="connsiteY308" fmla="*/ 3595 h 10000"/>
              <a:gd name="connsiteX309" fmla="*/ 2378 w 10000"/>
              <a:gd name="connsiteY309" fmla="*/ 3620 h 10000"/>
              <a:gd name="connsiteX310" fmla="*/ 2152 w 10000"/>
              <a:gd name="connsiteY310" fmla="*/ 3673 h 10000"/>
              <a:gd name="connsiteX311" fmla="*/ 1790 w 10000"/>
              <a:gd name="connsiteY311" fmla="*/ 3840 h 10000"/>
              <a:gd name="connsiteX312" fmla="*/ 1598 w 10000"/>
              <a:gd name="connsiteY312" fmla="*/ 4042 h 10000"/>
              <a:gd name="connsiteX313" fmla="*/ 1616 w 10000"/>
              <a:gd name="connsiteY313" fmla="*/ 4154 h 10000"/>
              <a:gd name="connsiteX314" fmla="*/ 1681 w 10000"/>
              <a:gd name="connsiteY314" fmla="*/ 4241 h 10000"/>
              <a:gd name="connsiteX315" fmla="*/ 1733 w 10000"/>
              <a:gd name="connsiteY315" fmla="*/ 4276 h 10000"/>
              <a:gd name="connsiteX316" fmla="*/ 1638 w 10000"/>
              <a:gd name="connsiteY316" fmla="*/ 4331 h 10000"/>
              <a:gd name="connsiteX317" fmla="*/ 1433 w 10000"/>
              <a:gd name="connsiteY317" fmla="*/ 4710 h 10000"/>
              <a:gd name="connsiteX318" fmla="*/ 1472 w 10000"/>
              <a:gd name="connsiteY318" fmla="*/ 4732 h 10000"/>
              <a:gd name="connsiteX319" fmla="*/ 1503 w 10000"/>
              <a:gd name="connsiteY319" fmla="*/ 4828 h 10000"/>
              <a:gd name="connsiteX320" fmla="*/ 1407 w 10000"/>
              <a:gd name="connsiteY320" fmla="*/ 5227 h 10000"/>
              <a:gd name="connsiteX321" fmla="*/ 1503 w 10000"/>
              <a:gd name="connsiteY321" fmla="*/ 5329 h 10000"/>
              <a:gd name="connsiteX322" fmla="*/ 1764 w 10000"/>
              <a:gd name="connsiteY322" fmla="*/ 5441 h 10000"/>
              <a:gd name="connsiteX323" fmla="*/ 1777 w 10000"/>
              <a:gd name="connsiteY323" fmla="*/ 5578 h 10000"/>
              <a:gd name="connsiteX324" fmla="*/ 1664 w 10000"/>
              <a:gd name="connsiteY324" fmla="*/ 5690 h 10000"/>
              <a:gd name="connsiteX325" fmla="*/ 1503 w 10000"/>
              <a:gd name="connsiteY325" fmla="*/ 5759 h 10000"/>
              <a:gd name="connsiteX326" fmla="*/ 1289 w 10000"/>
              <a:gd name="connsiteY326" fmla="*/ 5787 h 10000"/>
              <a:gd name="connsiteX327" fmla="*/ 1233 w 10000"/>
              <a:gd name="connsiteY327" fmla="*/ 5826 h 10000"/>
              <a:gd name="connsiteX328" fmla="*/ 1359 w 10000"/>
              <a:gd name="connsiteY328" fmla="*/ 5920 h 10000"/>
              <a:gd name="connsiteX329" fmla="*/ 1429 w 10000"/>
              <a:gd name="connsiteY329" fmla="*/ 6142 h 10000"/>
              <a:gd name="connsiteX330" fmla="*/ 1267 w 10000"/>
              <a:gd name="connsiteY330" fmla="*/ 6333 h 10000"/>
              <a:gd name="connsiteX331" fmla="*/ 1324 w 10000"/>
              <a:gd name="connsiteY331" fmla="*/ 6392 h 10000"/>
              <a:gd name="connsiteX332" fmla="*/ 1272 w 10000"/>
              <a:gd name="connsiteY332" fmla="*/ 6492 h 10000"/>
              <a:gd name="connsiteX333" fmla="*/ 1167 w 10000"/>
              <a:gd name="connsiteY333" fmla="*/ 6561 h 10000"/>
              <a:gd name="connsiteX334" fmla="*/ 758 w 10000"/>
              <a:gd name="connsiteY334" fmla="*/ 6614 h 10000"/>
              <a:gd name="connsiteX335" fmla="*/ 732 w 10000"/>
              <a:gd name="connsiteY335" fmla="*/ 6706 h 10000"/>
              <a:gd name="connsiteX336" fmla="*/ 510 w 10000"/>
              <a:gd name="connsiteY336" fmla="*/ 6843 h 10000"/>
              <a:gd name="connsiteX337" fmla="*/ 540 w 10000"/>
              <a:gd name="connsiteY337" fmla="*/ 7040 h 10000"/>
              <a:gd name="connsiteX338" fmla="*/ 353 w 10000"/>
              <a:gd name="connsiteY338" fmla="*/ 7293 h 10000"/>
              <a:gd name="connsiteX339" fmla="*/ 226 w 10000"/>
              <a:gd name="connsiteY339" fmla="*/ 7323 h 10000"/>
              <a:gd name="connsiteX340" fmla="*/ 174 w 10000"/>
              <a:gd name="connsiteY340" fmla="*/ 7262 h 10000"/>
              <a:gd name="connsiteX341" fmla="*/ 109 w 10000"/>
              <a:gd name="connsiteY341" fmla="*/ 7354 h 10000"/>
              <a:gd name="connsiteX342" fmla="*/ 152 w 10000"/>
              <a:gd name="connsiteY342" fmla="*/ 7197 h 10000"/>
              <a:gd name="connsiteX343" fmla="*/ 126 w 10000"/>
              <a:gd name="connsiteY34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32 w 10000"/>
              <a:gd name="connsiteY210" fmla="*/ 3100 h 10000"/>
              <a:gd name="connsiteX211" fmla="*/ 8145 w 10000"/>
              <a:gd name="connsiteY211" fmla="*/ 3064 h 10000"/>
              <a:gd name="connsiteX212" fmla="*/ 8258 w 10000"/>
              <a:gd name="connsiteY212" fmla="*/ 3037 h 10000"/>
              <a:gd name="connsiteX213" fmla="*/ 8380 w 10000"/>
              <a:gd name="connsiteY213" fmla="*/ 2860 h 10000"/>
              <a:gd name="connsiteX214" fmla="*/ 8253 w 10000"/>
              <a:gd name="connsiteY214" fmla="*/ 2762 h 10000"/>
              <a:gd name="connsiteX215" fmla="*/ 8267 w 10000"/>
              <a:gd name="connsiteY215" fmla="*/ 2748 h 10000"/>
              <a:gd name="connsiteX216" fmla="*/ 8397 w 10000"/>
              <a:gd name="connsiteY216" fmla="*/ 2705 h 10000"/>
              <a:gd name="connsiteX217" fmla="*/ 8402 w 10000"/>
              <a:gd name="connsiteY217" fmla="*/ 2662 h 10000"/>
              <a:gd name="connsiteX218" fmla="*/ 8449 w 10000"/>
              <a:gd name="connsiteY218" fmla="*/ 2656 h 10000"/>
              <a:gd name="connsiteX219" fmla="*/ 8558 w 10000"/>
              <a:gd name="connsiteY219" fmla="*/ 2677 h 10000"/>
              <a:gd name="connsiteX220" fmla="*/ 8593 w 10000"/>
              <a:gd name="connsiteY220" fmla="*/ 2669 h 10000"/>
              <a:gd name="connsiteX221" fmla="*/ 8606 w 10000"/>
              <a:gd name="connsiteY221" fmla="*/ 2630 h 10000"/>
              <a:gd name="connsiteX222" fmla="*/ 8567 w 10000"/>
              <a:gd name="connsiteY222" fmla="*/ 2605 h 10000"/>
              <a:gd name="connsiteX223" fmla="*/ 8685 w 10000"/>
              <a:gd name="connsiteY223" fmla="*/ 2597 h 10000"/>
              <a:gd name="connsiteX224" fmla="*/ 8698 w 10000"/>
              <a:gd name="connsiteY224" fmla="*/ 2565 h 10000"/>
              <a:gd name="connsiteX225" fmla="*/ 8558 w 10000"/>
              <a:gd name="connsiteY225" fmla="*/ 2481 h 10000"/>
              <a:gd name="connsiteX226" fmla="*/ 8558 w 10000"/>
              <a:gd name="connsiteY226" fmla="*/ 2459 h 10000"/>
              <a:gd name="connsiteX227" fmla="*/ 8698 w 10000"/>
              <a:gd name="connsiteY227" fmla="*/ 2504 h 10000"/>
              <a:gd name="connsiteX228" fmla="*/ 8763 w 10000"/>
              <a:gd name="connsiteY228" fmla="*/ 2548 h 10000"/>
              <a:gd name="connsiteX229" fmla="*/ 8815 w 10000"/>
              <a:gd name="connsiteY229" fmla="*/ 2548 h 10000"/>
              <a:gd name="connsiteX230" fmla="*/ 8789 w 10000"/>
              <a:gd name="connsiteY230" fmla="*/ 2457 h 10000"/>
              <a:gd name="connsiteX231" fmla="*/ 8798 w 10000"/>
              <a:gd name="connsiteY231" fmla="*/ 2467 h 10000"/>
              <a:gd name="connsiteX232" fmla="*/ 8841 w 10000"/>
              <a:gd name="connsiteY232" fmla="*/ 2457 h 10000"/>
              <a:gd name="connsiteX233" fmla="*/ 8855 w 10000"/>
              <a:gd name="connsiteY233" fmla="*/ 2341 h 10000"/>
              <a:gd name="connsiteX234" fmla="*/ 8898 w 10000"/>
              <a:gd name="connsiteY234" fmla="*/ 2332 h 10000"/>
              <a:gd name="connsiteX235" fmla="*/ 8946 w 10000"/>
              <a:gd name="connsiteY235" fmla="*/ 2330 h 10000"/>
              <a:gd name="connsiteX236" fmla="*/ 8946 w 10000"/>
              <a:gd name="connsiteY236" fmla="*/ 2361 h 10000"/>
              <a:gd name="connsiteX237" fmla="*/ 8994 w 10000"/>
              <a:gd name="connsiteY237" fmla="*/ 2389 h 10000"/>
              <a:gd name="connsiteX238" fmla="*/ 9051 w 10000"/>
              <a:gd name="connsiteY238" fmla="*/ 2400 h 10000"/>
              <a:gd name="connsiteX239" fmla="*/ 9094 w 10000"/>
              <a:gd name="connsiteY239" fmla="*/ 2324 h 10000"/>
              <a:gd name="connsiteX240" fmla="*/ 9164 w 10000"/>
              <a:gd name="connsiteY240" fmla="*/ 2347 h 10000"/>
              <a:gd name="connsiteX241" fmla="*/ 9247 w 10000"/>
              <a:gd name="connsiteY241" fmla="*/ 2402 h 10000"/>
              <a:gd name="connsiteX242" fmla="*/ 9286 w 10000"/>
              <a:gd name="connsiteY242" fmla="*/ 2400 h 10000"/>
              <a:gd name="connsiteX243" fmla="*/ 9355 w 10000"/>
              <a:gd name="connsiteY243" fmla="*/ 2428 h 10000"/>
              <a:gd name="connsiteX244" fmla="*/ 9408 w 10000"/>
              <a:gd name="connsiteY244" fmla="*/ 2359 h 10000"/>
              <a:gd name="connsiteX245" fmla="*/ 9717 w 10000"/>
              <a:gd name="connsiteY245" fmla="*/ 2343 h 10000"/>
              <a:gd name="connsiteX246" fmla="*/ 9830 w 10000"/>
              <a:gd name="connsiteY246" fmla="*/ 2369 h 10000"/>
              <a:gd name="connsiteX247" fmla="*/ 9909 w 10000"/>
              <a:gd name="connsiteY247" fmla="*/ 2410 h 10000"/>
              <a:gd name="connsiteX248" fmla="*/ 9948 w 10000"/>
              <a:gd name="connsiteY248" fmla="*/ 2365 h 10000"/>
              <a:gd name="connsiteX249" fmla="*/ 10000 w 10000"/>
              <a:gd name="connsiteY249" fmla="*/ 2349 h 10000"/>
              <a:gd name="connsiteX250" fmla="*/ 9704 w 10000"/>
              <a:gd name="connsiteY250" fmla="*/ 1992 h 10000"/>
              <a:gd name="connsiteX251" fmla="*/ 9743 w 10000"/>
              <a:gd name="connsiteY251" fmla="*/ 1897 h 10000"/>
              <a:gd name="connsiteX252" fmla="*/ 9830 w 10000"/>
              <a:gd name="connsiteY252" fmla="*/ 1819 h 10000"/>
              <a:gd name="connsiteX253" fmla="*/ 9830 w 10000"/>
              <a:gd name="connsiteY253" fmla="*/ 1699 h 10000"/>
              <a:gd name="connsiteX254" fmla="*/ 9556 w 10000"/>
              <a:gd name="connsiteY254" fmla="*/ 1465 h 10000"/>
              <a:gd name="connsiteX255" fmla="*/ 9512 w 10000"/>
              <a:gd name="connsiteY255" fmla="*/ 1379 h 10000"/>
              <a:gd name="connsiteX256" fmla="*/ 9573 w 10000"/>
              <a:gd name="connsiteY256" fmla="*/ 1271 h 10000"/>
              <a:gd name="connsiteX257" fmla="*/ 9543 w 10000"/>
              <a:gd name="connsiteY257" fmla="*/ 1194 h 10000"/>
              <a:gd name="connsiteX258" fmla="*/ 9486 w 10000"/>
              <a:gd name="connsiteY258" fmla="*/ 1159 h 10000"/>
              <a:gd name="connsiteX259" fmla="*/ 9438 w 10000"/>
              <a:gd name="connsiteY259" fmla="*/ 978 h 10000"/>
              <a:gd name="connsiteX260" fmla="*/ 9495 w 10000"/>
              <a:gd name="connsiteY260" fmla="*/ 831 h 10000"/>
              <a:gd name="connsiteX261" fmla="*/ 9077 w 10000"/>
              <a:gd name="connsiteY261" fmla="*/ 517 h 10000"/>
              <a:gd name="connsiteX262" fmla="*/ 8872 w 10000"/>
              <a:gd name="connsiteY262" fmla="*/ 440 h 10000"/>
              <a:gd name="connsiteX263" fmla="*/ 8493 w 10000"/>
              <a:gd name="connsiteY263" fmla="*/ 389 h 10000"/>
              <a:gd name="connsiteX264" fmla="*/ 7709 w 10000"/>
              <a:gd name="connsiteY264" fmla="*/ 26 h 10000"/>
              <a:gd name="connsiteX265" fmla="*/ 7683 w 10000"/>
              <a:gd name="connsiteY265" fmla="*/ 2 h 10000"/>
              <a:gd name="connsiteX266" fmla="*/ 7417 w 10000"/>
              <a:gd name="connsiteY266" fmla="*/ 0 h 10000"/>
              <a:gd name="connsiteX267" fmla="*/ 7356 w 10000"/>
              <a:gd name="connsiteY267" fmla="*/ 14 h 10000"/>
              <a:gd name="connsiteX268" fmla="*/ 7369 w 10000"/>
              <a:gd name="connsiteY268" fmla="*/ 61 h 10000"/>
              <a:gd name="connsiteX269" fmla="*/ 7422 w 10000"/>
              <a:gd name="connsiteY269" fmla="*/ 86 h 10000"/>
              <a:gd name="connsiteX270" fmla="*/ 7435 w 10000"/>
              <a:gd name="connsiteY270" fmla="*/ 139 h 10000"/>
              <a:gd name="connsiteX271" fmla="*/ 7417 w 10000"/>
              <a:gd name="connsiteY271" fmla="*/ 181 h 10000"/>
              <a:gd name="connsiteX272" fmla="*/ 7369 w 10000"/>
              <a:gd name="connsiteY272" fmla="*/ 208 h 10000"/>
              <a:gd name="connsiteX273" fmla="*/ 7334 w 10000"/>
              <a:gd name="connsiteY273" fmla="*/ 283 h 10000"/>
              <a:gd name="connsiteX274" fmla="*/ 7269 w 10000"/>
              <a:gd name="connsiteY274" fmla="*/ 336 h 10000"/>
              <a:gd name="connsiteX275" fmla="*/ 7282 w 10000"/>
              <a:gd name="connsiteY275" fmla="*/ 387 h 10000"/>
              <a:gd name="connsiteX276" fmla="*/ 7382 w 10000"/>
              <a:gd name="connsiteY276" fmla="*/ 434 h 10000"/>
              <a:gd name="connsiteX277" fmla="*/ 7317 w 10000"/>
              <a:gd name="connsiteY277" fmla="*/ 475 h 10000"/>
              <a:gd name="connsiteX278" fmla="*/ 7221 w 10000"/>
              <a:gd name="connsiteY278" fmla="*/ 485 h 10000"/>
              <a:gd name="connsiteX279" fmla="*/ 6420 w 10000"/>
              <a:gd name="connsiteY279" fmla="*/ 387 h 10000"/>
              <a:gd name="connsiteX280" fmla="*/ 6324 w 10000"/>
              <a:gd name="connsiteY280" fmla="*/ 395 h 10000"/>
              <a:gd name="connsiteX281" fmla="*/ 6267 w 10000"/>
              <a:gd name="connsiteY281" fmla="*/ 414 h 10000"/>
              <a:gd name="connsiteX282" fmla="*/ 6211 w 10000"/>
              <a:gd name="connsiteY282" fmla="*/ 462 h 10000"/>
              <a:gd name="connsiteX283" fmla="*/ 6220 w 10000"/>
              <a:gd name="connsiteY283" fmla="*/ 581 h 10000"/>
              <a:gd name="connsiteX284" fmla="*/ 6132 w 10000"/>
              <a:gd name="connsiteY284" fmla="*/ 735 h 10000"/>
              <a:gd name="connsiteX285" fmla="*/ 6024 w 10000"/>
              <a:gd name="connsiteY285" fmla="*/ 815 h 10000"/>
              <a:gd name="connsiteX286" fmla="*/ 5980 w 10000"/>
              <a:gd name="connsiteY286" fmla="*/ 805 h 10000"/>
              <a:gd name="connsiteX287" fmla="*/ 5880 w 10000"/>
              <a:gd name="connsiteY287" fmla="*/ 739 h 10000"/>
              <a:gd name="connsiteX288" fmla="*/ 5753 w 10000"/>
              <a:gd name="connsiteY288" fmla="*/ 705 h 10000"/>
              <a:gd name="connsiteX289" fmla="*/ 5618 w 10000"/>
              <a:gd name="connsiteY289" fmla="*/ 715 h 10000"/>
              <a:gd name="connsiteX290" fmla="*/ 5301 w 10000"/>
              <a:gd name="connsiteY290" fmla="*/ 866 h 10000"/>
              <a:gd name="connsiteX291" fmla="*/ 5218 w 10000"/>
              <a:gd name="connsiteY291" fmla="*/ 1017 h 10000"/>
              <a:gd name="connsiteX292" fmla="*/ 4978 w 10000"/>
              <a:gd name="connsiteY292" fmla="*/ 1153 h 10000"/>
              <a:gd name="connsiteX293" fmla="*/ 4935 w 10000"/>
              <a:gd name="connsiteY293" fmla="*/ 1222 h 10000"/>
              <a:gd name="connsiteX294" fmla="*/ 5061 w 10000"/>
              <a:gd name="connsiteY294" fmla="*/ 1344 h 10000"/>
              <a:gd name="connsiteX295" fmla="*/ 5074 w 10000"/>
              <a:gd name="connsiteY295" fmla="*/ 1412 h 10000"/>
              <a:gd name="connsiteX296" fmla="*/ 4421 w 10000"/>
              <a:gd name="connsiteY296" fmla="*/ 1813 h 10000"/>
              <a:gd name="connsiteX297" fmla="*/ 4220 w 10000"/>
              <a:gd name="connsiteY297" fmla="*/ 2070 h 10000"/>
              <a:gd name="connsiteX298" fmla="*/ 4003 w 10000"/>
              <a:gd name="connsiteY298" fmla="*/ 2135 h 10000"/>
              <a:gd name="connsiteX299" fmla="*/ 3868 w 10000"/>
              <a:gd name="connsiteY299" fmla="*/ 2131 h 10000"/>
              <a:gd name="connsiteX300" fmla="*/ 3785 w 10000"/>
              <a:gd name="connsiteY300" fmla="*/ 2153 h 10000"/>
              <a:gd name="connsiteX301" fmla="*/ 3558 w 10000"/>
              <a:gd name="connsiteY301" fmla="*/ 2793 h 10000"/>
              <a:gd name="connsiteX302" fmla="*/ 3036 w 10000"/>
              <a:gd name="connsiteY302" fmla="*/ 3166 h 10000"/>
              <a:gd name="connsiteX303" fmla="*/ 3040 w 10000"/>
              <a:gd name="connsiteY303" fmla="*/ 3225 h 10000"/>
              <a:gd name="connsiteX304" fmla="*/ 3271 w 10000"/>
              <a:gd name="connsiteY304" fmla="*/ 3392 h 10000"/>
              <a:gd name="connsiteX305" fmla="*/ 3197 w 10000"/>
              <a:gd name="connsiteY305" fmla="*/ 3573 h 10000"/>
              <a:gd name="connsiteX306" fmla="*/ 3062 w 10000"/>
              <a:gd name="connsiteY306" fmla="*/ 3640 h 10000"/>
              <a:gd name="connsiteX307" fmla="*/ 2657 w 10000"/>
              <a:gd name="connsiteY307" fmla="*/ 3595 h 10000"/>
              <a:gd name="connsiteX308" fmla="*/ 2378 w 10000"/>
              <a:gd name="connsiteY308" fmla="*/ 3620 h 10000"/>
              <a:gd name="connsiteX309" fmla="*/ 2152 w 10000"/>
              <a:gd name="connsiteY309" fmla="*/ 3673 h 10000"/>
              <a:gd name="connsiteX310" fmla="*/ 1790 w 10000"/>
              <a:gd name="connsiteY310" fmla="*/ 3840 h 10000"/>
              <a:gd name="connsiteX311" fmla="*/ 1598 w 10000"/>
              <a:gd name="connsiteY311" fmla="*/ 4042 h 10000"/>
              <a:gd name="connsiteX312" fmla="*/ 1616 w 10000"/>
              <a:gd name="connsiteY312" fmla="*/ 4154 h 10000"/>
              <a:gd name="connsiteX313" fmla="*/ 1681 w 10000"/>
              <a:gd name="connsiteY313" fmla="*/ 4241 h 10000"/>
              <a:gd name="connsiteX314" fmla="*/ 1733 w 10000"/>
              <a:gd name="connsiteY314" fmla="*/ 4276 h 10000"/>
              <a:gd name="connsiteX315" fmla="*/ 1638 w 10000"/>
              <a:gd name="connsiteY315" fmla="*/ 4331 h 10000"/>
              <a:gd name="connsiteX316" fmla="*/ 1433 w 10000"/>
              <a:gd name="connsiteY316" fmla="*/ 4710 h 10000"/>
              <a:gd name="connsiteX317" fmla="*/ 1472 w 10000"/>
              <a:gd name="connsiteY317" fmla="*/ 4732 h 10000"/>
              <a:gd name="connsiteX318" fmla="*/ 1503 w 10000"/>
              <a:gd name="connsiteY318" fmla="*/ 4828 h 10000"/>
              <a:gd name="connsiteX319" fmla="*/ 1407 w 10000"/>
              <a:gd name="connsiteY319" fmla="*/ 5227 h 10000"/>
              <a:gd name="connsiteX320" fmla="*/ 1503 w 10000"/>
              <a:gd name="connsiteY320" fmla="*/ 5329 h 10000"/>
              <a:gd name="connsiteX321" fmla="*/ 1764 w 10000"/>
              <a:gd name="connsiteY321" fmla="*/ 5441 h 10000"/>
              <a:gd name="connsiteX322" fmla="*/ 1777 w 10000"/>
              <a:gd name="connsiteY322" fmla="*/ 5578 h 10000"/>
              <a:gd name="connsiteX323" fmla="*/ 1664 w 10000"/>
              <a:gd name="connsiteY323" fmla="*/ 5690 h 10000"/>
              <a:gd name="connsiteX324" fmla="*/ 1503 w 10000"/>
              <a:gd name="connsiteY324" fmla="*/ 5759 h 10000"/>
              <a:gd name="connsiteX325" fmla="*/ 1289 w 10000"/>
              <a:gd name="connsiteY325" fmla="*/ 5787 h 10000"/>
              <a:gd name="connsiteX326" fmla="*/ 1233 w 10000"/>
              <a:gd name="connsiteY326" fmla="*/ 5826 h 10000"/>
              <a:gd name="connsiteX327" fmla="*/ 1359 w 10000"/>
              <a:gd name="connsiteY327" fmla="*/ 5920 h 10000"/>
              <a:gd name="connsiteX328" fmla="*/ 1429 w 10000"/>
              <a:gd name="connsiteY328" fmla="*/ 6142 h 10000"/>
              <a:gd name="connsiteX329" fmla="*/ 1267 w 10000"/>
              <a:gd name="connsiteY329" fmla="*/ 6333 h 10000"/>
              <a:gd name="connsiteX330" fmla="*/ 1324 w 10000"/>
              <a:gd name="connsiteY330" fmla="*/ 6392 h 10000"/>
              <a:gd name="connsiteX331" fmla="*/ 1272 w 10000"/>
              <a:gd name="connsiteY331" fmla="*/ 6492 h 10000"/>
              <a:gd name="connsiteX332" fmla="*/ 1167 w 10000"/>
              <a:gd name="connsiteY332" fmla="*/ 6561 h 10000"/>
              <a:gd name="connsiteX333" fmla="*/ 758 w 10000"/>
              <a:gd name="connsiteY333" fmla="*/ 6614 h 10000"/>
              <a:gd name="connsiteX334" fmla="*/ 732 w 10000"/>
              <a:gd name="connsiteY334" fmla="*/ 6706 h 10000"/>
              <a:gd name="connsiteX335" fmla="*/ 510 w 10000"/>
              <a:gd name="connsiteY335" fmla="*/ 6843 h 10000"/>
              <a:gd name="connsiteX336" fmla="*/ 540 w 10000"/>
              <a:gd name="connsiteY336" fmla="*/ 7040 h 10000"/>
              <a:gd name="connsiteX337" fmla="*/ 353 w 10000"/>
              <a:gd name="connsiteY337" fmla="*/ 7293 h 10000"/>
              <a:gd name="connsiteX338" fmla="*/ 226 w 10000"/>
              <a:gd name="connsiteY338" fmla="*/ 7323 h 10000"/>
              <a:gd name="connsiteX339" fmla="*/ 174 w 10000"/>
              <a:gd name="connsiteY339" fmla="*/ 7262 h 10000"/>
              <a:gd name="connsiteX340" fmla="*/ 109 w 10000"/>
              <a:gd name="connsiteY340" fmla="*/ 7354 h 10000"/>
              <a:gd name="connsiteX341" fmla="*/ 152 w 10000"/>
              <a:gd name="connsiteY341" fmla="*/ 7197 h 10000"/>
              <a:gd name="connsiteX342" fmla="*/ 126 w 10000"/>
              <a:gd name="connsiteY34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45 w 10000"/>
              <a:gd name="connsiteY210" fmla="*/ 3064 h 10000"/>
              <a:gd name="connsiteX211" fmla="*/ 8258 w 10000"/>
              <a:gd name="connsiteY211" fmla="*/ 3037 h 10000"/>
              <a:gd name="connsiteX212" fmla="*/ 8380 w 10000"/>
              <a:gd name="connsiteY212" fmla="*/ 2860 h 10000"/>
              <a:gd name="connsiteX213" fmla="*/ 8253 w 10000"/>
              <a:gd name="connsiteY213" fmla="*/ 2762 h 10000"/>
              <a:gd name="connsiteX214" fmla="*/ 8267 w 10000"/>
              <a:gd name="connsiteY214" fmla="*/ 2748 h 10000"/>
              <a:gd name="connsiteX215" fmla="*/ 8397 w 10000"/>
              <a:gd name="connsiteY215" fmla="*/ 2705 h 10000"/>
              <a:gd name="connsiteX216" fmla="*/ 8402 w 10000"/>
              <a:gd name="connsiteY216" fmla="*/ 2662 h 10000"/>
              <a:gd name="connsiteX217" fmla="*/ 8449 w 10000"/>
              <a:gd name="connsiteY217" fmla="*/ 2656 h 10000"/>
              <a:gd name="connsiteX218" fmla="*/ 8558 w 10000"/>
              <a:gd name="connsiteY218" fmla="*/ 2677 h 10000"/>
              <a:gd name="connsiteX219" fmla="*/ 8593 w 10000"/>
              <a:gd name="connsiteY219" fmla="*/ 2669 h 10000"/>
              <a:gd name="connsiteX220" fmla="*/ 8606 w 10000"/>
              <a:gd name="connsiteY220" fmla="*/ 2630 h 10000"/>
              <a:gd name="connsiteX221" fmla="*/ 8567 w 10000"/>
              <a:gd name="connsiteY221" fmla="*/ 2605 h 10000"/>
              <a:gd name="connsiteX222" fmla="*/ 8685 w 10000"/>
              <a:gd name="connsiteY222" fmla="*/ 2597 h 10000"/>
              <a:gd name="connsiteX223" fmla="*/ 8698 w 10000"/>
              <a:gd name="connsiteY223" fmla="*/ 2565 h 10000"/>
              <a:gd name="connsiteX224" fmla="*/ 8558 w 10000"/>
              <a:gd name="connsiteY224" fmla="*/ 2481 h 10000"/>
              <a:gd name="connsiteX225" fmla="*/ 8558 w 10000"/>
              <a:gd name="connsiteY225" fmla="*/ 2459 h 10000"/>
              <a:gd name="connsiteX226" fmla="*/ 8698 w 10000"/>
              <a:gd name="connsiteY226" fmla="*/ 2504 h 10000"/>
              <a:gd name="connsiteX227" fmla="*/ 8763 w 10000"/>
              <a:gd name="connsiteY227" fmla="*/ 2548 h 10000"/>
              <a:gd name="connsiteX228" fmla="*/ 8815 w 10000"/>
              <a:gd name="connsiteY228" fmla="*/ 2548 h 10000"/>
              <a:gd name="connsiteX229" fmla="*/ 8789 w 10000"/>
              <a:gd name="connsiteY229" fmla="*/ 2457 h 10000"/>
              <a:gd name="connsiteX230" fmla="*/ 8798 w 10000"/>
              <a:gd name="connsiteY230" fmla="*/ 2467 h 10000"/>
              <a:gd name="connsiteX231" fmla="*/ 8841 w 10000"/>
              <a:gd name="connsiteY231" fmla="*/ 2457 h 10000"/>
              <a:gd name="connsiteX232" fmla="*/ 8855 w 10000"/>
              <a:gd name="connsiteY232" fmla="*/ 2341 h 10000"/>
              <a:gd name="connsiteX233" fmla="*/ 8898 w 10000"/>
              <a:gd name="connsiteY233" fmla="*/ 2332 h 10000"/>
              <a:gd name="connsiteX234" fmla="*/ 8946 w 10000"/>
              <a:gd name="connsiteY234" fmla="*/ 2330 h 10000"/>
              <a:gd name="connsiteX235" fmla="*/ 8946 w 10000"/>
              <a:gd name="connsiteY235" fmla="*/ 2361 h 10000"/>
              <a:gd name="connsiteX236" fmla="*/ 8994 w 10000"/>
              <a:gd name="connsiteY236" fmla="*/ 2389 h 10000"/>
              <a:gd name="connsiteX237" fmla="*/ 9051 w 10000"/>
              <a:gd name="connsiteY237" fmla="*/ 2400 h 10000"/>
              <a:gd name="connsiteX238" fmla="*/ 9094 w 10000"/>
              <a:gd name="connsiteY238" fmla="*/ 2324 h 10000"/>
              <a:gd name="connsiteX239" fmla="*/ 9164 w 10000"/>
              <a:gd name="connsiteY239" fmla="*/ 2347 h 10000"/>
              <a:gd name="connsiteX240" fmla="*/ 9247 w 10000"/>
              <a:gd name="connsiteY240" fmla="*/ 2402 h 10000"/>
              <a:gd name="connsiteX241" fmla="*/ 9286 w 10000"/>
              <a:gd name="connsiteY241" fmla="*/ 2400 h 10000"/>
              <a:gd name="connsiteX242" fmla="*/ 9355 w 10000"/>
              <a:gd name="connsiteY242" fmla="*/ 2428 h 10000"/>
              <a:gd name="connsiteX243" fmla="*/ 9408 w 10000"/>
              <a:gd name="connsiteY243" fmla="*/ 2359 h 10000"/>
              <a:gd name="connsiteX244" fmla="*/ 9717 w 10000"/>
              <a:gd name="connsiteY244" fmla="*/ 2343 h 10000"/>
              <a:gd name="connsiteX245" fmla="*/ 9830 w 10000"/>
              <a:gd name="connsiteY245" fmla="*/ 2369 h 10000"/>
              <a:gd name="connsiteX246" fmla="*/ 9909 w 10000"/>
              <a:gd name="connsiteY246" fmla="*/ 2410 h 10000"/>
              <a:gd name="connsiteX247" fmla="*/ 9948 w 10000"/>
              <a:gd name="connsiteY247" fmla="*/ 2365 h 10000"/>
              <a:gd name="connsiteX248" fmla="*/ 10000 w 10000"/>
              <a:gd name="connsiteY248" fmla="*/ 2349 h 10000"/>
              <a:gd name="connsiteX249" fmla="*/ 9704 w 10000"/>
              <a:gd name="connsiteY249" fmla="*/ 1992 h 10000"/>
              <a:gd name="connsiteX250" fmla="*/ 9743 w 10000"/>
              <a:gd name="connsiteY250" fmla="*/ 1897 h 10000"/>
              <a:gd name="connsiteX251" fmla="*/ 9830 w 10000"/>
              <a:gd name="connsiteY251" fmla="*/ 1819 h 10000"/>
              <a:gd name="connsiteX252" fmla="*/ 9830 w 10000"/>
              <a:gd name="connsiteY252" fmla="*/ 1699 h 10000"/>
              <a:gd name="connsiteX253" fmla="*/ 9556 w 10000"/>
              <a:gd name="connsiteY253" fmla="*/ 1465 h 10000"/>
              <a:gd name="connsiteX254" fmla="*/ 9512 w 10000"/>
              <a:gd name="connsiteY254" fmla="*/ 1379 h 10000"/>
              <a:gd name="connsiteX255" fmla="*/ 9573 w 10000"/>
              <a:gd name="connsiteY255" fmla="*/ 1271 h 10000"/>
              <a:gd name="connsiteX256" fmla="*/ 9543 w 10000"/>
              <a:gd name="connsiteY256" fmla="*/ 1194 h 10000"/>
              <a:gd name="connsiteX257" fmla="*/ 9486 w 10000"/>
              <a:gd name="connsiteY257" fmla="*/ 1159 h 10000"/>
              <a:gd name="connsiteX258" fmla="*/ 9438 w 10000"/>
              <a:gd name="connsiteY258" fmla="*/ 978 h 10000"/>
              <a:gd name="connsiteX259" fmla="*/ 9495 w 10000"/>
              <a:gd name="connsiteY259" fmla="*/ 831 h 10000"/>
              <a:gd name="connsiteX260" fmla="*/ 9077 w 10000"/>
              <a:gd name="connsiteY260" fmla="*/ 517 h 10000"/>
              <a:gd name="connsiteX261" fmla="*/ 8872 w 10000"/>
              <a:gd name="connsiteY261" fmla="*/ 440 h 10000"/>
              <a:gd name="connsiteX262" fmla="*/ 8493 w 10000"/>
              <a:gd name="connsiteY262" fmla="*/ 389 h 10000"/>
              <a:gd name="connsiteX263" fmla="*/ 7709 w 10000"/>
              <a:gd name="connsiteY263" fmla="*/ 26 h 10000"/>
              <a:gd name="connsiteX264" fmla="*/ 7683 w 10000"/>
              <a:gd name="connsiteY264" fmla="*/ 2 h 10000"/>
              <a:gd name="connsiteX265" fmla="*/ 7417 w 10000"/>
              <a:gd name="connsiteY265" fmla="*/ 0 h 10000"/>
              <a:gd name="connsiteX266" fmla="*/ 7356 w 10000"/>
              <a:gd name="connsiteY266" fmla="*/ 14 h 10000"/>
              <a:gd name="connsiteX267" fmla="*/ 7369 w 10000"/>
              <a:gd name="connsiteY267" fmla="*/ 61 h 10000"/>
              <a:gd name="connsiteX268" fmla="*/ 7422 w 10000"/>
              <a:gd name="connsiteY268" fmla="*/ 86 h 10000"/>
              <a:gd name="connsiteX269" fmla="*/ 7435 w 10000"/>
              <a:gd name="connsiteY269" fmla="*/ 139 h 10000"/>
              <a:gd name="connsiteX270" fmla="*/ 7417 w 10000"/>
              <a:gd name="connsiteY270" fmla="*/ 181 h 10000"/>
              <a:gd name="connsiteX271" fmla="*/ 7369 w 10000"/>
              <a:gd name="connsiteY271" fmla="*/ 208 h 10000"/>
              <a:gd name="connsiteX272" fmla="*/ 7334 w 10000"/>
              <a:gd name="connsiteY272" fmla="*/ 283 h 10000"/>
              <a:gd name="connsiteX273" fmla="*/ 7269 w 10000"/>
              <a:gd name="connsiteY273" fmla="*/ 336 h 10000"/>
              <a:gd name="connsiteX274" fmla="*/ 7282 w 10000"/>
              <a:gd name="connsiteY274" fmla="*/ 387 h 10000"/>
              <a:gd name="connsiteX275" fmla="*/ 7382 w 10000"/>
              <a:gd name="connsiteY275" fmla="*/ 434 h 10000"/>
              <a:gd name="connsiteX276" fmla="*/ 7317 w 10000"/>
              <a:gd name="connsiteY276" fmla="*/ 475 h 10000"/>
              <a:gd name="connsiteX277" fmla="*/ 7221 w 10000"/>
              <a:gd name="connsiteY277" fmla="*/ 485 h 10000"/>
              <a:gd name="connsiteX278" fmla="*/ 6420 w 10000"/>
              <a:gd name="connsiteY278" fmla="*/ 387 h 10000"/>
              <a:gd name="connsiteX279" fmla="*/ 6324 w 10000"/>
              <a:gd name="connsiteY279" fmla="*/ 395 h 10000"/>
              <a:gd name="connsiteX280" fmla="*/ 6267 w 10000"/>
              <a:gd name="connsiteY280" fmla="*/ 414 h 10000"/>
              <a:gd name="connsiteX281" fmla="*/ 6211 w 10000"/>
              <a:gd name="connsiteY281" fmla="*/ 462 h 10000"/>
              <a:gd name="connsiteX282" fmla="*/ 6220 w 10000"/>
              <a:gd name="connsiteY282" fmla="*/ 581 h 10000"/>
              <a:gd name="connsiteX283" fmla="*/ 6132 w 10000"/>
              <a:gd name="connsiteY283" fmla="*/ 735 h 10000"/>
              <a:gd name="connsiteX284" fmla="*/ 6024 w 10000"/>
              <a:gd name="connsiteY284" fmla="*/ 815 h 10000"/>
              <a:gd name="connsiteX285" fmla="*/ 5980 w 10000"/>
              <a:gd name="connsiteY285" fmla="*/ 805 h 10000"/>
              <a:gd name="connsiteX286" fmla="*/ 5880 w 10000"/>
              <a:gd name="connsiteY286" fmla="*/ 739 h 10000"/>
              <a:gd name="connsiteX287" fmla="*/ 5753 w 10000"/>
              <a:gd name="connsiteY287" fmla="*/ 705 h 10000"/>
              <a:gd name="connsiteX288" fmla="*/ 5618 w 10000"/>
              <a:gd name="connsiteY288" fmla="*/ 715 h 10000"/>
              <a:gd name="connsiteX289" fmla="*/ 5301 w 10000"/>
              <a:gd name="connsiteY289" fmla="*/ 866 h 10000"/>
              <a:gd name="connsiteX290" fmla="*/ 5218 w 10000"/>
              <a:gd name="connsiteY290" fmla="*/ 1017 h 10000"/>
              <a:gd name="connsiteX291" fmla="*/ 4978 w 10000"/>
              <a:gd name="connsiteY291" fmla="*/ 1153 h 10000"/>
              <a:gd name="connsiteX292" fmla="*/ 4935 w 10000"/>
              <a:gd name="connsiteY292" fmla="*/ 1222 h 10000"/>
              <a:gd name="connsiteX293" fmla="*/ 5061 w 10000"/>
              <a:gd name="connsiteY293" fmla="*/ 1344 h 10000"/>
              <a:gd name="connsiteX294" fmla="*/ 5074 w 10000"/>
              <a:gd name="connsiteY294" fmla="*/ 1412 h 10000"/>
              <a:gd name="connsiteX295" fmla="*/ 4421 w 10000"/>
              <a:gd name="connsiteY295" fmla="*/ 1813 h 10000"/>
              <a:gd name="connsiteX296" fmla="*/ 4220 w 10000"/>
              <a:gd name="connsiteY296" fmla="*/ 2070 h 10000"/>
              <a:gd name="connsiteX297" fmla="*/ 4003 w 10000"/>
              <a:gd name="connsiteY297" fmla="*/ 2135 h 10000"/>
              <a:gd name="connsiteX298" fmla="*/ 3868 w 10000"/>
              <a:gd name="connsiteY298" fmla="*/ 2131 h 10000"/>
              <a:gd name="connsiteX299" fmla="*/ 3785 w 10000"/>
              <a:gd name="connsiteY299" fmla="*/ 2153 h 10000"/>
              <a:gd name="connsiteX300" fmla="*/ 3558 w 10000"/>
              <a:gd name="connsiteY300" fmla="*/ 2793 h 10000"/>
              <a:gd name="connsiteX301" fmla="*/ 3036 w 10000"/>
              <a:gd name="connsiteY301" fmla="*/ 3166 h 10000"/>
              <a:gd name="connsiteX302" fmla="*/ 3040 w 10000"/>
              <a:gd name="connsiteY302" fmla="*/ 3225 h 10000"/>
              <a:gd name="connsiteX303" fmla="*/ 3271 w 10000"/>
              <a:gd name="connsiteY303" fmla="*/ 3392 h 10000"/>
              <a:gd name="connsiteX304" fmla="*/ 3197 w 10000"/>
              <a:gd name="connsiteY304" fmla="*/ 3573 h 10000"/>
              <a:gd name="connsiteX305" fmla="*/ 3062 w 10000"/>
              <a:gd name="connsiteY305" fmla="*/ 3640 h 10000"/>
              <a:gd name="connsiteX306" fmla="*/ 2657 w 10000"/>
              <a:gd name="connsiteY306" fmla="*/ 3595 h 10000"/>
              <a:gd name="connsiteX307" fmla="*/ 2378 w 10000"/>
              <a:gd name="connsiteY307" fmla="*/ 3620 h 10000"/>
              <a:gd name="connsiteX308" fmla="*/ 2152 w 10000"/>
              <a:gd name="connsiteY308" fmla="*/ 3673 h 10000"/>
              <a:gd name="connsiteX309" fmla="*/ 1790 w 10000"/>
              <a:gd name="connsiteY309" fmla="*/ 3840 h 10000"/>
              <a:gd name="connsiteX310" fmla="*/ 1598 w 10000"/>
              <a:gd name="connsiteY310" fmla="*/ 4042 h 10000"/>
              <a:gd name="connsiteX311" fmla="*/ 1616 w 10000"/>
              <a:gd name="connsiteY311" fmla="*/ 4154 h 10000"/>
              <a:gd name="connsiteX312" fmla="*/ 1681 w 10000"/>
              <a:gd name="connsiteY312" fmla="*/ 4241 h 10000"/>
              <a:gd name="connsiteX313" fmla="*/ 1733 w 10000"/>
              <a:gd name="connsiteY313" fmla="*/ 4276 h 10000"/>
              <a:gd name="connsiteX314" fmla="*/ 1638 w 10000"/>
              <a:gd name="connsiteY314" fmla="*/ 4331 h 10000"/>
              <a:gd name="connsiteX315" fmla="*/ 1433 w 10000"/>
              <a:gd name="connsiteY315" fmla="*/ 4710 h 10000"/>
              <a:gd name="connsiteX316" fmla="*/ 1472 w 10000"/>
              <a:gd name="connsiteY316" fmla="*/ 4732 h 10000"/>
              <a:gd name="connsiteX317" fmla="*/ 1503 w 10000"/>
              <a:gd name="connsiteY317" fmla="*/ 4828 h 10000"/>
              <a:gd name="connsiteX318" fmla="*/ 1407 w 10000"/>
              <a:gd name="connsiteY318" fmla="*/ 5227 h 10000"/>
              <a:gd name="connsiteX319" fmla="*/ 1503 w 10000"/>
              <a:gd name="connsiteY319" fmla="*/ 5329 h 10000"/>
              <a:gd name="connsiteX320" fmla="*/ 1764 w 10000"/>
              <a:gd name="connsiteY320" fmla="*/ 5441 h 10000"/>
              <a:gd name="connsiteX321" fmla="*/ 1777 w 10000"/>
              <a:gd name="connsiteY321" fmla="*/ 5578 h 10000"/>
              <a:gd name="connsiteX322" fmla="*/ 1664 w 10000"/>
              <a:gd name="connsiteY322" fmla="*/ 5690 h 10000"/>
              <a:gd name="connsiteX323" fmla="*/ 1503 w 10000"/>
              <a:gd name="connsiteY323" fmla="*/ 5759 h 10000"/>
              <a:gd name="connsiteX324" fmla="*/ 1289 w 10000"/>
              <a:gd name="connsiteY324" fmla="*/ 5787 h 10000"/>
              <a:gd name="connsiteX325" fmla="*/ 1233 w 10000"/>
              <a:gd name="connsiteY325" fmla="*/ 5826 h 10000"/>
              <a:gd name="connsiteX326" fmla="*/ 1359 w 10000"/>
              <a:gd name="connsiteY326" fmla="*/ 5920 h 10000"/>
              <a:gd name="connsiteX327" fmla="*/ 1429 w 10000"/>
              <a:gd name="connsiteY327" fmla="*/ 6142 h 10000"/>
              <a:gd name="connsiteX328" fmla="*/ 1267 w 10000"/>
              <a:gd name="connsiteY328" fmla="*/ 6333 h 10000"/>
              <a:gd name="connsiteX329" fmla="*/ 1324 w 10000"/>
              <a:gd name="connsiteY329" fmla="*/ 6392 h 10000"/>
              <a:gd name="connsiteX330" fmla="*/ 1272 w 10000"/>
              <a:gd name="connsiteY330" fmla="*/ 6492 h 10000"/>
              <a:gd name="connsiteX331" fmla="*/ 1167 w 10000"/>
              <a:gd name="connsiteY331" fmla="*/ 6561 h 10000"/>
              <a:gd name="connsiteX332" fmla="*/ 758 w 10000"/>
              <a:gd name="connsiteY332" fmla="*/ 6614 h 10000"/>
              <a:gd name="connsiteX333" fmla="*/ 732 w 10000"/>
              <a:gd name="connsiteY333" fmla="*/ 6706 h 10000"/>
              <a:gd name="connsiteX334" fmla="*/ 510 w 10000"/>
              <a:gd name="connsiteY334" fmla="*/ 6843 h 10000"/>
              <a:gd name="connsiteX335" fmla="*/ 540 w 10000"/>
              <a:gd name="connsiteY335" fmla="*/ 7040 h 10000"/>
              <a:gd name="connsiteX336" fmla="*/ 353 w 10000"/>
              <a:gd name="connsiteY336" fmla="*/ 7293 h 10000"/>
              <a:gd name="connsiteX337" fmla="*/ 226 w 10000"/>
              <a:gd name="connsiteY337" fmla="*/ 7323 h 10000"/>
              <a:gd name="connsiteX338" fmla="*/ 174 w 10000"/>
              <a:gd name="connsiteY338" fmla="*/ 7262 h 10000"/>
              <a:gd name="connsiteX339" fmla="*/ 109 w 10000"/>
              <a:gd name="connsiteY339" fmla="*/ 7354 h 10000"/>
              <a:gd name="connsiteX340" fmla="*/ 152 w 10000"/>
              <a:gd name="connsiteY340" fmla="*/ 7197 h 10000"/>
              <a:gd name="connsiteX341" fmla="*/ 126 w 10000"/>
              <a:gd name="connsiteY34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45 w 10000"/>
              <a:gd name="connsiteY210" fmla="*/ 3064 h 10000"/>
              <a:gd name="connsiteX211" fmla="*/ 8380 w 10000"/>
              <a:gd name="connsiteY211" fmla="*/ 2860 h 10000"/>
              <a:gd name="connsiteX212" fmla="*/ 8253 w 10000"/>
              <a:gd name="connsiteY212" fmla="*/ 2762 h 10000"/>
              <a:gd name="connsiteX213" fmla="*/ 8267 w 10000"/>
              <a:gd name="connsiteY213" fmla="*/ 2748 h 10000"/>
              <a:gd name="connsiteX214" fmla="*/ 8397 w 10000"/>
              <a:gd name="connsiteY214" fmla="*/ 2705 h 10000"/>
              <a:gd name="connsiteX215" fmla="*/ 8402 w 10000"/>
              <a:gd name="connsiteY215" fmla="*/ 2662 h 10000"/>
              <a:gd name="connsiteX216" fmla="*/ 8449 w 10000"/>
              <a:gd name="connsiteY216" fmla="*/ 2656 h 10000"/>
              <a:gd name="connsiteX217" fmla="*/ 8558 w 10000"/>
              <a:gd name="connsiteY217" fmla="*/ 2677 h 10000"/>
              <a:gd name="connsiteX218" fmla="*/ 8593 w 10000"/>
              <a:gd name="connsiteY218" fmla="*/ 2669 h 10000"/>
              <a:gd name="connsiteX219" fmla="*/ 8606 w 10000"/>
              <a:gd name="connsiteY219" fmla="*/ 2630 h 10000"/>
              <a:gd name="connsiteX220" fmla="*/ 8567 w 10000"/>
              <a:gd name="connsiteY220" fmla="*/ 2605 h 10000"/>
              <a:gd name="connsiteX221" fmla="*/ 8685 w 10000"/>
              <a:gd name="connsiteY221" fmla="*/ 2597 h 10000"/>
              <a:gd name="connsiteX222" fmla="*/ 8698 w 10000"/>
              <a:gd name="connsiteY222" fmla="*/ 2565 h 10000"/>
              <a:gd name="connsiteX223" fmla="*/ 8558 w 10000"/>
              <a:gd name="connsiteY223" fmla="*/ 2481 h 10000"/>
              <a:gd name="connsiteX224" fmla="*/ 8558 w 10000"/>
              <a:gd name="connsiteY224" fmla="*/ 2459 h 10000"/>
              <a:gd name="connsiteX225" fmla="*/ 8698 w 10000"/>
              <a:gd name="connsiteY225" fmla="*/ 2504 h 10000"/>
              <a:gd name="connsiteX226" fmla="*/ 8763 w 10000"/>
              <a:gd name="connsiteY226" fmla="*/ 2548 h 10000"/>
              <a:gd name="connsiteX227" fmla="*/ 8815 w 10000"/>
              <a:gd name="connsiteY227" fmla="*/ 2548 h 10000"/>
              <a:gd name="connsiteX228" fmla="*/ 8789 w 10000"/>
              <a:gd name="connsiteY228" fmla="*/ 2457 h 10000"/>
              <a:gd name="connsiteX229" fmla="*/ 8798 w 10000"/>
              <a:gd name="connsiteY229" fmla="*/ 2467 h 10000"/>
              <a:gd name="connsiteX230" fmla="*/ 8841 w 10000"/>
              <a:gd name="connsiteY230" fmla="*/ 2457 h 10000"/>
              <a:gd name="connsiteX231" fmla="*/ 8855 w 10000"/>
              <a:gd name="connsiteY231" fmla="*/ 2341 h 10000"/>
              <a:gd name="connsiteX232" fmla="*/ 8898 w 10000"/>
              <a:gd name="connsiteY232" fmla="*/ 2332 h 10000"/>
              <a:gd name="connsiteX233" fmla="*/ 8946 w 10000"/>
              <a:gd name="connsiteY233" fmla="*/ 2330 h 10000"/>
              <a:gd name="connsiteX234" fmla="*/ 8946 w 10000"/>
              <a:gd name="connsiteY234" fmla="*/ 2361 h 10000"/>
              <a:gd name="connsiteX235" fmla="*/ 8994 w 10000"/>
              <a:gd name="connsiteY235" fmla="*/ 2389 h 10000"/>
              <a:gd name="connsiteX236" fmla="*/ 9051 w 10000"/>
              <a:gd name="connsiteY236" fmla="*/ 2400 h 10000"/>
              <a:gd name="connsiteX237" fmla="*/ 9094 w 10000"/>
              <a:gd name="connsiteY237" fmla="*/ 2324 h 10000"/>
              <a:gd name="connsiteX238" fmla="*/ 9164 w 10000"/>
              <a:gd name="connsiteY238" fmla="*/ 2347 h 10000"/>
              <a:gd name="connsiteX239" fmla="*/ 9247 w 10000"/>
              <a:gd name="connsiteY239" fmla="*/ 2402 h 10000"/>
              <a:gd name="connsiteX240" fmla="*/ 9286 w 10000"/>
              <a:gd name="connsiteY240" fmla="*/ 2400 h 10000"/>
              <a:gd name="connsiteX241" fmla="*/ 9355 w 10000"/>
              <a:gd name="connsiteY241" fmla="*/ 2428 h 10000"/>
              <a:gd name="connsiteX242" fmla="*/ 9408 w 10000"/>
              <a:gd name="connsiteY242" fmla="*/ 2359 h 10000"/>
              <a:gd name="connsiteX243" fmla="*/ 9717 w 10000"/>
              <a:gd name="connsiteY243" fmla="*/ 2343 h 10000"/>
              <a:gd name="connsiteX244" fmla="*/ 9830 w 10000"/>
              <a:gd name="connsiteY244" fmla="*/ 2369 h 10000"/>
              <a:gd name="connsiteX245" fmla="*/ 9909 w 10000"/>
              <a:gd name="connsiteY245" fmla="*/ 2410 h 10000"/>
              <a:gd name="connsiteX246" fmla="*/ 9948 w 10000"/>
              <a:gd name="connsiteY246" fmla="*/ 2365 h 10000"/>
              <a:gd name="connsiteX247" fmla="*/ 10000 w 10000"/>
              <a:gd name="connsiteY247" fmla="*/ 2349 h 10000"/>
              <a:gd name="connsiteX248" fmla="*/ 9704 w 10000"/>
              <a:gd name="connsiteY248" fmla="*/ 1992 h 10000"/>
              <a:gd name="connsiteX249" fmla="*/ 9743 w 10000"/>
              <a:gd name="connsiteY249" fmla="*/ 1897 h 10000"/>
              <a:gd name="connsiteX250" fmla="*/ 9830 w 10000"/>
              <a:gd name="connsiteY250" fmla="*/ 1819 h 10000"/>
              <a:gd name="connsiteX251" fmla="*/ 9830 w 10000"/>
              <a:gd name="connsiteY251" fmla="*/ 1699 h 10000"/>
              <a:gd name="connsiteX252" fmla="*/ 9556 w 10000"/>
              <a:gd name="connsiteY252" fmla="*/ 1465 h 10000"/>
              <a:gd name="connsiteX253" fmla="*/ 9512 w 10000"/>
              <a:gd name="connsiteY253" fmla="*/ 1379 h 10000"/>
              <a:gd name="connsiteX254" fmla="*/ 9573 w 10000"/>
              <a:gd name="connsiteY254" fmla="*/ 1271 h 10000"/>
              <a:gd name="connsiteX255" fmla="*/ 9543 w 10000"/>
              <a:gd name="connsiteY255" fmla="*/ 1194 h 10000"/>
              <a:gd name="connsiteX256" fmla="*/ 9486 w 10000"/>
              <a:gd name="connsiteY256" fmla="*/ 1159 h 10000"/>
              <a:gd name="connsiteX257" fmla="*/ 9438 w 10000"/>
              <a:gd name="connsiteY257" fmla="*/ 978 h 10000"/>
              <a:gd name="connsiteX258" fmla="*/ 9495 w 10000"/>
              <a:gd name="connsiteY258" fmla="*/ 831 h 10000"/>
              <a:gd name="connsiteX259" fmla="*/ 9077 w 10000"/>
              <a:gd name="connsiteY259" fmla="*/ 517 h 10000"/>
              <a:gd name="connsiteX260" fmla="*/ 8872 w 10000"/>
              <a:gd name="connsiteY260" fmla="*/ 440 h 10000"/>
              <a:gd name="connsiteX261" fmla="*/ 8493 w 10000"/>
              <a:gd name="connsiteY261" fmla="*/ 389 h 10000"/>
              <a:gd name="connsiteX262" fmla="*/ 7709 w 10000"/>
              <a:gd name="connsiteY262" fmla="*/ 26 h 10000"/>
              <a:gd name="connsiteX263" fmla="*/ 7683 w 10000"/>
              <a:gd name="connsiteY263" fmla="*/ 2 h 10000"/>
              <a:gd name="connsiteX264" fmla="*/ 7417 w 10000"/>
              <a:gd name="connsiteY264" fmla="*/ 0 h 10000"/>
              <a:gd name="connsiteX265" fmla="*/ 7356 w 10000"/>
              <a:gd name="connsiteY265" fmla="*/ 14 h 10000"/>
              <a:gd name="connsiteX266" fmla="*/ 7369 w 10000"/>
              <a:gd name="connsiteY266" fmla="*/ 61 h 10000"/>
              <a:gd name="connsiteX267" fmla="*/ 7422 w 10000"/>
              <a:gd name="connsiteY267" fmla="*/ 86 h 10000"/>
              <a:gd name="connsiteX268" fmla="*/ 7435 w 10000"/>
              <a:gd name="connsiteY268" fmla="*/ 139 h 10000"/>
              <a:gd name="connsiteX269" fmla="*/ 7417 w 10000"/>
              <a:gd name="connsiteY269" fmla="*/ 181 h 10000"/>
              <a:gd name="connsiteX270" fmla="*/ 7369 w 10000"/>
              <a:gd name="connsiteY270" fmla="*/ 208 h 10000"/>
              <a:gd name="connsiteX271" fmla="*/ 7334 w 10000"/>
              <a:gd name="connsiteY271" fmla="*/ 283 h 10000"/>
              <a:gd name="connsiteX272" fmla="*/ 7269 w 10000"/>
              <a:gd name="connsiteY272" fmla="*/ 336 h 10000"/>
              <a:gd name="connsiteX273" fmla="*/ 7282 w 10000"/>
              <a:gd name="connsiteY273" fmla="*/ 387 h 10000"/>
              <a:gd name="connsiteX274" fmla="*/ 7382 w 10000"/>
              <a:gd name="connsiteY274" fmla="*/ 434 h 10000"/>
              <a:gd name="connsiteX275" fmla="*/ 7317 w 10000"/>
              <a:gd name="connsiteY275" fmla="*/ 475 h 10000"/>
              <a:gd name="connsiteX276" fmla="*/ 7221 w 10000"/>
              <a:gd name="connsiteY276" fmla="*/ 485 h 10000"/>
              <a:gd name="connsiteX277" fmla="*/ 6420 w 10000"/>
              <a:gd name="connsiteY277" fmla="*/ 387 h 10000"/>
              <a:gd name="connsiteX278" fmla="*/ 6324 w 10000"/>
              <a:gd name="connsiteY278" fmla="*/ 395 h 10000"/>
              <a:gd name="connsiteX279" fmla="*/ 6267 w 10000"/>
              <a:gd name="connsiteY279" fmla="*/ 414 h 10000"/>
              <a:gd name="connsiteX280" fmla="*/ 6211 w 10000"/>
              <a:gd name="connsiteY280" fmla="*/ 462 h 10000"/>
              <a:gd name="connsiteX281" fmla="*/ 6220 w 10000"/>
              <a:gd name="connsiteY281" fmla="*/ 581 h 10000"/>
              <a:gd name="connsiteX282" fmla="*/ 6132 w 10000"/>
              <a:gd name="connsiteY282" fmla="*/ 735 h 10000"/>
              <a:gd name="connsiteX283" fmla="*/ 6024 w 10000"/>
              <a:gd name="connsiteY283" fmla="*/ 815 h 10000"/>
              <a:gd name="connsiteX284" fmla="*/ 5980 w 10000"/>
              <a:gd name="connsiteY284" fmla="*/ 805 h 10000"/>
              <a:gd name="connsiteX285" fmla="*/ 5880 w 10000"/>
              <a:gd name="connsiteY285" fmla="*/ 739 h 10000"/>
              <a:gd name="connsiteX286" fmla="*/ 5753 w 10000"/>
              <a:gd name="connsiteY286" fmla="*/ 705 h 10000"/>
              <a:gd name="connsiteX287" fmla="*/ 5618 w 10000"/>
              <a:gd name="connsiteY287" fmla="*/ 715 h 10000"/>
              <a:gd name="connsiteX288" fmla="*/ 5301 w 10000"/>
              <a:gd name="connsiteY288" fmla="*/ 866 h 10000"/>
              <a:gd name="connsiteX289" fmla="*/ 5218 w 10000"/>
              <a:gd name="connsiteY289" fmla="*/ 1017 h 10000"/>
              <a:gd name="connsiteX290" fmla="*/ 4978 w 10000"/>
              <a:gd name="connsiteY290" fmla="*/ 1153 h 10000"/>
              <a:gd name="connsiteX291" fmla="*/ 4935 w 10000"/>
              <a:gd name="connsiteY291" fmla="*/ 1222 h 10000"/>
              <a:gd name="connsiteX292" fmla="*/ 5061 w 10000"/>
              <a:gd name="connsiteY292" fmla="*/ 1344 h 10000"/>
              <a:gd name="connsiteX293" fmla="*/ 5074 w 10000"/>
              <a:gd name="connsiteY293" fmla="*/ 1412 h 10000"/>
              <a:gd name="connsiteX294" fmla="*/ 4421 w 10000"/>
              <a:gd name="connsiteY294" fmla="*/ 1813 h 10000"/>
              <a:gd name="connsiteX295" fmla="*/ 4220 w 10000"/>
              <a:gd name="connsiteY295" fmla="*/ 2070 h 10000"/>
              <a:gd name="connsiteX296" fmla="*/ 4003 w 10000"/>
              <a:gd name="connsiteY296" fmla="*/ 2135 h 10000"/>
              <a:gd name="connsiteX297" fmla="*/ 3868 w 10000"/>
              <a:gd name="connsiteY297" fmla="*/ 2131 h 10000"/>
              <a:gd name="connsiteX298" fmla="*/ 3785 w 10000"/>
              <a:gd name="connsiteY298" fmla="*/ 2153 h 10000"/>
              <a:gd name="connsiteX299" fmla="*/ 3558 w 10000"/>
              <a:gd name="connsiteY299" fmla="*/ 2793 h 10000"/>
              <a:gd name="connsiteX300" fmla="*/ 3036 w 10000"/>
              <a:gd name="connsiteY300" fmla="*/ 3166 h 10000"/>
              <a:gd name="connsiteX301" fmla="*/ 3040 w 10000"/>
              <a:gd name="connsiteY301" fmla="*/ 3225 h 10000"/>
              <a:gd name="connsiteX302" fmla="*/ 3271 w 10000"/>
              <a:gd name="connsiteY302" fmla="*/ 3392 h 10000"/>
              <a:gd name="connsiteX303" fmla="*/ 3197 w 10000"/>
              <a:gd name="connsiteY303" fmla="*/ 3573 h 10000"/>
              <a:gd name="connsiteX304" fmla="*/ 3062 w 10000"/>
              <a:gd name="connsiteY304" fmla="*/ 3640 h 10000"/>
              <a:gd name="connsiteX305" fmla="*/ 2657 w 10000"/>
              <a:gd name="connsiteY305" fmla="*/ 3595 h 10000"/>
              <a:gd name="connsiteX306" fmla="*/ 2378 w 10000"/>
              <a:gd name="connsiteY306" fmla="*/ 3620 h 10000"/>
              <a:gd name="connsiteX307" fmla="*/ 2152 w 10000"/>
              <a:gd name="connsiteY307" fmla="*/ 3673 h 10000"/>
              <a:gd name="connsiteX308" fmla="*/ 1790 w 10000"/>
              <a:gd name="connsiteY308" fmla="*/ 3840 h 10000"/>
              <a:gd name="connsiteX309" fmla="*/ 1598 w 10000"/>
              <a:gd name="connsiteY309" fmla="*/ 4042 h 10000"/>
              <a:gd name="connsiteX310" fmla="*/ 1616 w 10000"/>
              <a:gd name="connsiteY310" fmla="*/ 4154 h 10000"/>
              <a:gd name="connsiteX311" fmla="*/ 1681 w 10000"/>
              <a:gd name="connsiteY311" fmla="*/ 4241 h 10000"/>
              <a:gd name="connsiteX312" fmla="*/ 1733 w 10000"/>
              <a:gd name="connsiteY312" fmla="*/ 4276 h 10000"/>
              <a:gd name="connsiteX313" fmla="*/ 1638 w 10000"/>
              <a:gd name="connsiteY313" fmla="*/ 4331 h 10000"/>
              <a:gd name="connsiteX314" fmla="*/ 1433 w 10000"/>
              <a:gd name="connsiteY314" fmla="*/ 4710 h 10000"/>
              <a:gd name="connsiteX315" fmla="*/ 1472 w 10000"/>
              <a:gd name="connsiteY315" fmla="*/ 4732 h 10000"/>
              <a:gd name="connsiteX316" fmla="*/ 1503 w 10000"/>
              <a:gd name="connsiteY316" fmla="*/ 4828 h 10000"/>
              <a:gd name="connsiteX317" fmla="*/ 1407 w 10000"/>
              <a:gd name="connsiteY317" fmla="*/ 5227 h 10000"/>
              <a:gd name="connsiteX318" fmla="*/ 1503 w 10000"/>
              <a:gd name="connsiteY318" fmla="*/ 5329 h 10000"/>
              <a:gd name="connsiteX319" fmla="*/ 1764 w 10000"/>
              <a:gd name="connsiteY319" fmla="*/ 5441 h 10000"/>
              <a:gd name="connsiteX320" fmla="*/ 1777 w 10000"/>
              <a:gd name="connsiteY320" fmla="*/ 5578 h 10000"/>
              <a:gd name="connsiteX321" fmla="*/ 1664 w 10000"/>
              <a:gd name="connsiteY321" fmla="*/ 5690 h 10000"/>
              <a:gd name="connsiteX322" fmla="*/ 1503 w 10000"/>
              <a:gd name="connsiteY322" fmla="*/ 5759 h 10000"/>
              <a:gd name="connsiteX323" fmla="*/ 1289 w 10000"/>
              <a:gd name="connsiteY323" fmla="*/ 5787 h 10000"/>
              <a:gd name="connsiteX324" fmla="*/ 1233 w 10000"/>
              <a:gd name="connsiteY324" fmla="*/ 5826 h 10000"/>
              <a:gd name="connsiteX325" fmla="*/ 1359 w 10000"/>
              <a:gd name="connsiteY325" fmla="*/ 5920 h 10000"/>
              <a:gd name="connsiteX326" fmla="*/ 1429 w 10000"/>
              <a:gd name="connsiteY326" fmla="*/ 6142 h 10000"/>
              <a:gd name="connsiteX327" fmla="*/ 1267 w 10000"/>
              <a:gd name="connsiteY327" fmla="*/ 6333 h 10000"/>
              <a:gd name="connsiteX328" fmla="*/ 1324 w 10000"/>
              <a:gd name="connsiteY328" fmla="*/ 6392 h 10000"/>
              <a:gd name="connsiteX329" fmla="*/ 1272 w 10000"/>
              <a:gd name="connsiteY329" fmla="*/ 6492 h 10000"/>
              <a:gd name="connsiteX330" fmla="*/ 1167 w 10000"/>
              <a:gd name="connsiteY330" fmla="*/ 6561 h 10000"/>
              <a:gd name="connsiteX331" fmla="*/ 758 w 10000"/>
              <a:gd name="connsiteY331" fmla="*/ 6614 h 10000"/>
              <a:gd name="connsiteX332" fmla="*/ 732 w 10000"/>
              <a:gd name="connsiteY332" fmla="*/ 6706 h 10000"/>
              <a:gd name="connsiteX333" fmla="*/ 510 w 10000"/>
              <a:gd name="connsiteY333" fmla="*/ 6843 h 10000"/>
              <a:gd name="connsiteX334" fmla="*/ 540 w 10000"/>
              <a:gd name="connsiteY334" fmla="*/ 7040 h 10000"/>
              <a:gd name="connsiteX335" fmla="*/ 353 w 10000"/>
              <a:gd name="connsiteY335" fmla="*/ 7293 h 10000"/>
              <a:gd name="connsiteX336" fmla="*/ 226 w 10000"/>
              <a:gd name="connsiteY336" fmla="*/ 7323 h 10000"/>
              <a:gd name="connsiteX337" fmla="*/ 174 w 10000"/>
              <a:gd name="connsiteY337" fmla="*/ 7262 h 10000"/>
              <a:gd name="connsiteX338" fmla="*/ 109 w 10000"/>
              <a:gd name="connsiteY338" fmla="*/ 7354 h 10000"/>
              <a:gd name="connsiteX339" fmla="*/ 152 w 10000"/>
              <a:gd name="connsiteY339" fmla="*/ 7197 h 10000"/>
              <a:gd name="connsiteX340" fmla="*/ 126 w 10000"/>
              <a:gd name="connsiteY34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380 w 10000"/>
              <a:gd name="connsiteY210" fmla="*/ 2860 h 10000"/>
              <a:gd name="connsiteX211" fmla="*/ 8253 w 10000"/>
              <a:gd name="connsiteY211" fmla="*/ 2762 h 10000"/>
              <a:gd name="connsiteX212" fmla="*/ 8267 w 10000"/>
              <a:gd name="connsiteY212" fmla="*/ 2748 h 10000"/>
              <a:gd name="connsiteX213" fmla="*/ 8397 w 10000"/>
              <a:gd name="connsiteY213" fmla="*/ 2705 h 10000"/>
              <a:gd name="connsiteX214" fmla="*/ 8402 w 10000"/>
              <a:gd name="connsiteY214" fmla="*/ 2662 h 10000"/>
              <a:gd name="connsiteX215" fmla="*/ 8449 w 10000"/>
              <a:gd name="connsiteY215" fmla="*/ 2656 h 10000"/>
              <a:gd name="connsiteX216" fmla="*/ 8558 w 10000"/>
              <a:gd name="connsiteY216" fmla="*/ 2677 h 10000"/>
              <a:gd name="connsiteX217" fmla="*/ 8593 w 10000"/>
              <a:gd name="connsiteY217" fmla="*/ 2669 h 10000"/>
              <a:gd name="connsiteX218" fmla="*/ 8606 w 10000"/>
              <a:gd name="connsiteY218" fmla="*/ 2630 h 10000"/>
              <a:gd name="connsiteX219" fmla="*/ 8567 w 10000"/>
              <a:gd name="connsiteY219" fmla="*/ 2605 h 10000"/>
              <a:gd name="connsiteX220" fmla="*/ 8685 w 10000"/>
              <a:gd name="connsiteY220" fmla="*/ 2597 h 10000"/>
              <a:gd name="connsiteX221" fmla="*/ 8698 w 10000"/>
              <a:gd name="connsiteY221" fmla="*/ 2565 h 10000"/>
              <a:gd name="connsiteX222" fmla="*/ 8558 w 10000"/>
              <a:gd name="connsiteY222" fmla="*/ 2481 h 10000"/>
              <a:gd name="connsiteX223" fmla="*/ 8558 w 10000"/>
              <a:gd name="connsiteY223" fmla="*/ 2459 h 10000"/>
              <a:gd name="connsiteX224" fmla="*/ 8698 w 10000"/>
              <a:gd name="connsiteY224" fmla="*/ 2504 h 10000"/>
              <a:gd name="connsiteX225" fmla="*/ 8763 w 10000"/>
              <a:gd name="connsiteY225" fmla="*/ 2548 h 10000"/>
              <a:gd name="connsiteX226" fmla="*/ 8815 w 10000"/>
              <a:gd name="connsiteY226" fmla="*/ 2548 h 10000"/>
              <a:gd name="connsiteX227" fmla="*/ 8789 w 10000"/>
              <a:gd name="connsiteY227" fmla="*/ 2457 h 10000"/>
              <a:gd name="connsiteX228" fmla="*/ 8798 w 10000"/>
              <a:gd name="connsiteY228" fmla="*/ 2467 h 10000"/>
              <a:gd name="connsiteX229" fmla="*/ 8841 w 10000"/>
              <a:gd name="connsiteY229" fmla="*/ 2457 h 10000"/>
              <a:gd name="connsiteX230" fmla="*/ 8855 w 10000"/>
              <a:gd name="connsiteY230" fmla="*/ 2341 h 10000"/>
              <a:gd name="connsiteX231" fmla="*/ 8898 w 10000"/>
              <a:gd name="connsiteY231" fmla="*/ 2332 h 10000"/>
              <a:gd name="connsiteX232" fmla="*/ 8946 w 10000"/>
              <a:gd name="connsiteY232" fmla="*/ 2330 h 10000"/>
              <a:gd name="connsiteX233" fmla="*/ 8946 w 10000"/>
              <a:gd name="connsiteY233" fmla="*/ 2361 h 10000"/>
              <a:gd name="connsiteX234" fmla="*/ 8994 w 10000"/>
              <a:gd name="connsiteY234" fmla="*/ 2389 h 10000"/>
              <a:gd name="connsiteX235" fmla="*/ 9051 w 10000"/>
              <a:gd name="connsiteY235" fmla="*/ 2400 h 10000"/>
              <a:gd name="connsiteX236" fmla="*/ 9094 w 10000"/>
              <a:gd name="connsiteY236" fmla="*/ 2324 h 10000"/>
              <a:gd name="connsiteX237" fmla="*/ 9164 w 10000"/>
              <a:gd name="connsiteY237" fmla="*/ 2347 h 10000"/>
              <a:gd name="connsiteX238" fmla="*/ 9247 w 10000"/>
              <a:gd name="connsiteY238" fmla="*/ 2402 h 10000"/>
              <a:gd name="connsiteX239" fmla="*/ 9286 w 10000"/>
              <a:gd name="connsiteY239" fmla="*/ 2400 h 10000"/>
              <a:gd name="connsiteX240" fmla="*/ 9355 w 10000"/>
              <a:gd name="connsiteY240" fmla="*/ 2428 h 10000"/>
              <a:gd name="connsiteX241" fmla="*/ 9408 w 10000"/>
              <a:gd name="connsiteY241" fmla="*/ 2359 h 10000"/>
              <a:gd name="connsiteX242" fmla="*/ 9717 w 10000"/>
              <a:gd name="connsiteY242" fmla="*/ 2343 h 10000"/>
              <a:gd name="connsiteX243" fmla="*/ 9830 w 10000"/>
              <a:gd name="connsiteY243" fmla="*/ 2369 h 10000"/>
              <a:gd name="connsiteX244" fmla="*/ 9909 w 10000"/>
              <a:gd name="connsiteY244" fmla="*/ 2410 h 10000"/>
              <a:gd name="connsiteX245" fmla="*/ 9948 w 10000"/>
              <a:gd name="connsiteY245" fmla="*/ 2365 h 10000"/>
              <a:gd name="connsiteX246" fmla="*/ 10000 w 10000"/>
              <a:gd name="connsiteY246" fmla="*/ 2349 h 10000"/>
              <a:gd name="connsiteX247" fmla="*/ 9704 w 10000"/>
              <a:gd name="connsiteY247" fmla="*/ 1992 h 10000"/>
              <a:gd name="connsiteX248" fmla="*/ 9743 w 10000"/>
              <a:gd name="connsiteY248" fmla="*/ 1897 h 10000"/>
              <a:gd name="connsiteX249" fmla="*/ 9830 w 10000"/>
              <a:gd name="connsiteY249" fmla="*/ 1819 h 10000"/>
              <a:gd name="connsiteX250" fmla="*/ 9830 w 10000"/>
              <a:gd name="connsiteY250" fmla="*/ 1699 h 10000"/>
              <a:gd name="connsiteX251" fmla="*/ 9556 w 10000"/>
              <a:gd name="connsiteY251" fmla="*/ 1465 h 10000"/>
              <a:gd name="connsiteX252" fmla="*/ 9512 w 10000"/>
              <a:gd name="connsiteY252" fmla="*/ 1379 h 10000"/>
              <a:gd name="connsiteX253" fmla="*/ 9573 w 10000"/>
              <a:gd name="connsiteY253" fmla="*/ 1271 h 10000"/>
              <a:gd name="connsiteX254" fmla="*/ 9543 w 10000"/>
              <a:gd name="connsiteY254" fmla="*/ 1194 h 10000"/>
              <a:gd name="connsiteX255" fmla="*/ 9486 w 10000"/>
              <a:gd name="connsiteY255" fmla="*/ 1159 h 10000"/>
              <a:gd name="connsiteX256" fmla="*/ 9438 w 10000"/>
              <a:gd name="connsiteY256" fmla="*/ 978 h 10000"/>
              <a:gd name="connsiteX257" fmla="*/ 9495 w 10000"/>
              <a:gd name="connsiteY257" fmla="*/ 831 h 10000"/>
              <a:gd name="connsiteX258" fmla="*/ 9077 w 10000"/>
              <a:gd name="connsiteY258" fmla="*/ 517 h 10000"/>
              <a:gd name="connsiteX259" fmla="*/ 8872 w 10000"/>
              <a:gd name="connsiteY259" fmla="*/ 440 h 10000"/>
              <a:gd name="connsiteX260" fmla="*/ 8493 w 10000"/>
              <a:gd name="connsiteY260" fmla="*/ 389 h 10000"/>
              <a:gd name="connsiteX261" fmla="*/ 7709 w 10000"/>
              <a:gd name="connsiteY261" fmla="*/ 26 h 10000"/>
              <a:gd name="connsiteX262" fmla="*/ 7683 w 10000"/>
              <a:gd name="connsiteY262" fmla="*/ 2 h 10000"/>
              <a:gd name="connsiteX263" fmla="*/ 7417 w 10000"/>
              <a:gd name="connsiteY263" fmla="*/ 0 h 10000"/>
              <a:gd name="connsiteX264" fmla="*/ 7356 w 10000"/>
              <a:gd name="connsiteY264" fmla="*/ 14 h 10000"/>
              <a:gd name="connsiteX265" fmla="*/ 7369 w 10000"/>
              <a:gd name="connsiteY265" fmla="*/ 61 h 10000"/>
              <a:gd name="connsiteX266" fmla="*/ 7422 w 10000"/>
              <a:gd name="connsiteY266" fmla="*/ 86 h 10000"/>
              <a:gd name="connsiteX267" fmla="*/ 7435 w 10000"/>
              <a:gd name="connsiteY267" fmla="*/ 139 h 10000"/>
              <a:gd name="connsiteX268" fmla="*/ 7417 w 10000"/>
              <a:gd name="connsiteY268" fmla="*/ 181 h 10000"/>
              <a:gd name="connsiteX269" fmla="*/ 7369 w 10000"/>
              <a:gd name="connsiteY269" fmla="*/ 208 h 10000"/>
              <a:gd name="connsiteX270" fmla="*/ 7334 w 10000"/>
              <a:gd name="connsiteY270" fmla="*/ 283 h 10000"/>
              <a:gd name="connsiteX271" fmla="*/ 7269 w 10000"/>
              <a:gd name="connsiteY271" fmla="*/ 336 h 10000"/>
              <a:gd name="connsiteX272" fmla="*/ 7282 w 10000"/>
              <a:gd name="connsiteY272" fmla="*/ 387 h 10000"/>
              <a:gd name="connsiteX273" fmla="*/ 7382 w 10000"/>
              <a:gd name="connsiteY273" fmla="*/ 434 h 10000"/>
              <a:gd name="connsiteX274" fmla="*/ 7317 w 10000"/>
              <a:gd name="connsiteY274" fmla="*/ 475 h 10000"/>
              <a:gd name="connsiteX275" fmla="*/ 7221 w 10000"/>
              <a:gd name="connsiteY275" fmla="*/ 485 h 10000"/>
              <a:gd name="connsiteX276" fmla="*/ 6420 w 10000"/>
              <a:gd name="connsiteY276" fmla="*/ 387 h 10000"/>
              <a:gd name="connsiteX277" fmla="*/ 6324 w 10000"/>
              <a:gd name="connsiteY277" fmla="*/ 395 h 10000"/>
              <a:gd name="connsiteX278" fmla="*/ 6267 w 10000"/>
              <a:gd name="connsiteY278" fmla="*/ 414 h 10000"/>
              <a:gd name="connsiteX279" fmla="*/ 6211 w 10000"/>
              <a:gd name="connsiteY279" fmla="*/ 462 h 10000"/>
              <a:gd name="connsiteX280" fmla="*/ 6220 w 10000"/>
              <a:gd name="connsiteY280" fmla="*/ 581 h 10000"/>
              <a:gd name="connsiteX281" fmla="*/ 6132 w 10000"/>
              <a:gd name="connsiteY281" fmla="*/ 735 h 10000"/>
              <a:gd name="connsiteX282" fmla="*/ 6024 w 10000"/>
              <a:gd name="connsiteY282" fmla="*/ 815 h 10000"/>
              <a:gd name="connsiteX283" fmla="*/ 5980 w 10000"/>
              <a:gd name="connsiteY283" fmla="*/ 805 h 10000"/>
              <a:gd name="connsiteX284" fmla="*/ 5880 w 10000"/>
              <a:gd name="connsiteY284" fmla="*/ 739 h 10000"/>
              <a:gd name="connsiteX285" fmla="*/ 5753 w 10000"/>
              <a:gd name="connsiteY285" fmla="*/ 705 h 10000"/>
              <a:gd name="connsiteX286" fmla="*/ 5618 w 10000"/>
              <a:gd name="connsiteY286" fmla="*/ 715 h 10000"/>
              <a:gd name="connsiteX287" fmla="*/ 5301 w 10000"/>
              <a:gd name="connsiteY287" fmla="*/ 866 h 10000"/>
              <a:gd name="connsiteX288" fmla="*/ 5218 w 10000"/>
              <a:gd name="connsiteY288" fmla="*/ 1017 h 10000"/>
              <a:gd name="connsiteX289" fmla="*/ 4978 w 10000"/>
              <a:gd name="connsiteY289" fmla="*/ 1153 h 10000"/>
              <a:gd name="connsiteX290" fmla="*/ 4935 w 10000"/>
              <a:gd name="connsiteY290" fmla="*/ 1222 h 10000"/>
              <a:gd name="connsiteX291" fmla="*/ 5061 w 10000"/>
              <a:gd name="connsiteY291" fmla="*/ 1344 h 10000"/>
              <a:gd name="connsiteX292" fmla="*/ 5074 w 10000"/>
              <a:gd name="connsiteY292" fmla="*/ 1412 h 10000"/>
              <a:gd name="connsiteX293" fmla="*/ 4421 w 10000"/>
              <a:gd name="connsiteY293" fmla="*/ 1813 h 10000"/>
              <a:gd name="connsiteX294" fmla="*/ 4220 w 10000"/>
              <a:gd name="connsiteY294" fmla="*/ 2070 h 10000"/>
              <a:gd name="connsiteX295" fmla="*/ 4003 w 10000"/>
              <a:gd name="connsiteY295" fmla="*/ 2135 h 10000"/>
              <a:gd name="connsiteX296" fmla="*/ 3868 w 10000"/>
              <a:gd name="connsiteY296" fmla="*/ 2131 h 10000"/>
              <a:gd name="connsiteX297" fmla="*/ 3785 w 10000"/>
              <a:gd name="connsiteY297" fmla="*/ 2153 h 10000"/>
              <a:gd name="connsiteX298" fmla="*/ 3558 w 10000"/>
              <a:gd name="connsiteY298" fmla="*/ 2793 h 10000"/>
              <a:gd name="connsiteX299" fmla="*/ 3036 w 10000"/>
              <a:gd name="connsiteY299" fmla="*/ 3166 h 10000"/>
              <a:gd name="connsiteX300" fmla="*/ 3040 w 10000"/>
              <a:gd name="connsiteY300" fmla="*/ 3225 h 10000"/>
              <a:gd name="connsiteX301" fmla="*/ 3271 w 10000"/>
              <a:gd name="connsiteY301" fmla="*/ 3392 h 10000"/>
              <a:gd name="connsiteX302" fmla="*/ 3197 w 10000"/>
              <a:gd name="connsiteY302" fmla="*/ 3573 h 10000"/>
              <a:gd name="connsiteX303" fmla="*/ 3062 w 10000"/>
              <a:gd name="connsiteY303" fmla="*/ 3640 h 10000"/>
              <a:gd name="connsiteX304" fmla="*/ 2657 w 10000"/>
              <a:gd name="connsiteY304" fmla="*/ 3595 h 10000"/>
              <a:gd name="connsiteX305" fmla="*/ 2378 w 10000"/>
              <a:gd name="connsiteY305" fmla="*/ 3620 h 10000"/>
              <a:gd name="connsiteX306" fmla="*/ 2152 w 10000"/>
              <a:gd name="connsiteY306" fmla="*/ 3673 h 10000"/>
              <a:gd name="connsiteX307" fmla="*/ 1790 w 10000"/>
              <a:gd name="connsiteY307" fmla="*/ 3840 h 10000"/>
              <a:gd name="connsiteX308" fmla="*/ 1598 w 10000"/>
              <a:gd name="connsiteY308" fmla="*/ 4042 h 10000"/>
              <a:gd name="connsiteX309" fmla="*/ 1616 w 10000"/>
              <a:gd name="connsiteY309" fmla="*/ 4154 h 10000"/>
              <a:gd name="connsiteX310" fmla="*/ 1681 w 10000"/>
              <a:gd name="connsiteY310" fmla="*/ 4241 h 10000"/>
              <a:gd name="connsiteX311" fmla="*/ 1733 w 10000"/>
              <a:gd name="connsiteY311" fmla="*/ 4276 h 10000"/>
              <a:gd name="connsiteX312" fmla="*/ 1638 w 10000"/>
              <a:gd name="connsiteY312" fmla="*/ 4331 h 10000"/>
              <a:gd name="connsiteX313" fmla="*/ 1433 w 10000"/>
              <a:gd name="connsiteY313" fmla="*/ 4710 h 10000"/>
              <a:gd name="connsiteX314" fmla="*/ 1472 w 10000"/>
              <a:gd name="connsiteY314" fmla="*/ 4732 h 10000"/>
              <a:gd name="connsiteX315" fmla="*/ 1503 w 10000"/>
              <a:gd name="connsiteY315" fmla="*/ 4828 h 10000"/>
              <a:gd name="connsiteX316" fmla="*/ 1407 w 10000"/>
              <a:gd name="connsiteY316" fmla="*/ 5227 h 10000"/>
              <a:gd name="connsiteX317" fmla="*/ 1503 w 10000"/>
              <a:gd name="connsiteY317" fmla="*/ 5329 h 10000"/>
              <a:gd name="connsiteX318" fmla="*/ 1764 w 10000"/>
              <a:gd name="connsiteY318" fmla="*/ 5441 h 10000"/>
              <a:gd name="connsiteX319" fmla="*/ 1777 w 10000"/>
              <a:gd name="connsiteY319" fmla="*/ 5578 h 10000"/>
              <a:gd name="connsiteX320" fmla="*/ 1664 w 10000"/>
              <a:gd name="connsiteY320" fmla="*/ 5690 h 10000"/>
              <a:gd name="connsiteX321" fmla="*/ 1503 w 10000"/>
              <a:gd name="connsiteY321" fmla="*/ 5759 h 10000"/>
              <a:gd name="connsiteX322" fmla="*/ 1289 w 10000"/>
              <a:gd name="connsiteY322" fmla="*/ 5787 h 10000"/>
              <a:gd name="connsiteX323" fmla="*/ 1233 w 10000"/>
              <a:gd name="connsiteY323" fmla="*/ 5826 h 10000"/>
              <a:gd name="connsiteX324" fmla="*/ 1359 w 10000"/>
              <a:gd name="connsiteY324" fmla="*/ 5920 h 10000"/>
              <a:gd name="connsiteX325" fmla="*/ 1429 w 10000"/>
              <a:gd name="connsiteY325" fmla="*/ 6142 h 10000"/>
              <a:gd name="connsiteX326" fmla="*/ 1267 w 10000"/>
              <a:gd name="connsiteY326" fmla="*/ 6333 h 10000"/>
              <a:gd name="connsiteX327" fmla="*/ 1324 w 10000"/>
              <a:gd name="connsiteY327" fmla="*/ 6392 h 10000"/>
              <a:gd name="connsiteX328" fmla="*/ 1272 w 10000"/>
              <a:gd name="connsiteY328" fmla="*/ 6492 h 10000"/>
              <a:gd name="connsiteX329" fmla="*/ 1167 w 10000"/>
              <a:gd name="connsiteY329" fmla="*/ 6561 h 10000"/>
              <a:gd name="connsiteX330" fmla="*/ 758 w 10000"/>
              <a:gd name="connsiteY330" fmla="*/ 6614 h 10000"/>
              <a:gd name="connsiteX331" fmla="*/ 732 w 10000"/>
              <a:gd name="connsiteY331" fmla="*/ 6706 h 10000"/>
              <a:gd name="connsiteX332" fmla="*/ 510 w 10000"/>
              <a:gd name="connsiteY332" fmla="*/ 6843 h 10000"/>
              <a:gd name="connsiteX333" fmla="*/ 540 w 10000"/>
              <a:gd name="connsiteY333" fmla="*/ 7040 h 10000"/>
              <a:gd name="connsiteX334" fmla="*/ 353 w 10000"/>
              <a:gd name="connsiteY334" fmla="*/ 7293 h 10000"/>
              <a:gd name="connsiteX335" fmla="*/ 226 w 10000"/>
              <a:gd name="connsiteY335" fmla="*/ 7323 h 10000"/>
              <a:gd name="connsiteX336" fmla="*/ 174 w 10000"/>
              <a:gd name="connsiteY336" fmla="*/ 7262 h 10000"/>
              <a:gd name="connsiteX337" fmla="*/ 109 w 10000"/>
              <a:gd name="connsiteY337" fmla="*/ 7354 h 10000"/>
              <a:gd name="connsiteX338" fmla="*/ 152 w 10000"/>
              <a:gd name="connsiteY338" fmla="*/ 7197 h 10000"/>
              <a:gd name="connsiteX339" fmla="*/ 126 w 10000"/>
              <a:gd name="connsiteY33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380 w 10000"/>
              <a:gd name="connsiteY209" fmla="*/ 2860 h 10000"/>
              <a:gd name="connsiteX210" fmla="*/ 8253 w 10000"/>
              <a:gd name="connsiteY210" fmla="*/ 2762 h 10000"/>
              <a:gd name="connsiteX211" fmla="*/ 8267 w 10000"/>
              <a:gd name="connsiteY211" fmla="*/ 2748 h 10000"/>
              <a:gd name="connsiteX212" fmla="*/ 8397 w 10000"/>
              <a:gd name="connsiteY212" fmla="*/ 2705 h 10000"/>
              <a:gd name="connsiteX213" fmla="*/ 8402 w 10000"/>
              <a:gd name="connsiteY213" fmla="*/ 2662 h 10000"/>
              <a:gd name="connsiteX214" fmla="*/ 8449 w 10000"/>
              <a:gd name="connsiteY214" fmla="*/ 2656 h 10000"/>
              <a:gd name="connsiteX215" fmla="*/ 8558 w 10000"/>
              <a:gd name="connsiteY215" fmla="*/ 2677 h 10000"/>
              <a:gd name="connsiteX216" fmla="*/ 8593 w 10000"/>
              <a:gd name="connsiteY216" fmla="*/ 2669 h 10000"/>
              <a:gd name="connsiteX217" fmla="*/ 8606 w 10000"/>
              <a:gd name="connsiteY217" fmla="*/ 2630 h 10000"/>
              <a:gd name="connsiteX218" fmla="*/ 8567 w 10000"/>
              <a:gd name="connsiteY218" fmla="*/ 2605 h 10000"/>
              <a:gd name="connsiteX219" fmla="*/ 8685 w 10000"/>
              <a:gd name="connsiteY219" fmla="*/ 2597 h 10000"/>
              <a:gd name="connsiteX220" fmla="*/ 8698 w 10000"/>
              <a:gd name="connsiteY220" fmla="*/ 2565 h 10000"/>
              <a:gd name="connsiteX221" fmla="*/ 8558 w 10000"/>
              <a:gd name="connsiteY221" fmla="*/ 2481 h 10000"/>
              <a:gd name="connsiteX222" fmla="*/ 8558 w 10000"/>
              <a:gd name="connsiteY222" fmla="*/ 2459 h 10000"/>
              <a:gd name="connsiteX223" fmla="*/ 8698 w 10000"/>
              <a:gd name="connsiteY223" fmla="*/ 2504 h 10000"/>
              <a:gd name="connsiteX224" fmla="*/ 8763 w 10000"/>
              <a:gd name="connsiteY224" fmla="*/ 2548 h 10000"/>
              <a:gd name="connsiteX225" fmla="*/ 8815 w 10000"/>
              <a:gd name="connsiteY225" fmla="*/ 2548 h 10000"/>
              <a:gd name="connsiteX226" fmla="*/ 8789 w 10000"/>
              <a:gd name="connsiteY226" fmla="*/ 2457 h 10000"/>
              <a:gd name="connsiteX227" fmla="*/ 8798 w 10000"/>
              <a:gd name="connsiteY227" fmla="*/ 2467 h 10000"/>
              <a:gd name="connsiteX228" fmla="*/ 8841 w 10000"/>
              <a:gd name="connsiteY228" fmla="*/ 2457 h 10000"/>
              <a:gd name="connsiteX229" fmla="*/ 8855 w 10000"/>
              <a:gd name="connsiteY229" fmla="*/ 2341 h 10000"/>
              <a:gd name="connsiteX230" fmla="*/ 8898 w 10000"/>
              <a:gd name="connsiteY230" fmla="*/ 2332 h 10000"/>
              <a:gd name="connsiteX231" fmla="*/ 8946 w 10000"/>
              <a:gd name="connsiteY231" fmla="*/ 2330 h 10000"/>
              <a:gd name="connsiteX232" fmla="*/ 8946 w 10000"/>
              <a:gd name="connsiteY232" fmla="*/ 2361 h 10000"/>
              <a:gd name="connsiteX233" fmla="*/ 8994 w 10000"/>
              <a:gd name="connsiteY233" fmla="*/ 2389 h 10000"/>
              <a:gd name="connsiteX234" fmla="*/ 9051 w 10000"/>
              <a:gd name="connsiteY234" fmla="*/ 2400 h 10000"/>
              <a:gd name="connsiteX235" fmla="*/ 9094 w 10000"/>
              <a:gd name="connsiteY235" fmla="*/ 2324 h 10000"/>
              <a:gd name="connsiteX236" fmla="*/ 9164 w 10000"/>
              <a:gd name="connsiteY236" fmla="*/ 2347 h 10000"/>
              <a:gd name="connsiteX237" fmla="*/ 9247 w 10000"/>
              <a:gd name="connsiteY237" fmla="*/ 2402 h 10000"/>
              <a:gd name="connsiteX238" fmla="*/ 9286 w 10000"/>
              <a:gd name="connsiteY238" fmla="*/ 2400 h 10000"/>
              <a:gd name="connsiteX239" fmla="*/ 9355 w 10000"/>
              <a:gd name="connsiteY239" fmla="*/ 2428 h 10000"/>
              <a:gd name="connsiteX240" fmla="*/ 9408 w 10000"/>
              <a:gd name="connsiteY240" fmla="*/ 2359 h 10000"/>
              <a:gd name="connsiteX241" fmla="*/ 9717 w 10000"/>
              <a:gd name="connsiteY241" fmla="*/ 2343 h 10000"/>
              <a:gd name="connsiteX242" fmla="*/ 9830 w 10000"/>
              <a:gd name="connsiteY242" fmla="*/ 2369 h 10000"/>
              <a:gd name="connsiteX243" fmla="*/ 9909 w 10000"/>
              <a:gd name="connsiteY243" fmla="*/ 2410 h 10000"/>
              <a:gd name="connsiteX244" fmla="*/ 9948 w 10000"/>
              <a:gd name="connsiteY244" fmla="*/ 2365 h 10000"/>
              <a:gd name="connsiteX245" fmla="*/ 10000 w 10000"/>
              <a:gd name="connsiteY245" fmla="*/ 2349 h 10000"/>
              <a:gd name="connsiteX246" fmla="*/ 9704 w 10000"/>
              <a:gd name="connsiteY246" fmla="*/ 1992 h 10000"/>
              <a:gd name="connsiteX247" fmla="*/ 9743 w 10000"/>
              <a:gd name="connsiteY247" fmla="*/ 1897 h 10000"/>
              <a:gd name="connsiteX248" fmla="*/ 9830 w 10000"/>
              <a:gd name="connsiteY248" fmla="*/ 1819 h 10000"/>
              <a:gd name="connsiteX249" fmla="*/ 9830 w 10000"/>
              <a:gd name="connsiteY249" fmla="*/ 1699 h 10000"/>
              <a:gd name="connsiteX250" fmla="*/ 9556 w 10000"/>
              <a:gd name="connsiteY250" fmla="*/ 1465 h 10000"/>
              <a:gd name="connsiteX251" fmla="*/ 9512 w 10000"/>
              <a:gd name="connsiteY251" fmla="*/ 1379 h 10000"/>
              <a:gd name="connsiteX252" fmla="*/ 9573 w 10000"/>
              <a:gd name="connsiteY252" fmla="*/ 1271 h 10000"/>
              <a:gd name="connsiteX253" fmla="*/ 9543 w 10000"/>
              <a:gd name="connsiteY253" fmla="*/ 1194 h 10000"/>
              <a:gd name="connsiteX254" fmla="*/ 9486 w 10000"/>
              <a:gd name="connsiteY254" fmla="*/ 1159 h 10000"/>
              <a:gd name="connsiteX255" fmla="*/ 9438 w 10000"/>
              <a:gd name="connsiteY255" fmla="*/ 978 h 10000"/>
              <a:gd name="connsiteX256" fmla="*/ 9495 w 10000"/>
              <a:gd name="connsiteY256" fmla="*/ 831 h 10000"/>
              <a:gd name="connsiteX257" fmla="*/ 9077 w 10000"/>
              <a:gd name="connsiteY257" fmla="*/ 517 h 10000"/>
              <a:gd name="connsiteX258" fmla="*/ 8872 w 10000"/>
              <a:gd name="connsiteY258" fmla="*/ 440 h 10000"/>
              <a:gd name="connsiteX259" fmla="*/ 8493 w 10000"/>
              <a:gd name="connsiteY259" fmla="*/ 389 h 10000"/>
              <a:gd name="connsiteX260" fmla="*/ 7709 w 10000"/>
              <a:gd name="connsiteY260" fmla="*/ 26 h 10000"/>
              <a:gd name="connsiteX261" fmla="*/ 7683 w 10000"/>
              <a:gd name="connsiteY261" fmla="*/ 2 h 10000"/>
              <a:gd name="connsiteX262" fmla="*/ 7417 w 10000"/>
              <a:gd name="connsiteY262" fmla="*/ 0 h 10000"/>
              <a:gd name="connsiteX263" fmla="*/ 7356 w 10000"/>
              <a:gd name="connsiteY263" fmla="*/ 14 h 10000"/>
              <a:gd name="connsiteX264" fmla="*/ 7369 w 10000"/>
              <a:gd name="connsiteY264" fmla="*/ 61 h 10000"/>
              <a:gd name="connsiteX265" fmla="*/ 7422 w 10000"/>
              <a:gd name="connsiteY265" fmla="*/ 86 h 10000"/>
              <a:gd name="connsiteX266" fmla="*/ 7435 w 10000"/>
              <a:gd name="connsiteY266" fmla="*/ 139 h 10000"/>
              <a:gd name="connsiteX267" fmla="*/ 7417 w 10000"/>
              <a:gd name="connsiteY267" fmla="*/ 181 h 10000"/>
              <a:gd name="connsiteX268" fmla="*/ 7369 w 10000"/>
              <a:gd name="connsiteY268" fmla="*/ 208 h 10000"/>
              <a:gd name="connsiteX269" fmla="*/ 7334 w 10000"/>
              <a:gd name="connsiteY269" fmla="*/ 283 h 10000"/>
              <a:gd name="connsiteX270" fmla="*/ 7269 w 10000"/>
              <a:gd name="connsiteY270" fmla="*/ 336 h 10000"/>
              <a:gd name="connsiteX271" fmla="*/ 7282 w 10000"/>
              <a:gd name="connsiteY271" fmla="*/ 387 h 10000"/>
              <a:gd name="connsiteX272" fmla="*/ 7382 w 10000"/>
              <a:gd name="connsiteY272" fmla="*/ 434 h 10000"/>
              <a:gd name="connsiteX273" fmla="*/ 7317 w 10000"/>
              <a:gd name="connsiteY273" fmla="*/ 475 h 10000"/>
              <a:gd name="connsiteX274" fmla="*/ 7221 w 10000"/>
              <a:gd name="connsiteY274" fmla="*/ 485 h 10000"/>
              <a:gd name="connsiteX275" fmla="*/ 6420 w 10000"/>
              <a:gd name="connsiteY275" fmla="*/ 387 h 10000"/>
              <a:gd name="connsiteX276" fmla="*/ 6324 w 10000"/>
              <a:gd name="connsiteY276" fmla="*/ 395 h 10000"/>
              <a:gd name="connsiteX277" fmla="*/ 6267 w 10000"/>
              <a:gd name="connsiteY277" fmla="*/ 414 h 10000"/>
              <a:gd name="connsiteX278" fmla="*/ 6211 w 10000"/>
              <a:gd name="connsiteY278" fmla="*/ 462 h 10000"/>
              <a:gd name="connsiteX279" fmla="*/ 6220 w 10000"/>
              <a:gd name="connsiteY279" fmla="*/ 581 h 10000"/>
              <a:gd name="connsiteX280" fmla="*/ 6132 w 10000"/>
              <a:gd name="connsiteY280" fmla="*/ 735 h 10000"/>
              <a:gd name="connsiteX281" fmla="*/ 6024 w 10000"/>
              <a:gd name="connsiteY281" fmla="*/ 815 h 10000"/>
              <a:gd name="connsiteX282" fmla="*/ 5980 w 10000"/>
              <a:gd name="connsiteY282" fmla="*/ 805 h 10000"/>
              <a:gd name="connsiteX283" fmla="*/ 5880 w 10000"/>
              <a:gd name="connsiteY283" fmla="*/ 739 h 10000"/>
              <a:gd name="connsiteX284" fmla="*/ 5753 w 10000"/>
              <a:gd name="connsiteY284" fmla="*/ 705 h 10000"/>
              <a:gd name="connsiteX285" fmla="*/ 5618 w 10000"/>
              <a:gd name="connsiteY285" fmla="*/ 715 h 10000"/>
              <a:gd name="connsiteX286" fmla="*/ 5301 w 10000"/>
              <a:gd name="connsiteY286" fmla="*/ 866 h 10000"/>
              <a:gd name="connsiteX287" fmla="*/ 5218 w 10000"/>
              <a:gd name="connsiteY287" fmla="*/ 1017 h 10000"/>
              <a:gd name="connsiteX288" fmla="*/ 4978 w 10000"/>
              <a:gd name="connsiteY288" fmla="*/ 1153 h 10000"/>
              <a:gd name="connsiteX289" fmla="*/ 4935 w 10000"/>
              <a:gd name="connsiteY289" fmla="*/ 1222 h 10000"/>
              <a:gd name="connsiteX290" fmla="*/ 5061 w 10000"/>
              <a:gd name="connsiteY290" fmla="*/ 1344 h 10000"/>
              <a:gd name="connsiteX291" fmla="*/ 5074 w 10000"/>
              <a:gd name="connsiteY291" fmla="*/ 1412 h 10000"/>
              <a:gd name="connsiteX292" fmla="*/ 4421 w 10000"/>
              <a:gd name="connsiteY292" fmla="*/ 1813 h 10000"/>
              <a:gd name="connsiteX293" fmla="*/ 4220 w 10000"/>
              <a:gd name="connsiteY293" fmla="*/ 2070 h 10000"/>
              <a:gd name="connsiteX294" fmla="*/ 4003 w 10000"/>
              <a:gd name="connsiteY294" fmla="*/ 2135 h 10000"/>
              <a:gd name="connsiteX295" fmla="*/ 3868 w 10000"/>
              <a:gd name="connsiteY295" fmla="*/ 2131 h 10000"/>
              <a:gd name="connsiteX296" fmla="*/ 3785 w 10000"/>
              <a:gd name="connsiteY296" fmla="*/ 2153 h 10000"/>
              <a:gd name="connsiteX297" fmla="*/ 3558 w 10000"/>
              <a:gd name="connsiteY297" fmla="*/ 2793 h 10000"/>
              <a:gd name="connsiteX298" fmla="*/ 3036 w 10000"/>
              <a:gd name="connsiteY298" fmla="*/ 3166 h 10000"/>
              <a:gd name="connsiteX299" fmla="*/ 3040 w 10000"/>
              <a:gd name="connsiteY299" fmla="*/ 3225 h 10000"/>
              <a:gd name="connsiteX300" fmla="*/ 3271 w 10000"/>
              <a:gd name="connsiteY300" fmla="*/ 3392 h 10000"/>
              <a:gd name="connsiteX301" fmla="*/ 3197 w 10000"/>
              <a:gd name="connsiteY301" fmla="*/ 3573 h 10000"/>
              <a:gd name="connsiteX302" fmla="*/ 3062 w 10000"/>
              <a:gd name="connsiteY302" fmla="*/ 3640 h 10000"/>
              <a:gd name="connsiteX303" fmla="*/ 2657 w 10000"/>
              <a:gd name="connsiteY303" fmla="*/ 3595 h 10000"/>
              <a:gd name="connsiteX304" fmla="*/ 2378 w 10000"/>
              <a:gd name="connsiteY304" fmla="*/ 3620 h 10000"/>
              <a:gd name="connsiteX305" fmla="*/ 2152 w 10000"/>
              <a:gd name="connsiteY305" fmla="*/ 3673 h 10000"/>
              <a:gd name="connsiteX306" fmla="*/ 1790 w 10000"/>
              <a:gd name="connsiteY306" fmla="*/ 3840 h 10000"/>
              <a:gd name="connsiteX307" fmla="*/ 1598 w 10000"/>
              <a:gd name="connsiteY307" fmla="*/ 4042 h 10000"/>
              <a:gd name="connsiteX308" fmla="*/ 1616 w 10000"/>
              <a:gd name="connsiteY308" fmla="*/ 4154 h 10000"/>
              <a:gd name="connsiteX309" fmla="*/ 1681 w 10000"/>
              <a:gd name="connsiteY309" fmla="*/ 4241 h 10000"/>
              <a:gd name="connsiteX310" fmla="*/ 1733 w 10000"/>
              <a:gd name="connsiteY310" fmla="*/ 4276 h 10000"/>
              <a:gd name="connsiteX311" fmla="*/ 1638 w 10000"/>
              <a:gd name="connsiteY311" fmla="*/ 4331 h 10000"/>
              <a:gd name="connsiteX312" fmla="*/ 1433 w 10000"/>
              <a:gd name="connsiteY312" fmla="*/ 4710 h 10000"/>
              <a:gd name="connsiteX313" fmla="*/ 1472 w 10000"/>
              <a:gd name="connsiteY313" fmla="*/ 4732 h 10000"/>
              <a:gd name="connsiteX314" fmla="*/ 1503 w 10000"/>
              <a:gd name="connsiteY314" fmla="*/ 4828 h 10000"/>
              <a:gd name="connsiteX315" fmla="*/ 1407 w 10000"/>
              <a:gd name="connsiteY315" fmla="*/ 5227 h 10000"/>
              <a:gd name="connsiteX316" fmla="*/ 1503 w 10000"/>
              <a:gd name="connsiteY316" fmla="*/ 5329 h 10000"/>
              <a:gd name="connsiteX317" fmla="*/ 1764 w 10000"/>
              <a:gd name="connsiteY317" fmla="*/ 5441 h 10000"/>
              <a:gd name="connsiteX318" fmla="*/ 1777 w 10000"/>
              <a:gd name="connsiteY318" fmla="*/ 5578 h 10000"/>
              <a:gd name="connsiteX319" fmla="*/ 1664 w 10000"/>
              <a:gd name="connsiteY319" fmla="*/ 5690 h 10000"/>
              <a:gd name="connsiteX320" fmla="*/ 1503 w 10000"/>
              <a:gd name="connsiteY320" fmla="*/ 5759 h 10000"/>
              <a:gd name="connsiteX321" fmla="*/ 1289 w 10000"/>
              <a:gd name="connsiteY321" fmla="*/ 5787 h 10000"/>
              <a:gd name="connsiteX322" fmla="*/ 1233 w 10000"/>
              <a:gd name="connsiteY322" fmla="*/ 5826 h 10000"/>
              <a:gd name="connsiteX323" fmla="*/ 1359 w 10000"/>
              <a:gd name="connsiteY323" fmla="*/ 5920 h 10000"/>
              <a:gd name="connsiteX324" fmla="*/ 1429 w 10000"/>
              <a:gd name="connsiteY324" fmla="*/ 6142 h 10000"/>
              <a:gd name="connsiteX325" fmla="*/ 1267 w 10000"/>
              <a:gd name="connsiteY325" fmla="*/ 6333 h 10000"/>
              <a:gd name="connsiteX326" fmla="*/ 1324 w 10000"/>
              <a:gd name="connsiteY326" fmla="*/ 6392 h 10000"/>
              <a:gd name="connsiteX327" fmla="*/ 1272 w 10000"/>
              <a:gd name="connsiteY327" fmla="*/ 6492 h 10000"/>
              <a:gd name="connsiteX328" fmla="*/ 1167 w 10000"/>
              <a:gd name="connsiteY328" fmla="*/ 6561 h 10000"/>
              <a:gd name="connsiteX329" fmla="*/ 758 w 10000"/>
              <a:gd name="connsiteY329" fmla="*/ 6614 h 10000"/>
              <a:gd name="connsiteX330" fmla="*/ 732 w 10000"/>
              <a:gd name="connsiteY330" fmla="*/ 6706 h 10000"/>
              <a:gd name="connsiteX331" fmla="*/ 510 w 10000"/>
              <a:gd name="connsiteY331" fmla="*/ 6843 h 10000"/>
              <a:gd name="connsiteX332" fmla="*/ 540 w 10000"/>
              <a:gd name="connsiteY332" fmla="*/ 7040 h 10000"/>
              <a:gd name="connsiteX333" fmla="*/ 353 w 10000"/>
              <a:gd name="connsiteY333" fmla="*/ 7293 h 10000"/>
              <a:gd name="connsiteX334" fmla="*/ 226 w 10000"/>
              <a:gd name="connsiteY334" fmla="*/ 7323 h 10000"/>
              <a:gd name="connsiteX335" fmla="*/ 174 w 10000"/>
              <a:gd name="connsiteY335" fmla="*/ 7262 h 10000"/>
              <a:gd name="connsiteX336" fmla="*/ 109 w 10000"/>
              <a:gd name="connsiteY336" fmla="*/ 7354 h 10000"/>
              <a:gd name="connsiteX337" fmla="*/ 152 w 10000"/>
              <a:gd name="connsiteY337" fmla="*/ 7197 h 10000"/>
              <a:gd name="connsiteX338" fmla="*/ 126 w 10000"/>
              <a:gd name="connsiteY33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380 w 10000"/>
              <a:gd name="connsiteY208" fmla="*/ 2860 h 10000"/>
              <a:gd name="connsiteX209" fmla="*/ 8253 w 10000"/>
              <a:gd name="connsiteY209" fmla="*/ 2762 h 10000"/>
              <a:gd name="connsiteX210" fmla="*/ 8267 w 10000"/>
              <a:gd name="connsiteY210" fmla="*/ 2748 h 10000"/>
              <a:gd name="connsiteX211" fmla="*/ 8397 w 10000"/>
              <a:gd name="connsiteY211" fmla="*/ 2705 h 10000"/>
              <a:gd name="connsiteX212" fmla="*/ 8402 w 10000"/>
              <a:gd name="connsiteY212" fmla="*/ 2662 h 10000"/>
              <a:gd name="connsiteX213" fmla="*/ 8449 w 10000"/>
              <a:gd name="connsiteY213" fmla="*/ 2656 h 10000"/>
              <a:gd name="connsiteX214" fmla="*/ 8558 w 10000"/>
              <a:gd name="connsiteY214" fmla="*/ 2677 h 10000"/>
              <a:gd name="connsiteX215" fmla="*/ 8593 w 10000"/>
              <a:gd name="connsiteY215" fmla="*/ 2669 h 10000"/>
              <a:gd name="connsiteX216" fmla="*/ 8606 w 10000"/>
              <a:gd name="connsiteY216" fmla="*/ 2630 h 10000"/>
              <a:gd name="connsiteX217" fmla="*/ 8567 w 10000"/>
              <a:gd name="connsiteY217" fmla="*/ 2605 h 10000"/>
              <a:gd name="connsiteX218" fmla="*/ 8685 w 10000"/>
              <a:gd name="connsiteY218" fmla="*/ 2597 h 10000"/>
              <a:gd name="connsiteX219" fmla="*/ 8698 w 10000"/>
              <a:gd name="connsiteY219" fmla="*/ 2565 h 10000"/>
              <a:gd name="connsiteX220" fmla="*/ 8558 w 10000"/>
              <a:gd name="connsiteY220" fmla="*/ 2481 h 10000"/>
              <a:gd name="connsiteX221" fmla="*/ 8558 w 10000"/>
              <a:gd name="connsiteY221" fmla="*/ 2459 h 10000"/>
              <a:gd name="connsiteX222" fmla="*/ 8698 w 10000"/>
              <a:gd name="connsiteY222" fmla="*/ 2504 h 10000"/>
              <a:gd name="connsiteX223" fmla="*/ 8763 w 10000"/>
              <a:gd name="connsiteY223" fmla="*/ 2548 h 10000"/>
              <a:gd name="connsiteX224" fmla="*/ 8815 w 10000"/>
              <a:gd name="connsiteY224" fmla="*/ 2548 h 10000"/>
              <a:gd name="connsiteX225" fmla="*/ 8789 w 10000"/>
              <a:gd name="connsiteY225" fmla="*/ 2457 h 10000"/>
              <a:gd name="connsiteX226" fmla="*/ 8798 w 10000"/>
              <a:gd name="connsiteY226" fmla="*/ 2467 h 10000"/>
              <a:gd name="connsiteX227" fmla="*/ 8841 w 10000"/>
              <a:gd name="connsiteY227" fmla="*/ 2457 h 10000"/>
              <a:gd name="connsiteX228" fmla="*/ 8855 w 10000"/>
              <a:gd name="connsiteY228" fmla="*/ 2341 h 10000"/>
              <a:gd name="connsiteX229" fmla="*/ 8898 w 10000"/>
              <a:gd name="connsiteY229" fmla="*/ 2332 h 10000"/>
              <a:gd name="connsiteX230" fmla="*/ 8946 w 10000"/>
              <a:gd name="connsiteY230" fmla="*/ 2330 h 10000"/>
              <a:gd name="connsiteX231" fmla="*/ 8946 w 10000"/>
              <a:gd name="connsiteY231" fmla="*/ 2361 h 10000"/>
              <a:gd name="connsiteX232" fmla="*/ 8994 w 10000"/>
              <a:gd name="connsiteY232" fmla="*/ 2389 h 10000"/>
              <a:gd name="connsiteX233" fmla="*/ 9051 w 10000"/>
              <a:gd name="connsiteY233" fmla="*/ 2400 h 10000"/>
              <a:gd name="connsiteX234" fmla="*/ 9094 w 10000"/>
              <a:gd name="connsiteY234" fmla="*/ 2324 h 10000"/>
              <a:gd name="connsiteX235" fmla="*/ 9164 w 10000"/>
              <a:gd name="connsiteY235" fmla="*/ 2347 h 10000"/>
              <a:gd name="connsiteX236" fmla="*/ 9247 w 10000"/>
              <a:gd name="connsiteY236" fmla="*/ 2402 h 10000"/>
              <a:gd name="connsiteX237" fmla="*/ 9286 w 10000"/>
              <a:gd name="connsiteY237" fmla="*/ 2400 h 10000"/>
              <a:gd name="connsiteX238" fmla="*/ 9355 w 10000"/>
              <a:gd name="connsiteY238" fmla="*/ 2428 h 10000"/>
              <a:gd name="connsiteX239" fmla="*/ 9408 w 10000"/>
              <a:gd name="connsiteY239" fmla="*/ 2359 h 10000"/>
              <a:gd name="connsiteX240" fmla="*/ 9717 w 10000"/>
              <a:gd name="connsiteY240" fmla="*/ 2343 h 10000"/>
              <a:gd name="connsiteX241" fmla="*/ 9830 w 10000"/>
              <a:gd name="connsiteY241" fmla="*/ 2369 h 10000"/>
              <a:gd name="connsiteX242" fmla="*/ 9909 w 10000"/>
              <a:gd name="connsiteY242" fmla="*/ 2410 h 10000"/>
              <a:gd name="connsiteX243" fmla="*/ 9948 w 10000"/>
              <a:gd name="connsiteY243" fmla="*/ 2365 h 10000"/>
              <a:gd name="connsiteX244" fmla="*/ 10000 w 10000"/>
              <a:gd name="connsiteY244" fmla="*/ 2349 h 10000"/>
              <a:gd name="connsiteX245" fmla="*/ 9704 w 10000"/>
              <a:gd name="connsiteY245" fmla="*/ 1992 h 10000"/>
              <a:gd name="connsiteX246" fmla="*/ 9743 w 10000"/>
              <a:gd name="connsiteY246" fmla="*/ 1897 h 10000"/>
              <a:gd name="connsiteX247" fmla="*/ 9830 w 10000"/>
              <a:gd name="connsiteY247" fmla="*/ 1819 h 10000"/>
              <a:gd name="connsiteX248" fmla="*/ 9830 w 10000"/>
              <a:gd name="connsiteY248" fmla="*/ 1699 h 10000"/>
              <a:gd name="connsiteX249" fmla="*/ 9556 w 10000"/>
              <a:gd name="connsiteY249" fmla="*/ 1465 h 10000"/>
              <a:gd name="connsiteX250" fmla="*/ 9512 w 10000"/>
              <a:gd name="connsiteY250" fmla="*/ 1379 h 10000"/>
              <a:gd name="connsiteX251" fmla="*/ 9573 w 10000"/>
              <a:gd name="connsiteY251" fmla="*/ 1271 h 10000"/>
              <a:gd name="connsiteX252" fmla="*/ 9543 w 10000"/>
              <a:gd name="connsiteY252" fmla="*/ 1194 h 10000"/>
              <a:gd name="connsiteX253" fmla="*/ 9486 w 10000"/>
              <a:gd name="connsiteY253" fmla="*/ 1159 h 10000"/>
              <a:gd name="connsiteX254" fmla="*/ 9438 w 10000"/>
              <a:gd name="connsiteY254" fmla="*/ 978 h 10000"/>
              <a:gd name="connsiteX255" fmla="*/ 9495 w 10000"/>
              <a:gd name="connsiteY255" fmla="*/ 831 h 10000"/>
              <a:gd name="connsiteX256" fmla="*/ 9077 w 10000"/>
              <a:gd name="connsiteY256" fmla="*/ 517 h 10000"/>
              <a:gd name="connsiteX257" fmla="*/ 8872 w 10000"/>
              <a:gd name="connsiteY257" fmla="*/ 440 h 10000"/>
              <a:gd name="connsiteX258" fmla="*/ 8493 w 10000"/>
              <a:gd name="connsiteY258" fmla="*/ 389 h 10000"/>
              <a:gd name="connsiteX259" fmla="*/ 7709 w 10000"/>
              <a:gd name="connsiteY259" fmla="*/ 26 h 10000"/>
              <a:gd name="connsiteX260" fmla="*/ 7683 w 10000"/>
              <a:gd name="connsiteY260" fmla="*/ 2 h 10000"/>
              <a:gd name="connsiteX261" fmla="*/ 7417 w 10000"/>
              <a:gd name="connsiteY261" fmla="*/ 0 h 10000"/>
              <a:gd name="connsiteX262" fmla="*/ 7356 w 10000"/>
              <a:gd name="connsiteY262" fmla="*/ 14 h 10000"/>
              <a:gd name="connsiteX263" fmla="*/ 7369 w 10000"/>
              <a:gd name="connsiteY263" fmla="*/ 61 h 10000"/>
              <a:gd name="connsiteX264" fmla="*/ 7422 w 10000"/>
              <a:gd name="connsiteY264" fmla="*/ 86 h 10000"/>
              <a:gd name="connsiteX265" fmla="*/ 7435 w 10000"/>
              <a:gd name="connsiteY265" fmla="*/ 139 h 10000"/>
              <a:gd name="connsiteX266" fmla="*/ 7417 w 10000"/>
              <a:gd name="connsiteY266" fmla="*/ 181 h 10000"/>
              <a:gd name="connsiteX267" fmla="*/ 7369 w 10000"/>
              <a:gd name="connsiteY267" fmla="*/ 208 h 10000"/>
              <a:gd name="connsiteX268" fmla="*/ 7334 w 10000"/>
              <a:gd name="connsiteY268" fmla="*/ 283 h 10000"/>
              <a:gd name="connsiteX269" fmla="*/ 7269 w 10000"/>
              <a:gd name="connsiteY269" fmla="*/ 336 h 10000"/>
              <a:gd name="connsiteX270" fmla="*/ 7282 w 10000"/>
              <a:gd name="connsiteY270" fmla="*/ 387 h 10000"/>
              <a:gd name="connsiteX271" fmla="*/ 7382 w 10000"/>
              <a:gd name="connsiteY271" fmla="*/ 434 h 10000"/>
              <a:gd name="connsiteX272" fmla="*/ 7317 w 10000"/>
              <a:gd name="connsiteY272" fmla="*/ 475 h 10000"/>
              <a:gd name="connsiteX273" fmla="*/ 7221 w 10000"/>
              <a:gd name="connsiteY273" fmla="*/ 485 h 10000"/>
              <a:gd name="connsiteX274" fmla="*/ 6420 w 10000"/>
              <a:gd name="connsiteY274" fmla="*/ 387 h 10000"/>
              <a:gd name="connsiteX275" fmla="*/ 6324 w 10000"/>
              <a:gd name="connsiteY275" fmla="*/ 395 h 10000"/>
              <a:gd name="connsiteX276" fmla="*/ 6267 w 10000"/>
              <a:gd name="connsiteY276" fmla="*/ 414 h 10000"/>
              <a:gd name="connsiteX277" fmla="*/ 6211 w 10000"/>
              <a:gd name="connsiteY277" fmla="*/ 462 h 10000"/>
              <a:gd name="connsiteX278" fmla="*/ 6220 w 10000"/>
              <a:gd name="connsiteY278" fmla="*/ 581 h 10000"/>
              <a:gd name="connsiteX279" fmla="*/ 6132 w 10000"/>
              <a:gd name="connsiteY279" fmla="*/ 735 h 10000"/>
              <a:gd name="connsiteX280" fmla="*/ 6024 w 10000"/>
              <a:gd name="connsiteY280" fmla="*/ 815 h 10000"/>
              <a:gd name="connsiteX281" fmla="*/ 5980 w 10000"/>
              <a:gd name="connsiteY281" fmla="*/ 805 h 10000"/>
              <a:gd name="connsiteX282" fmla="*/ 5880 w 10000"/>
              <a:gd name="connsiteY282" fmla="*/ 739 h 10000"/>
              <a:gd name="connsiteX283" fmla="*/ 5753 w 10000"/>
              <a:gd name="connsiteY283" fmla="*/ 705 h 10000"/>
              <a:gd name="connsiteX284" fmla="*/ 5618 w 10000"/>
              <a:gd name="connsiteY284" fmla="*/ 715 h 10000"/>
              <a:gd name="connsiteX285" fmla="*/ 5301 w 10000"/>
              <a:gd name="connsiteY285" fmla="*/ 866 h 10000"/>
              <a:gd name="connsiteX286" fmla="*/ 5218 w 10000"/>
              <a:gd name="connsiteY286" fmla="*/ 1017 h 10000"/>
              <a:gd name="connsiteX287" fmla="*/ 4978 w 10000"/>
              <a:gd name="connsiteY287" fmla="*/ 1153 h 10000"/>
              <a:gd name="connsiteX288" fmla="*/ 4935 w 10000"/>
              <a:gd name="connsiteY288" fmla="*/ 1222 h 10000"/>
              <a:gd name="connsiteX289" fmla="*/ 5061 w 10000"/>
              <a:gd name="connsiteY289" fmla="*/ 1344 h 10000"/>
              <a:gd name="connsiteX290" fmla="*/ 5074 w 10000"/>
              <a:gd name="connsiteY290" fmla="*/ 1412 h 10000"/>
              <a:gd name="connsiteX291" fmla="*/ 4421 w 10000"/>
              <a:gd name="connsiteY291" fmla="*/ 1813 h 10000"/>
              <a:gd name="connsiteX292" fmla="*/ 4220 w 10000"/>
              <a:gd name="connsiteY292" fmla="*/ 2070 h 10000"/>
              <a:gd name="connsiteX293" fmla="*/ 4003 w 10000"/>
              <a:gd name="connsiteY293" fmla="*/ 2135 h 10000"/>
              <a:gd name="connsiteX294" fmla="*/ 3868 w 10000"/>
              <a:gd name="connsiteY294" fmla="*/ 2131 h 10000"/>
              <a:gd name="connsiteX295" fmla="*/ 3785 w 10000"/>
              <a:gd name="connsiteY295" fmla="*/ 2153 h 10000"/>
              <a:gd name="connsiteX296" fmla="*/ 3558 w 10000"/>
              <a:gd name="connsiteY296" fmla="*/ 2793 h 10000"/>
              <a:gd name="connsiteX297" fmla="*/ 3036 w 10000"/>
              <a:gd name="connsiteY297" fmla="*/ 3166 h 10000"/>
              <a:gd name="connsiteX298" fmla="*/ 3040 w 10000"/>
              <a:gd name="connsiteY298" fmla="*/ 3225 h 10000"/>
              <a:gd name="connsiteX299" fmla="*/ 3271 w 10000"/>
              <a:gd name="connsiteY299" fmla="*/ 3392 h 10000"/>
              <a:gd name="connsiteX300" fmla="*/ 3197 w 10000"/>
              <a:gd name="connsiteY300" fmla="*/ 3573 h 10000"/>
              <a:gd name="connsiteX301" fmla="*/ 3062 w 10000"/>
              <a:gd name="connsiteY301" fmla="*/ 3640 h 10000"/>
              <a:gd name="connsiteX302" fmla="*/ 2657 w 10000"/>
              <a:gd name="connsiteY302" fmla="*/ 3595 h 10000"/>
              <a:gd name="connsiteX303" fmla="*/ 2378 w 10000"/>
              <a:gd name="connsiteY303" fmla="*/ 3620 h 10000"/>
              <a:gd name="connsiteX304" fmla="*/ 2152 w 10000"/>
              <a:gd name="connsiteY304" fmla="*/ 3673 h 10000"/>
              <a:gd name="connsiteX305" fmla="*/ 1790 w 10000"/>
              <a:gd name="connsiteY305" fmla="*/ 3840 h 10000"/>
              <a:gd name="connsiteX306" fmla="*/ 1598 w 10000"/>
              <a:gd name="connsiteY306" fmla="*/ 4042 h 10000"/>
              <a:gd name="connsiteX307" fmla="*/ 1616 w 10000"/>
              <a:gd name="connsiteY307" fmla="*/ 4154 h 10000"/>
              <a:gd name="connsiteX308" fmla="*/ 1681 w 10000"/>
              <a:gd name="connsiteY308" fmla="*/ 4241 h 10000"/>
              <a:gd name="connsiteX309" fmla="*/ 1733 w 10000"/>
              <a:gd name="connsiteY309" fmla="*/ 4276 h 10000"/>
              <a:gd name="connsiteX310" fmla="*/ 1638 w 10000"/>
              <a:gd name="connsiteY310" fmla="*/ 4331 h 10000"/>
              <a:gd name="connsiteX311" fmla="*/ 1433 w 10000"/>
              <a:gd name="connsiteY311" fmla="*/ 4710 h 10000"/>
              <a:gd name="connsiteX312" fmla="*/ 1472 w 10000"/>
              <a:gd name="connsiteY312" fmla="*/ 4732 h 10000"/>
              <a:gd name="connsiteX313" fmla="*/ 1503 w 10000"/>
              <a:gd name="connsiteY313" fmla="*/ 4828 h 10000"/>
              <a:gd name="connsiteX314" fmla="*/ 1407 w 10000"/>
              <a:gd name="connsiteY314" fmla="*/ 5227 h 10000"/>
              <a:gd name="connsiteX315" fmla="*/ 1503 w 10000"/>
              <a:gd name="connsiteY315" fmla="*/ 5329 h 10000"/>
              <a:gd name="connsiteX316" fmla="*/ 1764 w 10000"/>
              <a:gd name="connsiteY316" fmla="*/ 5441 h 10000"/>
              <a:gd name="connsiteX317" fmla="*/ 1777 w 10000"/>
              <a:gd name="connsiteY317" fmla="*/ 5578 h 10000"/>
              <a:gd name="connsiteX318" fmla="*/ 1664 w 10000"/>
              <a:gd name="connsiteY318" fmla="*/ 5690 h 10000"/>
              <a:gd name="connsiteX319" fmla="*/ 1503 w 10000"/>
              <a:gd name="connsiteY319" fmla="*/ 5759 h 10000"/>
              <a:gd name="connsiteX320" fmla="*/ 1289 w 10000"/>
              <a:gd name="connsiteY320" fmla="*/ 5787 h 10000"/>
              <a:gd name="connsiteX321" fmla="*/ 1233 w 10000"/>
              <a:gd name="connsiteY321" fmla="*/ 5826 h 10000"/>
              <a:gd name="connsiteX322" fmla="*/ 1359 w 10000"/>
              <a:gd name="connsiteY322" fmla="*/ 5920 h 10000"/>
              <a:gd name="connsiteX323" fmla="*/ 1429 w 10000"/>
              <a:gd name="connsiteY323" fmla="*/ 6142 h 10000"/>
              <a:gd name="connsiteX324" fmla="*/ 1267 w 10000"/>
              <a:gd name="connsiteY324" fmla="*/ 6333 h 10000"/>
              <a:gd name="connsiteX325" fmla="*/ 1324 w 10000"/>
              <a:gd name="connsiteY325" fmla="*/ 6392 h 10000"/>
              <a:gd name="connsiteX326" fmla="*/ 1272 w 10000"/>
              <a:gd name="connsiteY326" fmla="*/ 6492 h 10000"/>
              <a:gd name="connsiteX327" fmla="*/ 1167 w 10000"/>
              <a:gd name="connsiteY327" fmla="*/ 6561 h 10000"/>
              <a:gd name="connsiteX328" fmla="*/ 758 w 10000"/>
              <a:gd name="connsiteY328" fmla="*/ 6614 h 10000"/>
              <a:gd name="connsiteX329" fmla="*/ 732 w 10000"/>
              <a:gd name="connsiteY329" fmla="*/ 6706 h 10000"/>
              <a:gd name="connsiteX330" fmla="*/ 510 w 10000"/>
              <a:gd name="connsiteY330" fmla="*/ 6843 h 10000"/>
              <a:gd name="connsiteX331" fmla="*/ 540 w 10000"/>
              <a:gd name="connsiteY331" fmla="*/ 7040 h 10000"/>
              <a:gd name="connsiteX332" fmla="*/ 353 w 10000"/>
              <a:gd name="connsiteY332" fmla="*/ 7293 h 10000"/>
              <a:gd name="connsiteX333" fmla="*/ 226 w 10000"/>
              <a:gd name="connsiteY333" fmla="*/ 7323 h 10000"/>
              <a:gd name="connsiteX334" fmla="*/ 174 w 10000"/>
              <a:gd name="connsiteY334" fmla="*/ 7262 h 10000"/>
              <a:gd name="connsiteX335" fmla="*/ 109 w 10000"/>
              <a:gd name="connsiteY335" fmla="*/ 7354 h 10000"/>
              <a:gd name="connsiteX336" fmla="*/ 152 w 10000"/>
              <a:gd name="connsiteY336" fmla="*/ 7197 h 10000"/>
              <a:gd name="connsiteX337" fmla="*/ 126 w 10000"/>
              <a:gd name="connsiteY33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380 w 10000"/>
              <a:gd name="connsiteY207" fmla="*/ 2860 h 10000"/>
              <a:gd name="connsiteX208" fmla="*/ 8253 w 10000"/>
              <a:gd name="connsiteY208" fmla="*/ 2762 h 10000"/>
              <a:gd name="connsiteX209" fmla="*/ 8267 w 10000"/>
              <a:gd name="connsiteY209" fmla="*/ 2748 h 10000"/>
              <a:gd name="connsiteX210" fmla="*/ 8397 w 10000"/>
              <a:gd name="connsiteY210" fmla="*/ 2705 h 10000"/>
              <a:gd name="connsiteX211" fmla="*/ 8402 w 10000"/>
              <a:gd name="connsiteY211" fmla="*/ 2662 h 10000"/>
              <a:gd name="connsiteX212" fmla="*/ 8449 w 10000"/>
              <a:gd name="connsiteY212" fmla="*/ 2656 h 10000"/>
              <a:gd name="connsiteX213" fmla="*/ 8558 w 10000"/>
              <a:gd name="connsiteY213" fmla="*/ 2677 h 10000"/>
              <a:gd name="connsiteX214" fmla="*/ 8593 w 10000"/>
              <a:gd name="connsiteY214" fmla="*/ 2669 h 10000"/>
              <a:gd name="connsiteX215" fmla="*/ 8606 w 10000"/>
              <a:gd name="connsiteY215" fmla="*/ 2630 h 10000"/>
              <a:gd name="connsiteX216" fmla="*/ 8567 w 10000"/>
              <a:gd name="connsiteY216" fmla="*/ 2605 h 10000"/>
              <a:gd name="connsiteX217" fmla="*/ 8685 w 10000"/>
              <a:gd name="connsiteY217" fmla="*/ 2597 h 10000"/>
              <a:gd name="connsiteX218" fmla="*/ 8698 w 10000"/>
              <a:gd name="connsiteY218" fmla="*/ 2565 h 10000"/>
              <a:gd name="connsiteX219" fmla="*/ 8558 w 10000"/>
              <a:gd name="connsiteY219" fmla="*/ 2481 h 10000"/>
              <a:gd name="connsiteX220" fmla="*/ 8558 w 10000"/>
              <a:gd name="connsiteY220" fmla="*/ 2459 h 10000"/>
              <a:gd name="connsiteX221" fmla="*/ 8698 w 10000"/>
              <a:gd name="connsiteY221" fmla="*/ 2504 h 10000"/>
              <a:gd name="connsiteX222" fmla="*/ 8763 w 10000"/>
              <a:gd name="connsiteY222" fmla="*/ 2548 h 10000"/>
              <a:gd name="connsiteX223" fmla="*/ 8815 w 10000"/>
              <a:gd name="connsiteY223" fmla="*/ 2548 h 10000"/>
              <a:gd name="connsiteX224" fmla="*/ 8789 w 10000"/>
              <a:gd name="connsiteY224" fmla="*/ 2457 h 10000"/>
              <a:gd name="connsiteX225" fmla="*/ 8798 w 10000"/>
              <a:gd name="connsiteY225" fmla="*/ 2467 h 10000"/>
              <a:gd name="connsiteX226" fmla="*/ 8841 w 10000"/>
              <a:gd name="connsiteY226" fmla="*/ 2457 h 10000"/>
              <a:gd name="connsiteX227" fmla="*/ 8855 w 10000"/>
              <a:gd name="connsiteY227" fmla="*/ 2341 h 10000"/>
              <a:gd name="connsiteX228" fmla="*/ 8898 w 10000"/>
              <a:gd name="connsiteY228" fmla="*/ 2332 h 10000"/>
              <a:gd name="connsiteX229" fmla="*/ 8946 w 10000"/>
              <a:gd name="connsiteY229" fmla="*/ 2330 h 10000"/>
              <a:gd name="connsiteX230" fmla="*/ 8946 w 10000"/>
              <a:gd name="connsiteY230" fmla="*/ 2361 h 10000"/>
              <a:gd name="connsiteX231" fmla="*/ 8994 w 10000"/>
              <a:gd name="connsiteY231" fmla="*/ 2389 h 10000"/>
              <a:gd name="connsiteX232" fmla="*/ 9051 w 10000"/>
              <a:gd name="connsiteY232" fmla="*/ 2400 h 10000"/>
              <a:gd name="connsiteX233" fmla="*/ 9094 w 10000"/>
              <a:gd name="connsiteY233" fmla="*/ 2324 h 10000"/>
              <a:gd name="connsiteX234" fmla="*/ 9164 w 10000"/>
              <a:gd name="connsiteY234" fmla="*/ 2347 h 10000"/>
              <a:gd name="connsiteX235" fmla="*/ 9247 w 10000"/>
              <a:gd name="connsiteY235" fmla="*/ 2402 h 10000"/>
              <a:gd name="connsiteX236" fmla="*/ 9286 w 10000"/>
              <a:gd name="connsiteY236" fmla="*/ 2400 h 10000"/>
              <a:gd name="connsiteX237" fmla="*/ 9355 w 10000"/>
              <a:gd name="connsiteY237" fmla="*/ 2428 h 10000"/>
              <a:gd name="connsiteX238" fmla="*/ 9408 w 10000"/>
              <a:gd name="connsiteY238" fmla="*/ 2359 h 10000"/>
              <a:gd name="connsiteX239" fmla="*/ 9717 w 10000"/>
              <a:gd name="connsiteY239" fmla="*/ 2343 h 10000"/>
              <a:gd name="connsiteX240" fmla="*/ 9830 w 10000"/>
              <a:gd name="connsiteY240" fmla="*/ 2369 h 10000"/>
              <a:gd name="connsiteX241" fmla="*/ 9909 w 10000"/>
              <a:gd name="connsiteY241" fmla="*/ 2410 h 10000"/>
              <a:gd name="connsiteX242" fmla="*/ 9948 w 10000"/>
              <a:gd name="connsiteY242" fmla="*/ 2365 h 10000"/>
              <a:gd name="connsiteX243" fmla="*/ 10000 w 10000"/>
              <a:gd name="connsiteY243" fmla="*/ 2349 h 10000"/>
              <a:gd name="connsiteX244" fmla="*/ 9704 w 10000"/>
              <a:gd name="connsiteY244" fmla="*/ 1992 h 10000"/>
              <a:gd name="connsiteX245" fmla="*/ 9743 w 10000"/>
              <a:gd name="connsiteY245" fmla="*/ 1897 h 10000"/>
              <a:gd name="connsiteX246" fmla="*/ 9830 w 10000"/>
              <a:gd name="connsiteY246" fmla="*/ 1819 h 10000"/>
              <a:gd name="connsiteX247" fmla="*/ 9830 w 10000"/>
              <a:gd name="connsiteY247" fmla="*/ 1699 h 10000"/>
              <a:gd name="connsiteX248" fmla="*/ 9556 w 10000"/>
              <a:gd name="connsiteY248" fmla="*/ 1465 h 10000"/>
              <a:gd name="connsiteX249" fmla="*/ 9512 w 10000"/>
              <a:gd name="connsiteY249" fmla="*/ 1379 h 10000"/>
              <a:gd name="connsiteX250" fmla="*/ 9573 w 10000"/>
              <a:gd name="connsiteY250" fmla="*/ 1271 h 10000"/>
              <a:gd name="connsiteX251" fmla="*/ 9543 w 10000"/>
              <a:gd name="connsiteY251" fmla="*/ 1194 h 10000"/>
              <a:gd name="connsiteX252" fmla="*/ 9486 w 10000"/>
              <a:gd name="connsiteY252" fmla="*/ 1159 h 10000"/>
              <a:gd name="connsiteX253" fmla="*/ 9438 w 10000"/>
              <a:gd name="connsiteY253" fmla="*/ 978 h 10000"/>
              <a:gd name="connsiteX254" fmla="*/ 9495 w 10000"/>
              <a:gd name="connsiteY254" fmla="*/ 831 h 10000"/>
              <a:gd name="connsiteX255" fmla="*/ 9077 w 10000"/>
              <a:gd name="connsiteY255" fmla="*/ 517 h 10000"/>
              <a:gd name="connsiteX256" fmla="*/ 8872 w 10000"/>
              <a:gd name="connsiteY256" fmla="*/ 440 h 10000"/>
              <a:gd name="connsiteX257" fmla="*/ 8493 w 10000"/>
              <a:gd name="connsiteY257" fmla="*/ 389 h 10000"/>
              <a:gd name="connsiteX258" fmla="*/ 7709 w 10000"/>
              <a:gd name="connsiteY258" fmla="*/ 26 h 10000"/>
              <a:gd name="connsiteX259" fmla="*/ 7683 w 10000"/>
              <a:gd name="connsiteY259" fmla="*/ 2 h 10000"/>
              <a:gd name="connsiteX260" fmla="*/ 7417 w 10000"/>
              <a:gd name="connsiteY260" fmla="*/ 0 h 10000"/>
              <a:gd name="connsiteX261" fmla="*/ 7356 w 10000"/>
              <a:gd name="connsiteY261" fmla="*/ 14 h 10000"/>
              <a:gd name="connsiteX262" fmla="*/ 7369 w 10000"/>
              <a:gd name="connsiteY262" fmla="*/ 61 h 10000"/>
              <a:gd name="connsiteX263" fmla="*/ 7422 w 10000"/>
              <a:gd name="connsiteY263" fmla="*/ 86 h 10000"/>
              <a:gd name="connsiteX264" fmla="*/ 7435 w 10000"/>
              <a:gd name="connsiteY264" fmla="*/ 139 h 10000"/>
              <a:gd name="connsiteX265" fmla="*/ 7417 w 10000"/>
              <a:gd name="connsiteY265" fmla="*/ 181 h 10000"/>
              <a:gd name="connsiteX266" fmla="*/ 7369 w 10000"/>
              <a:gd name="connsiteY266" fmla="*/ 208 h 10000"/>
              <a:gd name="connsiteX267" fmla="*/ 7334 w 10000"/>
              <a:gd name="connsiteY267" fmla="*/ 283 h 10000"/>
              <a:gd name="connsiteX268" fmla="*/ 7269 w 10000"/>
              <a:gd name="connsiteY268" fmla="*/ 336 h 10000"/>
              <a:gd name="connsiteX269" fmla="*/ 7282 w 10000"/>
              <a:gd name="connsiteY269" fmla="*/ 387 h 10000"/>
              <a:gd name="connsiteX270" fmla="*/ 7382 w 10000"/>
              <a:gd name="connsiteY270" fmla="*/ 434 h 10000"/>
              <a:gd name="connsiteX271" fmla="*/ 7317 w 10000"/>
              <a:gd name="connsiteY271" fmla="*/ 475 h 10000"/>
              <a:gd name="connsiteX272" fmla="*/ 7221 w 10000"/>
              <a:gd name="connsiteY272" fmla="*/ 485 h 10000"/>
              <a:gd name="connsiteX273" fmla="*/ 6420 w 10000"/>
              <a:gd name="connsiteY273" fmla="*/ 387 h 10000"/>
              <a:gd name="connsiteX274" fmla="*/ 6324 w 10000"/>
              <a:gd name="connsiteY274" fmla="*/ 395 h 10000"/>
              <a:gd name="connsiteX275" fmla="*/ 6267 w 10000"/>
              <a:gd name="connsiteY275" fmla="*/ 414 h 10000"/>
              <a:gd name="connsiteX276" fmla="*/ 6211 w 10000"/>
              <a:gd name="connsiteY276" fmla="*/ 462 h 10000"/>
              <a:gd name="connsiteX277" fmla="*/ 6220 w 10000"/>
              <a:gd name="connsiteY277" fmla="*/ 581 h 10000"/>
              <a:gd name="connsiteX278" fmla="*/ 6132 w 10000"/>
              <a:gd name="connsiteY278" fmla="*/ 735 h 10000"/>
              <a:gd name="connsiteX279" fmla="*/ 6024 w 10000"/>
              <a:gd name="connsiteY279" fmla="*/ 815 h 10000"/>
              <a:gd name="connsiteX280" fmla="*/ 5980 w 10000"/>
              <a:gd name="connsiteY280" fmla="*/ 805 h 10000"/>
              <a:gd name="connsiteX281" fmla="*/ 5880 w 10000"/>
              <a:gd name="connsiteY281" fmla="*/ 739 h 10000"/>
              <a:gd name="connsiteX282" fmla="*/ 5753 w 10000"/>
              <a:gd name="connsiteY282" fmla="*/ 705 h 10000"/>
              <a:gd name="connsiteX283" fmla="*/ 5618 w 10000"/>
              <a:gd name="connsiteY283" fmla="*/ 715 h 10000"/>
              <a:gd name="connsiteX284" fmla="*/ 5301 w 10000"/>
              <a:gd name="connsiteY284" fmla="*/ 866 h 10000"/>
              <a:gd name="connsiteX285" fmla="*/ 5218 w 10000"/>
              <a:gd name="connsiteY285" fmla="*/ 1017 h 10000"/>
              <a:gd name="connsiteX286" fmla="*/ 4978 w 10000"/>
              <a:gd name="connsiteY286" fmla="*/ 1153 h 10000"/>
              <a:gd name="connsiteX287" fmla="*/ 4935 w 10000"/>
              <a:gd name="connsiteY287" fmla="*/ 1222 h 10000"/>
              <a:gd name="connsiteX288" fmla="*/ 5061 w 10000"/>
              <a:gd name="connsiteY288" fmla="*/ 1344 h 10000"/>
              <a:gd name="connsiteX289" fmla="*/ 5074 w 10000"/>
              <a:gd name="connsiteY289" fmla="*/ 1412 h 10000"/>
              <a:gd name="connsiteX290" fmla="*/ 4421 w 10000"/>
              <a:gd name="connsiteY290" fmla="*/ 1813 h 10000"/>
              <a:gd name="connsiteX291" fmla="*/ 4220 w 10000"/>
              <a:gd name="connsiteY291" fmla="*/ 2070 h 10000"/>
              <a:gd name="connsiteX292" fmla="*/ 4003 w 10000"/>
              <a:gd name="connsiteY292" fmla="*/ 2135 h 10000"/>
              <a:gd name="connsiteX293" fmla="*/ 3868 w 10000"/>
              <a:gd name="connsiteY293" fmla="*/ 2131 h 10000"/>
              <a:gd name="connsiteX294" fmla="*/ 3785 w 10000"/>
              <a:gd name="connsiteY294" fmla="*/ 2153 h 10000"/>
              <a:gd name="connsiteX295" fmla="*/ 3558 w 10000"/>
              <a:gd name="connsiteY295" fmla="*/ 2793 h 10000"/>
              <a:gd name="connsiteX296" fmla="*/ 3036 w 10000"/>
              <a:gd name="connsiteY296" fmla="*/ 3166 h 10000"/>
              <a:gd name="connsiteX297" fmla="*/ 3040 w 10000"/>
              <a:gd name="connsiteY297" fmla="*/ 3225 h 10000"/>
              <a:gd name="connsiteX298" fmla="*/ 3271 w 10000"/>
              <a:gd name="connsiteY298" fmla="*/ 3392 h 10000"/>
              <a:gd name="connsiteX299" fmla="*/ 3197 w 10000"/>
              <a:gd name="connsiteY299" fmla="*/ 3573 h 10000"/>
              <a:gd name="connsiteX300" fmla="*/ 3062 w 10000"/>
              <a:gd name="connsiteY300" fmla="*/ 3640 h 10000"/>
              <a:gd name="connsiteX301" fmla="*/ 2657 w 10000"/>
              <a:gd name="connsiteY301" fmla="*/ 3595 h 10000"/>
              <a:gd name="connsiteX302" fmla="*/ 2378 w 10000"/>
              <a:gd name="connsiteY302" fmla="*/ 3620 h 10000"/>
              <a:gd name="connsiteX303" fmla="*/ 2152 w 10000"/>
              <a:gd name="connsiteY303" fmla="*/ 3673 h 10000"/>
              <a:gd name="connsiteX304" fmla="*/ 1790 w 10000"/>
              <a:gd name="connsiteY304" fmla="*/ 3840 h 10000"/>
              <a:gd name="connsiteX305" fmla="*/ 1598 w 10000"/>
              <a:gd name="connsiteY305" fmla="*/ 4042 h 10000"/>
              <a:gd name="connsiteX306" fmla="*/ 1616 w 10000"/>
              <a:gd name="connsiteY306" fmla="*/ 4154 h 10000"/>
              <a:gd name="connsiteX307" fmla="*/ 1681 w 10000"/>
              <a:gd name="connsiteY307" fmla="*/ 4241 h 10000"/>
              <a:gd name="connsiteX308" fmla="*/ 1733 w 10000"/>
              <a:gd name="connsiteY308" fmla="*/ 4276 h 10000"/>
              <a:gd name="connsiteX309" fmla="*/ 1638 w 10000"/>
              <a:gd name="connsiteY309" fmla="*/ 4331 h 10000"/>
              <a:gd name="connsiteX310" fmla="*/ 1433 w 10000"/>
              <a:gd name="connsiteY310" fmla="*/ 4710 h 10000"/>
              <a:gd name="connsiteX311" fmla="*/ 1472 w 10000"/>
              <a:gd name="connsiteY311" fmla="*/ 4732 h 10000"/>
              <a:gd name="connsiteX312" fmla="*/ 1503 w 10000"/>
              <a:gd name="connsiteY312" fmla="*/ 4828 h 10000"/>
              <a:gd name="connsiteX313" fmla="*/ 1407 w 10000"/>
              <a:gd name="connsiteY313" fmla="*/ 5227 h 10000"/>
              <a:gd name="connsiteX314" fmla="*/ 1503 w 10000"/>
              <a:gd name="connsiteY314" fmla="*/ 5329 h 10000"/>
              <a:gd name="connsiteX315" fmla="*/ 1764 w 10000"/>
              <a:gd name="connsiteY315" fmla="*/ 5441 h 10000"/>
              <a:gd name="connsiteX316" fmla="*/ 1777 w 10000"/>
              <a:gd name="connsiteY316" fmla="*/ 5578 h 10000"/>
              <a:gd name="connsiteX317" fmla="*/ 1664 w 10000"/>
              <a:gd name="connsiteY317" fmla="*/ 5690 h 10000"/>
              <a:gd name="connsiteX318" fmla="*/ 1503 w 10000"/>
              <a:gd name="connsiteY318" fmla="*/ 5759 h 10000"/>
              <a:gd name="connsiteX319" fmla="*/ 1289 w 10000"/>
              <a:gd name="connsiteY319" fmla="*/ 5787 h 10000"/>
              <a:gd name="connsiteX320" fmla="*/ 1233 w 10000"/>
              <a:gd name="connsiteY320" fmla="*/ 5826 h 10000"/>
              <a:gd name="connsiteX321" fmla="*/ 1359 w 10000"/>
              <a:gd name="connsiteY321" fmla="*/ 5920 h 10000"/>
              <a:gd name="connsiteX322" fmla="*/ 1429 w 10000"/>
              <a:gd name="connsiteY322" fmla="*/ 6142 h 10000"/>
              <a:gd name="connsiteX323" fmla="*/ 1267 w 10000"/>
              <a:gd name="connsiteY323" fmla="*/ 6333 h 10000"/>
              <a:gd name="connsiteX324" fmla="*/ 1324 w 10000"/>
              <a:gd name="connsiteY324" fmla="*/ 6392 h 10000"/>
              <a:gd name="connsiteX325" fmla="*/ 1272 w 10000"/>
              <a:gd name="connsiteY325" fmla="*/ 6492 h 10000"/>
              <a:gd name="connsiteX326" fmla="*/ 1167 w 10000"/>
              <a:gd name="connsiteY326" fmla="*/ 6561 h 10000"/>
              <a:gd name="connsiteX327" fmla="*/ 758 w 10000"/>
              <a:gd name="connsiteY327" fmla="*/ 6614 h 10000"/>
              <a:gd name="connsiteX328" fmla="*/ 732 w 10000"/>
              <a:gd name="connsiteY328" fmla="*/ 6706 h 10000"/>
              <a:gd name="connsiteX329" fmla="*/ 510 w 10000"/>
              <a:gd name="connsiteY329" fmla="*/ 6843 h 10000"/>
              <a:gd name="connsiteX330" fmla="*/ 540 w 10000"/>
              <a:gd name="connsiteY330" fmla="*/ 7040 h 10000"/>
              <a:gd name="connsiteX331" fmla="*/ 353 w 10000"/>
              <a:gd name="connsiteY331" fmla="*/ 7293 h 10000"/>
              <a:gd name="connsiteX332" fmla="*/ 226 w 10000"/>
              <a:gd name="connsiteY332" fmla="*/ 7323 h 10000"/>
              <a:gd name="connsiteX333" fmla="*/ 174 w 10000"/>
              <a:gd name="connsiteY333" fmla="*/ 7262 h 10000"/>
              <a:gd name="connsiteX334" fmla="*/ 109 w 10000"/>
              <a:gd name="connsiteY334" fmla="*/ 7354 h 10000"/>
              <a:gd name="connsiteX335" fmla="*/ 152 w 10000"/>
              <a:gd name="connsiteY335" fmla="*/ 7197 h 10000"/>
              <a:gd name="connsiteX336" fmla="*/ 126 w 10000"/>
              <a:gd name="connsiteY33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267 w 10000"/>
              <a:gd name="connsiteY208" fmla="*/ 2748 h 10000"/>
              <a:gd name="connsiteX209" fmla="*/ 8397 w 10000"/>
              <a:gd name="connsiteY209" fmla="*/ 2705 h 10000"/>
              <a:gd name="connsiteX210" fmla="*/ 8402 w 10000"/>
              <a:gd name="connsiteY210" fmla="*/ 2662 h 10000"/>
              <a:gd name="connsiteX211" fmla="*/ 8449 w 10000"/>
              <a:gd name="connsiteY211" fmla="*/ 2656 h 10000"/>
              <a:gd name="connsiteX212" fmla="*/ 8558 w 10000"/>
              <a:gd name="connsiteY212" fmla="*/ 2677 h 10000"/>
              <a:gd name="connsiteX213" fmla="*/ 8593 w 10000"/>
              <a:gd name="connsiteY213" fmla="*/ 2669 h 10000"/>
              <a:gd name="connsiteX214" fmla="*/ 8606 w 10000"/>
              <a:gd name="connsiteY214" fmla="*/ 2630 h 10000"/>
              <a:gd name="connsiteX215" fmla="*/ 8567 w 10000"/>
              <a:gd name="connsiteY215" fmla="*/ 2605 h 10000"/>
              <a:gd name="connsiteX216" fmla="*/ 8685 w 10000"/>
              <a:gd name="connsiteY216" fmla="*/ 2597 h 10000"/>
              <a:gd name="connsiteX217" fmla="*/ 8698 w 10000"/>
              <a:gd name="connsiteY217" fmla="*/ 2565 h 10000"/>
              <a:gd name="connsiteX218" fmla="*/ 8558 w 10000"/>
              <a:gd name="connsiteY218" fmla="*/ 2481 h 10000"/>
              <a:gd name="connsiteX219" fmla="*/ 8558 w 10000"/>
              <a:gd name="connsiteY219" fmla="*/ 2459 h 10000"/>
              <a:gd name="connsiteX220" fmla="*/ 8698 w 10000"/>
              <a:gd name="connsiteY220" fmla="*/ 2504 h 10000"/>
              <a:gd name="connsiteX221" fmla="*/ 8763 w 10000"/>
              <a:gd name="connsiteY221" fmla="*/ 2548 h 10000"/>
              <a:gd name="connsiteX222" fmla="*/ 8815 w 10000"/>
              <a:gd name="connsiteY222" fmla="*/ 2548 h 10000"/>
              <a:gd name="connsiteX223" fmla="*/ 8789 w 10000"/>
              <a:gd name="connsiteY223" fmla="*/ 2457 h 10000"/>
              <a:gd name="connsiteX224" fmla="*/ 8798 w 10000"/>
              <a:gd name="connsiteY224" fmla="*/ 2467 h 10000"/>
              <a:gd name="connsiteX225" fmla="*/ 8841 w 10000"/>
              <a:gd name="connsiteY225" fmla="*/ 2457 h 10000"/>
              <a:gd name="connsiteX226" fmla="*/ 8855 w 10000"/>
              <a:gd name="connsiteY226" fmla="*/ 2341 h 10000"/>
              <a:gd name="connsiteX227" fmla="*/ 8898 w 10000"/>
              <a:gd name="connsiteY227" fmla="*/ 2332 h 10000"/>
              <a:gd name="connsiteX228" fmla="*/ 8946 w 10000"/>
              <a:gd name="connsiteY228" fmla="*/ 2330 h 10000"/>
              <a:gd name="connsiteX229" fmla="*/ 8946 w 10000"/>
              <a:gd name="connsiteY229" fmla="*/ 2361 h 10000"/>
              <a:gd name="connsiteX230" fmla="*/ 8994 w 10000"/>
              <a:gd name="connsiteY230" fmla="*/ 2389 h 10000"/>
              <a:gd name="connsiteX231" fmla="*/ 9051 w 10000"/>
              <a:gd name="connsiteY231" fmla="*/ 2400 h 10000"/>
              <a:gd name="connsiteX232" fmla="*/ 9094 w 10000"/>
              <a:gd name="connsiteY232" fmla="*/ 2324 h 10000"/>
              <a:gd name="connsiteX233" fmla="*/ 9164 w 10000"/>
              <a:gd name="connsiteY233" fmla="*/ 2347 h 10000"/>
              <a:gd name="connsiteX234" fmla="*/ 9247 w 10000"/>
              <a:gd name="connsiteY234" fmla="*/ 2402 h 10000"/>
              <a:gd name="connsiteX235" fmla="*/ 9286 w 10000"/>
              <a:gd name="connsiteY235" fmla="*/ 2400 h 10000"/>
              <a:gd name="connsiteX236" fmla="*/ 9355 w 10000"/>
              <a:gd name="connsiteY236" fmla="*/ 2428 h 10000"/>
              <a:gd name="connsiteX237" fmla="*/ 9408 w 10000"/>
              <a:gd name="connsiteY237" fmla="*/ 2359 h 10000"/>
              <a:gd name="connsiteX238" fmla="*/ 9717 w 10000"/>
              <a:gd name="connsiteY238" fmla="*/ 2343 h 10000"/>
              <a:gd name="connsiteX239" fmla="*/ 9830 w 10000"/>
              <a:gd name="connsiteY239" fmla="*/ 2369 h 10000"/>
              <a:gd name="connsiteX240" fmla="*/ 9909 w 10000"/>
              <a:gd name="connsiteY240" fmla="*/ 2410 h 10000"/>
              <a:gd name="connsiteX241" fmla="*/ 9948 w 10000"/>
              <a:gd name="connsiteY241" fmla="*/ 2365 h 10000"/>
              <a:gd name="connsiteX242" fmla="*/ 10000 w 10000"/>
              <a:gd name="connsiteY242" fmla="*/ 2349 h 10000"/>
              <a:gd name="connsiteX243" fmla="*/ 9704 w 10000"/>
              <a:gd name="connsiteY243" fmla="*/ 1992 h 10000"/>
              <a:gd name="connsiteX244" fmla="*/ 9743 w 10000"/>
              <a:gd name="connsiteY244" fmla="*/ 1897 h 10000"/>
              <a:gd name="connsiteX245" fmla="*/ 9830 w 10000"/>
              <a:gd name="connsiteY245" fmla="*/ 1819 h 10000"/>
              <a:gd name="connsiteX246" fmla="*/ 9830 w 10000"/>
              <a:gd name="connsiteY246" fmla="*/ 1699 h 10000"/>
              <a:gd name="connsiteX247" fmla="*/ 9556 w 10000"/>
              <a:gd name="connsiteY247" fmla="*/ 1465 h 10000"/>
              <a:gd name="connsiteX248" fmla="*/ 9512 w 10000"/>
              <a:gd name="connsiteY248" fmla="*/ 1379 h 10000"/>
              <a:gd name="connsiteX249" fmla="*/ 9573 w 10000"/>
              <a:gd name="connsiteY249" fmla="*/ 1271 h 10000"/>
              <a:gd name="connsiteX250" fmla="*/ 9543 w 10000"/>
              <a:gd name="connsiteY250" fmla="*/ 1194 h 10000"/>
              <a:gd name="connsiteX251" fmla="*/ 9486 w 10000"/>
              <a:gd name="connsiteY251" fmla="*/ 1159 h 10000"/>
              <a:gd name="connsiteX252" fmla="*/ 9438 w 10000"/>
              <a:gd name="connsiteY252" fmla="*/ 978 h 10000"/>
              <a:gd name="connsiteX253" fmla="*/ 9495 w 10000"/>
              <a:gd name="connsiteY253" fmla="*/ 831 h 10000"/>
              <a:gd name="connsiteX254" fmla="*/ 9077 w 10000"/>
              <a:gd name="connsiteY254" fmla="*/ 517 h 10000"/>
              <a:gd name="connsiteX255" fmla="*/ 8872 w 10000"/>
              <a:gd name="connsiteY255" fmla="*/ 440 h 10000"/>
              <a:gd name="connsiteX256" fmla="*/ 8493 w 10000"/>
              <a:gd name="connsiteY256" fmla="*/ 389 h 10000"/>
              <a:gd name="connsiteX257" fmla="*/ 7709 w 10000"/>
              <a:gd name="connsiteY257" fmla="*/ 26 h 10000"/>
              <a:gd name="connsiteX258" fmla="*/ 7683 w 10000"/>
              <a:gd name="connsiteY258" fmla="*/ 2 h 10000"/>
              <a:gd name="connsiteX259" fmla="*/ 7417 w 10000"/>
              <a:gd name="connsiteY259" fmla="*/ 0 h 10000"/>
              <a:gd name="connsiteX260" fmla="*/ 7356 w 10000"/>
              <a:gd name="connsiteY260" fmla="*/ 14 h 10000"/>
              <a:gd name="connsiteX261" fmla="*/ 7369 w 10000"/>
              <a:gd name="connsiteY261" fmla="*/ 61 h 10000"/>
              <a:gd name="connsiteX262" fmla="*/ 7422 w 10000"/>
              <a:gd name="connsiteY262" fmla="*/ 86 h 10000"/>
              <a:gd name="connsiteX263" fmla="*/ 7435 w 10000"/>
              <a:gd name="connsiteY263" fmla="*/ 139 h 10000"/>
              <a:gd name="connsiteX264" fmla="*/ 7417 w 10000"/>
              <a:gd name="connsiteY264" fmla="*/ 181 h 10000"/>
              <a:gd name="connsiteX265" fmla="*/ 7369 w 10000"/>
              <a:gd name="connsiteY265" fmla="*/ 208 h 10000"/>
              <a:gd name="connsiteX266" fmla="*/ 7334 w 10000"/>
              <a:gd name="connsiteY266" fmla="*/ 283 h 10000"/>
              <a:gd name="connsiteX267" fmla="*/ 7269 w 10000"/>
              <a:gd name="connsiteY267" fmla="*/ 336 h 10000"/>
              <a:gd name="connsiteX268" fmla="*/ 7282 w 10000"/>
              <a:gd name="connsiteY268" fmla="*/ 387 h 10000"/>
              <a:gd name="connsiteX269" fmla="*/ 7382 w 10000"/>
              <a:gd name="connsiteY269" fmla="*/ 434 h 10000"/>
              <a:gd name="connsiteX270" fmla="*/ 7317 w 10000"/>
              <a:gd name="connsiteY270" fmla="*/ 475 h 10000"/>
              <a:gd name="connsiteX271" fmla="*/ 7221 w 10000"/>
              <a:gd name="connsiteY271" fmla="*/ 485 h 10000"/>
              <a:gd name="connsiteX272" fmla="*/ 6420 w 10000"/>
              <a:gd name="connsiteY272" fmla="*/ 387 h 10000"/>
              <a:gd name="connsiteX273" fmla="*/ 6324 w 10000"/>
              <a:gd name="connsiteY273" fmla="*/ 395 h 10000"/>
              <a:gd name="connsiteX274" fmla="*/ 6267 w 10000"/>
              <a:gd name="connsiteY274" fmla="*/ 414 h 10000"/>
              <a:gd name="connsiteX275" fmla="*/ 6211 w 10000"/>
              <a:gd name="connsiteY275" fmla="*/ 462 h 10000"/>
              <a:gd name="connsiteX276" fmla="*/ 6220 w 10000"/>
              <a:gd name="connsiteY276" fmla="*/ 581 h 10000"/>
              <a:gd name="connsiteX277" fmla="*/ 6132 w 10000"/>
              <a:gd name="connsiteY277" fmla="*/ 735 h 10000"/>
              <a:gd name="connsiteX278" fmla="*/ 6024 w 10000"/>
              <a:gd name="connsiteY278" fmla="*/ 815 h 10000"/>
              <a:gd name="connsiteX279" fmla="*/ 5980 w 10000"/>
              <a:gd name="connsiteY279" fmla="*/ 805 h 10000"/>
              <a:gd name="connsiteX280" fmla="*/ 5880 w 10000"/>
              <a:gd name="connsiteY280" fmla="*/ 739 h 10000"/>
              <a:gd name="connsiteX281" fmla="*/ 5753 w 10000"/>
              <a:gd name="connsiteY281" fmla="*/ 705 h 10000"/>
              <a:gd name="connsiteX282" fmla="*/ 5618 w 10000"/>
              <a:gd name="connsiteY282" fmla="*/ 715 h 10000"/>
              <a:gd name="connsiteX283" fmla="*/ 5301 w 10000"/>
              <a:gd name="connsiteY283" fmla="*/ 866 h 10000"/>
              <a:gd name="connsiteX284" fmla="*/ 5218 w 10000"/>
              <a:gd name="connsiteY284" fmla="*/ 1017 h 10000"/>
              <a:gd name="connsiteX285" fmla="*/ 4978 w 10000"/>
              <a:gd name="connsiteY285" fmla="*/ 1153 h 10000"/>
              <a:gd name="connsiteX286" fmla="*/ 4935 w 10000"/>
              <a:gd name="connsiteY286" fmla="*/ 1222 h 10000"/>
              <a:gd name="connsiteX287" fmla="*/ 5061 w 10000"/>
              <a:gd name="connsiteY287" fmla="*/ 1344 h 10000"/>
              <a:gd name="connsiteX288" fmla="*/ 5074 w 10000"/>
              <a:gd name="connsiteY288" fmla="*/ 1412 h 10000"/>
              <a:gd name="connsiteX289" fmla="*/ 4421 w 10000"/>
              <a:gd name="connsiteY289" fmla="*/ 1813 h 10000"/>
              <a:gd name="connsiteX290" fmla="*/ 4220 w 10000"/>
              <a:gd name="connsiteY290" fmla="*/ 2070 h 10000"/>
              <a:gd name="connsiteX291" fmla="*/ 4003 w 10000"/>
              <a:gd name="connsiteY291" fmla="*/ 2135 h 10000"/>
              <a:gd name="connsiteX292" fmla="*/ 3868 w 10000"/>
              <a:gd name="connsiteY292" fmla="*/ 2131 h 10000"/>
              <a:gd name="connsiteX293" fmla="*/ 3785 w 10000"/>
              <a:gd name="connsiteY293" fmla="*/ 2153 h 10000"/>
              <a:gd name="connsiteX294" fmla="*/ 3558 w 10000"/>
              <a:gd name="connsiteY294" fmla="*/ 2793 h 10000"/>
              <a:gd name="connsiteX295" fmla="*/ 3036 w 10000"/>
              <a:gd name="connsiteY295" fmla="*/ 3166 h 10000"/>
              <a:gd name="connsiteX296" fmla="*/ 3040 w 10000"/>
              <a:gd name="connsiteY296" fmla="*/ 3225 h 10000"/>
              <a:gd name="connsiteX297" fmla="*/ 3271 w 10000"/>
              <a:gd name="connsiteY297" fmla="*/ 3392 h 10000"/>
              <a:gd name="connsiteX298" fmla="*/ 3197 w 10000"/>
              <a:gd name="connsiteY298" fmla="*/ 3573 h 10000"/>
              <a:gd name="connsiteX299" fmla="*/ 3062 w 10000"/>
              <a:gd name="connsiteY299" fmla="*/ 3640 h 10000"/>
              <a:gd name="connsiteX300" fmla="*/ 2657 w 10000"/>
              <a:gd name="connsiteY300" fmla="*/ 3595 h 10000"/>
              <a:gd name="connsiteX301" fmla="*/ 2378 w 10000"/>
              <a:gd name="connsiteY301" fmla="*/ 3620 h 10000"/>
              <a:gd name="connsiteX302" fmla="*/ 2152 w 10000"/>
              <a:gd name="connsiteY302" fmla="*/ 3673 h 10000"/>
              <a:gd name="connsiteX303" fmla="*/ 1790 w 10000"/>
              <a:gd name="connsiteY303" fmla="*/ 3840 h 10000"/>
              <a:gd name="connsiteX304" fmla="*/ 1598 w 10000"/>
              <a:gd name="connsiteY304" fmla="*/ 4042 h 10000"/>
              <a:gd name="connsiteX305" fmla="*/ 1616 w 10000"/>
              <a:gd name="connsiteY305" fmla="*/ 4154 h 10000"/>
              <a:gd name="connsiteX306" fmla="*/ 1681 w 10000"/>
              <a:gd name="connsiteY306" fmla="*/ 4241 h 10000"/>
              <a:gd name="connsiteX307" fmla="*/ 1733 w 10000"/>
              <a:gd name="connsiteY307" fmla="*/ 4276 h 10000"/>
              <a:gd name="connsiteX308" fmla="*/ 1638 w 10000"/>
              <a:gd name="connsiteY308" fmla="*/ 4331 h 10000"/>
              <a:gd name="connsiteX309" fmla="*/ 1433 w 10000"/>
              <a:gd name="connsiteY309" fmla="*/ 4710 h 10000"/>
              <a:gd name="connsiteX310" fmla="*/ 1472 w 10000"/>
              <a:gd name="connsiteY310" fmla="*/ 4732 h 10000"/>
              <a:gd name="connsiteX311" fmla="*/ 1503 w 10000"/>
              <a:gd name="connsiteY311" fmla="*/ 4828 h 10000"/>
              <a:gd name="connsiteX312" fmla="*/ 1407 w 10000"/>
              <a:gd name="connsiteY312" fmla="*/ 5227 h 10000"/>
              <a:gd name="connsiteX313" fmla="*/ 1503 w 10000"/>
              <a:gd name="connsiteY313" fmla="*/ 5329 h 10000"/>
              <a:gd name="connsiteX314" fmla="*/ 1764 w 10000"/>
              <a:gd name="connsiteY314" fmla="*/ 5441 h 10000"/>
              <a:gd name="connsiteX315" fmla="*/ 1777 w 10000"/>
              <a:gd name="connsiteY315" fmla="*/ 5578 h 10000"/>
              <a:gd name="connsiteX316" fmla="*/ 1664 w 10000"/>
              <a:gd name="connsiteY316" fmla="*/ 5690 h 10000"/>
              <a:gd name="connsiteX317" fmla="*/ 1503 w 10000"/>
              <a:gd name="connsiteY317" fmla="*/ 5759 h 10000"/>
              <a:gd name="connsiteX318" fmla="*/ 1289 w 10000"/>
              <a:gd name="connsiteY318" fmla="*/ 5787 h 10000"/>
              <a:gd name="connsiteX319" fmla="*/ 1233 w 10000"/>
              <a:gd name="connsiteY319" fmla="*/ 5826 h 10000"/>
              <a:gd name="connsiteX320" fmla="*/ 1359 w 10000"/>
              <a:gd name="connsiteY320" fmla="*/ 5920 h 10000"/>
              <a:gd name="connsiteX321" fmla="*/ 1429 w 10000"/>
              <a:gd name="connsiteY321" fmla="*/ 6142 h 10000"/>
              <a:gd name="connsiteX322" fmla="*/ 1267 w 10000"/>
              <a:gd name="connsiteY322" fmla="*/ 6333 h 10000"/>
              <a:gd name="connsiteX323" fmla="*/ 1324 w 10000"/>
              <a:gd name="connsiteY323" fmla="*/ 6392 h 10000"/>
              <a:gd name="connsiteX324" fmla="*/ 1272 w 10000"/>
              <a:gd name="connsiteY324" fmla="*/ 6492 h 10000"/>
              <a:gd name="connsiteX325" fmla="*/ 1167 w 10000"/>
              <a:gd name="connsiteY325" fmla="*/ 6561 h 10000"/>
              <a:gd name="connsiteX326" fmla="*/ 758 w 10000"/>
              <a:gd name="connsiteY326" fmla="*/ 6614 h 10000"/>
              <a:gd name="connsiteX327" fmla="*/ 732 w 10000"/>
              <a:gd name="connsiteY327" fmla="*/ 6706 h 10000"/>
              <a:gd name="connsiteX328" fmla="*/ 510 w 10000"/>
              <a:gd name="connsiteY328" fmla="*/ 6843 h 10000"/>
              <a:gd name="connsiteX329" fmla="*/ 540 w 10000"/>
              <a:gd name="connsiteY329" fmla="*/ 7040 h 10000"/>
              <a:gd name="connsiteX330" fmla="*/ 353 w 10000"/>
              <a:gd name="connsiteY330" fmla="*/ 7293 h 10000"/>
              <a:gd name="connsiteX331" fmla="*/ 226 w 10000"/>
              <a:gd name="connsiteY331" fmla="*/ 7323 h 10000"/>
              <a:gd name="connsiteX332" fmla="*/ 174 w 10000"/>
              <a:gd name="connsiteY332" fmla="*/ 7262 h 10000"/>
              <a:gd name="connsiteX333" fmla="*/ 109 w 10000"/>
              <a:gd name="connsiteY333" fmla="*/ 7354 h 10000"/>
              <a:gd name="connsiteX334" fmla="*/ 152 w 10000"/>
              <a:gd name="connsiteY334" fmla="*/ 7197 h 10000"/>
              <a:gd name="connsiteX335" fmla="*/ 126 w 10000"/>
              <a:gd name="connsiteY33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58 w 10000"/>
              <a:gd name="connsiteY211" fmla="*/ 2677 h 10000"/>
              <a:gd name="connsiteX212" fmla="*/ 8593 w 10000"/>
              <a:gd name="connsiteY212" fmla="*/ 2669 h 10000"/>
              <a:gd name="connsiteX213" fmla="*/ 8606 w 10000"/>
              <a:gd name="connsiteY213" fmla="*/ 2630 h 10000"/>
              <a:gd name="connsiteX214" fmla="*/ 8567 w 10000"/>
              <a:gd name="connsiteY214" fmla="*/ 2605 h 10000"/>
              <a:gd name="connsiteX215" fmla="*/ 8685 w 10000"/>
              <a:gd name="connsiteY215" fmla="*/ 2597 h 10000"/>
              <a:gd name="connsiteX216" fmla="*/ 8698 w 10000"/>
              <a:gd name="connsiteY216" fmla="*/ 2565 h 10000"/>
              <a:gd name="connsiteX217" fmla="*/ 8558 w 10000"/>
              <a:gd name="connsiteY217" fmla="*/ 2481 h 10000"/>
              <a:gd name="connsiteX218" fmla="*/ 8558 w 10000"/>
              <a:gd name="connsiteY218" fmla="*/ 2459 h 10000"/>
              <a:gd name="connsiteX219" fmla="*/ 8698 w 10000"/>
              <a:gd name="connsiteY219" fmla="*/ 2504 h 10000"/>
              <a:gd name="connsiteX220" fmla="*/ 8763 w 10000"/>
              <a:gd name="connsiteY220" fmla="*/ 2548 h 10000"/>
              <a:gd name="connsiteX221" fmla="*/ 8815 w 10000"/>
              <a:gd name="connsiteY221" fmla="*/ 2548 h 10000"/>
              <a:gd name="connsiteX222" fmla="*/ 8789 w 10000"/>
              <a:gd name="connsiteY222" fmla="*/ 2457 h 10000"/>
              <a:gd name="connsiteX223" fmla="*/ 8798 w 10000"/>
              <a:gd name="connsiteY223" fmla="*/ 2467 h 10000"/>
              <a:gd name="connsiteX224" fmla="*/ 8841 w 10000"/>
              <a:gd name="connsiteY224" fmla="*/ 2457 h 10000"/>
              <a:gd name="connsiteX225" fmla="*/ 8855 w 10000"/>
              <a:gd name="connsiteY225" fmla="*/ 2341 h 10000"/>
              <a:gd name="connsiteX226" fmla="*/ 8898 w 10000"/>
              <a:gd name="connsiteY226" fmla="*/ 2332 h 10000"/>
              <a:gd name="connsiteX227" fmla="*/ 8946 w 10000"/>
              <a:gd name="connsiteY227" fmla="*/ 2330 h 10000"/>
              <a:gd name="connsiteX228" fmla="*/ 8946 w 10000"/>
              <a:gd name="connsiteY228" fmla="*/ 2361 h 10000"/>
              <a:gd name="connsiteX229" fmla="*/ 8994 w 10000"/>
              <a:gd name="connsiteY229" fmla="*/ 2389 h 10000"/>
              <a:gd name="connsiteX230" fmla="*/ 9051 w 10000"/>
              <a:gd name="connsiteY230" fmla="*/ 2400 h 10000"/>
              <a:gd name="connsiteX231" fmla="*/ 9094 w 10000"/>
              <a:gd name="connsiteY231" fmla="*/ 2324 h 10000"/>
              <a:gd name="connsiteX232" fmla="*/ 9164 w 10000"/>
              <a:gd name="connsiteY232" fmla="*/ 2347 h 10000"/>
              <a:gd name="connsiteX233" fmla="*/ 9247 w 10000"/>
              <a:gd name="connsiteY233" fmla="*/ 2402 h 10000"/>
              <a:gd name="connsiteX234" fmla="*/ 9286 w 10000"/>
              <a:gd name="connsiteY234" fmla="*/ 2400 h 10000"/>
              <a:gd name="connsiteX235" fmla="*/ 9355 w 10000"/>
              <a:gd name="connsiteY235" fmla="*/ 2428 h 10000"/>
              <a:gd name="connsiteX236" fmla="*/ 9408 w 10000"/>
              <a:gd name="connsiteY236" fmla="*/ 2359 h 10000"/>
              <a:gd name="connsiteX237" fmla="*/ 9717 w 10000"/>
              <a:gd name="connsiteY237" fmla="*/ 2343 h 10000"/>
              <a:gd name="connsiteX238" fmla="*/ 9830 w 10000"/>
              <a:gd name="connsiteY238" fmla="*/ 2369 h 10000"/>
              <a:gd name="connsiteX239" fmla="*/ 9909 w 10000"/>
              <a:gd name="connsiteY239" fmla="*/ 2410 h 10000"/>
              <a:gd name="connsiteX240" fmla="*/ 9948 w 10000"/>
              <a:gd name="connsiteY240" fmla="*/ 2365 h 10000"/>
              <a:gd name="connsiteX241" fmla="*/ 10000 w 10000"/>
              <a:gd name="connsiteY241" fmla="*/ 2349 h 10000"/>
              <a:gd name="connsiteX242" fmla="*/ 9704 w 10000"/>
              <a:gd name="connsiteY242" fmla="*/ 1992 h 10000"/>
              <a:gd name="connsiteX243" fmla="*/ 9743 w 10000"/>
              <a:gd name="connsiteY243" fmla="*/ 1897 h 10000"/>
              <a:gd name="connsiteX244" fmla="*/ 9830 w 10000"/>
              <a:gd name="connsiteY244" fmla="*/ 1819 h 10000"/>
              <a:gd name="connsiteX245" fmla="*/ 9830 w 10000"/>
              <a:gd name="connsiteY245" fmla="*/ 1699 h 10000"/>
              <a:gd name="connsiteX246" fmla="*/ 9556 w 10000"/>
              <a:gd name="connsiteY246" fmla="*/ 1465 h 10000"/>
              <a:gd name="connsiteX247" fmla="*/ 9512 w 10000"/>
              <a:gd name="connsiteY247" fmla="*/ 1379 h 10000"/>
              <a:gd name="connsiteX248" fmla="*/ 9573 w 10000"/>
              <a:gd name="connsiteY248" fmla="*/ 1271 h 10000"/>
              <a:gd name="connsiteX249" fmla="*/ 9543 w 10000"/>
              <a:gd name="connsiteY249" fmla="*/ 1194 h 10000"/>
              <a:gd name="connsiteX250" fmla="*/ 9486 w 10000"/>
              <a:gd name="connsiteY250" fmla="*/ 1159 h 10000"/>
              <a:gd name="connsiteX251" fmla="*/ 9438 w 10000"/>
              <a:gd name="connsiteY251" fmla="*/ 978 h 10000"/>
              <a:gd name="connsiteX252" fmla="*/ 9495 w 10000"/>
              <a:gd name="connsiteY252" fmla="*/ 831 h 10000"/>
              <a:gd name="connsiteX253" fmla="*/ 9077 w 10000"/>
              <a:gd name="connsiteY253" fmla="*/ 517 h 10000"/>
              <a:gd name="connsiteX254" fmla="*/ 8872 w 10000"/>
              <a:gd name="connsiteY254" fmla="*/ 440 h 10000"/>
              <a:gd name="connsiteX255" fmla="*/ 8493 w 10000"/>
              <a:gd name="connsiteY255" fmla="*/ 389 h 10000"/>
              <a:gd name="connsiteX256" fmla="*/ 7709 w 10000"/>
              <a:gd name="connsiteY256" fmla="*/ 26 h 10000"/>
              <a:gd name="connsiteX257" fmla="*/ 7683 w 10000"/>
              <a:gd name="connsiteY257" fmla="*/ 2 h 10000"/>
              <a:gd name="connsiteX258" fmla="*/ 7417 w 10000"/>
              <a:gd name="connsiteY258" fmla="*/ 0 h 10000"/>
              <a:gd name="connsiteX259" fmla="*/ 7356 w 10000"/>
              <a:gd name="connsiteY259" fmla="*/ 14 h 10000"/>
              <a:gd name="connsiteX260" fmla="*/ 7369 w 10000"/>
              <a:gd name="connsiteY260" fmla="*/ 61 h 10000"/>
              <a:gd name="connsiteX261" fmla="*/ 7422 w 10000"/>
              <a:gd name="connsiteY261" fmla="*/ 86 h 10000"/>
              <a:gd name="connsiteX262" fmla="*/ 7435 w 10000"/>
              <a:gd name="connsiteY262" fmla="*/ 139 h 10000"/>
              <a:gd name="connsiteX263" fmla="*/ 7417 w 10000"/>
              <a:gd name="connsiteY263" fmla="*/ 181 h 10000"/>
              <a:gd name="connsiteX264" fmla="*/ 7369 w 10000"/>
              <a:gd name="connsiteY264" fmla="*/ 208 h 10000"/>
              <a:gd name="connsiteX265" fmla="*/ 7334 w 10000"/>
              <a:gd name="connsiteY265" fmla="*/ 283 h 10000"/>
              <a:gd name="connsiteX266" fmla="*/ 7269 w 10000"/>
              <a:gd name="connsiteY266" fmla="*/ 336 h 10000"/>
              <a:gd name="connsiteX267" fmla="*/ 7282 w 10000"/>
              <a:gd name="connsiteY267" fmla="*/ 387 h 10000"/>
              <a:gd name="connsiteX268" fmla="*/ 7382 w 10000"/>
              <a:gd name="connsiteY268" fmla="*/ 434 h 10000"/>
              <a:gd name="connsiteX269" fmla="*/ 7317 w 10000"/>
              <a:gd name="connsiteY269" fmla="*/ 475 h 10000"/>
              <a:gd name="connsiteX270" fmla="*/ 7221 w 10000"/>
              <a:gd name="connsiteY270" fmla="*/ 485 h 10000"/>
              <a:gd name="connsiteX271" fmla="*/ 6420 w 10000"/>
              <a:gd name="connsiteY271" fmla="*/ 387 h 10000"/>
              <a:gd name="connsiteX272" fmla="*/ 6324 w 10000"/>
              <a:gd name="connsiteY272" fmla="*/ 395 h 10000"/>
              <a:gd name="connsiteX273" fmla="*/ 6267 w 10000"/>
              <a:gd name="connsiteY273" fmla="*/ 414 h 10000"/>
              <a:gd name="connsiteX274" fmla="*/ 6211 w 10000"/>
              <a:gd name="connsiteY274" fmla="*/ 462 h 10000"/>
              <a:gd name="connsiteX275" fmla="*/ 6220 w 10000"/>
              <a:gd name="connsiteY275" fmla="*/ 581 h 10000"/>
              <a:gd name="connsiteX276" fmla="*/ 6132 w 10000"/>
              <a:gd name="connsiteY276" fmla="*/ 735 h 10000"/>
              <a:gd name="connsiteX277" fmla="*/ 6024 w 10000"/>
              <a:gd name="connsiteY277" fmla="*/ 815 h 10000"/>
              <a:gd name="connsiteX278" fmla="*/ 5980 w 10000"/>
              <a:gd name="connsiteY278" fmla="*/ 805 h 10000"/>
              <a:gd name="connsiteX279" fmla="*/ 5880 w 10000"/>
              <a:gd name="connsiteY279" fmla="*/ 739 h 10000"/>
              <a:gd name="connsiteX280" fmla="*/ 5753 w 10000"/>
              <a:gd name="connsiteY280" fmla="*/ 705 h 10000"/>
              <a:gd name="connsiteX281" fmla="*/ 5618 w 10000"/>
              <a:gd name="connsiteY281" fmla="*/ 715 h 10000"/>
              <a:gd name="connsiteX282" fmla="*/ 5301 w 10000"/>
              <a:gd name="connsiteY282" fmla="*/ 866 h 10000"/>
              <a:gd name="connsiteX283" fmla="*/ 5218 w 10000"/>
              <a:gd name="connsiteY283" fmla="*/ 1017 h 10000"/>
              <a:gd name="connsiteX284" fmla="*/ 4978 w 10000"/>
              <a:gd name="connsiteY284" fmla="*/ 1153 h 10000"/>
              <a:gd name="connsiteX285" fmla="*/ 4935 w 10000"/>
              <a:gd name="connsiteY285" fmla="*/ 1222 h 10000"/>
              <a:gd name="connsiteX286" fmla="*/ 5061 w 10000"/>
              <a:gd name="connsiteY286" fmla="*/ 1344 h 10000"/>
              <a:gd name="connsiteX287" fmla="*/ 5074 w 10000"/>
              <a:gd name="connsiteY287" fmla="*/ 1412 h 10000"/>
              <a:gd name="connsiteX288" fmla="*/ 4421 w 10000"/>
              <a:gd name="connsiteY288" fmla="*/ 1813 h 10000"/>
              <a:gd name="connsiteX289" fmla="*/ 4220 w 10000"/>
              <a:gd name="connsiteY289" fmla="*/ 2070 h 10000"/>
              <a:gd name="connsiteX290" fmla="*/ 4003 w 10000"/>
              <a:gd name="connsiteY290" fmla="*/ 2135 h 10000"/>
              <a:gd name="connsiteX291" fmla="*/ 3868 w 10000"/>
              <a:gd name="connsiteY291" fmla="*/ 2131 h 10000"/>
              <a:gd name="connsiteX292" fmla="*/ 3785 w 10000"/>
              <a:gd name="connsiteY292" fmla="*/ 2153 h 10000"/>
              <a:gd name="connsiteX293" fmla="*/ 3558 w 10000"/>
              <a:gd name="connsiteY293" fmla="*/ 2793 h 10000"/>
              <a:gd name="connsiteX294" fmla="*/ 3036 w 10000"/>
              <a:gd name="connsiteY294" fmla="*/ 3166 h 10000"/>
              <a:gd name="connsiteX295" fmla="*/ 3040 w 10000"/>
              <a:gd name="connsiteY295" fmla="*/ 3225 h 10000"/>
              <a:gd name="connsiteX296" fmla="*/ 3271 w 10000"/>
              <a:gd name="connsiteY296" fmla="*/ 3392 h 10000"/>
              <a:gd name="connsiteX297" fmla="*/ 3197 w 10000"/>
              <a:gd name="connsiteY297" fmla="*/ 3573 h 10000"/>
              <a:gd name="connsiteX298" fmla="*/ 3062 w 10000"/>
              <a:gd name="connsiteY298" fmla="*/ 3640 h 10000"/>
              <a:gd name="connsiteX299" fmla="*/ 2657 w 10000"/>
              <a:gd name="connsiteY299" fmla="*/ 3595 h 10000"/>
              <a:gd name="connsiteX300" fmla="*/ 2378 w 10000"/>
              <a:gd name="connsiteY300" fmla="*/ 3620 h 10000"/>
              <a:gd name="connsiteX301" fmla="*/ 2152 w 10000"/>
              <a:gd name="connsiteY301" fmla="*/ 3673 h 10000"/>
              <a:gd name="connsiteX302" fmla="*/ 1790 w 10000"/>
              <a:gd name="connsiteY302" fmla="*/ 3840 h 10000"/>
              <a:gd name="connsiteX303" fmla="*/ 1598 w 10000"/>
              <a:gd name="connsiteY303" fmla="*/ 4042 h 10000"/>
              <a:gd name="connsiteX304" fmla="*/ 1616 w 10000"/>
              <a:gd name="connsiteY304" fmla="*/ 4154 h 10000"/>
              <a:gd name="connsiteX305" fmla="*/ 1681 w 10000"/>
              <a:gd name="connsiteY305" fmla="*/ 4241 h 10000"/>
              <a:gd name="connsiteX306" fmla="*/ 1733 w 10000"/>
              <a:gd name="connsiteY306" fmla="*/ 4276 h 10000"/>
              <a:gd name="connsiteX307" fmla="*/ 1638 w 10000"/>
              <a:gd name="connsiteY307" fmla="*/ 4331 h 10000"/>
              <a:gd name="connsiteX308" fmla="*/ 1433 w 10000"/>
              <a:gd name="connsiteY308" fmla="*/ 4710 h 10000"/>
              <a:gd name="connsiteX309" fmla="*/ 1472 w 10000"/>
              <a:gd name="connsiteY309" fmla="*/ 4732 h 10000"/>
              <a:gd name="connsiteX310" fmla="*/ 1503 w 10000"/>
              <a:gd name="connsiteY310" fmla="*/ 4828 h 10000"/>
              <a:gd name="connsiteX311" fmla="*/ 1407 w 10000"/>
              <a:gd name="connsiteY311" fmla="*/ 5227 h 10000"/>
              <a:gd name="connsiteX312" fmla="*/ 1503 w 10000"/>
              <a:gd name="connsiteY312" fmla="*/ 5329 h 10000"/>
              <a:gd name="connsiteX313" fmla="*/ 1764 w 10000"/>
              <a:gd name="connsiteY313" fmla="*/ 5441 h 10000"/>
              <a:gd name="connsiteX314" fmla="*/ 1777 w 10000"/>
              <a:gd name="connsiteY314" fmla="*/ 5578 h 10000"/>
              <a:gd name="connsiteX315" fmla="*/ 1664 w 10000"/>
              <a:gd name="connsiteY315" fmla="*/ 5690 h 10000"/>
              <a:gd name="connsiteX316" fmla="*/ 1503 w 10000"/>
              <a:gd name="connsiteY316" fmla="*/ 5759 h 10000"/>
              <a:gd name="connsiteX317" fmla="*/ 1289 w 10000"/>
              <a:gd name="connsiteY317" fmla="*/ 5787 h 10000"/>
              <a:gd name="connsiteX318" fmla="*/ 1233 w 10000"/>
              <a:gd name="connsiteY318" fmla="*/ 5826 h 10000"/>
              <a:gd name="connsiteX319" fmla="*/ 1359 w 10000"/>
              <a:gd name="connsiteY319" fmla="*/ 5920 h 10000"/>
              <a:gd name="connsiteX320" fmla="*/ 1429 w 10000"/>
              <a:gd name="connsiteY320" fmla="*/ 6142 h 10000"/>
              <a:gd name="connsiteX321" fmla="*/ 1267 w 10000"/>
              <a:gd name="connsiteY321" fmla="*/ 6333 h 10000"/>
              <a:gd name="connsiteX322" fmla="*/ 1324 w 10000"/>
              <a:gd name="connsiteY322" fmla="*/ 6392 h 10000"/>
              <a:gd name="connsiteX323" fmla="*/ 1272 w 10000"/>
              <a:gd name="connsiteY323" fmla="*/ 6492 h 10000"/>
              <a:gd name="connsiteX324" fmla="*/ 1167 w 10000"/>
              <a:gd name="connsiteY324" fmla="*/ 6561 h 10000"/>
              <a:gd name="connsiteX325" fmla="*/ 758 w 10000"/>
              <a:gd name="connsiteY325" fmla="*/ 6614 h 10000"/>
              <a:gd name="connsiteX326" fmla="*/ 732 w 10000"/>
              <a:gd name="connsiteY326" fmla="*/ 6706 h 10000"/>
              <a:gd name="connsiteX327" fmla="*/ 510 w 10000"/>
              <a:gd name="connsiteY327" fmla="*/ 6843 h 10000"/>
              <a:gd name="connsiteX328" fmla="*/ 540 w 10000"/>
              <a:gd name="connsiteY328" fmla="*/ 7040 h 10000"/>
              <a:gd name="connsiteX329" fmla="*/ 353 w 10000"/>
              <a:gd name="connsiteY329" fmla="*/ 7293 h 10000"/>
              <a:gd name="connsiteX330" fmla="*/ 226 w 10000"/>
              <a:gd name="connsiteY330" fmla="*/ 7323 h 10000"/>
              <a:gd name="connsiteX331" fmla="*/ 174 w 10000"/>
              <a:gd name="connsiteY331" fmla="*/ 7262 h 10000"/>
              <a:gd name="connsiteX332" fmla="*/ 109 w 10000"/>
              <a:gd name="connsiteY332" fmla="*/ 7354 h 10000"/>
              <a:gd name="connsiteX333" fmla="*/ 152 w 10000"/>
              <a:gd name="connsiteY333" fmla="*/ 7197 h 10000"/>
              <a:gd name="connsiteX334" fmla="*/ 126 w 10000"/>
              <a:gd name="connsiteY33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567 w 10000"/>
              <a:gd name="connsiteY213" fmla="*/ 2605 h 10000"/>
              <a:gd name="connsiteX214" fmla="*/ 8685 w 10000"/>
              <a:gd name="connsiteY214" fmla="*/ 2597 h 10000"/>
              <a:gd name="connsiteX215" fmla="*/ 8698 w 10000"/>
              <a:gd name="connsiteY215" fmla="*/ 2565 h 10000"/>
              <a:gd name="connsiteX216" fmla="*/ 8558 w 10000"/>
              <a:gd name="connsiteY216" fmla="*/ 2481 h 10000"/>
              <a:gd name="connsiteX217" fmla="*/ 8558 w 10000"/>
              <a:gd name="connsiteY217" fmla="*/ 2459 h 10000"/>
              <a:gd name="connsiteX218" fmla="*/ 8698 w 10000"/>
              <a:gd name="connsiteY218" fmla="*/ 2504 h 10000"/>
              <a:gd name="connsiteX219" fmla="*/ 8763 w 10000"/>
              <a:gd name="connsiteY219" fmla="*/ 2548 h 10000"/>
              <a:gd name="connsiteX220" fmla="*/ 8815 w 10000"/>
              <a:gd name="connsiteY220" fmla="*/ 2548 h 10000"/>
              <a:gd name="connsiteX221" fmla="*/ 8789 w 10000"/>
              <a:gd name="connsiteY221" fmla="*/ 2457 h 10000"/>
              <a:gd name="connsiteX222" fmla="*/ 8798 w 10000"/>
              <a:gd name="connsiteY222" fmla="*/ 2467 h 10000"/>
              <a:gd name="connsiteX223" fmla="*/ 8841 w 10000"/>
              <a:gd name="connsiteY223" fmla="*/ 2457 h 10000"/>
              <a:gd name="connsiteX224" fmla="*/ 8855 w 10000"/>
              <a:gd name="connsiteY224" fmla="*/ 2341 h 10000"/>
              <a:gd name="connsiteX225" fmla="*/ 8898 w 10000"/>
              <a:gd name="connsiteY225" fmla="*/ 2332 h 10000"/>
              <a:gd name="connsiteX226" fmla="*/ 8946 w 10000"/>
              <a:gd name="connsiteY226" fmla="*/ 2330 h 10000"/>
              <a:gd name="connsiteX227" fmla="*/ 8946 w 10000"/>
              <a:gd name="connsiteY227" fmla="*/ 2361 h 10000"/>
              <a:gd name="connsiteX228" fmla="*/ 8994 w 10000"/>
              <a:gd name="connsiteY228" fmla="*/ 2389 h 10000"/>
              <a:gd name="connsiteX229" fmla="*/ 9051 w 10000"/>
              <a:gd name="connsiteY229" fmla="*/ 2400 h 10000"/>
              <a:gd name="connsiteX230" fmla="*/ 9094 w 10000"/>
              <a:gd name="connsiteY230" fmla="*/ 2324 h 10000"/>
              <a:gd name="connsiteX231" fmla="*/ 9164 w 10000"/>
              <a:gd name="connsiteY231" fmla="*/ 2347 h 10000"/>
              <a:gd name="connsiteX232" fmla="*/ 9247 w 10000"/>
              <a:gd name="connsiteY232" fmla="*/ 2402 h 10000"/>
              <a:gd name="connsiteX233" fmla="*/ 9286 w 10000"/>
              <a:gd name="connsiteY233" fmla="*/ 2400 h 10000"/>
              <a:gd name="connsiteX234" fmla="*/ 9355 w 10000"/>
              <a:gd name="connsiteY234" fmla="*/ 2428 h 10000"/>
              <a:gd name="connsiteX235" fmla="*/ 9408 w 10000"/>
              <a:gd name="connsiteY235" fmla="*/ 2359 h 10000"/>
              <a:gd name="connsiteX236" fmla="*/ 9717 w 10000"/>
              <a:gd name="connsiteY236" fmla="*/ 2343 h 10000"/>
              <a:gd name="connsiteX237" fmla="*/ 9830 w 10000"/>
              <a:gd name="connsiteY237" fmla="*/ 2369 h 10000"/>
              <a:gd name="connsiteX238" fmla="*/ 9909 w 10000"/>
              <a:gd name="connsiteY238" fmla="*/ 2410 h 10000"/>
              <a:gd name="connsiteX239" fmla="*/ 9948 w 10000"/>
              <a:gd name="connsiteY239" fmla="*/ 2365 h 10000"/>
              <a:gd name="connsiteX240" fmla="*/ 10000 w 10000"/>
              <a:gd name="connsiteY240" fmla="*/ 2349 h 10000"/>
              <a:gd name="connsiteX241" fmla="*/ 9704 w 10000"/>
              <a:gd name="connsiteY241" fmla="*/ 1992 h 10000"/>
              <a:gd name="connsiteX242" fmla="*/ 9743 w 10000"/>
              <a:gd name="connsiteY242" fmla="*/ 1897 h 10000"/>
              <a:gd name="connsiteX243" fmla="*/ 9830 w 10000"/>
              <a:gd name="connsiteY243" fmla="*/ 1819 h 10000"/>
              <a:gd name="connsiteX244" fmla="*/ 9830 w 10000"/>
              <a:gd name="connsiteY244" fmla="*/ 1699 h 10000"/>
              <a:gd name="connsiteX245" fmla="*/ 9556 w 10000"/>
              <a:gd name="connsiteY245" fmla="*/ 1465 h 10000"/>
              <a:gd name="connsiteX246" fmla="*/ 9512 w 10000"/>
              <a:gd name="connsiteY246" fmla="*/ 1379 h 10000"/>
              <a:gd name="connsiteX247" fmla="*/ 9573 w 10000"/>
              <a:gd name="connsiteY247" fmla="*/ 1271 h 10000"/>
              <a:gd name="connsiteX248" fmla="*/ 9543 w 10000"/>
              <a:gd name="connsiteY248" fmla="*/ 1194 h 10000"/>
              <a:gd name="connsiteX249" fmla="*/ 9486 w 10000"/>
              <a:gd name="connsiteY249" fmla="*/ 1159 h 10000"/>
              <a:gd name="connsiteX250" fmla="*/ 9438 w 10000"/>
              <a:gd name="connsiteY250" fmla="*/ 978 h 10000"/>
              <a:gd name="connsiteX251" fmla="*/ 9495 w 10000"/>
              <a:gd name="connsiteY251" fmla="*/ 831 h 10000"/>
              <a:gd name="connsiteX252" fmla="*/ 9077 w 10000"/>
              <a:gd name="connsiteY252" fmla="*/ 517 h 10000"/>
              <a:gd name="connsiteX253" fmla="*/ 8872 w 10000"/>
              <a:gd name="connsiteY253" fmla="*/ 440 h 10000"/>
              <a:gd name="connsiteX254" fmla="*/ 8493 w 10000"/>
              <a:gd name="connsiteY254" fmla="*/ 389 h 10000"/>
              <a:gd name="connsiteX255" fmla="*/ 7709 w 10000"/>
              <a:gd name="connsiteY255" fmla="*/ 26 h 10000"/>
              <a:gd name="connsiteX256" fmla="*/ 7683 w 10000"/>
              <a:gd name="connsiteY256" fmla="*/ 2 h 10000"/>
              <a:gd name="connsiteX257" fmla="*/ 7417 w 10000"/>
              <a:gd name="connsiteY257" fmla="*/ 0 h 10000"/>
              <a:gd name="connsiteX258" fmla="*/ 7356 w 10000"/>
              <a:gd name="connsiteY258" fmla="*/ 14 h 10000"/>
              <a:gd name="connsiteX259" fmla="*/ 7369 w 10000"/>
              <a:gd name="connsiteY259" fmla="*/ 61 h 10000"/>
              <a:gd name="connsiteX260" fmla="*/ 7422 w 10000"/>
              <a:gd name="connsiteY260" fmla="*/ 86 h 10000"/>
              <a:gd name="connsiteX261" fmla="*/ 7435 w 10000"/>
              <a:gd name="connsiteY261" fmla="*/ 139 h 10000"/>
              <a:gd name="connsiteX262" fmla="*/ 7417 w 10000"/>
              <a:gd name="connsiteY262" fmla="*/ 181 h 10000"/>
              <a:gd name="connsiteX263" fmla="*/ 7369 w 10000"/>
              <a:gd name="connsiteY263" fmla="*/ 208 h 10000"/>
              <a:gd name="connsiteX264" fmla="*/ 7334 w 10000"/>
              <a:gd name="connsiteY264" fmla="*/ 283 h 10000"/>
              <a:gd name="connsiteX265" fmla="*/ 7269 w 10000"/>
              <a:gd name="connsiteY265" fmla="*/ 336 h 10000"/>
              <a:gd name="connsiteX266" fmla="*/ 7282 w 10000"/>
              <a:gd name="connsiteY266" fmla="*/ 387 h 10000"/>
              <a:gd name="connsiteX267" fmla="*/ 7382 w 10000"/>
              <a:gd name="connsiteY267" fmla="*/ 434 h 10000"/>
              <a:gd name="connsiteX268" fmla="*/ 7317 w 10000"/>
              <a:gd name="connsiteY268" fmla="*/ 475 h 10000"/>
              <a:gd name="connsiteX269" fmla="*/ 7221 w 10000"/>
              <a:gd name="connsiteY269" fmla="*/ 485 h 10000"/>
              <a:gd name="connsiteX270" fmla="*/ 6420 w 10000"/>
              <a:gd name="connsiteY270" fmla="*/ 387 h 10000"/>
              <a:gd name="connsiteX271" fmla="*/ 6324 w 10000"/>
              <a:gd name="connsiteY271" fmla="*/ 395 h 10000"/>
              <a:gd name="connsiteX272" fmla="*/ 6267 w 10000"/>
              <a:gd name="connsiteY272" fmla="*/ 414 h 10000"/>
              <a:gd name="connsiteX273" fmla="*/ 6211 w 10000"/>
              <a:gd name="connsiteY273" fmla="*/ 462 h 10000"/>
              <a:gd name="connsiteX274" fmla="*/ 6220 w 10000"/>
              <a:gd name="connsiteY274" fmla="*/ 581 h 10000"/>
              <a:gd name="connsiteX275" fmla="*/ 6132 w 10000"/>
              <a:gd name="connsiteY275" fmla="*/ 735 h 10000"/>
              <a:gd name="connsiteX276" fmla="*/ 6024 w 10000"/>
              <a:gd name="connsiteY276" fmla="*/ 815 h 10000"/>
              <a:gd name="connsiteX277" fmla="*/ 5980 w 10000"/>
              <a:gd name="connsiteY277" fmla="*/ 805 h 10000"/>
              <a:gd name="connsiteX278" fmla="*/ 5880 w 10000"/>
              <a:gd name="connsiteY278" fmla="*/ 739 h 10000"/>
              <a:gd name="connsiteX279" fmla="*/ 5753 w 10000"/>
              <a:gd name="connsiteY279" fmla="*/ 705 h 10000"/>
              <a:gd name="connsiteX280" fmla="*/ 5618 w 10000"/>
              <a:gd name="connsiteY280" fmla="*/ 715 h 10000"/>
              <a:gd name="connsiteX281" fmla="*/ 5301 w 10000"/>
              <a:gd name="connsiteY281" fmla="*/ 866 h 10000"/>
              <a:gd name="connsiteX282" fmla="*/ 5218 w 10000"/>
              <a:gd name="connsiteY282" fmla="*/ 1017 h 10000"/>
              <a:gd name="connsiteX283" fmla="*/ 4978 w 10000"/>
              <a:gd name="connsiteY283" fmla="*/ 1153 h 10000"/>
              <a:gd name="connsiteX284" fmla="*/ 4935 w 10000"/>
              <a:gd name="connsiteY284" fmla="*/ 1222 h 10000"/>
              <a:gd name="connsiteX285" fmla="*/ 5061 w 10000"/>
              <a:gd name="connsiteY285" fmla="*/ 1344 h 10000"/>
              <a:gd name="connsiteX286" fmla="*/ 5074 w 10000"/>
              <a:gd name="connsiteY286" fmla="*/ 1412 h 10000"/>
              <a:gd name="connsiteX287" fmla="*/ 4421 w 10000"/>
              <a:gd name="connsiteY287" fmla="*/ 1813 h 10000"/>
              <a:gd name="connsiteX288" fmla="*/ 4220 w 10000"/>
              <a:gd name="connsiteY288" fmla="*/ 2070 h 10000"/>
              <a:gd name="connsiteX289" fmla="*/ 4003 w 10000"/>
              <a:gd name="connsiteY289" fmla="*/ 2135 h 10000"/>
              <a:gd name="connsiteX290" fmla="*/ 3868 w 10000"/>
              <a:gd name="connsiteY290" fmla="*/ 2131 h 10000"/>
              <a:gd name="connsiteX291" fmla="*/ 3785 w 10000"/>
              <a:gd name="connsiteY291" fmla="*/ 2153 h 10000"/>
              <a:gd name="connsiteX292" fmla="*/ 3558 w 10000"/>
              <a:gd name="connsiteY292" fmla="*/ 2793 h 10000"/>
              <a:gd name="connsiteX293" fmla="*/ 3036 w 10000"/>
              <a:gd name="connsiteY293" fmla="*/ 3166 h 10000"/>
              <a:gd name="connsiteX294" fmla="*/ 3040 w 10000"/>
              <a:gd name="connsiteY294" fmla="*/ 3225 h 10000"/>
              <a:gd name="connsiteX295" fmla="*/ 3271 w 10000"/>
              <a:gd name="connsiteY295" fmla="*/ 3392 h 10000"/>
              <a:gd name="connsiteX296" fmla="*/ 3197 w 10000"/>
              <a:gd name="connsiteY296" fmla="*/ 3573 h 10000"/>
              <a:gd name="connsiteX297" fmla="*/ 3062 w 10000"/>
              <a:gd name="connsiteY297" fmla="*/ 3640 h 10000"/>
              <a:gd name="connsiteX298" fmla="*/ 2657 w 10000"/>
              <a:gd name="connsiteY298" fmla="*/ 3595 h 10000"/>
              <a:gd name="connsiteX299" fmla="*/ 2378 w 10000"/>
              <a:gd name="connsiteY299" fmla="*/ 3620 h 10000"/>
              <a:gd name="connsiteX300" fmla="*/ 2152 w 10000"/>
              <a:gd name="connsiteY300" fmla="*/ 3673 h 10000"/>
              <a:gd name="connsiteX301" fmla="*/ 1790 w 10000"/>
              <a:gd name="connsiteY301" fmla="*/ 3840 h 10000"/>
              <a:gd name="connsiteX302" fmla="*/ 1598 w 10000"/>
              <a:gd name="connsiteY302" fmla="*/ 4042 h 10000"/>
              <a:gd name="connsiteX303" fmla="*/ 1616 w 10000"/>
              <a:gd name="connsiteY303" fmla="*/ 4154 h 10000"/>
              <a:gd name="connsiteX304" fmla="*/ 1681 w 10000"/>
              <a:gd name="connsiteY304" fmla="*/ 4241 h 10000"/>
              <a:gd name="connsiteX305" fmla="*/ 1733 w 10000"/>
              <a:gd name="connsiteY305" fmla="*/ 4276 h 10000"/>
              <a:gd name="connsiteX306" fmla="*/ 1638 w 10000"/>
              <a:gd name="connsiteY306" fmla="*/ 4331 h 10000"/>
              <a:gd name="connsiteX307" fmla="*/ 1433 w 10000"/>
              <a:gd name="connsiteY307" fmla="*/ 4710 h 10000"/>
              <a:gd name="connsiteX308" fmla="*/ 1472 w 10000"/>
              <a:gd name="connsiteY308" fmla="*/ 4732 h 10000"/>
              <a:gd name="connsiteX309" fmla="*/ 1503 w 10000"/>
              <a:gd name="connsiteY309" fmla="*/ 4828 h 10000"/>
              <a:gd name="connsiteX310" fmla="*/ 1407 w 10000"/>
              <a:gd name="connsiteY310" fmla="*/ 5227 h 10000"/>
              <a:gd name="connsiteX311" fmla="*/ 1503 w 10000"/>
              <a:gd name="connsiteY311" fmla="*/ 5329 h 10000"/>
              <a:gd name="connsiteX312" fmla="*/ 1764 w 10000"/>
              <a:gd name="connsiteY312" fmla="*/ 5441 h 10000"/>
              <a:gd name="connsiteX313" fmla="*/ 1777 w 10000"/>
              <a:gd name="connsiteY313" fmla="*/ 5578 h 10000"/>
              <a:gd name="connsiteX314" fmla="*/ 1664 w 10000"/>
              <a:gd name="connsiteY314" fmla="*/ 5690 h 10000"/>
              <a:gd name="connsiteX315" fmla="*/ 1503 w 10000"/>
              <a:gd name="connsiteY315" fmla="*/ 5759 h 10000"/>
              <a:gd name="connsiteX316" fmla="*/ 1289 w 10000"/>
              <a:gd name="connsiteY316" fmla="*/ 5787 h 10000"/>
              <a:gd name="connsiteX317" fmla="*/ 1233 w 10000"/>
              <a:gd name="connsiteY317" fmla="*/ 5826 h 10000"/>
              <a:gd name="connsiteX318" fmla="*/ 1359 w 10000"/>
              <a:gd name="connsiteY318" fmla="*/ 5920 h 10000"/>
              <a:gd name="connsiteX319" fmla="*/ 1429 w 10000"/>
              <a:gd name="connsiteY319" fmla="*/ 6142 h 10000"/>
              <a:gd name="connsiteX320" fmla="*/ 1267 w 10000"/>
              <a:gd name="connsiteY320" fmla="*/ 6333 h 10000"/>
              <a:gd name="connsiteX321" fmla="*/ 1324 w 10000"/>
              <a:gd name="connsiteY321" fmla="*/ 6392 h 10000"/>
              <a:gd name="connsiteX322" fmla="*/ 1272 w 10000"/>
              <a:gd name="connsiteY322" fmla="*/ 6492 h 10000"/>
              <a:gd name="connsiteX323" fmla="*/ 1167 w 10000"/>
              <a:gd name="connsiteY323" fmla="*/ 6561 h 10000"/>
              <a:gd name="connsiteX324" fmla="*/ 758 w 10000"/>
              <a:gd name="connsiteY324" fmla="*/ 6614 h 10000"/>
              <a:gd name="connsiteX325" fmla="*/ 732 w 10000"/>
              <a:gd name="connsiteY325" fmla="*/ 6706 h 10000"/>
              <a:gd name="connsiteX326" fmla="*/ 510 w 10000"/>
              <a:gd name="connsiteY326" fmla="*/ 6843 h 10000"/>
              <a:gd name="connsiteX327" fmla="*/ 540 w 10000"/>
              <a:gd name="connsiteY327" fmla="*/ 7040 h 10000"/>
              <a:gd name="connsiteX328" fmla="*/ 353 w 10000"/>
              <a:gd name="connsiteY328" fmla="*/ 7293 h 10000"/>
              <a:gd name="connsiteX329" fmla="*/ 226 w 10000"/>
              <a:gd name="connsiteY329" fmla="*/ 7323 h 10000"/>
              <a:gd name="connsiteX330" fmla="*/ 174 w 10000"/>
              <a:gd name="connsiteY330" fmla="*/ 7262 h 10000"/>
              <a:gd name="connsiteX331" fmla="*/ 109 w 10000"/>
              <a:gd name="connsiteY331" fmla="*/ 7354 h 10000"/>
              <a:gd name="connsiteX332" fmla="*/ 152 w 10000"/>
              <a:gd name="connsiteY332" fmla="*/ 7197 h 10000"/>
              <a:gd name="connsiteX333" fmla="*/ 126 w 10000"/>
              <a:gd name="connsiteY33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567 w 10000"/>
              <a:gd name="connsiteY213" fmla="*/ 2605 h 10000"/>
              <a:gd name="connsiteX214" fmla="*/ 8685 w 10000"/>
              <a:gd name="connsiteY214" fmla="*/ 2597 h 10000"/>
              <a:gd name="connsiteX215" fmla="*/ 8558 w 10000"/>
              <a:gd name="connsiteY215" fmla="*/ 2481 h 10000"/>
              <a:gd name="connsiteX216" fmla="*/ 8558 w 10000"/>
              <a:gd name="connsiteY216" fmla="*/ 2459 h 10000"/>
              <a:gd name="connsiteX217" fmla="*/ 8698 w 10000"/>
              <a:gd name="connsiteY217" fmla="*/ 2504 h 10000"/>
              <a:gd name="connsiteX218" fmla="*/ 8763 w 10000"/>
              <a:gd name="connsiteY218" fmla="*/ 2548 h 10000"/>
              <a:gd name="connsiteX219" fmla="*/ 8815 w 10000"/>
              <a:gd name="connsiteY219" fmla="*/ 2548 h 10000"/>
              <a:gd name="connsiteX220" fmla="*/ 8789 w 10000"/>
              <a:gd name="connsiteY220" fmla="*/ 2457 h 10000"/>
              <a:gd name="connsiteX221" fmla="*/ 8798 w 10000"/>
              <a:gd name="connsiteY221" fmla="*/ 2467 h 10000"/>
              <a:gd name="connsiteX222" fmla="*/ 8841 w 10000"/>
              <a:gd name="connsiteY222" fmla="*/ 2457 h 10000"/>
              <a:gd name="connsiteX223" fmla="*/ 8855 w 10000"/>
              <a:gd name="connsiteY223" fmla="*/ 2341 h 10000"/>
              <a:gd name="connsiteX224" fmla="*/ 8898 w 10000"/>
              <a:gd name="connsiteY224" fmla="*/ 2332 h 10000"/>
              <a:gd name="connsiteX225" fmla="*/ 8946 w 10000"/>
              <a:gd name="connsiteY225" fmla="*/ 2330 h 10000"/>
              <a:gd name="connsiteX226" fmla="*/ 8946 w 10000"/>
              <a:gd name="connsiteY226" fmla="*/ 2361 h 10000"/>
              <a:gd name="connsiteX227" fmla="*/ 8994 w 10000"/>
              <a:gd name="connsiteY227" fmla="*/ 2389 h 10000"/>
              <a:gd name="connsiteX228" fmla="*/ 9051 w 10000"/>
              <a:gd name="connsiteY228" fmla="*/ 2400 h 10000"/>
              <a:gd name="connsiteX229" fmla="*/ 9094 w 10000"/>
              <a:gd name="connsiteY229" fmla="*/ 2324 h 10000"/>
              <a:gd name="connsiteX230" fmla="*/ 9164 w 10000"/>
              <a:gd name="connsiteY230" fmla="*/ 2347 h 10000"/>
              <a:gd name="connsiteX231" fmla="*/ 9247 w 10000"/>
              <a:gd name="connsiteY231" fmla="*/ 2402 h 10000"/>
              <a:gd name="connsiteX232" fmla="*/ 9286 w 10000"/>
              <a:gd name="connsiteY232" fmla="*/ 2400 h 10000"/>
              <a:gd name="connsiteX233" fmla="*/ 9355 w 10000"/>
              <a:gd name="connsiteY233" fmla="*/ 2428 h 10000"/>
              <a:gd name="connsiteX234" fmla="*/ 9408 w 10000"/>
              <a:gd name="connsiteY234" fmla="*/ 2359 h 10000"/>
              <a:gd name="connsiteX235" fmla="*/ 9717 w 10000"/>
              <a:gd name="connsiteY235" fmla="*/ 2343 h 10000"/>
              <a:gd name="connsiteX236" fmla="*/ 9830 w 10000"/>
              <a:gd name="connsiteY236" fmla="*/ 2369 h 10000"/>
              <a:gd name="connsiteX237" fmla="*/ 9909 w 10000"/>
              <a:gd name="connsiteY237" fmla="*/ 2410 h 10000"/>
              <a:gd name="connsiteX238" fmla="*/ 9948 w 10000"/>
              <a:gd name="connsiteY238" fmla="*/ 2365 h 10000"/>
              <a:gd name="connsiteX239" fmla="*/ 10000 w 10000"/>
              <a:gd name="connsiteY239" fmla="*/ 2349 h 10000"/>
              <a:gd name="connsiteX240" fmla="*/ 9704 w 10000"/>
              <a:gd name="connsiteY240" fmla="*/ 1992 h 10000"/>
              <a:gd name="connsiteX241" fmla="*/ 9743 w 10000"/>
              <a:gd name="connsiteY241" fmla="*/ 1897 h 10000"/>
              <a:gd name="connsiteX242" fmla="*/ 9830 w 10000"/>
              <a:gd name="connsiteY242" fmla="*/ 1819 h 10000"/>
              <a:gd name="connsiteX243" fmla="*/ 9830 w 10000"/>
              <a:gd name="connsiteY243" fmla="*/ 1699 h 10000"/>
              <a:gd name="connsiteX244" fmla="*/ 9556 w 10000"/>
              <a:gd name="connsiteY244" fmla="*/ 1465 h 10000"/>
              <a:gd name="connsiteX245" fmla="*/ 9512 w 10000"/>
              <a:gd name="connsiteY245" fmla="*/ 1379 h 10000"/>
              <a:gd name="connsiteX246" fmla="*/ 9573 w 10000"/>
              <a:gd name="connsiteY246" fmla="*/ 1271 h 10000"/>
              <a:gd name="connsiteX247" fmla="*/ 9543 w 10000"/>
              <a:gd name="connsiteY247" fmla="*/ 1194 h 10000"/>
              <a:gd name="connsiteX248" fmla="*/ 9486 w 10000"/>
              <a:gd name="connsiteY248" fmla="*/ 1159 h 10000"/>
              <a:gd name="connsiteX249" fmla="*/ 9438 w 10000"/>
              <a:gd name="connsiteY249" fmla="*/ 978 h 10000"/>
              <a:gd name="connsiteX250" fmla="*/ 9495 w 10000"/>
              <a:gd name="connsiteY250" fmla="*/ 831 h 10000"/>
              <a:gd name="connsiteX251" fmla="*/ 9077 w 10000"/>
              <a:gd name="connsiteY251" fmla="*/ 517 h 10000"/>
              <a:gd name="connsiteX252" fmla="*/ 8872 w 10000"/>
              <a:gd name="connsiteY252" fmla="*/ 440 h 10000"/>
              <a:gd name="connsiteX253" fmla="*/ 8493 w 10000"/>
              <a:gd name="connsiteY253" fmla="*/ 389 h 10000"/>
              <a:gd name="connsiteX254" fmla="*/ 7709 w 10000"/>
              <a:gd name="connsiteY254" fmla="*/ 26 h 10000"/>
              <a:gd name="connsiteX255" fmla="*/ 7683 w 10000"/>
              <a:gd name="connsiteY255" fmla="*/ 2 h 10000"/>
              <a:gd name="connsiteX256" fmla="*/ 7417 w 10000"/>
              <a:gd name="connsiteY256" fmla="*/ 0 h 10000"/>
              <a:gd name="connsiteX257" fmla="*/ 7356 w 10000"/>
              <a:gd name="connsiteY257" fmla="*/ 14 h 10000"/>
              <a:gd name="connsiteX258" fmla="*/ 7369 w 10000"/>
              <a:gd name="connsiteY258" fmla="*/ 61 h 10000"/>
              <a:gd name="connsiteX259" fmla="*/ 7422 w 10000"/>
              <a:gd name="connsiteY259" fmla="*/ 86 h 10000"/>
              <a:gd name="connsiteX260" fmla="*/ 7435 w 10000"/>
              <a:gd name="connsiteY260" fmla="*/ 139 h 10000"/>
              <a:gd name="connsiteX261" fmla="*/ 7417 w 10000"/>
              <a:gd name="connsiteY261" fmla="*/ 181 h 10000"/>
              <a:gd name="connsiteX262" fmla="*/ 7369 w 10000"/>
              <a:gd name="connsiteY262" fmla="*/ 208 h 10000"/>
              <a:gd name="connsiteX263" fmla="*/ 7334 w 10000"/>
              <a:gd name="connsiteY263" fmla="*/ 283 h 10000"/>
              <a:gd name="connsiteX264" fmla="*/ 7269 w 10000"/>
              <a:gd name="connsiteY264" fmla="*/ 336 h 10000"/>
              <a:gd name="connsiteX265" fmla="*/ 7282 w 10000"/>
              <a:gd name="connsiteY265" fmla="*/ 387 h 10000"/>
              <a:gd name="connsiteX266" fmla="*/ 7382 w 10000"/>
              <a:gd name="connsiteY266" fmla="*/ 434 h 10000"/>
              <a:gd name="connsiteX267" fmla="*/ 7317 w 10000"/>
              <a:gd name="connsiteY267" fmla="*/ 475 h 10000"/>
              <a:gd name="connsiteX268" fmla="*/ 7221 w 10000"/>
              <a:gd name="connsiteY268" fmla="*/ 485 h 10000"/>
              <a:gd name="connsiteX269" fmla="*/ 6420 w 10000"/>
              <a:gd name="connsiteY269" fmla="*/ 387 h 10000"/>
              <a:gd name="connsiteX270" fmla="*/ 6324 w 10000"/>
              <a:gd name="connsiteY270" fmla="*/ 395 h 10000"/>
              <a:gd name="connsiteX271" fmla="*/ 6267 w 10000"/>
              <a:gd name="connsiteY271" fmla="*/ 414 h 10000"/>
              <a:gd name="connsiteX272" fmla="*/ 6211 w 10000"/>
              <a:gd name="connsiteY272" fmla="*/ 462 h 10000"/>
              <a:gd name="connsiteX273" fmla="*/ 6220 w 10000"/>
              <a:gd name="connsiteY273" fmla="*/ 581 h 10000"/>
              <a:gd name="connsiteX274" fmla="*/ 6132 w 10000"/>
              <a:gd name="connsiteY274" fmla="*/ 735 h 10000"/>
              <a:gd name="connsiteX275" fmla="*/ 6024 w 10000"/>
              <a:gd name="connsiteY275" fmla="*/ 815 h 10000"/>
              <a:gd name="connsiteX276" fmla="*/ 5980 w 10000"/>
              <a:gd name="connsiteY276" fmla="*/ 805 h 10000"/>
              <a:gd name="connsiteX277" fmla="*/ 5880 w 10000"/>
              <a:gd name="connsiteY277" fmla="*/ 739 h 10000"/>
              <a:gd name="connsiteX278" fmla="*/ 5753 w 10000"/>
              <a:gd name="connsiteY278" fmla="*/ 705 h 10000"/>
              <a:gd name="connsiteX279" fmla="*/ 5618 w 10000"/>
              <a:gd name="connsiteY279" fmla="*/ 715 h 10000"/>
              <a:gd name="connsiteX280" fmla="*/ 5301 w 10000"/>
              <a:gd name="connsiteY280" fmla="*/ 866 h 10000"/>
              <a:gd name="connsiteX281" fmla="*/ 5218 w 10000"/>
              <a:gd name="connsiteY281" fmla="*/ 1017 h 10000"/>
              <a:gd name="connsiteX282" fmla="*/ 4978 w 10000"/>
              <a:gd name="connsiteY282" fmla="*/ 1153 h 10000"/>
              <a:gd name="connsiteX283" fmla="*/ 4935 w 10000"/>
              <a:gd name="connsiteY283" fmla="*/ 1222 h 10000"/>
              <a:gd name="connsiteX284" fmla="*/ 5061 w 10000"/>
              <a:gd name="connsiteY284" fmla="*/ 1344 h 10000"/>
              <a:gd name="connsiteX285" fmla="*/ 5074 w 10000"/>
              <a:gd name="connsiteY285" fmla="*/ 1412 h 10000"/>
              <a:gd name="connsiteX286" fmla="*/ 4421 w 10000"/>
              <a:gd name="connsiteY286" fmla="*/ 1813 h 10000"/>
              <a:gd name="connsiteX287" fmla="*/ 4220 w 10000"/>
              <a:gd name="connsiteY287" fmla="*/ 2070 h 10000"/>
              <a:gd name="connsiteX288" fmla="*/ 4003 w 10000"/>
              <a:gd name="connsiteY288" fmla="*/ 2135 h 10000"/>
              <a:gd name="connsiteX289" fmla="*/ 3868 w 10000"/>
              <a:gd name="connsiteY289" fmla="*/ 2131 h 10000"/>
              <a:gd name="connsiteX290" fmla="*/ 3785 w 10000"/>
              <a:gd name="connsiteY290" fmla="*/ 2153 h 10000"/>
              <a:gd name="connsiteX291" fmla="*/ 3558 w 10000"/>
              <a:gd name="connsiteY291" fmla="*/ 2793 h 10000"/>
              <a:gd name="connsiteX292" fmla="*/ 3036 w 10000"/>
              <a:gd name="connsiteY292" fmla="*/ 3166 h 10000"/>
              <a:gd name="connsiteX293" fmla="*/ 3040 w 10000"/>
              <a:gd name="connsiteY293" fmla="*/ 3225 h 10000"/>
              <a:gd name="connsiteX294" fmla="*/ 3271 w 10000"/>
              <a:gd name="connsiteY294" fmla="*/ 3392 h 10000"/>
              <a:gd name="connsiteX295" fmla="*/ 3197 w 10000"/>
              <a:gd name="connsiteY295" fmla="*/ 3573 h 10000"/>
              <a:gd name="connsiteX296" fmla="*/ 3062 w 10000"/>
              <a:gd name="connsiteY296" fmla="*/ 3640 h 10000"/>
              <a:gd name="connsiteX297" fmla="*/ 2657 w 10000"/>
              <a:gd name="connsiteY297" fmla="*/ 3595 h 10000"/>
              <a:gd name="connsiteX298" fmla="*/ 2378 w 10000"/>
              <a:gd name="connsiteY298" fmla="*/ 3620 h 10000"/>
              <a:gd name="connsiteX299" fmla="*/ 2152 w 10000"/>
              <a:gd name="connsiteY299" fmla="*/ 3673 h 10000"/>
              <a:gd name="connsiteX300" fmla="*/ 1790 w 10000"/>
              <a:gd name="connsiteY300" fmla="*/ 3840 h 10000"/>
              <a:gd name="connsiteX301" fmla="*/ 1598 w 10000"/>
              <a:gd name="connsiteY301" fmla="*/ 4042 h 10000"/>
              <a:gd name="connsiteX302" fmla="*/ 1616 w 10000"/>
              <a:gd name="connsiteY302" fmla="*/ 4154 h 10000"/>
              <a:gd name="connsiteX303" fmla="*/ 1681 w 10000"/>
              <a:gd name="connsiteY303" fmla="*/ 4241 h 10000"/>
              <a:gd name="connsiteX304" fmla="*/ 1733 w 10000"/>
              <a:gd name="connsiteY304" fmla="*/ 4276 h 10000"/>
              <a:gd name="connsiteX305" fmla="*/ 1638 w 10000"/>
              <a:gd name="connsiteY305" fmla="*/ 4331 h 10000"/>
              <a:gd name="connsiteX306" fmla="*/ 1433 w 10000"/>
              <a:gd name="connsiteY306" fmla="*/ 4710 h 10000"/>
              <a:gd name="connsiteX307" fmla="*/ 1472 w 10000"/>
              <a:gd name="connsiteY307" fmla="*/ 4732 h 10000"/>
              <a:gd name="connsiteX308" fmla="*/ 1503 w 10000"/>
              <a:gd name="connsiteY308" fmla="*/ 4828 h 10000"/>
              <a:gd name="connsiteX309" fmla="*/ 1407 w 10000"/>
              <a:gd name="connsiteY309" fmla="*/ 5227 h 10000"/>
              <a:gd name="connsiteX310" fmla="*/ 1503 w 10000"/>
              <a:gd name="connsiteY310" fmla="*/ 5329 h 10000"/>
              <a:gd name="connsiteX311" fmla="*/ 1764 w 10000"/>
              <a:gd name="connsiteY311" fmla="*/ 5441 h 10000"/>
              <a:gd name="connsiteX312" fmla="*/ 1777 w 10000"/>
              <a:gd name="connsiteY312" fmla="*/ 5578 h 10000"/>
              <a:gd name="connsiteX313" fmla="*/ 1664 w 10000"/>
              <a:gd name="connsiteY313" fmla="*/ 5690 h 10000"/>
              <a:gd name="connsiteX314" fmla="*/ 1503 w 10000"/>
              <a:gd name="connsiteY314" fmla="*/ 5759 h 10000"/>
              <a:gd name="connsiteX315" fmla="*/ 1289 w 10000"/>
              <a:gd name="connsiteY315" fmla="*/ 5787 h 10000"/>
              <a:gd name="connsiteX316" fmla="*/ 1233 w 10000"/>
              <a:gd name="connsiteY316" fmla="*/ 5826 h 10000"/>
              <a:gd name="connsiteX317" fmla="*/ 1359 w 10000"/>
              <a:gd name="connsiteY317" fmla="*/ 5920 h 10000"/>
              <a:gd name="connsiteX318" fmla="*/ 1429 w 10000"/>
              <a:gd name="connsiteY318" fmla="*/ 6142 h 10000"/>
              <a:gd name="connsiteX319" fmla="*/ 1267 w 10000"/>
              <a:gd name="connsiteY319" fmla="*/ 6333 h 10000"/>
              <a:gd name="connsiteX320" fmla="*/ 1324 w 10000"/>
              <a:gd name="connsiteY320" fmla="*/ 6392 h 10000"/>
              <a:gd name="connsiteX321" fmla="*/ 1272 w 10000"/>
              <a:gd name="connsiteY321" fmla="*/ 6492 h 10000"/>
              <a:gd name="connsiteX322" fmla="*/ 1167 w 10000"/>
              <a:gd name="connsiteY322" fmla="*/ 6561 h 10000"/>
              <a:gd name="connsiteX323" fmla="*/ 758 w 10000"/>
              <a:gd name="connsiteY323" fmla="*/ 6614 h 10000"/>
              <a:gd name="connsiteX324" fmla="*/ 732 w 10000"/>
              <a:gd name="connsiteY324" fmla="*/ 6706 h 10000"/>
              <a:gd name="connsiteX325" fmla="*/ 510 w 10000"/>
              <a:gd name="connsiteY325" fmla="*/ 6843 h 10000"/>
              <a:gd name="connsiteX326" fmla="*/ 540 w 10000"/>
              <a:gd name="connsiteY326" fmla="*/ 7040 h 10000"/>
              <a:gd name="connsiteX327" fmla="*/ 353 w 10000"/>
              <a:gd name="connsiteY327" fmla="*/ 7293 h 10000"/>
              <a:gd name="connsiteX328" fmla="*/ 226 w 10000"/>
              <a:gd name="connsiteY328" fmla="*/ 7323 h 10000"/>
              <a:gd name="connsiteX329" fmla="*/ 174 w 10000"/>
              <a:gd name="connsiteY329" fmla="*/ 7262 h 10000"/>
              <a:gd name="connsiteX330" fmla="*/ 109 w 10000"/>
              <a:gd name="connsiteY330" fmla="*/ 7354 h 10000"/>
              <a:gd name="connsiteX331" fmla="*/ 152 w 10000"/>
              <a:gd name="connsiteY331" fmla="*/ 7197 h 10000"/>
              <a:gd name="connsiteX332" fmla="*/ 126 w 10000"/>
              <a:gd name="connsiteY33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685 w 10000"/>
              <a:gd name="connsiteY213" fmla="*/ 2597 h 10000"/>
              <a:gd name="connsiteX214" fmla="*/ 8558 w 10000"/>
              <a:gd name="connsiteY214" fmla="*/ 2481 h 10000"/>
              <a:gd name="connsiteX215" fmla="*/ 8558 w 10000"/>
              <a:gd name="connsiteY215" fmla="*/ 2459 h 10000"/>
              <a:gd name="connsiteX216" fmla="*/ 8698 w 10000"/>
              <a:gd name="connsiteY216" fmla="*/ 2504 h 10000"/>
              <a:gd name="connsiteX217" fmla="*/ 8763 w 10000"/>
              <a:gd name="connsiteY217" fmla="*/ 2548 h 10000"/>
              <a:gd name="connsiteX218" fmla="*/ 8815 w 10000"/>
              <a:gd name="connsiteY218" fmla="*/ 2548 h 10000"/>
              <a:gd name="connsiteX219" fmla="*/ 8789 w 10000"/>
              <a:gd name="connsiteY219" fmla="*/ 2457 h 10000"/>
              <a:gd name="connsiteX220" fmla="*/ 8798 w 10000"/>
              <a:gd name="connsiteY220" fmla="*/ 2467 h 10000"/>
              <a:gd name="connsiteX221" fmla="*/ 8841 w 10000"/>
              <a:gd name="connsiteY221" fmla="*/ 2457 h 10000"/>
              <a:gd name="connsiteX222" fmla="*/ 8855 w 10000"/>
              <a:gd name="connsiteY222" fmla="*/ 2341 h 10000"/>
              <a:gd name="connsiteX223" fmla="*/ 8898 w 10000"/>
              <a:gd name="connsiteY223" fmla="*/ 2332 h 10000"/>
              <a:gd name="connsiteX224" fmla="*/ 8946 w 10000"/>
              <a:gd name="connsiteY224" fmla="*/ 2330 h 10000"/>
              <a:gd name="connsiteX225" fmla="*/ 8946 w 10000"/>
              <a:gd name="connsiteY225" fmla="*/ 2361 h 10000"/>
              <a:gd name="connsiteX226" fmla="*/ 8994 w 10000"/>
              <a:gd name="connsiteY226" fmla="*/ 2389 h 10000"/>
              <a:gd name="connsiteX227" fmla="*/ 9051 w 10000"/>
              <a:gd name="connsiteY227" fmla="*/ 2400 h 10000"/>
              <a:gd name="connsiteX228" fmla="*/ 9094 w 10000"/>
              <a:gd name="connsiteY228" fmla="*/ 2324 h 10000"/>
              <a:gd name="connsiteX229" fmla="*/ 9164 w 10000"/>
              <a:gd name="connsiteY229" fmla="*/ 2347 h 10000"/>
              <a:gd name="connsiteX230" fmla="*/ 9247 w 10000"/>
              <a:gd name="connsiteY230" fmla="*/ 2402 h 10000"/>
              <a:gd name="connsiteX231" fmla="*/ 9286 w 10000"/>
              <a:gd name="connsiteY231" fmla="*/ 2400 h 10000"/>
              <a:gd name="connsiteX232" fmla="*/ 9355 w 10000"/>
              <a:gd name="connsiteY232" fmla="*/ 2428 h 10000"/>
              <a:gd name="connsiteX233" fmla="*/ 9408 w 10000"/>
              <a:gd name="connsiteY233" fmla="*/ 2359 h 10000"/>
              <a:gd name="connsiteX234" fmla="*/ 9717 w 10000"/>
              <a:gd name="connsiteY234" fmla="*/ 2343 h 10000"/>
              <a:gd name="connsiteX235" fmla="*/ 9830 w 10000"/>
              <a:gd name="connsiteY235" fmla="*/ 2369 h 10000"/>
              <a:gd name="connsiteX236" fmla="*/ 9909 w 10000"/>
              <a:gd name="connsiteY236" fmla="*/ 2410 h 10000"/>
              <a:gd name="connsiteX237" fmla="*/ 9948 w 10000"/>
              <a:gd name="connsiteY237" fmla="*/ 2365 h 10000"/>
              <a:gd name="connsiteX238" fmla="*/ 10000 w 10000"/>
              <a:gd name="connsiteY238" fmla="*/ 2349 h 10000"/>
              <a:gd name="connsiteX239" fmla="*/ 9704 w 10000"/>
              <a:gd name="connsiteY239" fmla="*/ 1992 h 10000"/>
              <a:gd name="connsiteX240" fmla="*/ 9743 w 10000"/>
              <a:gd name="connsiteY240" fmla="*/ 1897 h 10000"/>
              <a:gd name="connsiteX241" fmla="*/ 9830 w 10000"/>
              <a:gd name="connsiteY241" fmla="*/ 1819 h 10000"/>
              <a:gd name="connsiteX242" fmla="*/ 9830 w 10000"/>
              <a:gd name="connsiteY242" fmla="*/ 1699 h 10000"/>
              <a:gd name="connsiteX243" fmla="*/ 9556 w 10000"/>
              <a:gd name="connsiteY243" fmla="*/ 1465 h 10000"/>
              <a:gd name="connsiteX244" fmla="*/ 9512 w 10000"/>
              <a:gd name="connsiteY244" fmla="*/ 1379 h 10000"/>
              <a:gd name="connsiteX245" fmla="*/ 9573 w 10000"/>
              <a:gd name="connsiteY245" fmla="*/ 1271 h 10000"/>
              <a:gd name="connsiteX246" fmla="*/ 9543 w 10000"/>
              <a:gd name="connsiteY246" fmla="*/ 1194 h 10000"/>
              <a:gd name="connsiteX247" fmla="*/ 9486 w 10000"/>
              <a:gd name="connsiteY247" fmla="*/ 1159 h 10000"/>
              <a:gd name="connsiteX248" fmla="*/ 9438 w 10000"/>
              <a:gd name="connsiteY248" fmla="*/ 978 h 10000"/>
              <a:gd name="connsiteX249" fmla="*/ 9495 w 10000"/>
              <a:gd name="connsiteY249" fmla="*/ 831 h 10000"/>
              <a:gd name="connsiteX250" fmla="*/ 9077 w 10000"/>
              <a:gd name="connsiteY250" fmla="*/ 517 h 10000"/>
              <a:gd name="connsiteX251" fmla="*/ 8872 w 10000"/>
              <a:gd name="connsiteY251" fmla="*/ 440 h 10000"/>
              <a:gd name="connsiteX252" fmla="*/ 8493 w 10000"/>
              <a:gd name="connsiteY252" fmla="*/ 389 h 10000"/>
              <a:gd name="connsiteX253" fmla="*/ 7709 w 10000"/>
              <a:gd name="connsiteY253" fmla="*/ 26 h 10000"/>
              <a:gd name="connsiteX254" fmla="*/ 7683 w 10000"/>
              <a:gd name="connsiteY254" fmla="*/ 2 h 10000"/>
              <a:gd name="connsiteX255" fmla="*/ 7417 w 10000"/>
              <a:gd name="connsiteY255" fmla="*/ 0 h 10000"/>
              <a:gd name="connsiteX256" fmla="*/ 7356 w 10000"/>
              <a:gd name="connsiteY256" fmla="*/ 14 h 10000"/>
              <a:gd name="connsiteX257" fmla="*/ 7369 w 10000"/>
              <a:gd name="connsiteY257" fmla="*/ 61 h 10000"/>
              <a:gd name="connsiteX258" fmla="*/ 7422 w 10000"/>
              <a:gd name="connsiteY258" fmla="*/ 86 h 10000"/>
              <a:gd name="connsiteX259" fmla="*/ 7435 w 10000"/>
              <a:gd name="connsiteY259" fmla="*/ 139 h 10000"/>
              <a:gd name="connsiteX260" fmla="*/ 7417 w 10000"/>
              <a:gd name="connsiteY260" fmla="*/ 181 h 10000"/>
              <a:gd name="connsiteX261" fmla="*/ 7369 w 10000"/>
              <a:gd name="connsiteY261" fmla="*/ 208 h 10000"/>
              <a:gd name="connsiteX262" fmla="*/ 7334 w 10000"/>
              <a:gd name="connsiteY262" fmla="*/ 283 h 10000"/>
              <a:gd name="connsiteX263" fmla="*/ 7269 w 10000"/>
              <a:gd name="connsiteY263" fmla="*/ 336 h 10000"/>
              <a:gd name="connsiteX264" fmla="*/ 7282 w 10000"/>
              <a:gd name="connsiteY264" fmla="*/ 387 h 10000"/>
              <a:gd name="connsiteX265" fmla="*/ 7382 w 10000"/>
              <a:gd name="connsiteY265" fmla="*/ 434 h 10000"/>
              <a:gd name="connsiteX266" fmla="*/ 7317 w 10000"/>
              <a:gd name="connsiteY266" fmla="*/ 475 h 10000"/>
              <a:gd name="connsiteX267" fmla="*/ 7221 w 10000"/>
              <a:gd name="connsiteY267" fmla="*/ 485 h 10000"/>
              <a:gd name="connsiteX268" fmla="*/ 6420 w 10000"/>
              <a:gd name="connsiteY268" fmla="*/ 387 h 10000"/>
              <a:gd name="connsiteX269" fmla="*/ 6324 w 10000"/>
              <a:gd name="connsiteY269" fmla="*/ 395 h 10000"/>
              <a:gd name="connsiteX270" fmla="*/ 6267 w 10000"/>
              <a:gd name="connsiteY270" fmla="*/ 414 h 10000"/>
              <a:gd name="connsiteX271" fmla="*/ 6211 w 10000"/>
              <a:gd name="connsiteY271" fmla="*/ 462 h 10000"/>
              <a:gd name="connsiteX272" fmla="*/ 6220 w 10000"/>
              <a:gd name="connsiteY272" fmla="*/ 581 h 10000"/>
              <a:gd name="connsiteX273" fmla="*/ 6132 w 10000"/>
              <a:gd name="connsiteY273" fmla="*/ 735 h 10000"/>
              <a:gd name="connsiteX274" fmla="*/ 6024 w 10000"/>
              <a:gd name="connsiteY274" fmla="*/ 815 h 10000"/>
              <a:gd name="connsiteX275" fmla="*/ 5980 w 10000"/>
              <a:gd name="connsiteY275" fmla="*/ 805 h 10000"/>
              <a:gd name="connsiteX276" fmla="*/ 5880 w 10000"/>
              <a:gd name="connsiteY276" fmla="*/ 739 h 10000"/>
              <a:gd name="connsiteX277" fmla="*/ 5753 w 10000"/>
              <a:gd name="connsiteY277" fmla="*/ 705 h 10000"/>
              <a:gd name="connsiteX278" fmla="*/ 5618 w 10000"/>
              <a:gd name="connsiteY278" fmla="*/ 715 h 10000"/>
              <a:gd name="connsiteX279" fmla="*/ 5301 w 10000"/>
              <a:gd name="connsiteY279" fmla="*/ 866 h 10000"/>
              <a:gd name="connsiteX280" fmla="*/ 5218 w 10000"/>
              <a:gd name="connsiteY280" fmla="*/ 1017 h 10000"/>
              <a:gd name="connsiteX281" fmla="*/ 4978 w 10000"/>
              <a:gd name="connsiteY281" fmla="*/ 1153 h 10000"/>
              <a:gd name="connsiteX282" fmla="*/ 4935 w 10000"/>
              <a:gd name="connsiteY282" fmla="*/ 1222 h 10000"/>
              <a:gd name="connsiteX283" fmla="*/ 5061 w 10000"/>
              <a:gd name="connsiteY283" fmla="*/ 1344 h 10000"/>
              <a:gd name="connsiteX284" fmla="*/ 5074 w 10000"/>
              <a:gd name="connsiteY284" fmla="*/ 1412 h 10000"/>
              <a:gd name="connsiteX285" fmla="*/ 4421 w 10000"/>
              <a:gd name="connsiteY285" fmla="*/ 1813 h 10000"/>
              <a:gd name="connsiteX286" fmla="*/ 4220 w 10000"/>
              <a:gd name="connsiteY286" fmla="*/ 2070 h 10000"/>
              <a:gd name="connsiteX287" fmla="*/ 4003 w 10000"/>
              <a:gd name="connsiteY287" fmla="*/ 2135 h 10000"/>
              <a:gd name="connsiteX288" fmla="*/ 3868 w 10000"/>
              <a:gd name="connsiteY288" fmla="*/ 2131 h 10000"/>
              <a:gd name="connsiteX289" fmla="*/ 3785 w 10000"/>
              <a:gd name="connsiteY289" fmla="*/ 2153 h 10000"/>
              <a:gd name="connsiteX290" fmla="*/ 3558 w 10000"/>
              <a:gd name="connsiteY290" fmla="*/ 2793 h 10000"/>
              <a:gd name="connsiteX291" fmla="*/ 3036 w 10000"/>
              <a:gd name="connsiteY291" fmla="*/ 3166 h 10000"/>
              <a:gd name="connsiteX292" fmla="*/ 3040 w 10000"/>
              <a:gd name="connsiteY292" fmla="*/ 3225 h 10000"/>
              <a:gd name="connsiteX293" fmla="*/ 3271 w 10000"/>
              <a:gd name="connsiteY293" fmla="*/ 3392 h 10000"/>
              <a:gd name="connsiteX294" fmla="*/ 3197 w 10000"/>
              <a:gd name="connsiteY294" fmla="*/ 3573 h 10000"/>
              <a:gd name="connsiteX295" fmla="*/ 3062 w 10000"/>
              <a:gd name="connsiteY295" fmla="*/ 3640 h 10000"/>
              <a:gd name="connsiteX296" fmla="*/ 2657 w 10000"/>
              <a:gd name="connsiteY296" fmla="*/ 3595 h 10000"/>
              <a:gd name="connsiteX297" fmla="*/ 2378 w 10000"/>
              <a:gd name="connsiteY297" fmla="*/ 3620 h 10000"/>
              <a:gd name="connsiteX298" fmla="*/ 2152 w 10000"/>
              <a:gd name="connsiteY298" fmla="*/ 3673 h 10000"/>
              <a:gd name="connsiteX299" fmla="*/ 1790 w 10000"/>
              <a:gd name="connsiteY299" fmla="*/ 3840 h 10000"/>
              <a:gd name="connsiteX300" fmla="*/ 1598 w 10000"/>
              <a:gd name="connsiteY300" fmla="*/ 4042 h 10000"/>
              <a:gd name="connsiteX301" fmla="*/ 1616 w 10000"/>
              <a:gd name="connsiteY301" fmla="*/ 4154 h 10000"/>
              <a:gd name="connsiteX302" fmla="*/ 1681 w 10000"/>
              <a:gd name="connsiteY302" fmla="*/ 4241 h 10000"/>
              <a:gd name="connsiteX303" fmla="*/ 1733 w 10000"/>
              <a:gd name="connsiteY303" fmla="*/ 4276 h 10000"/>
              <a:gd name="connsiteX304" fmla="*/ 1638 w 10000"/>
              <a:gd name="connsiteY304" fmla="*/ 4331 h 10000"/>
              <a:gd name="connsiteX305" fmla="*/ 1433 w 10000"/>
              <a:gd name="connsiteY305" fmla="*/ 4710 h 10000"/>
              <a:gd name="connsiteX306" fmla="*/ 1472 w 10000"/>
              <a:gd name="connsiteY306" fmla="*/ 4732 h 10000"/>
              <a:gd name="connsiteX307" fmla="*/ 1503 w 10000"/>
              <a:gd name="connsiteY307" fmla="*/ 4828 h 10000"/>
              <a:gd name="connsiteX308" fmla="*/ 1407 w 10000"/>
              <a:gd name="connsiteY308" fmla="*/ 5227 h 10000"/>
              <a:gd name="connsiteX309" fmla="*/ 1503 w 10000"/>
              <a:gd name="connsiteY309" fmla="*/ 5329 h 10000"/>
              <a:gd name="connsiteX310" fmla="*/ 1764 w 10000"/>
              <a:gd name="connsiteY310" fmla="*/ 5441 h 10000"/>
              <a:gd name="connsiteX311" fmla="*/ 1777 w 10000"/>
              <a:gd name="connsiteY311" fmla="*/ 5578 h 10000"/>
              <a:gd name="connsiteX312" fmla="*/ 1664 w 10000"/>
              <a:gd name="connsiteY312" fmla="*/ 5690 h 10000"/>
              <a:gd name="connsiteX313" fmla="*/ 1503 w 10000"/>
              <a:gd name="connsiteY313" fmla="*/ 5759 h 10000"/>
              <a:gd name="connsiteX314" fmla="*/ 1289 w 10000"/>
              <a:gd name="connsiteY314" fmla="*/ 5787 h 10000"/>
              <a:gd name="connsiteX315" fmla="*/ 1233 w 10000"/>
              <a:gd name="connsiteY315" fmla="*/ 5826 h 10000"/>
              <a:gd name="connsiteX316" fmla="*/ 1359 w 10000"/>
              <a:gd name="connsiteY316" fmla="*/ 5920 h 10000"/>
              <a:gd name="connsiteX317" fmla="*/ 1429 w 10000"/>
              <a:gd name="connsiteY317" fmla="*/ 6142 h 10000"/>
              <a:gd name="connsiteX318" fmla="*/ 1267 w 10000"/>
              <a:gd name="connsiteY318" fmla="*/ 6333 h 10000"/>
              <a:gd name="connsiteX319" fmla="*/ 1324 w 10000"/>
              <a:gd name="connsiteY319" fmla="*/ 6392 h 10000"/>
              <a:gd name="connsiteX320" fmla="*/ 1272 w 10000"/>
              <a:gd name="connsiteY320" fmla="*/ 6492 h 10000"/>
              <a:gd name="connsiteX321" fmla="*/ 1167 w 10000"/>
              <a:gd name="connsiteY321" fmla="*/ 6561 h 10000"/>
              <a:gd name="connsiteX322" fmla="*/ 758 w 10000"/>
              <a:gd name="connsiteY322" fmla="*/ 6614 h 10000"/>
              <a:gd name="connsiteX323" fmla="*/ 732 w 10000"/>
              <a:gd name="connsiteY323" fmla="*/ 6706 h 10000"/>
              <a:gd name="connsiteX324" fmla="*/ 510 w 10000"/>
              <a:gd name="connsiteY324" fmla="*/ 6843 h 10000"/>
              <a:gd name="connsiteX325" fmla="*/ 540 w 10000"/>
              <a:gd name="connsiteY325" fmla="*/ 7040 h 10000"/>
              <a:gd name="connsiteX326" fmla="*/ 353 w 10000"/>
              <a:gd name="connsiteY326" fmla="*/ 7293 h 10000"/>
              <a:gd name="connsiteX327" fmla="*/ 226 w 10000"/>
              <a:gd name="connsiteY327" fmla="*/ 7323 h 10000"/>
              <a:gd name="connsiteX328" fmla="*/ 174 w 10000"/>
              <a:gd name="connsiteY328" fmla="*/ 7262 h 10000"/>
              <a:gd name="connsiteX329" fmla="*/ 109 w 10000"/>
              <a:gd name="connsiteY329" fmla="*/ 7354 h 10000"/>
              <a:gd name="connsiteX330" fmla="*/ 152 w 10000"/>
              <a:gd name="connsiteY330" fmla="*/ 7197 h 10000"/>
              <a:gd name="connsiteX331" fmla="*/ 126 w 10000"/>
              <a:gd name="connsiteY33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402 w 10000"/>
              <a:gd name="connsiteY208" fmla="*/ 2662 h 10000"/>
              <a:gd name="connsiteX209" fmla="*/ 8449 w 10000"/>
              <a:gd name="connsiteY209" fmla="*/ 2656 h 10000"/>
              <a:gd name="connsiteX210" fmla="*/ 8593 w 10000"/>
              <a:gd name="connsiteY210" fmla="*/ 2669 h 10000"/>
              <a:gd name="connsiteX211" fmla="*/ 8606 w 10000"/>
              <a:gd name="connsiteY211" fmla="*/ 2630 h 10000"/>
              <a:gd name="connsiteX212" fmla="*/ 8685 w 10000"/>
              <a:gd name="connsiteY212" fmla="*/ 2597 h 10000"/>
              <a:gd name="connsiteX213" fmla="*/ 8558 w 10000"/>
              <a:gd name="connsiteY213" fmla="*/ 2481 h 10000"/>
              <a:gd name="connsiteX214" fmla="*/ 8558 w 10000"/>
              <a:gd name="connsiteY214" fmla="*/ 2459 h 10000"/>
              <a:gd name="connsiteX215" fmla="*/ 8698 w 10000"/>
              <a:gd name="connsiteY215" fmla="*/ 2504 h 10000"/>
              <a:gd name="connsiteX216" fmla="*/ 8763 w 10000"/>
              <a:gd name="connsiteY216" fmla="*/ 2548 h 10000"/>
              <a:gd name="connsiteX217" fmla="*/ 8815 w 10000"/>
              <a:gd name="connsiteY217" fmla="*/ 2548 h 10000"/>
              <a:gd name="connsiteX218" fmla="*/ 8789 w 10000"/>
              <a:gd name="connsiteY218" fmla="*/ 2457 h 10000"/>
              <a:gd name="connsiteX219" fmla="*/ 8798 w 10000"/>
              <a:gd name="connsiteY219" fmla="*/ 2467 h 10000"/>
              <a:gd name="connsiteX220" fmla="*/ 8841 w 10000"/>
              <a:gd name="connsiteY220" fmla="*/ 2457 h 10000"/>
              <a:gd name="connsiteX221" fmla="*/ 8855 w 10000"/>
              <a:gd name="connsiteY221" fmla="*/ 2341 h 10000"/>
              <a:gd name="connsiteX222" fmla="*/ 8898 w 10000"/>
              <a:gd name="connsiteY222" fmla="*/ 2332 h 10000"/>
              <a:gd name="connsiteX223" fmla="*/ 8946 w 10000"/>
              <a:gd name="connsiteY223" fmla="*/ 2330 h 10000"/>
              <a:gd name="connsiteX224" fmla="*/ 8946 w 10000"/>
              <a:gd name="connsiteY224" fmla="*/ 2361 h 10000"/>
              <a:gd name="connsiteX225" fmla="*/ 8994 w 10000"/>
              <a:gd name="connsiteY225" fmla="*/ 2389 h 10000"/>
              <a:gd name="connsiteX226" fmla="*/ 9051 w 10000"/>
              <a:gd name="connsiteY226" fmla="*/ 2400 h 10000"/>
              <a:gd name="connsiteX227" fmla="*/ 9094 w 10000"/>
              <a:gd name="connsiteY227" fmla="*/ 2324 h 10000"/>
              <a:gd name="connsiteX228" fmla="*/ 9164 w 10000"/>
              <a:gd name="connsiteY228" fmla="*/ 2347 h 10000"/>
              <a:gd name="connsiteX229" fmla="*/ 9247 w 10000"/>
              <a:gd name="connsiteY229" fmla="*/ 2402 h 10000"/>
              <a:gd name="connsiteX230" fmla="*/ 9286 w 10000"/>
              <a:gd name="connsiteY230" fmla="*/ 2400 h 10000"/>
              <a:gd name="connsiteX231" fmla="*/ 9355 w 10000"/>
              <a:gd name="connsiteY231" fmla="*/ 2428 h 10000"/>
              <a:gd name="connsiteX232" fmla="*/ 9408 w 10000"/>
              <a:gd name="connsiteY232" fmla="*/ 2359 h 10000"/>
              <a:gd name="connsiteX233" fmla="*/ 9717 w 10000"/>
              <a:gd name="connsiteY233" fmla="*/ 2343 h 10000"/>
              <a:gd name="connsiteX234" fmla="*/ 9830 w 10000"/>
              <a:gd name="connsiteY234" fmla="*/ 2369 h 10000"/>
              <a:gd name="connsiteX235" fmla="*/ 9909 w 10000"/>
              <a:gd name="connsiteY235" fmla="*/ 2410 h 10000"/>
              <a:gd name="connsiteX236" fmla="*/ 9948 w 10000"/>
              <a:gd name="connsiteY236" fmla="*/ 2365 h 10000"/>
              <a:gd name="connsiteX237" fmla="*/ 10000 w 10000"/>
              <a:gd name="connsiteY237" fmla="*/ 2349 h 10000"/>
              <a:gd name="connsiteX238" fmla="*/ 9704 w 10000"/>
              <a:gd name="connsiteY238" fmla="*/ 1992 h 10000"/>
              <a:gd name="connsiteX239" fmla="*/ 9743 w 10000"/>
              <a:gd name="connsiteY239" fmla="*/ 1897 h 10000"/>
              <a:gd name="connsiteX240" fmla="*/ 9830 w 10000"/>
              <a:gd name="connsiteY240" fmla="*/ 1819 h 10000"/>
              <a:gd name="connsiteX241" fmla="*/ 9830 w 10000"/>
              <a:gd name="connsiteY241" fmla="*/ 1699 h 10000"/>
              <a:gd name="connsiteX242" fmla="*/ 9556 w 10000"/>
              <a:gd name="connsiteY242" fmla="*/ 1465 h 10000"/>
              <a:gd name="connsiteX243" fmla="*/ 9512 w 10000"/>
              <a:gd name="connsiteY243" fmla="*/ 1379 h 10000"/>
              <a:gd name="connsiteX244" fmla="*/ 9573 w 10000"/>
              <a:gd name="connsiteY244" fmla="*/ 1271 h 10000"/>
              <a:gd name="connsiteX245" fmla="*/ 9543 w 10000"/>
              <a:gd name="connsiteY245" fmla="*/ 1194 h 10000"/>
              <a:gd name="connsiteX246" fmla="*/ 9486 w 10000"/>
              <a:gd name="connsiteY246" fmla="*/ 1159 h 10000"/>
              <a:gd name="connsiteX247" fmla="*/ 9438 w 10000"/>
              <a:gd name="connsiteY247" fmla="*/ 978 h 10000"/>
              <a:gd name="connsiteX248" fmla="*/ 9495 w 10000"/>
              <a:gd name="connsiteY248" fmla="*/ 831 h 10000"/>
              <a:gd name="connsiteX249" fmla="*/ 9077 w 10000"/>
              <a:gd name="connsiteY249" fmla="*/ 517 h 10000"/>
              <a:gd name="connsiteX250" fmla="*/ 8872 w 10000"/>
              <a:gd name="connsiteY250" fmla="*/ 440 h 10000"/>
              <a:gd name="connsiteX251" fmla="*/ 8493 w 10000"/>
              <a:gd name="connsiteY251" fmla="*/ 389 h 10000"/>
              <a:gd name="connsiteX252" fmla="*/ 7709 w 10000"/>
              <a:gd name="connsiteY252" fmla="*/ 26 h 10000"/>
              <a:gd name="connsiteX253" fmla="*/ 7683 w 10000"/>
              <a:gd name="connsiteY253" fmla="*/ 2 h 10000"/>
              <a:gd name="connsiteX254" fmla="*/ 7417 w 10000"/>
              <a:gd name="connsiteY254" fmla="*/ 0 h 10000"/>
              <a:gd name="connsiteX255" fmla="*/ 7356 w 10000"/>
              <a:gd name="connsiteY255" fmla="*/ 14 h 10000"/>
              <a:gd name="connsiteX256" fmla="*/ 7369 w 10000"/>
              <a:gd name="connsiteY256" fmla="*/ 61 h 10000"/>
              <a:gd name="connsiteX257" fmla="*/ 7422 w 10000"/>
              <a:gd name="connsiteY257" fmla="*/ 86 h 10000"/>
              <a:gd name="connsiteX258" fmla="*/ 7435 w 10000"/>
              <a:gd name="connsiteY258" fmla="*/ 139 h 10000"/>
              <a:gd name="connsiteX259" fmla="*/ 7417 w 10000"/>
              <a:gd name="connsiteY259" fmla="*/ 181 h 10000"/>
              <a:gd name="connsiteX260" fmla="*/ 7369 w 10000"/>
              <a:gd name="connsiteY260" fmla="*/ 208 h 10000"/>
              <a:gd name="connsiteX261" fmla="*/ 7334 w 10000"/>
              <a:gd name="connsiteY261" fmla="*/ 283 h 10000"/>
              <a:gd name="connsiteX262" fmla="*/ 7269 w 10000"/>
              <a:gd name="connsiteY262" fmla="*/ 336 h 10000"/>
              <a:gd name="connsiteX263" fmla="*/ 7282 w 10000"/>
              <a:gd name="connsiteY263" fmla="*/ 387 h 10000"/>
              <a:gd name="connsiteX264" fmla="*/ 7382 w 10000"/>
              <a:gd name="connsiteY264" fmla="*/ 434 h 10000"/>
              <a:gd name="connsiteX265" fmla="*/ 7317 w 10000"/>
              <a:gd name="connsiteY265" fmla="*/ 475 h 10000"/>
              <a:gd name="connsiteX266" fmla="*/ 7221 w 10000"/>
              <a:gd name="connsiteY266" fmla="*/ 485 h 10000"/>
              <a:gd name="connsiteX267" fmla="*/ 6420 w 10000"/>
              <a:gd name="connsiteY267" fmla="*/ 387 h 10000"/>
              <a:gd name="connsiteX268" fmla="*/ 6324 w 10000"/>
              <a:gd name="connsiteY268" fmla="*/ 395 h 10000"/>
              <a:gd name="connsiteX269" fmla="*/ 6267 w 10000"/>
              <a:gd name="connsiteY269" fmla="*/ 414 h 10000"/>
              <a:gd name="connsiteX270" fmla="*/ 6211 w 10000"/>
              <a:gd name="connsiteY270" fmla="*/ 462 h 10000"/>
              <a:gd name="connsiteX271" fmla="*/ 6220 w 10000"/>
              <a:gd name="connsiteY271" fmla="*/ 581 h 10000"/>
              <a:gd name="connsiteX272" fmla="*/ 6132 w 10000"/>
              <a:gd name="connsiteY272" fmla="*/ 735 h 10000"/>
              <a:gd name="connsiteX273" fmla="*/ 6024 w 10000"/>
              <a:gd name="connsiteY273" fmla="*/ 815 h 10000"/>
              <a:gd name="connsiteX274" fmla="*/ 5980 w 10000"/>
              <a:gd name="connsiteY274" fmla="*/ 805 h 10000"/>
              <a:gd name="connsiteX275" fmla="*/ 5880 w 10000"/>
              <a:gd name="connsiteY275" fmla="*/ 739 h 10000"/>
              <a:gd name="connsiteX276" fmla="*/ 5753 w 10000"/>
              <a:gd name="connsiteY276" fmla="*/ 705 h 10000"/>
              <a:gd name="connsiteX277" fmla="*/ 5618 w 10000"/>
              <a:gd name="connsiteY277" fmla="*/ 715 h 10000"/>
              <a:gd name="connsiteX278" fmla="*/ 5301 w 10000"/>
              <a:gd name="connsiteY278" fmla="*/ 866 h 10000"/>
              <a:gd name="connsiteX279" fmla="*/ 5218 w 10000"/>
              <a:gd name="connsiteY279" fmla="*/ 1017 h 10000"/>
              <a:gd name="connsiteX280" fmla="*/ 4978 w 10000"/>
              <a:gd name="connsiteY280" fmla="*/ 1153 h 10000"/>
              <a:gd name="connsiteX281" fmla="*/ 4935 w 10000"/>
              <a:gd name="connsiteY281" fmla="*/ 1222 h 10000"/>
              <a:gd name="connsiteX282" fmla="*/ 5061 w 10000"/>
              <a:gd name="connsiteY282" fmla="*/ 1344 h 10000"/>
              <a:gd name="connsiteX283" fmla="*/ 5074 w 10000"/>
              <a:gd name="connsiteY283" fmla="*/ 1412 h 10000"/>
              <a:gd name="connsiteX284" fmla="*/ 4421 w 10000"/>
              <a:gd name="connsiteY284" fmla="*/ 1813 h 10000"/>
              <a:gd name="connsiteX285" fmla="*/ 4220 w 10000"/>
              <a:gd name="connsiteY285" fmla="*/ 2070 h 10000"/>
              <a:gd name="connsiteX286" fmla="*/ 4003 w 10000"/>
              <a:gd name="connsiteY286" fmla="*/ 2135 h 10000"/>
              <a:gd name="connsiteX287" fmla="*/ 3868 w 10000"/>
              <a:gd name="connsiteY287" fmla="*/ 2131 h 10000"/>
              <a:gd name="connsiteX288" fmla="*/ 3785 w 10000"/>
              <a:gd name="connsiteY288" fmla="*/ 2153 h 10000"/>
              <a:gd name="connsiteX289" fmla="*/ 3558 w 10000"/>
              <a:gd name="connsiteY289" fmla="*/ 2793 h 10000"/>
              <a:gd name="connsiteX290" fmla="*/ 3036 w 10000"/>
              <a:gd name="connsiteY290" fmla="*/ 3166 h 10000"/>
              <a:gd name="connsiteX291" fmla="*/ 3040 w 10000"/>
              <a:gd name="connsiteY291" fmla="*/ 3225 h 10000"/>
              <a:gd name="connsiteX292" fmla="*/ 3271 w 10000"/>
              <a:gd name="connsiteY292" fmla="*/ 3392 h 10000"/>
              <a:gd name="connsiteX293" fmla="*/ 3197 w 10000"/>
              <a:gd name="connsiteY293" fmla="*/ 3573 h 10000"/>
              <a:gd name="connsiteX294" fmla="*/ 3062 w 10000"/>
              <a:gd name="connsiteY294" fmla="*/ 3640 h 10000"/>
              <a:gd name="connsiteX295" fmla="*/ 2657 w 10000"/>
              <a:gd name="connsiteY295" fmla="*/ 3595 h 10000"/>
              <a:gd name="connsiteX296" fmla="*/ 2378 w 10000"/>
              <a:gd name="connsiteY296" fmla="*/ 3620 h 10000"/>
              <a:gd name="connsiteX297" fmla="*/ 2152 w 10000"/>
              <a:gd name="connsiteY297" fmla="*/ 3673 h 10000"/>
              <a:gd name="connsiteX298" fmla="*/ 1790 w 10000"/>
              <a:gd name="connsiteY298" fmla="*/ 3840 h 10000"/>
              <a:gd name="connsiteX299" fmla="*/ 1598 w 10000"/>
              <a:gd name="connsiteY299" fmla="*/ 4042 h 10000"/>
              <a:gd name="connsiteX300" fmla="*/ 1616 w 10000"/>
              <a:gd name="connsiteY300" fmla="*/ 4154 h 10000"/>
              <a:gd name="connsiteX301" fmla="*/ 1681 w 10000"/>
              <a:gd name="connsiteY301" fmla="*/ 4241 h 10000"/>
              <a:gd name="connsiteX302" fmla="*/ 1733 w 10000"/>
              <a:gd name="connsiteY302" fmla="*/ 4276 h 10000"/>
              <a:gd name="connsiteX303" fmla="*/ 1638 w 10000"/>
              <a:gd name="connsiteY303" fmla="*/ 4331 h 10000"/>
              <a:gd name="connsiteX304" fmla="*/ 1433 w 10000"/>
              <a:gd name="connsiteY304" fmla="*/ 4710 h 10000"/>
              <a:gd name="connsiteX305" fmla="*/ 1472 w 10000"/>
              <a:gd name="connsiteY305" fmla="*/ 4732 h 10000"/>
              <a:gd name="connsiteX306" fmla="*/ 1503 w 10000"/>
              <a:gd name="connsiteY306" fmla="*/ 4828 h 10000"/>
              <a:gd name="connsiteX307" fmla="*/ 1407 w 10000"/>
              <a:gd name="connsiteY307" fmla="*/ 5227 h 10000"/>
              <a:gd name="connsiteX308" fmla="*/ 1503 w 10000"/>
              <a:gd name="connsiteY308" fmla="*/ 5329 h 10000"/>
              <a:gd name="connsiteX309" fmla="*/ 1764 w 10000"/>
              <a:gd name="connsiteY309" fmla="*/ 5441 h 10000"/>
              <a:gd name="connsiteX310" fmla="*/ 1777 w 10000"/>
              <a:gd name="connsiteY310" fmla="*/ 5578 h 10000"/>
              <a:gd name="connsiteX311" fmla="*/ 1664 w 10000"/>
              <a:gd name="connsiteY311" fmla="*/ 5690 h 10000"/>
              <a:gd name="connsiteX312" fmla="*/ 1503 w 10000"/>
              <a:gd name="connsiteY312" fmla="*/ 5759 h 10000"/>
              <a:gd name="connsiteX313" fmla="*/ 1289 w 10000"/>
              <a:gd name="connsiteY313" fmla="*/ 5787 h 10000"/>
              <a:gd name="connsiteX314" fmla="*/ 1233 w 10000"/>
              <a:gd name="connsiteY314" fmla="*/ 5826 h 10000"/>
              <a:gd name="connsiteX315" fmla="*/ 1359 w 10000"/>
              <a:gd name="connsiteY315" fmla="*/ 5920 h 10000"/>
              <a:gd name="connsiteX316" fmla="*/ 1429 w 10000"/>
              <a:gd name="connsiteY316" fmla="*/ 6142 h 10000"/>
              <a:gd name="connsiteX317" fmla="*/ 1267 w 10000"/>
              <a:gd name="connsiteY317" fmla="*/ 6333 h 10000"/>
              <a:gd name="connsiteX318" fmla="*/ 1324 w 10000"/>
              <a:gd name="connsiteY318" fmla="*/ 6392 h 10000"/>
              <a:gd name="connsiteX319" fmla="*/ 1272 w 10000"/>
              <a:gd name="connsiteY319" fmla="*/ 6492 h 10000"/>
              <a:gd name="connsiteX320" fmla="*/ 1167 w 10000"/>
              <a:gd name="connsiteY320" fmla="*/ 6561 h 10000"/>
              <a:gd name="connsiteX321" fmla="*/ 758 w 10000"/>
              <a:gd name="connsiteY321" fmla="*/ 6614 h 10000"/>
              <a:gd name="connsiteX322" fmla="*/ 732 w 10000"/>
              <a:gd name="connsiteY322" fmla="*/ 6706 h 10000"/>
              <a:gd name="connsiteX323" fmla="*/ 510 w 10000"/>
              <a:gd name="connsiteY323" fmla="*/ 6843 h 10000"/>
              <a:gd name="connsiteX324" fmla="*/ 540 w 10000"/>
              <a:gd name="connsiteY324" fmla="*/ 7040 h 10000"/>
              <a:gd name="connsiteX325" fmla="*/ 353 w 10000"/>
              <a:gd name="connsiteY325" fmla="*/ 7293 h 10000"/>
              <a:gd name="connsiteX326" fmla="*/ 226 w 10000"/>
              <a:gd name="connsiteY326" fmla="*/ 7323 h 10000"/>
              <a:gd name="connsiteX327" fmla="*/ 174 w 10000"/>
              <a:gd name="connsiteY327" fmla="*/ 7262 h 10000"/>
              <a:gd name="connsiteX328" fmla="*/ 109 w 10000"/>
              <a:gd name="connsiteY328" fmla="*/ 7354 h 10000"/>
              <a:gd name="connsiteX329" fmla="*/ 152 w 10000"/>
              <a:gd name="connsiteY329" fmla="*/ 7197 h 10000"/>
              <a:gd name="connsiteX330" fmla="*/ 126 w 10000"/>
              <a:gd name="connsiteY33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606 w 10000"/>
              <a:gd name="connsiteY210" fmla="*/ 2630 h 10000"/>
              <a:gd name="connsiteX211" fmla="*/ 8685 w 10000"/>
              <a:gd name="connsiteY211" fmla="*/ 2597 h 10000"/>
              <a:gd name="connsiteX212" fmla="*/ 8558 w 10000"/>
              <a:gd name="connsiteY212" fmla="*/ 2481 h 10000"/>
              <a:gd name="connsiteX213" fmla="*/ 8558 w 10000"/>
              <a:gd name="connsiteY213" fmla="*/ 2459 h 10000"/>
              <a:gd name="connsiteX214" fmla="*/ 8698 w 10000"/>
              <a:gd name="connsiteY214" fmla="*/ 2504 h 10000"/>
              <a:gd name="connsiteX215" fmla="*/ 8763 w 10000"/>
              <a:gd name="connsiteY215" fmla="*/ 2548 h 10000"/>
              <a:gd name="connsiteX216" fmla="*/ 8815 w 10000"/>
              <a:gd name="connsiteY216" fmla="*/ 2548 h 10000"/>
              <a:gd name="connsiteX217" fmla="*/ 8789 w 10000"/>
              <a:gd name="connsiteY217" fmla="*/ 2457 h 10000"/>
              <a:gd name="connsiteX218" fmla="*/ 8798 w 10000"/>
              <a:gd name="connsiteY218" fmla="*/ 2467 h 10000"/>
              <a:gd name="connsiteX219" fmla="*/ 8841 w 10000"/>
              <a:gd name="connsiteY219" fmla="*/ 2457 h 10000"/>
              <a:gd name="connsiteX220" fmla="*/ 8855 w 10000"/>
              <a:gd name="connsiteY220" fmla="*/ 2341 h 10000"/>
              <a:gd name="connsiteX221" fmla="*/ 8898 w 10000"/>
              <a:gd name="connsiteY221" fmla="*/ 2332 h 10000"/>
              <a:gd name="connsiteX222" fmla="*/ 8946 w 10000"/>
              <a:gd name="connsiteY222" fmla="*/ 2330 h 10000"/>
              <a:gd name="connsiteX223" fmla="*/ 8946 w 10000"/>
              <a:gd name="connsiteY223" fmla="*/ 2361 h 10000"/>
              <a:gd name="connsiteX224" fmla="*/ 8994 w 10000"/>
              <a:gd name="connsiteY224" fmla="*/ 2389 h 10000"/>
              <a:gd name="connsiteX225" fmla="*/ 9051 w 10000"/>
              <a:gd name="connsiteY225" fmla="*/ 2400 h 10000"/>
              <a:gd name="connsiteX226" fmla="*/ 9094 w 10000"/>
              <a:gd name="connsiteY226" fmla="*/ 2324 h 10000"/>
              <a:gd name="connsiteX227" fmla="*/ 9164 w 10000"/>
              <a:gd name="connsiteY227" fmla="*/ 2347 h 10000"/>
              <a:gd name="connsiteX228" fmla="*/ 9247 w 10000"/>
              <a:gd name="connsiteY228" fmla="*/ 2402 h 10000"/>
              <a:gd name="connsiteX229" fmla="*/ 9286 w 10000"/>
              <a:gd name="connsiteY229" fmla="*/ 2400 h 10000"/>
              <a:gd name="connsiteX230" fmla="*/ 9355 w 10000"/>
              <a:gd name="connsiteY230" fmla="*/ 2428 h 10000"/>
              <a:gd name="connsiteX231" fmla="*/ 9408 w 10000"/>
              <a:gd name="connsiteY231" fmla="*/ 2359 h 10000"/>
              <a:gd name="connsiteX232" fmla="*/ 9717 w 10000"/>
              <a:gd name="connsiteY232" fmla="*/ 2343 h 10000"/>
              <a:gd name="connsiteX233" fmla="*/ 9830 w 10000"/>
              <a:gd name="connsiteY233" fmla="*/ 2369 h 10000"/>
              <a:gd name="connsiteX234" fmla="*/ 9909 w 10000"/>
              <a:gd name="connsiteY234" fmla="*/ 2410 h 10000"/>
              <a:gd name="connsiteX235" fmla="*/ 9948 w 10000"/>
              <a:gd name="connsiteY235" fmla="*/ 2365 h 10000"/>
              <a:gd name="connsiteX236" fmla="*/ 10000 w 10000"/>
              <a:gd name="connsiteY236" fmla="*/ 2349 h 10000"/>
              <a:gd name="connsiteX237" fmla="*/ 9704 w 10000"/>
              <a:gd name="connsiteY237" fmla="*/ 1992 h 10000"/>
              <a:gd name="connsiteX238" fmla="*/ 9743 w 10000"/>
              <a:gd name="connsiteY238" fmla="*/ 1897 h 10000"/>
              <a:gd name="connsiteX239" fmla="*/ 9830 w 10000"/>
              <a:gd name="connsiteY239" fmla="*/ 1819 h 10000"/>
              <a:gd name="connsiteX240" fmla="*/ 9830 w 10000"/>
              <a:gd name="connsiteY240" fmla="*/ 1699 h 10000"/>
              <a:gd name="connsiteX241" fmla="*/ 9556 w 10000"/>
              <a:gd name="connsiteY241" fmla="*/ 1465 h 10000"/>
              <a:gd name="connsiteX242" fmla="*/ 9512 w 10000"/>
              <a:gd name="connsiteY242" fmla="*/ 1379 h 10000"/>
              <a:gd name="connsiteX243" fmla="*/ 9573 w 10000"/>
              <a:gd name="connsiteY243" fmla="*/ 1271 h 10000"/>
              <a:gd name="connsiteX244" fmla="*/ 9543 w 10000"/>
              <a:gd name="connsiteY244" fmla="*/ 1194 h 10000"/>
              <a:gd name="connsiteX245" fmla="*/ 9486 w 10000"/>
              <a:gd name="connsiteY245" fmla="*/ 1159 h 10000"/>
              <a:gd name="connsiteX246" fmla="*/ 9438 w 10000"/>
              <a:gd name="connsiteY246" fmla="*/ 978 h 10000"/>
              <a:gd name="connsiteX247" fmla="*/ 9495 w 10000"/>
              <a:gd name="connsiteY247" fmla="*/ 831 h 10000"/>
              <a:gd name="connsiteX248" fmla="*/ 9077 w 10000"/>
              <a:gd name="connsiteY248" fmla="*/ 517 h 10000"/>
              <a:gd name="connsiteX249" fmla="*/ 8872 w 10000"/>
              <a:gd name="connsiteY249" fmla="*/ 440 h 10000"/>
              <a:gd name="connsiteX250" fmla="*/ 8493 w 10000"/>
              <a:gd name="connsiteY250" fmla="*/ 389 h 10000"/>
              <a:gd name="connsiteX251" fmla="*/ 7709 w 10000"/>
              <a:gd name="connsiteY251" fmla="*/ 26 h 10000"/>
              <a:gd name="connsiteX252" fmla="*/ 7683 w 10000"/>
              <a:gd name="connsiteY252" fmla="*/ 2 h 10000"/>
              <a:gd name="connsiteX253" fmla="*/ 7417 w 10000"/>
              <a:gd name="connsiteY253" fmla="*/ 0 h 10000"/>
              <a:gd name="connsiteX254" fmla="*/ 7356 w 10000"/>
              <a:gd name="connsiteY254" fmla="*/ 14 h 10000"/>
              <a:gd name="connsiteX255" fmla="*/ 7369 w 10000"/>
              <a:gd name="connsiteY255" fmla="*/ 61 h 10000"/>
              <a:gd name="connsiteX256" fmla="*/ 7422 w 10000"/>
              <a:gd name="connsiteY256" fmla="*/ 86 h 10000"/>
              <a:gd name="connsiteX257" fmla="*/ 7435 w 10000"/>
              <a:gd name="connsiteY257" fmla="*/ 139 h 10000"/>
              <a:gd name="connsiteX258" fmla="*/ 7417 w 10000"/>
              <a:gd name="connsiteY258" fmla="*/ 181 h 10000"/>
              <a:gd name="connsiteX259" fmla="*/ 7369 w 10000"/>
              <a:gd name="connsiteY259" fmla="*/ 208 h 10000"/>
              <a:gd name="connsiteX260" fmla="*/ 7334 w 10000"/>
              <a:gd name="connsiteY260" fmla="*/ 283 h 10000"/>
              <a:gd name="connsiteX261" fmla="*/ 7269 w 10000"/>
              <a:gd name="connsiteY261" fmla="*/ 336 h 10000"/>
              <a:gd name="connsiteX262" fmla="*/ 7282 w 10000"/>
              <a:gd name="connsiteY262" fmla="*/ 387 h 10000"/>
              <a:gd name="connsiteX263" fmla="*/ 7382 w 10000"/>
              <a:gd name="connsiteY263" fmla="*/ 434 h 10000"/>
              <a:gd name="connsiteX264" fmla="*/ 7317 w 10000"/>
              <a:gd name="connsiteY264" fmla="*/ 475 h 10000"/>
              <a:gd name="connsiteX265" fmla="*/ 7221 w 10000"/>
              <a:gd name="connsiteY265" fmla="*/ 485 h 10000"/>
              <a:gd name="connsiteX266" fmla="*/ 6420 w 10000"/>
              <a:gd name="connsiteY266" fmla="*/ 387 h 10000"/>
              <a:gd name="connsiteX267" fmla="*/ 6324 w 10000"/>
              <a:gd name="connsiteY267" fmla="*/ 395 h 10000"/>
              <a:gd name="connsiteX268" fmla="*/ 6267 w 10000"/>
              <a:gd name="connsiteY268" fmla="*/ 414 h 10000"/>
              <a:gd name="connsiteX269" fmla="*/ 6211 w 10000"/>
              <a:gd name="connsiteY269" fmla="*/ 462 h 10000"/>
              <a:gd name="connsiteX270" fmla="*/ 6220 w 10000"/>
              <a:gd name="connsiteY270" fmla="*/ 581 h 10000"/>
              <a:gd name="connsiteX271" fmla="*/ 6132 w 10000"/>
              <a:gd name="connsiteY271" fmla="*/ 735 h 10000"/>
              <a:gd name="connsiteX272" fmla="*/ 6024 w 10000"/>
              <a:gd name="connsiteY272" fmla="*/ 815 h 10000"/>
              <a:gd name="connsiteX273" fmla="*/ 5980 w 10000"/>
              <a:gd name="connsiteY273" fmla="*/ 805 h 10000"/>
              <a:gd name="connsiteX274" fmla="*/ 5880 w 10000"/>
              <a:gd name="connsiteY274" fmla="*/ 739 h 10000"/>
              <a:gd name="connsiteX275" fmla="*/ 5753 w 10000"/>
              <a:gd name="connsiteY275" fmla="*/ 705 h 10000"/>
              <a:gd name="connsiteX276" fmla="*/ 5618 w 10000"/>
              <a:gd name="connsiteY276" fmla="*/ 715 h 10000"/>
              <a:gd name="connsiteX277" fmla="*/ 5301 w 10000"/>
              <a:gd name="connsiteY277" fmla="*/ 866 h 10000"/>
              <a:gd name="connsiteX278" fmla="*/ 5218 w 10000"/>
              <a:gd name="connsiteY278" fmla="*/ 1017 h 10000"/>
              <a:gd name="connsiteX279" fmla="*/ 4978 w 10000"/>
              <a:gd name="connsiteY279" fmla="*/ 1153 h 10000"/>
              <a:gd name="connsiteX280" fmla="*/ 4935 w 10000"/>
              <a:gd name="connsiteY280" fmla="*/ 1222 h 10000"/>
              <a:gd name="connsiteX281" fmla="*/ 5061 w 10000"/>
              <a:gd name="connsiteY281" fmla="*/ 1344 h 10000"/>
              <a:gd name="connsiteX282" fmla="*/ 5074 w 10000"/>
              <a:gd name="connsiteY282" fmla="*/ 1412 h 10000"/>
              <a:gd name="connsiteX283" fmla="*/ 4421 w 10000"/>
              <a:gd name="connsiteY283" fmla="*/ 1813 h 10000"/>
              <a:gd name="connsiteX284" fmla="*/ 4220 w 10000"/>
              <a:gd name="connsiteY284" fmla="*/ 2070 h 10000"/>
              <a:gd name="connsiteX285" fmla="*/ 4003 w 10000"/>
              <a:gd name="connsiteY285" fmla="*/ 2135 h 10000"/>
              <a:gd name="connsiteX286" fmla="*/ 3868 w 10000"/>
              <a:gd name="connsiteY286" fmla="*/ 2131 h 10000"/>
              <a:gd name="connsiteX287" fmla="*/ 3785 w 10000"/>
              <a:gd name="connsiteY287" fmla="*/ 2153 h 10000"/>
              <a:gd name="connsiteX288" fmla="*/ 3558 w 10000"/>
              <a:gd name="connsiteY288" fmla="*/ 2793 h 10000"/>
              <a:gd name="connsiteX289" fmla="*/ 3036 w 10000"/>
              <a:gd name="connsiteY289" fmla="*/ 3166 h 10000"/>
              <a:gd name="connsiteX290" fmla="*/ 3040 w 10000"/>
              <a:gd name="connsiteY290" fmla="*/ 3225 h 10000"/>
              <a:gd name="connsiteX291" fmla="*/ 3271 w 10000"/>
              <a:gd name="connsiteY291" fmla="*/ 3392 h 10000"/>
              <a:gd name="connsiteX292" fmla="*/ 3197 w 10000"/>
              <a:gd name="connsiteY292" fmla="*/ 3573 h 10000"/>
              <a:gd name="connsiteX293" fmla="*/ 3062 w 10000"/>
              <a:gd name="connsiteY293" fmla="*/ 3640 h 10000"/>
              <a:gd name="connsiteX294" fmla="*/ 2657 w 10000"/>
              <a:gd name="connsiteY294" fmla="*/ 3595 h 10000"/>
              <a:gd name="connsiteX295" fmla="*/ 2378 w 10000"/>
              <a:gd name="connsiteY295" fmla="*/ 3620 h 10000"/>
              <a:gd name="connsiteX296" fmla="*/ 2152 w 10000"/>
              <a:gd name="connsiteY296" fmla="*/ 3673 h 10000"/>
              <a:gd name="connsiteX297" fmla="*/ 1790 w 10000"/>
              <a:gd name="connsiteY297" fmla="*/ 3840 h 10000"/>
              <a:gd name="connsiteX298" fmla="*/ 1598 w 10000"/>
              <a:gd name="connsiteY298" fmla="*/ 4042 h 10000"/>
              <a:gd name="connsiteX299" fmla="*/ 1616 w 10000"/>
              <a:gd name="connsiteY299" fmla="*/ 4154 h 10000"/>
              <a:gd name="connsiteX300" fmla="*/ 1681 w 10000"/>
              <a:gd name="connsiteY300" fmla="*/ 4241 h 10000"/>
              <a:gd name="connsiteX301" fmla="*/ 1733 w 10000"/>
              <a:gd name="connsiteY301" fmla="*/ 4276 h 10000"/>
              <a:gd name="connsiteX302" fmla="*/ 1638 w 10000"/>
              <a:gd name="connsiteY302" fmla="*/ 4331 h 10000"/>
              <a:gd name="connsiteX303" fmla="*/ 1433 w 10000"/>
              <a:gd name="connsiteY303" fmla="*/ 4710 h 10000"/>
              <a:gd name="connsiteX304" fmla="*/ 1472 w 10000"/>
              <a:gd name="connsiteY304" fmla="*/ 4732 h 10000"/>
              <a:gd name="connsiteX305" fmla="*/ 1503 w 10000"/>
              <a:gd name="connsiteY305" fmla="*/ 4828 h 10000"/>
              <a:gd name="connsiteX306" fmla="*/ 1407 w 10000"/>
              <a:gd name="connsiteY306" fmla="*/ 5227 h 10000"/>
              <a:gd name="connsiteX307" fmla="*/ 1503 w 10000"/>
              <a:gd name="connsiteY307" fmla="*/ 5329 h 10000"/>
              <a:gd name="connsiteX308" fmla="*/ 1764 w 10000"/>
              <a:gd name="connsiteY308" fmla="*/ 5441 h 10000"/>
              <a:gd name="connsiteX309" fmla="*/ 1777 w 10000"/>
              <a:gd name="connsiteY309" fmla="*/ 5578 h 10000"/>
              <a:gd name="connsiteX310" fmla="*/ 1664 w 10000"/>
              <a:gd name="connsiteY310" fmla="*/ 5690 h 10000"/>
              <a:gd name="connsiteX311" fmla="*/ 1503 w 10000"/>
              <a:gd name="connsiteY311" fmla="*/ 5759 h 10000"/>
              <a:gd name="connsiteX312" fmla="*/ 1289 w 10000"/>
              <a:gd name="connsiteY312" fmla="*/ 5787 h 10000"/>
              <a:gd name="connsiteX313" fmla="*/ 1233 w 10000"/>
              <a:gd name="connsiteY313" fmla="*/ 5826 h 10000"/>
              <a:gd name="connsiteX314" fmla="*/ 1359 w 10000"/>
              <a:gd name="connsiteY314" fmla="*/ 5920 h 10000"/>
              <a:gd name="connsiteX315" fmla="*/ 1429 w 10000"/>
              <a:gd name="connsiteY315" fmla="*/ 6142 h 10000"/>
              <a:gd name="connsiteX316" fmla="*/ 1267 w 10000"/>
              <a:gd name="connsiteY316" fmla="*/ 6333 h 10000"/>
              <a:gd name="connsiteX317" fmla="*/ 1324 w 10000"/>
              <a:gd name="connsiteY317" fmla="*/ 6392 h 10000"/>
              <a:gd name="connsiteX318" fmla="*/ 1272 w 10000"/>
              <a:gd name="connsiteY318" fmla="*/ 6492 h 10000"/>
              <a:gd name="connsiteX319" fmla="*/ 1167 w 10000"/>
              <a:gd name="connsiteY319" fmla="*/ 6561 h 10000"/>
              <a:gd name="connsiteX320" fmla="*/ 758 w 10000"/>
              <a:gd name="connsiteY320" fmla="*/ 6614 h 10000"/>
              <a:gd name="connsiteX321" fmla="*/ 732 w 10000"/>
              <a:gd name="connsiteY321" fmla="*/ 6706 h 10000"/>
              <a:gd name="connsiteX322" fmla="*/ 510 w 10000"/>
              <a:gd name="connsiteY322" fmla="*/ 6843 h 10000"/>
              <a:gd name="connsiteX323" fmla="*/ 540 w 10000"/>
              <a:gd name="connsiteY323" fmla="*/ 7040 h 10000"/>
              <a:gd name="connsiteX324" fmla="*/ 353 w 10000"/>
              <a:gd name="connsiteY324" fmla="*/ 7293 h 10000"/>
              <a:gd name="connsiteX325" fmla="*/ 226 w 10000"/>
              <a:gd name="connsiteY325" fmla="*/ 7323 h 10000"/>
              <a:gd name="connsiteX326" fmla="*/ 174 w 10000"/>
              <a:gd name="connsiteY326" fmla="*/ 7262 h 10000"/>
              <a:gd name="connsiteX327" fmla="*/ 109 w 10000"/>
              <a:gd name="connsiteY327" fmla="*/ 7354 h 10000"/>
              <a:gd name="connsiteX328" fmla="*/ 152 w 10000"/>
              <a:gd name="connsiteY328" fmla="*/ 7197 h 10000"/>
              <a:gd name="connsiteX329" fmla="*/ 126 w 10000"/>
              <a:gd name="connsiteY32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685 w 10000"/>
              <a:gd name="connsiteY210" fmla="*/ 2597 h 10000"/>
              <a:gd name="connsiteX211" fmla="*/ 8558 w 10000"/>
              <a:gd name="connsiteY211" fmla="*/ 2481 h 10000"/>
              <a:gd name="connsiteX212" fmla="*/ 8558 w 10000"/>
              <a:gd name="connsiteY212" fmla="*/ 2459 h 10000"/>
              <a:gd name="connsiteX213" fmla="*/ 8698 w 10000"/>
              <a:gd name="connsiteY213" fmla="*/ 2504 h 10000"/>
              <a:gd name="connsiteX214" fmla="*/ 8763 w 10000"/>
              <a:gd name="connsiteY214" fmla="*/ 2548 h 10000"/>
              <a:gd name="connsiteX215" fmla="*/ 8815 w 10000"/>
              <a:gd name="connsiteY215" fmla="*/ 2548 h 10000"/>
              <a:gd name="connsiteX216" fmla="*/ 8789 w 10000"/>
              <a:gd name="connsiteY216" fmla="*/ 2457 h 10000"/>
              <a:gd name="connsiteX217" fmla="*/ 8798 w 10000"/>
              <a:gd name="connsiteY217" fmla="*/ 2467 h 10000"/>
              <a:gd name="connsiteX218" fmla="*/ 8841 w 10000"/>
              <a:gd name="connsiteY218" fmla="*/ 2457 h 10000"/>
              <a:gd name="connsiteX219" fmla="*/ 8855 w 10000"/>
              <a:gd name="connsiteY219" fmla="*/ 2341 h 10000"/>
              <a:gd name="connsiteX220" fmla="*/ 8898 w 10000"/>
              <a:gd name="connsiteY220" fmla="*/ 2332 h 10000"/>
              <a:gd name="connsiteX221" fmla="*/ 8946 w 10000"/>
              <a:gd name="connsiteY221" fmla="*/ 2330 h 10000"/>
              <a:gd name="connsiteX222" fmla="*/ 8946 w 10000"/>
              <a:gd name="connsiteY222" fmla="*/ 2361 h 10000"/>
              <a:gd name="connsiteX223" fmla="*/ 8994 w 10000"/>
              <a:gd name="connsiteY223" fmla="*/ 2389 h 10000"/>
              <a:gd name="connsiteX224" fmla="*/ 9051 w 10000"/>
              <a:gd name="connsiteY224" fmla="*/ 2400 h 10000"/>
              <a:gd name="connsiteX225" fmla="*/ 9094 w 10000"/>
              <a:gd name="connsiteY225" fmla="*/ 2324 h 10000"/>
              <a:gd name="connsiteX226" fmla="*/ 9164 w 10000"/>
              <a:gd name="connsiteY226" fmla="*/ 2347 h 10000"/>
              <a:gd name="connsiteX227" fmla="*/ 9247 w 10000"/>
              <a:gd name="connsiteY227" fmla="*/ 2402 h 10000"/>
              <a:gd name="connsiteX228" fmla="*/ 9286 w 10000"/>
              <a:gd name="connsiteY228" fmla="*/ 2400 h 10000"/>
              <a:gd name="connsiteX229" fmla="*/ 9355 w 10000"/>
              <a:gd name="connsiteY229" fmla="*/ 2428 h 10000"/>
              <a:gd name="connsiteX230" fmla="*/ 9408 w 10000"/>
              <a:gd name="connsiteY230" fmla="*/ 2359 h 10000"/>
              <a:gd name="connsiteX231" fmla="*/ 9717 w 10000"/>
              <a:gd name="connsiteY231" fmla="*/ 2343 h 10000"/>
              <a:gd name="connsiteX232" fmla="*/ 9830 w 10000"/>
              <a:gd name="connsiteY232" fmla="*/ 2369 h 10000"/>
              <a:gd name="connsiteX233" fmla="*/ 9909 w 10000"/>
              <a:gd name="connsiteY233" fmla="*/ 2410 h 10000"/>
              <a:gd name="connsiteX234" fmla="*/ 9948 w 10000"/>
              <a:gd name="connsiteY234" fmla="*/ 2365 h 10000"/>
              <a:gd name="connsiteX235" fmla="*/ 10000 w 10000"/>
              <a:gd name="connsiteY235" fmla="*/ 2349 h 10000"/>
              <a:gd name="connsiteX236" fmla="*/ 9704 w 10000"/>
              <a:gd name="connsiteY236" fmla="*/ 1992 h 10000"/>
              <a:gd name="connsiteX237" fmla="*/ 9743 w 10000"/>
              <a:gd name="connsiteY237" fmla="*/ 1897 h 10000"/>
              <a:gd name="connsiteX238" fmla="*/ 9830 w 10000"/>
              <a:gd name="connsiteY238" fmla="*/ 1819 h 10000"/>
              <a:gd name="connsiteX239" fmla="*/ 9830 w 10000"/>
              <a:gd name="connsiteY239" fmla="*/ 1699 h 10000"/>
              <a:gd name="connsiteX240" fmla="*/ 9556 w 10000"/>
              <a:gd name="connsiteY240" fmla="*/ 1465 h 10000"/>
              <a:gd name="connsiteX241" fmla="*/ 9512 w 10000"/>
              <a:gd name="connsiteY241" fmla="*/ 1379 h 10000"/>
              <a:gd name="connsiteX242" fmla="*/ 9573 w 10000"/>
              <a:gd name="connsiteY242" fmla="*/ 1271 h 10000"/>
              <a:gd name="connsiteX243" fmla="*/ 9543 w 10000"/>
              <a:gd name="connsiteY243" fmla="*/ 1194 h 10000"/>
              <a:gd name="connsiteX244" fmla="*/ 9486 w 10000"/>
              <a:gd name="connsiteY244" fmla="*/ 1159 h 10000"/>
              <a:gd name="connsiteX245" fmla="*/ 9438 w 10000"/>
              <a:gd name="connsiteY245" fmla="*/ 978 h 10000"/>
              <a:gd name="connsiteX246" fmla="*/ 9495 w 10000"/>
              <a:gd name="connsiteY246" fmla="*/ 831 h 10000"/>
              <a:gd name="connsiteX247" fmla="*/ 9077 w 10000"/>
              <a:gd name="connsiteY247" fmla="*/ 517 h 10000"/>
              <a:gd name="connsiteX248" fmla="*/ 8872 w 10000"/>
              <a:gd name="connsiteY248" fmla="*/ 440 h 10000"/>
              <a:gd name="connsiteX249" fmla="*/ 8493 w 10000"/>
              <a:gd name="connsiteY249" fmla="*/ 389 h 10000"/>
              <a:gd name="connsiteX250" fmla="*/ 7709 w 10000"/>
              <a:gd name="connsiteY250" fmla="*/ 26 h 10000"/>
              <a:gd name="connsiteX251" fmla="*/ 7683 w 10000"/>
              <a:gd name="connsiteY251" fmla="*/ 2 h 10000"/>
              <a:gd name="connsiteX252" fmla="*/ 7417 w 10000"/>
              <a:gd name="connsiteY252" fmla="*/ 0 h 10000"/>
              <a:gd name="connsiteX253" fmla="*/ 7356 w 10000"/>
              <a:gd name="connsiteY253" fmla="*/ 14 h 10000"/>
              <a:gd name="connsiteX254" fmla="*/ 7369 w 10000"/>
              <a:gd name="connsiteY254" fmla="*/ 61 h 10000"/>
              <a:gd name="connsiteX255" fmla="*/ 7422 w 10000"/>
              <a:gd name="connsiteY255" fmla="*/ 86 h 10000"/>
              <a:gd name="connsiteX256" fmla="*/ 7435 w 10000"/>
              <a:gd name="connsiteY256" fmla="*/ 139 h 10000"/>
              <a:gd name="connsiteX257" fmla="*/ 7417 w 10000"/>
              <a:gd name="connsiteY257" fmla="*/ 181 h 10000"/>
              <a:gd name="connsiteX258" fmla="*/ 7369 w 10000"/>
              <a:gd name="connsiteY258" fmla="*/ 208 h 10000"/>
              <a:gd name="connsiteX259" fmla="*/ 7334 w 10000"/>
              <a:gd name="connsiteY259" fmla="*/ 283 h 10000"/>
              <a:gd name="connsiteX260" fmla="*/ 7269 w 10000"/>
              <a:gd name="connsiteY260" fmla="*/ 336 h 10000"/>
              <a:gd name="connsiteX261" fmla="*/ 7282 w 10000"/>
              <a:gd name="connsiteY261" fmla="*/ 387 h 10000"/>
              <a:gd name="connsiteX262" fmla="*/ 7382 w 10000"/>
              <a:gd name="connsiteY262" fmla="*/ 434 h 10000"/>
              <a:gd name="connsiteX263" fmla="*/ 7317 w 10000"/>
              <a:gd name="connsiteY263" fmla="*/ 475 h 10000"/>
              <a:gd name="connsiteX264" fmla="*/ 7221 w 10000"/>
              <a:gd name="connsiteY264" fmla="*/ 485 h 10000"/>
              <a:gd name="connsiteX265" fmla="*/ 6420 w 10000"/>
              <a:gd name="connsiteY265" fmla="*/ 387 h 10000"/>
              <a:gd name="connsiteX266" fmla="*/ 6324 w 10000"/>
              <a:gd name="connsiteY266" fmla="*/ 395 h 10000"/>
              <a:gd name="connsiteX267" fmla="*/ 6267 w 10000"/>
              <a:gd name="connsiteY267" fmla="*/ 414 h 10000"/>
              <a:gd name="connsiteX268" fmla="*/ 6211 w 10000"/>
              <a:gd name="connsiteY268" fmla="*/ 462 h 10000"/>
              <a:gd name="connsiteX269" fmla="*/ 6220 w 10000"/>
              <a:gd name="connsiteY269" fmla="*/ 581 h 10000"/>
              <a:gd name="connsiteX270" fmla="*/ 6132 w 10000"/>
              <a:gd name="connsiteY270" fmla="*/ 735 h 10000"/>
              <a:gd name="connsiteX271" fmla="*/ 6024 w 10000"/>
              <a:gd name="connsiteY271" fmla="*/ 815 h 10000"/>
              <a:gd name="connsiteX272" fmla="*/ 5980 w 10000"/>
              <a:gd name="connsiteY272" fmla="*/ 805 h 10000"/>
              <a:gd name="connsiteX273" fmla="*/ 5880 w 10000"/>
              <a:gd name="connsiteY273" fmla="*/ 739 h 10000"/>
              <a:gd name="connsiteX274" fmla="*/ 5753 w 10000"/>
              <a:gd name="connsiteY274" fmla="*/ 705 h 10000"/>
              <a:gd name="connsiteX275" fmla="*/ 5618 w 10000"/>
              <a:gd name="connsiteY275" fmla="*/ 715 h 10000"/>
              <a:gd name="connsiteX276" fmla="*/ 5301 w 10000"/>
              <a:gd name="connsiteY276" fmla="*/ 866 h 10000"/>
              <a:gd name="connsiteX277" fmla="*/ 5218 w 10000"/>
              <a:gd name="connsiteY277" fmla="*/ 1017 h 10000"/>
              <a:gd name="connsiteX278" fmla="*/ 4978 w 10000"/>
              <a:gd name="connsiteY278" fmla="*/ 1153 h 10000"/>
              <a:gd name="connsiteX279" fmla="*/ 4935 w 10000"/>
              <a:gd name="connsiteY279" fmla="*/ 1222 h 10000"/>
              <a:gd name="connsiteX280" fmla="*/ 5061 w 10000"/>
              <a:gd name="connsiteY280" fmla="*/ 1344 h 10000"/>
              <a:gd name="connsiteX281" fmla="*/ 5074 w 10000"/>
              <a:gd name="connsiteY281" fmla="*/ 1412 h 10000"/>
              <a:gd name="connsiteX282" fmla="*/ 4421 w 10000"/>
              <a:gd name="connsiteY282" fmla="*/ 1813 h 10000"/>
              <a:gd name="connsiteX283" fmla="*/ 4220 w 10000"/>
              <a:gd name="connsiteY283" fmla="*/ 2070 h 10000"/>
              <a:gd name="connsiteX284" fmla="*/ 4003 w 10000"/>
              <a:gd name="connsiteY284" fmla="*/ 2135 h 10000"/>
              <a:gd name="connsiteX285" fmla="*/ 3868 w 10000"/>
              <a:gd name="connsiteY285" fmla="*/ 2131 h 10000"/>
              <a:gd name="connsiteX286" fmla="*/ 3785 w 10000"/>
              <a:gd name="connsiteY286" fmla="*/ 2153 h 10000"/>
              <a:gd name="connsiteX287" fmla="*/ 3558 w 10000"/>
              <a:gd name="connsiteY287" fmla="*/ 2793 h 10000"/>
              <a:gd name="connsiteX288" fmla="*/ 3036 w 10000"/>
              <a:gd name="connsiteY288" fmla="*/ 3166 h 10000"/>
              <a:gd name="connsiteX289" fmla="*/ 3040 w 10000"/>
              <a:gd name="connsiteY289" fmla="*/ 3225 h 10000"/>
              <a:gd name="connsiteX290" fmla="*/ 3271 w 10000"/>
              <a:gd name="connsiteY290" fmla="*/ 3392 h 10000"/>
              <a:gd name="connsiteX291" fmla="*/ 3197 w 10000"/>
              <a:gd name="connsiteY291" fmla="*/ 3573 h 10000"/>
              <a:gd name="connsiteX292" fmla="*/ 3062 w 10000"/>
              <a:gd name="connsiteY292" fmla="*/ 3640 h 10000"/>
              <a:gd name="connsiteX293" fmla="*/ 2657 w 10000"/>
              <a:gd name="connsiteY293" fmla="*/ 3595 h 10000"/>
              <a:gd name="connsiteX294" fmla="*/ 2378 w 10000"/>
              <a:gd name="connsiteY294" fmla="*/ 3620 h 10000"/>
              <a:gd name="connsiteX295" fmla="*/ 2152 w 10000"/>
              <a:gd name="connsiteY295" fmla="*/ 3673 h 10000"/>
              <a:gd name="connsiteX296" fmla="*/ 1790 w 10000"/>
              <a:gd name="connsiteY296" fmla="*/ 3840 h 10000"/>
              <a:gd name="connsiteX297" fmla="*/ 1598 w 10000"/>
              <a:gd name="connsiteY297" fmla="*/ 4042 h 10000"/>
              <a:gd name="connsiteX298" fmla="*/ 1616 w 10000"/>
              <a:gd name="connsiteY298" fmla="*/ 4154 h 10000"/>
              <a:gd name="connsiteX299" fmla="*/ 1681 w 10000"/>
              <a:gd name="connsiteY299" fmla="*/ 4241 h 10000"/>
              <a:gd name="connsiteX300" fmla="*/ 1733 w 10000"/>
              <a:gd name="connsiteY300" fmla="*/ 4276 h 10000"/>
              <a:gd name="connsiteX301" fmla="*/ 1638 w 10000"/>
              <a:gd name="connsiteY301" fmla="*/ 4331 h 10000"/>
              <a:gd name="connsiteX302" fmla="*/ 1433 w 10000"/>
              <a:gd name="connsiteY302" fmla="*/ 4710 h 10000"/>
              <a:gd name="connsiteX303" fmla="*/ 1472 w 10000"/>
              <a:gd name="connsiteY303" fmla="*/ 4732 h 10000"/>
              <a:gd name="connsiteX304" fmla="*/ 1503 w 10000"/>
              <a:gd name="connsiteY304" fmla="*/ 4828 h 10000"/>
              <a:gd name="connsiteX305" fmla="*/ 1407 w 10000"/>
              <a:gd name="connsiteY305" fmla="*/ 5227 h 10000"/>
              <a:gd name="connsiteX306" fmla="*/ 1503 w 10000"/>
              <a:gd name="connsiteY306" fmla="*/ 5329 h 10000"/>
              <a:gd name="connsiteX307" fmla="*/ 1764 w 10000"/>
              <a:gd name="connsiteY307" fmla="*/ 5441 h 10000"/>
              <a:gd name="connsiteX308" fmla="*/ 1777 w 10000"/>
              <a:gd name="connsiteY308" fmla="*/ 5578 h 10000"/>
              <a:gd name="connsiteX309" fmla="*/ 1664 w 10000"/>
              <a:gd name="connsiteY309" fmla="*/ 5690 h 10000"/>
              <a:gd name="connsiteX310" fmla="*/ 1503 w 10000"/>
              <a:gd name="connsiteY310" fmla="*/ 5759 h 10000"/>
              <a:gd name="connsiteX311" fmla="*/ 1289 w 10000"/>
              <a:gd name="connsiteY311" fmla="*/ 5787 h 10000"/>
              <a:gd name="connsiteX312" fmla="*/ 1233 w 10000"/>
              <a:gd name="connsiteY312" fmla="*/ 5826 h 10000"/>
              <a:gd name="connsiteX313" fmla="*/ 1359 w 10000"/>
              <a:gd name="connsiteY313" fmla="*/ 5920 h 10000"/>
              <a:gd name="connsiteX314" fmla="*/ 1429 w 10000"/>
              <a:gd name="connsiteY314" fmla="*/ 6142 h 10000"/>
              <a:gd name="connsiteX315" fmla="*/ 1267 w 10000"/>
              <a:gd name="connsiteY315" fmla="*/ 6333 h 10000"/>
              <a:gd name="connsiteX316" fmla="*/ 1324 w 10000"/>
              <a:gd name="connsiteY316" fmla="*/ 6392 h 10000"/>
              <a:gd name="connsiteX317" fmla="*/ 1272 w 10000"/>
              <a:gd name="connsiteY317" fmla="*/ 6492 h 10000"/>
              <a:gd name="connsiteX318" fmla="*/ 1167 w 10000"/>
              <a:gd name="connsiteY318" fmla="*/ 6561 h 10000"/>
              <a:gd name="connsiteX319" fmla="*/ 758 w 10000"/>
              <a:gd name="connsiteY319" fmla="*/ 6614 h 10000"/>
              <a:gd name="connsiteX320" fmla="*/ 732 w 10000"/>
              <a:gd name="connsiteY320" fmla="*/ 6706 h 10000"/>
              <a:gd name="connsiteX321" fmla="*/ 510 w 10000"/>
              <a:gd name="connsiteY321" fmla="*/ 6843 h 10000"/>
              <a:gd name="connsiteX322" fmla="*/ 540 w 10000"/>
              <a:gd name="connsiteY322" fmla="*/ 7040 h 10000"/>
              <a:gd name="connsiteX323" fmla="*/ 353 w 10000"/>
              <a:gd name="connsiteY323" fmla="*/ 7293 h 10000"/>
              <a:gd name="connsiteX324" fmla="*/ 226 w 10000"/>
              <a:gd name="connsiteY324" fmla="*/ 7323 h 10000"/>
              <a:gd name="connsiteX325" fmla="*/ 174 w 10000"/>
              <a:gd name="connsiteY325" fmla="*/ 7262 h 10000"/>
              <a:gd name="connsiteX326" fmla="*/ 109 w 10000"/>
              <a:gd name="connsiteY326" fmla="*/ 7354 h 10000"/>
              <a:gd name="connsiteX327" fmla="*/ 152 w 10000"/>
              <a:gd name="connsiteY327" fmla="*/ 7197 h 10000"/>
              <a:gd name="connsiteX328" fmla="*/ 126 w 10000"/>
              <a:gd name="connsiteY32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558 w 10000"/>
              <a:gd name="connsiteY210" fmla="*/ 2481 h 10000"/>
              <a:gd name="connsiteX211" fmla="*/ 8558 w 10000"/>
              <a:gd name="connsiteY211" fmla="*/ 2459 h 10000"/>
              <a:gd name="connsiteX212" fmla="*/ 8698 w 10000"/>
              <a:gd name="connsiteY212" fmla="*/ 2504 h 10000"/>
              <a:gd name="connsiteX213" fmla="*/ 8763 w 10000"/>
              <a:gd name="connsiteY213" fmla="*/ 2548 h 10000"/>
              <a:gd name="connsiteX214" fmla="*/ 8815 w 10000"/>
              <a:gd name="connsiteY214" fmla="*/ 2548 h 10000"/>
              <a:gd name="connsiteX215" fmla="*/ 8789 w 10000"/>
              <a:gd name="connsiteY215" fmla="*/ 2457 h 10000"/>
              <a:gd name="connsiteX216" fmla="*/ 8798 w 10000"/>
              <a:gd name="connsiteY216" fmla="*/ 2467 h 10000"/>
              <a:gd name="connsiteX217" fmla="*/ 8841 w 10000"/>
              <a:gd name="connsiteY217" fmla="*/ 2457 h 10000"/>
              <a:gd name="connsiteX218" fmla="*/ 8855 w 10000"/>
              <a:gd name="connsiteY218" fmla="*/ 2341 h 10000"/>
              <a:gd name="connsiteX219" fmla="*/ 8898 w 10000"/>
              <a:gd name="connsiteY219" fmla="*/ 2332 h 10000"/>
              <a:gd name="connsiteX220" fmla="*/ 8946 w 10000"/>
              <a:gd name="connsiteY220" fmla="*/ 2330 h 10000"/>
              <a:gd name="connsiteX221" fmla="*/ 8946 w 10000"/>
              <a:gd name="connsiteY221" fmla="*/ 2361 h 10000"/>
              <a:gd name="connsiteX222" fmla="*/ 8994 w 10000"/>
              <a:gd name="connsiteY222" fmla="*/ 2389 h 10000"/>
              <a:gd name="connsiteX223" fmla="*/ 9051 w 10000"/>
              <a:gd name="connsiteY223" fmla="*/ 2400 h 10000"/>
              <a:gd name="connsiteX224" fmla="*/ 9094 w 10000"/>
              <a:gd name="connsiteY224" fmla="*/ 2324 h 10000"/>
              <a:gd name="connsiteX225" fmla="*/ 9164 w 10000"/>
              <a:gd name="connsiteY225" fmla="*/ 2347 h 10000"/>
              <a:gd name="connsiteX226" fmla="*/ 9247 w 10000"/>
              <a:gd name="connsiteY226" fmla="*/ 2402 h 10000"/>
              <a:gd name="connsiteX227" fmla="*/ 9286 w 10000"/>
              <a:gd name="connsiteY227" fmla="*/ 2400 h 10000"/>
              <a:gd name="connsiteX228" fmla="*/ 9355 w 10000"/>
              <a:gd name="connsiteY228" fmla="*/ 2428 h 10000"/>
              <a:gd name="connsiteX229" fmla="*/ 9408 w 10000"/>
              <a:gd name="connsiteY229" fmla="*/ 2359 h 10000"/>
              <a:gd name="connsiteX230" fmla="*/ 9717 w 10000"/>
              <a:gd name="connsiteY230" fmla="*/ 2343 h 10000"/>
              <a:gd name="connsiteX231" fmla="*/ 9830 w 10000"/>
              <a:gd name="connsiteY231" fmla="*/ 2369 h 10000"/>
              <a:gd name="connsiteX232" fmla="*/ 9909 w 10000"/>
              <a:gd name="connsiteY232" fmla="*/ 2410 h 10000"/>
              <a:gd name="connsiteX233" fmla="*/ 9948 w 10000"/>
              <a:gd name="connsiteY233" fmla="*/ 2365 h 10000"/>
              <a:gd name="connsiteX234" fmla="*/ 10000 w 10000"/>
              <a:gd name="connsiteY234" fmla="*/ 2349 h 10000"/>
              <a:gd name="connsiteX235" fmla="*/ 9704 w 10000"/>
              <a:gd name="connsiteY235" fmla="*/ 1992 h 10000"/>
              <a:gd name="connsiteX236" fmla="*/ 9743 w 10000"/>
              <a:gd name="connsiteY236" fmla="*/ 1897 h 10000"/>
              <a:gd name="connsiteX237" fmla="*/ 9830 w 10000"/>
              <a:gd name="connsiteY237" fmla="*/ 1819 h 10000"/>
              <a:gd name="connsiteX238" fmla="*/ 9830 w 10000"/>
              <a:gd name="connsiteY238" fmla="*/ 1699 h 10000"/>
              <a:gd name="connsiteX239" fmla="*/ 9556 w 10000"/>
              <a:gd name="connsiteY239" fmla="*/ 1465 h 10000"/>
              <a:gd name="connsiteX240" fmla="*/ 9512 w 10000"/>
              <a:gd name="connsiteY240" fmla="*/ 1379 h 10000"/>
              <a:gd name="connsiteX241" fmla="*/ 9573 w 10000"/>
              <a:gd name="connsiteY241" fmla="*/ 1271 h 10000"/>
              <a:gd name="connsiteX242" fmla="*/ 9543 w 10000"/>
              <a:gd name="connsiteY242" fmla="*/ 1194 h 10000"/>
              <a:gd name="connsiteX243" fmla="*/ 9486 w 10000"/>
              <a:gd name="connsiteY243" fmla="*/ 1159 h 10000"/>
              <a:gd name="connsiteX244" fmla="*/ 9438 w 10000"/>
              <a:gd name="connsiteY244" fmla="*/ 978 h 10000"/>
              <a:gd name="connsiteX245" fmla="*/ 9495 w 10000"/>
              <a:gd name="connsiteY245" fmla="*/ 831 h 10000"/>
              <a:gd name="connsiteX246" fmla="*/ 9077 w 10000"/>
              <a:gd name="connsiteY246" fmla="*/ 517 h 10000"/>
              <a:gd name="connsiteX247" fmla="*/ 8872 w 10000"/>
              <a:gd name="connsiteY247" fmla="*/ 440 h 10000"/>
              <a:gd name="connsiteX248" fmla="*/ 8493 w 10000"/>
              <a:gd name="connsiteY248" fmla="*/ 389 h 10000"/>
              <a:gd name="connsiteX249" fmla="*/ 7709 w 10000"/>
              <a:gd name="connsiteY249" fmla="*/ 26 h 10000"/>
              <a:gd name="connsiteX250" fmla="*/ 7683 w 10000"/>
              <a:gd name="connsiteY250" fmla="*/ 2 h 10000"/>
              <a:gd name="connsiteX251" fmla="*/ 7417 w 10000"/>
              <a:gd name="connsiteY251" fmla="*/ 0 h 10000"/>
              <a:gd name="connsiteX252" fmla="*/ 7356 w 10000"/>
              <a:gd name="connsiteY252" fmla="*/ 14 h 10000"/>
              <a:gd name="connsiteX253" fmla="*/ 7369 w 10000"/>
              <a:gd name="connsiteY253" fmla="*/ 61 h 10000"/>
              <a:gd name="connsiteX254" fmla="*/ 7422 w 10000"/>
              <a:gd name="connsiteY254" fmla="*/ 86 h 10000"/>
              <a:gd name="connsiteX255" fmla="*/ 7435 w 10000"/>
              <a:gd name="connsiteY255" fmla="*/ 139 h 10000"/>
              <a:gd name="connsiteX256" fmla="*/ 7417 w 10000"/>
              <a:gd name="connsiteY256" fmla="*/ 181 h 10000"/>
              <a:gd name="connsiteX257" fmla="*/ 7369 w 10000"/>
              <a:gd name="connsiteY257" fmla="*/ 208 h 10000"/>
              <a:gd name="connsiteX258" fmla="*/ 7334 w 10000"/>
              <a:gd name="connsiteY258" fmla="*/ 283 h 10000"/>
              <a:gd name="connsiteX259" fmla="*/ 7269 w 10000"/>
              <a:gd name="connsiteY259" fmla="*/ 336 h 10000"/>
              <a:gd name="connsiteX260" fmla="*/ 7282 w 10000"/>
              <a:gd name="connsiteY260" fmla="*/ 387 h 10000"/>
              <a:gd name="connsiteX261" fmla="*/ 7382 w 10000"/>
              <a:gd name="connsiteY261" fmla="*/ 434 h 10000"/>
              <a:gd name="connsiteX262" fmla="*/ 7317 w 10000"/>
              <a:gd name="connsiteY262" fmla="*/ 475 h 10000"/>
              <a:gd name="connsiteX263" fmla="*/ 7221 w 10000"/>
              <a:gd name="connsiteY263" fmla="*/ 485 h 10000"/>
              <a:gd name="connsiteX264" fmla="*/ 6420 w 10000"/>
              <a:gd name="connsiteY264" fmla="*/ 387 h 10000"/>
              <a:gd name="connsiteX265" fmla="*/ 6324 w 10000"/>
              <a:gd name="connsiteY265" fmla="*/ 395 h 10000"/>
              <a:gd name="connsiteX266" fmla="*/ 6267 w 10000"/>
              <a:gd name="connsiteY266" fmla="*/ 414 h 10000"/>
              <a:gd name="connsiteX267" fmla="*/ 6211 w 10000"/>
              <a:gd name="connsiteY267" fmla="*/ 462 h 10000"/>
              <a:gd name="connsiteX268" fmla="*/ 6220 w 10000"/>
              <a:gd name="connsiteY268" fmla="*/ 581 h 10000"/>
              <a:gd name="connsiteX269" fmla="*/ 6132 w 10000"/>
              <a:gd name="connsiteY269" fmla="*/ 735 h 10000"/>
              <a:gd name="connsiteX270" fmla="*/ 6024 w 10000"/>
              <a:gd name="connsiteY270" fmla="*/ 815 h 10000"/>
              <a:gd name="connsiteX271" fmla="*/ 5980 w 10000"/>
              <a:gd name="connsiteY271" fmla="*/ 805 h 10000"/>
              <a:gd name="connsiteX272" fmla="*/ 5880 w 10000"/>
              <a:gd name="connsiteY272" fmla="*/ 739 h 10000"/>
              <a:gd name="connsiteX273" fmla="*/ 5753 w 10000"/>
              <a:gd name="connsiteY273" fmla="*/ 705 h 10000"/>
              <a:gd name="connsiteX274" fmla="*/ 5618 w 10000"/>
              <a:gd name="connsiteY274" fmla="*/ 715 h 10000"/>
              <a:gd name="connsiteX275" fmla="*/ 5301 w 10000"/>
              <a:gd name="connsiteY275" fmla="*/ 866 h 10000"/>
              <a:gd name="connsiteX276" fmla="*/ 5218 w 10000"/>
              <a:gd name="connsiteY276" fmla="*/ 1017 h 10000"/>
              <a:gd name="connsiteX277" fmla="*/ 4978 w 10000"/>
              <a:gd name="connsiteY277" fmla="*/ 1153 h 10000"/>
              <a:gd name="connsiteX278" fmla="*/ 4935 w 10000"/>
              <a:gd name="connsiteY278" fmla="*/ 1222 h 10000"/>
              <a:gd name="connsiteX279" fmla="*/ 5061 w 10000"/>
              <a:gd name="connsiteY279" fmla="*/ 1344 h 10000"/>
              <a:gd name="connsiteX280" fmla="*/ 5074 w 10000"/>
              <a:gd name="connsiteY280" fmla="*/ 1412 h 10000"/>
              <a:gd name="connsiteX281" fmla="*/ 4421 w 10000"/>
              <a:gd name="connsiteY281" fmla="*/ 1813 h 10000"/>
              <a:gd name="connsiteX282" fmla="*/ 4220 w 10000"/>
              <a:gd name="connsiteY282" fmla="*/ 2070 h 10000"/>
              <a:gd name="connsiteX283" fmla="*/ 4003 w 10000"/>
              <a:gd name="connsiteY283" fmla="*/ 2135 h 10000"/>
              <a:gd name="connsiteX284" fmla="*/ 3868 w 10000"/>
              <a:gd name="connsiteY284" fmla="*/ 2131 h 10000"/>
              <a:gd name="connsiteX285" fmla="*/ 3785 w 10000"/>
              <a:gd name="connsiteY285" fmla="*/ 2153 h 10000"/>
              <a:gd name="connsiteX286" fmla="*/ 3558 w 10000"/>
              <a:gd name="connsiteY286" fmla="*/ 2793 h 10000"/>
              <a:gd name="connsiteX287" fmla="*/ 3036 w 10000"/>
              <a:gd name="connsiteY287" fmla="*/ 3166 h 10000"/>
              <a:gd name="connsiteX288" fmla="*/ 3040 w 10000"/>
              <a:gd name="connsiteY288" fmla="*/ 3225 h 10000"/>
              <a:gd name="connsiteX289" fmla="*/ 3271 w 10000"/>
              <a:gd name="connsiteY289" fmla="*/ 3392 h 10000"/>
              <a:gd name="connsiteX290" fmla="*/ 3197 w 10000"/>
              <a:gd name="connsiteY290" fmla="*/ 3573 h 10000"/>
              <a:gd name="connsiteX291" fmla="*/ 3062 w 10000"/>
              <a:gd name="connsiteY291" fmla="*/ 3640 h 10000"/>
              <a:gd name="connsiteX292" fmla="*/ 2657 w 10000"/>
              <a:gd name="connsiteY292" fmla="*/ 3595 h 10000"/>
              <a:gd name="connsiteX293" fmla="*/ 2378 w 10000"/>
              <a:gd name="connsiteY293" fmla="*/ 3620 h 10000"/>
              <a:gd name="connsiteX294" fmla="*/ 2152 w 10000"/>
              <a:gd name="connsiteY294" fmla="*/ 3673 h 10000"/>
              <a:gd name="connsiteX295" fmla="*/ 1790 w 10000"/>
              <a:gd name="connsiteY295" fmla="*/ 3840 h 10000"/>
              <a:gd name="connsiteX296" fmla="*/ 1598 w 10000"/>
              <a:gd name="connsiteY296" fmla="*/ 4042 h 10000"/>
              <a:gd name="connsiteX297" fmla="*/ 1616 w 10000"/>
              <a:gd name="connsiteY297" fmla="*/ 4154 h 10000"/>
              <a:gd name="connsiteX298" fmla="*/ 1681 w 10000"/>
              <a:gd name="connsiteY298" fmla="*/ 4241 h 10000"/>
              <a:gd name="connsiteX299" fmla="*/ 1733 w 10000"/>
              <a:gd name="connsiteY299" fmla="*/ 4276 h 10000"/>
              <a:gd name="connsiteX300" fmla="*/ 1638 w 10000"/>
              <a:gd name="connsiteY300" fmla="*/ 4331 h 10000"/>
              <a:gd name="connsiteX301" fmla="*/ 1433 w 10000"/>
              <a:gd name="connsiteY301" fmla="*/ 4710 h 10000"/>
              <a:gd name="connsiteX302" fmla="*/ 1472 w 10000"/>
              <a:gd name="connsiteY302" fmla="*/ 4732 h 10000"/>
              <a:gd name="connsiteX303" fmla="*/ 1503 w 10000"/>
              <a:gd name="connsiteY303" fmla="*/ 4828 h 10000"/>
              <a:gd name="connsiteX304" fmla="*/ 1407 w 10000"/>
              <a:gd name="connsiteY304" fmla="*/ 5227 h 10000"/>
              <a:gd name="connsiteX305" fmla="*/ 1503 w 10000"/>
              <a:gd name="connsiteY305" fmla="*/ 5329 h 10000"/>
              <a:gd name="connsiteX306" fmla="*/ 1764 w 10000"/>
              <a:gd name="connsiteY306" fmla="*/ 5441 h 10000"/>
              <a:gd name="connsiteX307" fmla="*/ 1777 w 10000"/>
              <a:gd name="connsiteY307" fmla="*/ 5578 h 10000"/>
              <a:gd name="connsiteX308" fmla="*/ 1664 w 10000"/>
              <a:gd name="connsiteY308" fmla="*/ 5690 h 10000"/>
              <a:gd name="connsiteX309" fmla="*/ 1503 w 10000"/>
              <a:gd name="connsiteY309" fmla="*/ 5759 h 10000"/>
              <a:gd name="connsiteX310" fmla="*/ 1289 w 10000"/>
              <a:gd name="connsiteY310" fmla="*/ 5787 h 10000"/>
              <a:gd name="connsiteX311" fmla="*/ 1233 w 10000"/>
              <a:gd name="connsiteY311" fmla="*/ 5826 h 10000"/>
              <a:gd name="connsiteX312" fmla="*/ 1359 w 10000"/>
              <a:gd name="connsiteY312" fmla="*/ 5920 h 10000"/>
              <a:gd name="connsiteX313" fmla="*/ 1429 w 10000"/>
              <a:gd name="connsiteY313" fmla="*/ 6142 h 10000"/>
              <a:gd name="connsiteX314" fmla="*/ 1267 w 10000"/>
              <a:gd name="connsiteY314" fmla="*/ 6333 h 10000"/>
              <a:gd name="connsiteX315" fmla="*/ 1324 w 10000"/>
              <a:gd name="connsiteY315" fmla="*/ 6392 h 10000"/>
              <a:gd name="connsiteX316" fmla="*/ 1272 w 10000"/>
              <a:gd name="connsiteY316" fmla="*/ 6492 h 10000"/>
              <a:gd name="connsiteX317" fmla="*/ 1167 w 10000"/>
              <a:gd name="connsiteY317" fmla="*/ 6561 h 10000"/>
              <a:gd name="connsiteX318" fmla="*/ 758 w 10000"/>
              <a:gd name="connsiteY318" fmla="*/ 6614 h 10000"/>
              <a:gd name="connsiteX319" fmla="*/ 732 w 10000"/>
              <a:gd name="connsiteY319" fmla="*/ 6706 h 10000"/>
              <a:gd name="connsiteX320" fmla="*/ 510 w 10000"/>
              <a:gd name="connsiteY320" fmla="*/ 6843 h 10000"/>
              <a:gd name="connsiteX321" fmla="*/ 540 w 10000"/>
              <a:gd name="connsiteY321" fmla="*/ 7040 h 10000"/>
              <a:gd name="connsiteX322" fmla="*/ 353 w 10000"/>
              <a:gd name="connsiteY322" fmla="*/ 7293 h 10000"/>
              <a:gd name="connsiteX323" fmla="*/ 226 w 10000"/>
              <a:gd name="connsiteY323" fmla="*/ 7323 h 10000"/>
              <a:gd name="connsiteX324" fmla="*/ 174 w 10000"/>
              <a:gd name="connsiteY324" fmla="*/ 7262 h 10000"/>
              <a:gd name="connsiteX325" fmla="*/ 109 w 10000"/>
              <a:gd name="connsiteY325" fmla="*/ 7354 h 10000"/>
              <a:gd name="connsiteX326" fmla="*/ 152 w 10000"/>
              <a:gd name="connsiteY326" fmla="*/ 7197 h 10000"/>
              <a:gd name="connsiteX327" fmla="*/ 126 w 10000"/>
              <a:gd name="connsiteY32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58 w 10000"/>
              <a:gd name="connsiteY209" fmla="*/ 2481 h 10000"/>
              <a:gd name="connsiteX210" fmla="*/ 8558 w 10000"/>
              <a:gd name="connsiteY210" fmla="*/ 2459 h 10000"/>
              <a:gd name="connsiteX211" fmla="*/ 8698 w 10000"/>
              <a:gd name="connsiteY211" fmla="*/ 2504 h 10000"/>
              <a:gd name="connsiteX212" fmla="*/ 8763 w 10000"/>
              <a:gd name="connsiteY212" fmla="*/ 2548 h 10000"/>
              <a:gd name="connsiteX213" fmla="*/ 8815 w 10000"/>
              <a:gd name="connsiteY213" fmla="*/ 2548 h 10000"/>
              <a:gd name="connsiteX214" fmla="*/ 8789 w 10000"/>
              <a:gd name="connsiteY214" fmla="*/ 2457 h 10000"/>
              <a:gd name="connsiteX215" fmla="*/ 8798 w 10000"/>
              <a:gd name="connsiteY215" fmla="*/ 2467 h 10000"/>
              <a:gd name="connsiteX216" fmla="*/ 8841 w 10000"/>
              <a:gd name="connsiteY216" fmla="*/ 2457 h 10000"/>
              <a:gd name="connsiteX217" fmla="*/ 8855 w 10000"/>
              <a:gd name="connsiteY217" fmla="*/ 2341 h 10000"/>
              <a:gd name="connsiteX218" fmla="*/ 8898 w 10000"/>
              <a:gd name="connsiteY218" fmla="*/ 2332 h 10000"/>
              <a:gd name="connsiteX219" fmla="*/ 8946 w 10000"/>
              <a:gd name="connsiteY219" fmla="*/ 2330 h 10000"/>
              <a:gd name="connsiteX220" fmla="*/ 8946 w 10000"/>
              <a:gd name="connsiteY220" fmla="*/ 2361 h 10000"/>
              <a:gd name="connsiteX221" fmla="*/ 8994 w 10000"/>
              <a:gd name="connsiteY221" fmla="*/ 2389 h 10000"/>
              <a:gd name="connsiteX222" fmla="*/ 9051 w 10000"/>
              <a:gd name="connsiteY222" fmla="*/ 2400 h 10000"/>
              <a:gd name="connsiteX223" fmla="*/ 9094 w 10000"/>
              <a:gd name="connsiteY223" fmla="*/ 2324 h 10000"/>
              <a:gd name="connsiteX224" fmla="*/ 9164 w 10000"/>
              <a:gd name="connsiteY224" fmla="*/ 2347 h 10000"/>
              <a:gd name="connsiteX225" fmla="*/ 9247 w 10000"/>
              <a:gd name="connsiteY225" fmla="*/ 2402 h 10000"/>
              <a:gd name="connsiteX226" fmla="*/ 9286 w 10000"/>
              <a:gd name="connsiteY226" fmla="*/ 2400 h 10000"/>
              <a:gd name="connsiteX227" fmla="*/ 9355 w 10000"/>
              <a:gd name="connsiteY227" fmla="*/ 2428 h 10000"/>
              <a:gd name="connsiteX228" fmla="*/ 9408 w 10000"/>
              <a:gd name="connsiteY228" fmla="*/ 2359 h 10000"/>
              <a:gd name="connsiteX229" fmla="*/ 9717 w 10000"/>
              <a:gd name="connsiteY229" fmla="*/ 2343 h 10000"/>
              <a:gd name="connsiteX230" fmla="*/ 9830 w 10000"/>
              <a:gd name="connsiteY230" fmla="*/ 2369 h 10000"/>
              <a:gd name="connsiteX231" fmla="*/ 9909 w 10000"/>
              <a:gd name="connsiteY231" fmla="*/ 2410 h 10000"/>
              <a:gd name="connsiteX232" fmla="*/ 9948 w 10000"/>
              <a:gd name="connsiteY232" fmla="*/ 2365 h 10000"/>
              <a:gd name="connsiteX233" fmla="*/ 10000 w 10000"/>
              <a:gd name="connsiteY233" fmla="*/ 2349 h 10000"/>
              <a:gd name="connsiteX234" fmla="*/ 9704 w 10000"/>
              <a:gd name="connsiteY234" fmla="*/ 1992 h 10000"/>
              <a:gd name="connsiteX235" fmla="*/ 9743 w 10000"/>
              <a:gd name="connsiteY235" fmla="*/ 1897 h 10000"/>
              <a:gd name="connsiteX236" fmla="*/ 9830 w 10000"/>
              <a:gd name="connsiteY236" fmla="*/ 1819 h 10000"/>
              <a:gd name="connsiteX237" fmla="*/ 9830 w 10000"/>
              <a:gd name="connsiteY237" fmla="*/ 1699 h 10000"/>
              <a:gd name="connsiteX238" fmla="*/ 9556 w 10000"/>
              <a:gd name="connsiteY238" fmla="*/ 1465 h 10000"/>
              <a:gd name="connsiteX239" fmla="*/ 9512 w 10000"/>
              <a:gd name="connsiteY239" fmla="*/ 1379 h 10000"/>
              <a:gd name="connsiteX240" fmla="*/ 9573 w 10000"/>
              <a:gd name="connsiteY240" fmla="*/ 1271 h 10000"/>
              <a:gd name="connsiteX241" fmla="*/ 9543 w 10000"/>
              <a:gd name="connsiteY241" fmla="*/ 1194 h 10000"/>
              <a:gd name="connsiteX242" fmla="*/ 9486 w 10000"/>
              <a:gd name="connsiteY242" fmla="*/ 1159 h 10000"/>
              <a:gd name="connsiteX243" fmla="*/ 9438 w 10000"/>
              <a:gd name="connsiteY243" fmla="*/ 978 h 10000"/>
              <a:gd name="connsiteX244" fmla="*/ 9495 w 10000"/>
              <a:gd name="connsiteY244" fmla="*/ 831 h 10000"/>
              <a:gd name="connsiteX245" fmla="*/ 9077 w 10000"/>
              <a:gd name="connsiteY245" fmla="*/ 517 h 10000"/>
              <a:gd name="connsiteX246" fmla="*/ 8872 w 10000"/>
              <a:gd name="connsiteY246" fmla="*/ 440 h 10000"/>
              <a:gd name="connsiteX247" fmla="*/ 8493 w 10000"/>
              <a:gd name="connsiteY247" fmla="*/ 389 h 10000"/>
              <a:gd name="connsiteX248" fmla="*/ 7709 w 10000"/>
              <a:gd name="connsiteY248" fmla="*/ 26 h 10000"/>
              <a:gd name="connsiteX249" fmla="*/ 7683 w 10000"/>
              <a:gd name="connsiteY249" fmla="*/ 2 h 10000"/>
              <a:gd name="connsiteX250" fmla="*/ 7417 w 10000"/>
              <a:gd name="connsiteY250" fmla="*/ 0 h 10000"/>
              <a:gd name="connsiteX251" fmla="*/ 7356 w 10000"/>
              <a:gd name="connsiteY251" fmla="*/ 14 h 10000"/>
              <a:gd name="connsiteX252" fmla="*/ 7369 w 10000"/>
              <a:gd name="connsiteY252" fmla="*/ 61 h 10000"/>
              <a:gd name="connsiteX253" fmla="*/ 7422 w 10000"/>
              <a:gd name="connsiteY253" fmla="*/ 86 h 10000"/>
              <a:gd name="connsiteX254" fmla="*/ 7435 w 10000"/>
              <a:gd name="connsiteY254" fmla="*/ 139 h 10000"/>
              <a:gd name="connsiteX255" fmla="*/ 7417 w 10000"/>
              <a:gd name="connsiteY255" fmla="*/ 181 h 10000"/>
              <a:gd name="connsiteX256" fmla="*/ 7369 w 10000"/>
              <a:gd name="connsiteY256" fmla="*/ 208 h 10000"/>
              <a:gd name="connsiteX257" fmla="*/ 7334 w 10000"/>
              <a:gd name="connsiteY257" fmla="*/ 283 h 10000"/>
              <a:gd name="connsiteX258" fmla="*/ 7269 w 10000"/>
              <a:gd name="connsiteY258" fmla="*/ 336 h 10000"/>
              <a:gd name="connsiteX259" fmla="*/ 7282 w 10000"/>
              <a:gd name="connsiteY259" fmla="*/ 387 h 10000"/>
              <a:gd name="connsiteX260" fmla="*/ 7382 w 10000"/>
              <a:gd name="connsiteY260" fmla="*/ 434 h 10000"/>
              <a:gd name="connsiteX261" fmla="*/ 7317 w 10000"/>
              <a:gd name="connsiteY261" fmla="*/ 475 h 10000"/>
              <a:gd name="connsiteX262" fmla="*/ 7221 w 10000"/>
              <a:gd name="connsiteY262" fmla="*/ 485 h 10000"/>
              <a:gd name="connsiteX263" fmla="*/ 6420 w 10000"/>
              <a:gd name="connsiteY263" fmla="*/ 387 h 10000"/>
              <a:gd name="connsiteX264" fmla="*/ 6324 w 10000"/>
              <a:gd name="connsiteY264" fmla="*/ 395 h 10000"/>
              <a:gd name="connsiteX265" fmla="*/ 6267 w 10000"/>
              <a:gd name="connsiteY265" fmla="*/ 414 h 10000"/>
              <a:gd name="connsiteX266" fmla="*/ 6211 w 10000"/>
              <a:gd name="connsiteY266" fmla="*/ 462 h 10000"/>
              <a:gd name="connsiteX267" fmla="*/ 6220 w 10000"/>
              <a:gd name="connsiteY267" fmla="*/ 581 h 10000"/>
              <a:gd name="connsiteX268" fmla="*/ 6132 w 10000"/>
              <a:gd name="connsiteY268" fmla="*/ 735 h 10000"/>
              <a:gd name="connsiteX269" fmla="*/ 6024 w 10000"/>
              <a:gd name="connsiteY269" fmla="*/ 815 h 10000"/>
              <a:gd name="connsiteX270" fmla="*/ 5980 w 10000"/>
              <a:gd name="connsiteY270" fmla="*/ 805 h 10000"/>
              <a:gd name="connsiteX271" fmla="*/ 5880 w 10000"/>
              <a:gd name="connsiteY271" fmla="*/ 739 h 10000"/>
              <a:gd name="connsiteX272" fmla="*/ 5753 w 10000"/>
              <a:gd name="connsiteY272" fmla="*/ 705 h 10000"/>
              <a:gd name="connsiteX273" fmla="*/ 5618 w 10000"/>
              <a:gd name="connsiteY273" fmla="*/ 715 h 10000"/>
              <a:gd name="connsiteX274" fmla="*/ 5301 w 10000"/>
              <a:gd name="connsiteY274" fmla="*/ 866 h 10000"/>
              <a:gd name="connsiteX275" fmla="*/ 5218 w 10000"/>
              <a:gd name="connsiteY275" fmla="*/ 1017 h 10000"/>
              <a:gd name="connsiteX276" fmla="*/ 4978 w 10000"/>
              <a:gd name="connsiteY276" fmla="*/ 1153 h 10000"/>
              <a:gd name="connsiteX277" fmla="*/ 4935 w 10000"/>
              <a:gd name="connsiteY277" fmla="*/ 1222 h 10000"/>
              <a:gd name="connsiteX278" fmla="*/ 5061 w 10000"/>
              <a:gd name="connsiteY278" fmla="*/ 1344 h 10000"/>
              <a:gd name="connsiteX279" fmla="*/ 5074 w 10000"/>
              <a:gd name="connsiteY279" fmla="*/ 1412 h 10000"/>
              <a:gd name="connsiteX280" fmla="*/ 4421 w 10000"/>
              <a:gd name="connsiteY280" fmla="*/ 1813 h 10000"/>
              <a:gd name="connsiteX281" fmla="*/ 4220 w 10000"/>
              <a:gd name="connsiteY281" fmla="*/ 2070 h 10000"/>
              <a:gd name="connsiteX282" fmla="*/ 4003 w 10000"/>
              <a:gd name="connsiteY282" fmla="*/ 2135 h 10000"/>
              <a:gd name="connsiteX283" fmla="*/ 3868 w 10000"/>
              <a:gd name="connsiteY283" fmla="*/ 2131 h 10000"/>
              <a:gd name="connsiteX284" fmla="*/ 3785 w 10000"/>
              <a:gd name="connsiteY284" fmla="*/ 2153 h 10000"/>
              <a:gd name="connsiteX285" fmla="*/ 3558 w 10000"/>
              <a:gd name="connsiteY285" fmla="*/ 2793 h 10000"/>
              <a:gd name="connsiteX286" fmla="*/ 3036 w 10000"/>
              <a:gd name="connsiteY286" fmla="*/ 3166 h 10000"/>
              <a:gd name="connsiteX287" fmla="*/ 3040 w 10000"/>
              <a:gd name="connsiteY287" fmla="*/ 3225 h 10000"/>
              <a:gd name="connsiteX288" fmla="*/ 3271 w 10000"/>
              <a:gd name="connsiteY288" fmla="*/ 3392 h 10000"/>
              <a:gd name="connsiteX289" fmla="*/ 3197 w 10000"/>
              <a:gd name="connsiteY289" fmla="*/ 3573 h 10000"/>
              <a:gd name="connsiteX290" fmla="*/ 3062 w 10000"/>
              <a:gd name="connsiteY290" fmla="*/ 3640 h 10000"/>
              <a:gd name="connsiteX291" fmla="*/ 2657 w 10000"/>
              <a:gd name="connsiteY291" fmla="*/ 3595 h 10000"/>
              <a:gd name="connsiteX292" fmla="*/ 2378 w 10000"/>
              <a:gd name="connsiteY292" fmla="*/ 3620 h 10000"/>
              <a:gd name="connsiteX293" fmla="*/ 2152 w 10000"/>
              <a:gd name="connsiteY293" fmla="*/ 3673 h 10000"/>
              <a:gd name="connsiteX294" fmla="*/ 1790 w 10000"/>
              <a:gd name="connsiteY294" fmla="*/ 3840 h 10000"/>
              <a:gd name="connsiteX295" fmla="*/ 1598 w 10000"/>
              <a:gd name="connsiteY295" fmla="*/ 4042 h 10000"/>
              <a:gd name="connsiteX296" fmla="*/ 1616 w 10000"/>
              <a:gd name="connsiteY296" fmla="*/ 4154 h 10000"/>
              <a:gd name="connsiteX297" fmla="*/ 1681 w 10000"/>
              <a:gd name="connsiteY297" fmla="*/ 4241 h 10000"/>
              <a:gd name="connsiteX298" fmla="*/ 1733 w 10000"/>
              <a:gd name="connsiteY298" fmla="*/ 4276 h 10000"/>
              <a:gd name="connsiteX299" fmla="*/ 1638 w 10000"/>
              <a:gd name="connsiteY299" fmla="*/ 4331 h 10000"/>
              <a:gd name="connsiteX300" fmla="*/ 1433 w 10000"/>
              <a:gd name="connsiteY300" fmla="*/ 4710 h 10000"/>
              <a:gd name="connsiteX301" fmla="*/ 1472 w 10000"/>
              <a:gd name="connsiteY301" fmla="*/ 4732 h 10000"/>
              <a:gd name="connsiteX302" fmla="*/ 1503 w 10000"/>
              <a:gd name="connsiteY302" fmla="*/ 4828 h 10000"/>
              <a:gd name="connsiteX303" fmla="*/ 1407 w 10000"/>
              <a:gd name="connsiteY303" fmla="*/ 5227 h 10000"/>
              <a:gd name="connsiteX304" fmla="*/ 1503 w 10000"/>
              <a:gd name="connsiteY304" fmla="*/ 5329 h 10000"/>
              <a:gd name="connsiteX305" fmla="*/ 1764 w 10000"/>
              <a:gd name="connsiteY305" fmla="*/ 5441 h 10000"/>
              <a:gd name="connsiteX306" fmla="*/ 1777 w 10000"/>
              <a:gd name="connsiteY306" fmla="*/ 5578 h 10000"/>
              <a:gd name="connsiteX307" fmla="*/ 1664 w 10000"/>
              <a:gd name="connsiteY307" fmla="*/ 5690 h 10000"/>
              <a:gd name="connsiteX308" fmla="*/ 1503 w 10000"/>
              <a:gd name="connsiteY308" fmla="*/ 5759 h 10000"/>
              <a:gd name="connsiteX309" fmla="*/ 1289 w 10000"/>
              <a:gd name="connsiteY309" fmla="*/ 5787 h 10000"/>
              <a:gd name="connsiteX310" fmla="*/ 1233 w 10000"/>
              <a:gd name="connsiteY310" fmla="*/ 5826 h 10000"/>
              <a:gd name="connsiteX311" fmla="*/ 1359 w 10000"/>
              <a:gd name="connsiteY311" fmla="*/ 5920 h 10000"/>
              <a:gd name="connsiteX312" fmla="*/ 1429 w 10000"/>
              <a:gd name="connsiteY312" fmla="*/ 6142 h 10000"/>
              <a:gd name="connsiteX313" fmla="*/ 1267 w 10000"/>
              <a:gd name="connsiteY313" fmla="*/ 6333 h 10000"/>
              <a:gd name="connsiteX314" fmla="*/ 1324 w 10000"/>
              <a:gd name="connsiteY314" fmla="*/ 6392 h 10000"/>
              <a:gd name="connsiteX315" fmla="*/ 1272 w 10000"/>
              <a:gd name="connsiteY315" fmla="*/ 6492 h 10000"/>
              <a:gd name="connsiteX316" fmla="*/ 1167 w 10000"/>
              <a:gd name="connsiteY316" fmla="*/ 6561 h 10000"/>
              <a:gd name="connsiteX317" fmla="*/ 758 w 10000"/>
              <a:gd name="connsiteY317" fmla="*/ 6614 h 10000"/>
              <a:gd name="connsiteX318" fmla="*/ 732 w 10000"/>
              <a:gd name="connsiteY318" fmla="*/ 6706 h 10000"/>
              <a:gd name="connsiteX319" fmla="*/ 510 w 10000"/>
              <a:gd name="connsiteY319" fmla="*/ 6843 h 10000"/>
              <a:gd name="connsiteX320" fmla="*/ 540 w 10000"/>
              <a:gd name="connsiteY320" fmla="*/ 7040 h 10000"/>
              <a:gd name="connsiteX321" fmla="*/ 353 w 10000"/>
              <a:gd name="connsiteY321" fmla="*/ 7293 h 10000"/>
              <a:gd name="connsiteX322" fmla="*/ 226 w 10000"/>
              <a:gd name="connsiteY322" fmla="*/ 7323 h 10000"/>
              <a:gd name="connsiteX323" fmla="*/ 174 w 10000"/>
              <a:gd name="connsiteY323" fmla="*/ 7262 h 10000"/>
              <a:gd name="connsiteX324" fmla="*/ 109 w 10000"/>
              <a:gd name="connsiteY324" fmla="*/ 7354 h 10000"/>
              <a:gd name="connsiteX325" fmla="*/ 152 w 10000"/>
              <a:gd name="connsiteY325" fmla="*/ 7197 h 10000"/>
              <a:gd name="connsiteX326" fmla="*/ 126 w 10000"/>
              <a:gd name="connsiteY32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558 w 10000"/>
              <a:gd name="connsiteY208" fmla="*/ 2481 h 10000"/>
              <a:gd name="connsiteX209" fmla="*/ 8558 w 10000"/>
              <a:gd name="connsiteY209" fmla="*/ 2459 h 10000"/>
              <a:gd name="connsiteX210" fmla="*/ 8698 w 10000"/>
              <a:gd name="connsiteY210" fmla="*/ 2504 h 10000"/>
              <a:gd name="connsiteX211" fmla="*/ 8763 w 10000"/>
              <a:gd name="connsiteY211" fmla="*/ 2548 h 10000"/>
              <a:gd name="connsiteX212" fmla="*/ 8815 w 10000"/>
              <a:gd name="connsiteY212" fmla="*/ 2548 h 10000"/>
              <a:gd name="connsiteX213" fmla="*/ 8789 w 10000"/>
              <a:gd name="connsiteY213" fmla="*/ 2457 h 10000"/>
              <a:gd name="connsiteX214" fmla="*/ 8798 w 10000"/>
              <a:gd name="connsiteY214" fmla="*/ 2467 h 10000"/>
              <a:gd name="connsiteX215" fmla="*/ 8841 w 10000"/>
              <a:gd name="connsiteY215" fmla="*/ 2457 h 10000"/>
              <a:gd name="connsiteX216" fmla="*/ 8855 w 10000"/>
              <a:gd name="connsiteY216" fmla="*/ 2341 h 10000"/>
              <a:gd name="connsiteX217" fmla="*/ 8898 w 10000"/>
              <a:gd name="connsiteY217" fmla="*/ 2332 h 10000"/>
              <a:gd name="connsiteX218" fmla="*/ 8946 w 10000"/>
              <a:gd name="connsiteY218" fmla="*/ 2330 h 10000"/>
              <a:gd name="connsiteX219" fmla="*/ 8946 w 10000"/>
              <a:gd name="connsiteY219" fmla="*/ 2361 h 10000"/>
              <a:gd name="connsiteX220" fmla="*/ 8994 w 10000"/>
              <a:gd name="connsiteY220" fmla="*/ 2389 h 10000"/>
              <a:gd name="connsiteX221" fmla="*/ 9051 w 10000"/>
              <a:gd name="connsiteY221" fmla="*/ 2400 h 10000"/>
              <a:gd name="connsiteX222" fmla="*/ 9094 w 10000"/>
              <a:gd name="connsiteY222" fmla="*/ 2324 h 10000"/>
              <a:gd name="connsiteX223" fmla="*/ 9164 w 10000"/>
              <a:gd name="connsiteY223" fmla="*/ 2347 h 10000"/>
              <a:gd name="connsiteX224" fmla="*/ 9247 w 10000"/>
              <a:gd name="connsiteY224" fmla="*/ 2402 h 10000"/>
              <a:gd name="connsiteX225" fmla="*/ 9286 w 10000"/>
              <a:gd name="connsiteY225" fmla="*/ 2400 h 10000"/>
              <a:gd name="connsiteX226" fmla="*/ 9355 w 10000"/>
              <a:gd name="connsiteY226" fmla="*/ 2428 h 10000"/>
              <a:gd name="connsiteX227" fmla="*/ 9408 w 10000"/>
              <a:gd name="connsiteY227" fmla="*/ 2359 h 10000"/>
              <a:gd name="connsiteX228" fmla="*/ 9717 w 10000"/>
              <a:gd name="connsiteY228" fmla="*/ 2343 h 10000"/>
              <a:gd name="connsiteX229" fmla="*/ 9830 w 10000"/>
              <a:gd name="connsiteY229" fmla="*/ 2369 h 10000"/>
              <a:gd name="connsiteX230" fmla="*/ 9909 w 10000"/>
              <a:gd name="connsiteY230" fmla="*/ 2410 h 10000"/>
              <a:gd name="connsiteX231" fmla="*/ 9948 w 10000"/>
              <a:gd name="connsiteY231" fmla="*/ 2365 h 10000"/>
              <a:gd name="connsiteX232" fmla="*/ 10000 w 10000"/>
              <a:gd name="connsiteY232" fmla="*/ 2349 h 10000"/>
              <a:gd name="connsiteX233" fmla="*/ 9704 w 10000"/>
              <a:gd name="connsiteY233" fmla="*/ 1992 h 10000"/>
              <a:gd name="connsiteX234" fmla="*/ 9743 w 10000"/>
              <a:gd name="connsiteY234" fmla="*/ 1897 h 10000"/>
              <a:gd name="connsiteX235" fmla="*/ 9830 w 10000"/>
              <a:gd name="connsiteY235" fmla="*/ 1819 h 10000"/>
              <a:gd name="connsiteX236" fmla="*/ 9830 w 10000"/>
              <a:gd name="connsiteY236" fmla="*/ 1699 h 10000"/>
              <a:gd name="connsiteX237" fmla="*/ 9556 w 10000"/>
              <a:gd name="connsiteY237" fmla="*/ 1465 h 10000"/>
              <a:gd name="connsiteX238" fmla="*/ 9512 w 10000"/>
              <a:gd name="connsiteY238" fmla="*/ 1379 h 10000"/>
              <a:gd name="connsiteX239" fmla="*/ 9573 w 10000"/>
              <a:gd name="connsiteY239" fmla="*/ 1271 h 10000"/>
              <a:gd name="connsiteX240" fmla="*/ 9543 w 10000"/>
              <a:gd name="connsiteY240" fmla="*/ 1194 h 10000"/>
              <a:gd name="connsiteX241" fmla="*/ 9486 w 10000"/>
              <a:gd name="connsiteY241" fmla="*/ 1159 h 10000"/>
              <a:gd name="connsiteX242" fmla="*/ 9438 w 10000"/>
              <a:gd name="connsiteY242" fmla="*/ 978 h 10000"/>
              <a:gd name="connsiteX243" fmla="*/ 9495 w 10000"/>
              <a:gd name="connsiteY243" fmla="*/ 831 h 10000"/>
              <a:gd name="connsiteX244" fmla="*/ 9077 w 10000"/>
              <a:gd name="connsiteY244" fmla="*/ 517 h 10000"/>
              <a:gd name="connsiteX245" fmla="*/ 8872 w 10000"/>
              <a:gd name="connsiteY245" fmla="*/ 440 h 10000"/>
              <a:gd name="connsiteX246" fmla="*/ 8493 w 10000"/>
              <a:gd name="connsiteY246" fmla="*/ 389 h 10000"/>
              <a:gd name="connsiteX247" fmla="*/ 7709 w 10000"/>
              <a:gd name="connsiteY247" fmla="*/ 26 h 10000"/>
              <a:gd name="connsiteX248" fmla="*/ 7683 w 10000"/>
              <a:gd name="connsiteY248" fmla="*/ 2 h 10000"/>
              <a:gd name="connsiteX249" fmla="*/ 7417 w 10000"/>
              <a:gd name="connsiteY249" fmla="*/ 0 h 10000"/>
              <a:gd name="connsiteX250" fmla="*/ 7356 w 10000"/>
              <a:gd name="connsiteY250" fmla="*/ 14 h 10000"/>
              <a:gd name="connsiteX251" fmla="*/ 7369 w 10000"/>
              <a:gd name="connsiteY251" fmla="*/ 61 h 10000"/>
              <a:gd name="connsiteX252" fmla="*/ 7422 w 10000"/>
              <a:gd name="connsiteY252" fmla="*/ 86 h 10000"/>
              <a:gd name="connsiteX253" fmla="*/ 7435 w 10000"/>
              <a:gd name="connsiteY253" fmla="*/ 139 h 10000"/>
              <a:gd name="connsiteX254" fmla="*/ 7417 w 10000"/>
              <a:gd name="connsiteY254" fmla="*/ 181 h 10000"/>
              <a:gd name="connsiteX255" fmla="*/ 7369 w 10000"/>
              <a:gd name="connsiteY255" fmla="*/ 208 h 10000"/>
              <a:gd name="connsiteX256" fmla="*/ 7334 w 10000"/>
              <a:gd name="connsiteY256" fmla="*/ 283 h 10000"/>
              <a:gd name="connsiteX257" fmla="*/ 7269 w 10000"/>
              <a:gd name="connsiteY257" fmla="*/ 336 h 10000"/>
              <a:gd name="connsiteX258" fmla="*/ 7282 w 10000"/>
              <a:gd name="connsiteY258" fmla="*/ 387 h 10000"/>
              <a:gd name="connsiteX259" fmla="*/ 7382 w 10000"/>
              <a:gd name="connsiteY259" fmla="*/ 434 h 10000"/>
              <a:gd name="connsiteX260" fmla="*/ 7317 w 10000"/>
              <a:gd name="connsiteY260" fmla="*/ 475 h 10000"/>
              <a:gd name="connsiteX261" fmla="*/ 7221 w 10000"/>
              <a:gd name="connsiteY261" fmla="*/ 485 h 10000"/>
              <a:gd name="connsiteX262" fmla="*/ 6420 w 10000"/>
              <a:gd name="connsiteY262" fmla="*/ 387 h 10000"/>
              <a:gd name="connsiteX263" fmla="*/ 6324 w 10000"/>
              <a:gd name="connsiteY263" fmla="*/ 395 h 10000"/>
              <a:gd name="connsiteX264" fmla="*/ 6267 w 10000"/>
              <a:gd name="connsiteY264" fmla="*/ 414 h 10000"/>
              <a:gd name="connsiteX265" fmla="*/ 6211 w 10000"/>
              <a:gd name="connsiteY265" fmla="*/ 462 h 10000"/>
              <a:gd name="connsiteX266" fmla="*/ 6220 w 10000"/>
              <a:gd name="connsiteY266" fmla="*/ 581 h 10000"/>
              <a:gd name="connsiteX267" fmla="*/ 6132 w 10000"/>
              <a:gd name="connsiteY267" fmla="*/ 735 h 10000"/>
              <a:gd name="connsiteX268" fmla="*/ 6024 w 10000"/>
              <a:gd name="connsiteY268" fmla="*/ 815 h 10000"/>
              <a:gd name="connsiteX269" fmla="*/ 5980 w 10000"/>
              <a:gd name="connsiteY269" fmla="*/ 805 h 10000"/>
              <a:gd name="connsiteX270" fmla="*/ 5880 w 10000"/>
              <a:gd name="connsiteY270" fmla="*/ 739 h 10000"/>
              <a:gd name="connsiteX271" fmla="*/ 5753 w 10000"/>
              <a:gd name="connsiteY271" fmla="*/ 705 h 10000"/>
              <a:gd name="connsiteX272" fmla="*/ 5618 w 10000"/>
              <a:gd name="connsiteY272" fmla="*/ 715 h 10000"/>
              <a:gd name="connsiteX273" fmla="*/ 5301 w 10000"/>
              <a:gd name="connsiteY273" fmla="*/ 866 h 10000"/>
              <a:gd name="connsiteX274" fmla="*/ 5218 w 10000"/>
              <a:gd name="connsiteY274" fmla="*/ 1017 h 10000"/>
              <a:gd name="connsiteX275" fmla="*/ 4978 w 10000"/>
              <a:gd name="connsiteY275" fmla="*/ 1153 h 10000"/>
              <a:gd name="connsiteX276" fmla="*/ 4935 w 10000"/>
              <a:gd name="connsiteY276" fmla="*/ 1222 h 10000"/>
              <a:gd name="connsiteX277" fmla="*/ 5061 w 10000"/>
              <a:gd name="connsiteY277" fmla="*/ 1344 h 10000"/>
              <a:gd name="connsiteX278" fmla="*/ 5074 w 10000"/>
              <a:gd name="connsiteY278" fmla="*/ 1412 h 10000"/>
              <a:gd name="connsiteX279" fmla="*/ 4421 w 10000"/>
              <a:gd name="connsiteY279" fmla="*/ 1813 h 10000"/>
              <a:gd name="connsiteX280" fmla="*/ 4220 w 10000"/>
              <a:gd name="connsiteY280" fmla="*/ 2070 h 10000"/>
              <a:gd name="connsiteX281" fmla="*/ 4003 w 10000"/>
              <a:gd name="connsiteY281" fmla="*/ 2135 h 10000"/>
              <a:gd name="connsiteX282" fmla="*/ 3868 w 10000"/>
              <a:gd name="connsiteY282" fmla="*/ 2131 h 10000"/>
              <a:gd name="connsiteX283" fmla="*/ 3785 w 10000"/>
              <a:gd name="connsiteY283" fmla="*/ 2153 h 10000"/>
              <a:gd name="connsiteX284" fmla="*/ 3558 w 10000"/>
              <a:gd name="connsiteY284" fmla="*/ 2793 h 10000"/>
              <a:gd name="connsiteX285" fmla="*/ 3036 w 10000"/>
              <a:gd name="connsiteY285" fmla="*/ 3166 h 10000"/>
              <a:gd name="connsiteX286" fmla="*/ 3040 w 10000"/>
              <a:gd name="connsiteY286" fmla="*/ 3225 h 10000"/>
              <a:gd name="connsiteX287" fmla="*/ 3271 w 10000"/>
              <a:gd name="connsiteY287" fmla="*/ 3392 h 10000"/>
              <a:gd name="connsiteX288" fmla="*/ 3197 w 10000"/>
              <a:gd name="connsiteY288" fmla="*/ 3573 h 10000"/>
              <a:gd name="connsiteX289" fmla="*/ 3062 w 10000"/>
              <a:gd name="connsiteY289" fmla="*/ 3640 h 10000"/>
              <a:gd name="connsiteX290" fmla="*/ 2657 w 10000"/>
              <a:gd name="connsiteY290" fmla="*/ 3595 h 10000"/>
              <a:gd name="connsiteX291" fmla="*/ 2378 w 10000"/>
              <a:gd name="connsiteY291" fmla="*/ 3620 h 10000"/>
              <a:gd name="connsiteX292" fmla="*/ 2152 w 10000"/>
              <a:gd name="connsiteY292" fmla="*/ 3673 h 10000"/>
              <a:gd name="connsiteX293" fmla="*/ 1790 w 10000"/>
              <a:gd name="connsiteY293" fmla="*/ 3840 h 10000"/>
              <a:gd name="connsiteX294" fmla="*/ 1598 w 10000"/>
              <a:gd name="connsiteY294" fmla="*/ 4042 h 10000"/>
              <a:gd name="connsiteX295" fmla="*/ 1616 w 10000"/>
              <a:gd name="connsiteY295" fmla="*/ 4154 h 10000"/>
              <a:gd name="connsiteX296" fmla="*/ 1681 w 10000"/>
              <a:gd name="connsiteY296" fmla="*/ 4241 h 10000"/>
              <a:gd name="connsiteX297" fmla="*/ 1733 w 10000"/>
              <a:gd name="connsiteY297" fmla="*/ 4276 h 10000"/>
              <a:gd name="connsiteX298" fmla="*/ 1638 w 10000"/>
              <a:gd name="connsiteY298" fmla="*/ 4331 h 10000"/>
              <a:gd name="connsiteX299" fmla="*/ 1433 w 10000"/>
              <a:gd name="connsiteY299" fmla="*/ 4710 h 10000"/>
              <a:gd name="connsiteX300" fmla="*/ 1472 w 10000"/>
              <a:gd name="connsiteY300" fmla="*/ 4732 h 10000"/>
              <a:gd name="connsiteX301" fmla="*/ 1503 w 10000"/>
              <a:gd name="connsiteY301" fmla="*/ 4828 h 10000"/>
              <a:gd name="connsiteX302" fmla="*/ 1407 w 10000"/>
              <a:gd name="connsiteY302" fmla="*/ 5227 h 10000"/>
              <a:gd name="connsiteX303" fmla="*/ 1503 w 10000"/>
              <a:gd name="connsiteY303" fmla="*/ 5329 h 10000"/>
              <a:gd name="connsiteX304" fmla="*/ 1764 w 10000"/>
              <a:gd name="connsiteY304" fmla="*/ 5441 h 10000"/>
              <a:gd name="connsiteX305" fmla="*/ 1777 w 10000"/>
              <a:gd name="connsiteY305" fmla="*/ 5578 h 10000"/>
              <a:gd name="connsiteX306" fmla="*/ 1664 w 10000"/>
              <a:gd name="connsiteY306" fmla="*/ 5690 h 10000"/>
              <a:gd name="connsiteX307" fmla="*/ 1503 w 10000"/>
              <a:gd name="connsiteY307" fmla="*/ 5759 h 10000"/>
              <a:gd name="connsiteX308" fmla="*/ 1289 w 10000"/>
              <a:gd name="connsiteY308" fmla="*/ 5787 h 10000"/>
              <a:gd name="connsiteX309" fmla="*/ 1233 w 10000"/>
              <a:gd name="connsiteY309" fmla="*/ 5826 h 10000"/>
              <a:gd name="connsiteX310" fmla="*/ 1359 w 10000"/>
              <a:gd name="connsiteY310" fmla="*/ 5920 h 10000"/>
              <a:gd name="connsiteX311" fmla="*/ 1429 w 10000"/>
              <a:gd name="connsiteY311" fmla="*/ 6142 h 10000"/>
              <a:gd name="connsiteX312" fmla="*/ 1267 w 10000"/>
              <a:gd name="connsiteY312" fmla="*/ 6333 h 10000"/>
              <a:gd name="connsiteX313" fmla="*/ 1324 w 10000"/>
              <a:gd name="connsiteY313" fmla="*/ 6392 h 10000"/>
              <a:gd name="connsiteX314" fmla="*/ 1272 w 10000"/>
              <a:gd name="connsiteY314" fmla="*/ 6492 h 10000"/>
              <a:gd name="connsiteX315" fmla="*/ 1167 w 10000"/>
              <a:gd name="connsiteY315" fmla="*/ 6561 h 10000"/>
              <a:gd name="connsiteX316" fmla="*/ 758 w 10000"/>
              <a:gd name="connsiteY316" fmla="*/ 6614 h 10000"/>
              <a:gd name="connsiteX317" fmla="*/ 732 w 10000"/>
              <a:gd name="connsiteY317" fmla="*/ 6706 h 10000"/>
              <a:gd name="connsiteX318" fmla="*/ 510 w 10000"/>
              <a:gd name="connsiteY318" fmla="*/ 6843 h 10000"/>
              <a:gd name="connsiteX319" fmla="*/ 540 w 10000"/>
              <a:gd name="connsiteY319" fmla="*/ 7040 h 10000"/>
              <a:gd name="connsiteX320" fmla="*/ 353 w 10000"/>
              <a:gd name="connsiteY320" fmla="*/ 7293 h 10000"/>
              <a:gd name="connsiteX321" fmla="*/ 226 w 10000"/>
              <a:gd name="connsiteY321" fmla="*/ 7323 h 10000"/>
              <a:gd name="connsiteX322" fmla="*/ 174 w 10000"/>
              <a:gd name="connsiteY322" fmla="*/ 7262 h 10000"/>
              <a:gd name="connsiteX323" fmla="*/ 109 w 10000"/>
              <a:gd name="connsiteY323" fmla="*/ 7354 h 10000"/>
              <a:gd name="connsiteX324" fmla="*/ 152 w 10000"/>
              <a:gd name="connsiteY324" fmla="*/ 7197 h 10000"/>
              <a:gd name="connsiteX325" fmla="*/ 126 w 10000"/>
              <a:gd name="connsiteY32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558 w 10000"/>
              <a:gd name="connsiteY208" fmla="*/ 2459 h 10000"/>
              <a:gd name="connsiteX209" fmla="*/ 8698 w 10000"/>
              <a:gd name="connsiteY209" fmla="*/ 2504 h 10000"/>
              <a:gd name="connsiteX210" fmla="*/ 8763 w 10000"/>
              <a:gd name="connsiteY210" fmla="*/ 2548 h 10000"/>
              <a:gd name="connsiteX211" fmla="*/ 8815 w 10000"/>
              <a:gd name="connsiteY211" fmla="*/ 2548 h 10000"/>
              <a:gd name="connsiteX212" fmla="*/ 8789 w 10000"/>
              <a:gd name="connsiteY212" fmla="*/ 2457 h 10000"/>
              <a:gd name="connsiteX213" fmla="*/ 8798 w 10000"/>
              <a:gd name="connsiteY213" fmla="*/ 2467 h 10000"/>
              <a:gd name="connsiteX214" fmla="*/ 8841 w 10000"/>
              <a:gd name="connsiteY214" fmla="*/ 2457 h 10000"/>
              <a:gd name="connsiteX215" fmla="*/ 8855 w 10000"/>
              <a:gd name="connsiteY215" fmla="*/ 2341 h 10000"/>
              <a:gd name="connsiteX216" fmla="*/ 8898 w 10000"/>
              <a:gd name="connsiteY216" fmla="*/ 2332 h 10000"/>
              <a:gd name="connsiteX217" fmla="*/ 8946 w 10000"/>
              <a:gd name="connsiteY217" fmla="*/ 2330 h 10000"/>
              <a:gd name="connsiteX218" fmla="*/ 8946 w 10000"/>
              <a:gd name="connsiteY218" fmla="*/ 2361 h 10000"/>
              <a:gd name="connsiteX219" fmla="*/ 8994 w 10000"/>
              <a:gd name="connsiteY219" fmla="*/ 2389 h 10000"/>
              <a:gd name="connsiteX220" fmla="*/ 9051 w 10000"/>
              <a:gd name="connsiteY220" fmla="*/ 2400 h 10000"/>
              <a:gd name="connsiteX221" fmla="*/ 9094 w 10000"/>
              <a:gd name="connsiteY221" fmla="*/ 2324 h 10000"/>
              <a:gd name="connsiteX222" fmla="*/ 9164 w 10000"/>
              <a:gd name="connsiteY222" fmla="*/ 2347 h 10000"/>
              <a:gd name="connsiteX223" fmla="*/ 9247 w 10000"/>
              <a:gd name="connsiteY223" fmla="*/ 2402 h 10000"/>
              <a:gd name="connsiteX224" fmla="*/ 9286 w 10000"/>
              <a:gd name="connsiteY224" fmla="*/ 2400 h 10000"/>
              <a:gd name="connsiteX225" fmla="*/ 9355 w 10000"/>
              <a:gd name="connsiteY225" fmla="*/ 2428 h 10000"/>
              <a:gd name="connsiteX226" fmla="*/ 9408 w 10000"/>
              <a:gd name="connsiteY226" fmla="*/ 2359 h 10000"/>
              <a:gd name="connsiteX227" fmla="*/ 9717 w 10000"/>
              <a:gd name="connsiteY227" fmla="*/ 2343 h 10000"/>
              <a:gd name="connsiteX228" fmla="*/ 9830 w 10000"/>
              <a:gd name="connsiteY228" fmla="*/ 2369 h 10000"/>
              <a:gd name="connsiteX229" fmla="*/ 9909 w 10000"/>
              <a:gd name="connsiteY229" fmla="*/ 2410 h 10000"/>
              <a:gd name="connsiteX230" fmla="*/ 9948 w 10000"/>
              <a:gd name="connsiteY230" fmla="*/ 2365 h 10000"/>
              <a:gd name="connsiteX231" fmla="*/ 10000 w 10000"/>
              <a:gd name="connsiteY231" fmla="*/ 2349 h 10000"/>
              <a:gd name="connsiteX232" fmla="*/ 9704 w 10000"/>
              <a:gd name="connsiteY232" fmla="*/ 1992 h 10000"/>
              <a:gd name="connsiteX233" fmla="*/ 9743 w 10000"/>
              <a:gd name="connsiteY233" fmla="*/ 1897 h 10000"/>
              <a:gd name="connsiteX234" fmla="*/ 9830 w 10000"/>
              <a:gd name="connsiteY234" fmla="*/ 1819 h 10000"/>
              <a:gd name="connsiteX235" fmla="*/ 9830 w 10000"/>
              <a:gd name="connsiteY235" fmla="*/ 1699 h 10000"/>
              <a:gd name="connsiteX236" fmla="*/ 9556 w 10000"/>
              <a:gd name="connsiteY236" fmla="*/ 1465 h 10000"/>
              <a:gd name="connsiteX237" fmla="*/ 9512 w 10000"/>
              <a:gd name="connsiteY237" fmla="*/ 1379 h 10000"/>
              <a:gd name="connsiteX238" fmla="*/ 9573 w 10000"/>
              <a:gd name="connsiteY238" fmla="*/ 1271 h 10000"/>
              <a:gd name="connsiteX239" fmla="*/ 9543 w 10000"/>
              <a:gd name="connsiteY239" fmla="*/ 1194 h 10000"/>
              <a:gd name="connsiteX240" fmla="*/ 9486 w 10000"/>
              <a:gd name="connsiteY240" fmla="*/ 1159 h 10000"/>
              <a:gd name="connsiteX241" fmla="*/ 9438 w 10000"/>
              <a:gd name="connsiteY241" fmla="*/ 978 h 10000"/>
              <a:gd name="connsiteX242" fmla="*/ 9495 w 10000"/>
              <a:gd name="connsiteY242" fmla="*/ 831 h 10000"/>
              <a:gd name="connsiteX243" fmla="*/ 9077 w 10000"/>
              <a:gd name="connsiteY243" fmla="*/ 517 h 10000"/>
              <a:gd name="connsiteX244" fmla="*/ 8872 w 10000"/>
              <a:gd name="connsiteY244" fmla="*/ 440 h 10000"/>
              <a:gd name="connsiteX245" fmla="*/ 8493 w 10000"/>
              <a:gd name="connsiteY245" fmla="*/ 389 h 10000"/>
              <a:gd name="connsiteX246" fmla="*/ 7709 w 10000"/>
              <a:gd name="connsiteY246" fmla="*/ 26 h 10000"/>
              <a:gd name="connsiteX247" fmla="*/ 7683 w 10000"/>
              <a:gd name="connsiteY247" fmla="*/ 2 h 10000"/>
              <a:gd name="connsiteX248" fmla="*/ 7417 w 10000"/>
              <a:gd name="connsiteY248" fmla="*/ 0 h 10000"/>
              <a:gd name="connsiteX249" fmla="*/ 7356 w 10000"/>
              <a:gd name="connsiteY249" fmla="*/ 14 h 10000"/>
              <a:gd name="connsiteX250" fmla="*/ 7369 w 10000"/>
              <a:gd name="connsiteY250" fmla="*/ 61 h 10000"/>
              <a:gd name="connsiteX251" fmla="*/ 7422 w 10000"/>
              <a:gd name="connsiteY251" fmla="*/ 86 h 10000"/>
              <a:gd name="connsiteX252" fmla="*/ 7435 w 10000"/>
              <a:gd name="connsiteY252" fmla="*/ 139 h 10000"/>
              <a:gd name="connsiteX253" fmla="*/ 7417 w 10000"/>
              <a:gd name="connsiteY253" fmla="*/ 181 h 10000"/>
              <a:gd name="connsiteX254" fmla="*/ 7369 w 10000"/>
              <a:gd name="connsiteY254" fmla="*/ 208 h 10000"/>
              <a:gd name="connsiteX255" fmla="*/ 7334 w 10000"/>
              <a:gd name="connsiteY255" fmla="*/ 283 h 10000"/>
              <a:gd name="connsiteX256" fmla="*/ 7269 w 10000"/>
              <a:gd name="connsiteY256" fmla="*/ 336 h 10000"/>
              <a:gd name="connsiteX257" fmla="*/ 7282 w 10000"/>
              <a:gd name="connsiteY257" fmla="*/ 387 h 10000"/>
              <a:gd name="connsiteX258" fmla="*/ 7382 w 10000"/>
              <a:gd name="connsiteY258" fmla="*/ 434 h 10000"/>
              <a:gd name="connsiteX259" fmla="*/ 7317 w 10000"/>
              <a:gd name="connsiteY259" fmla="*/ 475 h 10000"/>
              <a:gd name="connsiteX260" fmla="*/ 7221 w 10000"/>
              <a:gd name="connsiteY260" fmla="*/ 485 h 10000"/>
              <a:gd name="connsiteX261" fmla="*/ 6420 w 10000"/>
              <a:gd name="connsiteY261" fmla="*/ 387 h 10000"/>
              <a:gd name="connsiteX262" fmla="*/ 6324 w 10000"/>
              <a:gd name="connsiteY262" fmla="*/ 395 h 10000"/>
              <a:gd name="connsiteX263" fmla="*/ 6267 w 10000"/>
              <a:gd name="connsiteY263" fmla="*/ 414 h 10000"/>
              <a:gd name="connsiteX264" fmla="*/ 6211 w 10000"/>
              <a:gd name="connsiteY264" fmla="*/ 462 h 10000"/>
              <a:gd name="connsiteX265" fmla="*/ 6220 w 10000"/>
              <a:gd name="connsiteY265" fmla="*/ 581 h 10000"/>
              <a:gd name="connsiteX266" fmla="*/ 6132 w 10000"/>
              <a:gd name="connsiteY266" fmla="*/ 735 h 10000"/>
              <a:gd name="connsiteX267" fmla="*/ 6024 w 10000"/>
              <a:gd name="connsiteY267" fmla="*/ 815 h 10000"/>
              <a:gd name="connsiteX268" fmla="*/ 5980 w 10000"/>
              <a:gd name="connsiteY268" fmla="*/ 805 h 10000"/>
              <a:gd name="connsiteX269" fmla="*/ 5880 w 10000"/>
              <a:gd name="connsiteY269" fmla="*/ 739 h 10000"/>
              <a:gd name="connsiteX270" fmla="*/ 5753 w 10000"/>
              <a:gd name="connsiteY270" fmla="*/ 705 h 10000"/>
              <a:gd name="connsiteX271" fmla="*/ 5618 w 10000"/>
              <a:gd name="connsiteY271" fmla="*/ 715 h 10000"/>
              <a:gd name="connsiteX272" fmla="*/ 5301 w 10000"/>
              <a:gd name="connsiteY272" fmla="*/ 866 h 10000"/>
              <a:gd name="connsiteX273" fmla="*/ 5218 w 10000"/>
              <a:gd name="connsiteY273" fmla="*/ 1017 h 10000"/>
              <a:gd name="connsiteX274" fmla="*/ 4978 w 10000"/>
              <a:gd name="connsiteY274" fmla="*/ 1153 h 10000"/>
              <a:gd name="connsiteX275" fmla="*/ 4935 w 10000"/>
              <a:gd name="connsiteY275" fmla="*/ 1222 h 10000"/>
              <a:gd name="connsiteX276" fmla="*/ 5061 w 10000"/>
              <a:gd name="connsiteY276" fmla="*/ 1344 h 10000"/>
              <a:gd name="connsiteX277" fmla="*/ 5074 w 10000"/>
              <a:gd name="connsiteY277" fmla="*/ 1412 h 10000"/>
              <a:gd name="connsiteX278" fmla="*/ 4421 w 10000"/>
              <a:gd name="connsiteY278" fmla="*/ 1813 h 10000"/>
              <a:gd name="connsiteX279" fmla="*/ 4220 w 10000"/>
              <a:gd name="connsiteY279" fmla="*/ 2070 h 10000"/>
              <a:gd name="connsiteX280" fmla="*/ 4003 w 10000"/>
              <a:gd name="connsiteY280" fmla="*/ 2135 h 10000"/>
              <a:gd name="connsiteX281" fmla="*/ 3868 w 10000"/>
              <a:gd name="connsiteY281" fmla="*/ 2131 h 10000"/>
              <a:gd name="connsiteX282" fmla="*/ 3785 w 10000"/>
              <a:gd name="connsiteY282" fmla="*/ 2153 h 10000"/>
              <a:gd name="connsiteX283" fmla="*/ 3558 w 10000"/>
              <a:gd name="connsiteY283" fmla="*/ 2793 h 10000"/>
              <a:gd name="connsiteX284" fmla="*/ 3036 w 10000"/>
              <a:gd name="connsiteY284" fmla="*/ 3166 h 10000"/>
              <a:gd name="connsiteX285" fmla="*/ 3040 w 10000"/>
              <a:gd name="connsiteY285" fmla="*/ 3225 h 10000"/>
              <a:gd name="connsiteX286" fmla="*/ 3271 w 10000"/>
              <a:gd name="connsiteY286" fmla="*/ 3392 h 10000"/>
              <a:gd name="connsiteX287" fmla="*/ 3197 w 10000"/>
              <a:gd name="connsiteY287" fmla="*/ 3573 h 10000"/>
              <a:gd name="connsiteX288" fmla="*/ 3062 w 10000"/>
              <a:gd name="connsiteY288" fmla="*/ 3640 h 10000"/>
              <a:gd name="connsiteX289" fmla="*/ 2657 w 10000"/>
              <a:gd name="connsiteY289" fmla="*/ 3595 h 10000"/>
              <a:gd name="connsiteX290" fmla="*/ 2378 w 10000"/>
              <a:gd name="connsiteY290" fmla="*/ 3620 h 10000"/>
              <a:gd name="connsiteX291" fmla="*/ 2152 w 10000"/>
              <a:gd name="connsiteY291" fmla="*/ 3673 h 10000"/>
              <a:gd name="connsiteX292" fmla="*/ 1790 w 10000"/>
              <a:gd name="connsiteY292" fmla="*/ 3840 h 10000"/>
              <a:gd name="connsiteX293" fmla="*/ 1598 w 10000"/>
              <a:gd name="connsiteY293" fmla="*/ 4042 h 10000"/>
              <a:gd name="connsiteX294" fmla="*/ 1616 w 10000"/>
              <a:gd name="connsiteY294" fmla="*/ 4154 h 10000"/>
              <a:gd name="connsiteX295" fmla="*/ 1681 w 10000"/>
              <a:gd name="connsiteY295" fmla="*/ 4241 h 10000"/>
              <a:gd name="connsiteX296" fmla="*/ 1733 w 10000"/>
              <a:gd name="connsiteY296" fmla="*/ 4276 h 10000"/>
              <a:gd name="connsiteX297" fmla="*/ 1638 w 10000"/>
              <a:gd name="connsiteY297" fmla="*/ 4331 h 10000"/>
              <a:gd name="connsiteX298" fmla="*/ 1433 w 10000"/>
              <a:gd name="connsiteY298" fmla="*/ 4710 h 10000"/>
              <a:gd name="connsiteX299" fmla="*/ 1472 w 10000"/>
              <a:gd name="connsiteY299" fmla="*/ 4732 h 10000"/>
              <a:gd name="connsiteX300" fmla="*/ 1503 w 10000"/>
              <a:gd name="connsiteY300" fmla="*/ 4828 h 10000"/>
              <a:gd name="connsiteX301" fmla="*/ 1407 w 10000"/>
              <a:gd name="connsiteY301" fmla="*/ 5227 h 10000"/>
              <a:gd name="connsiteX302" fmla="*/ 1503 w 10000"/>
              <a:gd name="connsiteY302" fmla="*/ 5329 h 10000"/>
              <a:gd name="connsiteX303" fmla="*/ 1764 w 10000"/>
              <a:gd name="connsiteY303" fmla="*/ 5441 h 10000"/>
              <a:gd name="connsiteX304" fmla="*/ 1777 w 10000"/>
              <a:gd name="connsiteY304" fmla="*/ 5578 h 10000"/>
              <a:gd name="connsiteX305" fmla="*/ 1664 w 10000"/>
              <a:gd name="connsiteY305" fmla="*/ 5690 h 10000"/>
              <a:gd name="connsiteX306" fmla="*/ 1503 w 10000"/>
              <a:gd name="connsiteY306" fmla="*/ 5759 h 10000"/>
              <a:gd name="connsiteX307" fmla="*/ 1289 w 10000"/>
              <a:gd name="connsiteY307" fmla="*/ 5787 h 10000"/>
              <a:gd name="connsiteX308" fmla="*/ 1233 w 10000"/>
              <a:gd name="connsiteY308" fmla="*/ 5826 h 10000"/>
              <a:gd name="connsiteX309" fmla="*/ 1359 w 10000"/>
              <a:gd name="connsiteY309" fmla="*/ 5920 h 10000"/>
              <a:gd name="connsiteX310" fmla="*/ 1429 w 10000"/>
              <a:gd name="connsiteY310" fmla="*/ 6142 h 10000"/>
              <a:gd name="connsiteX311" fmla="*/ 1267 w 10000"/>
              <a:gd name="connsiteY311" fmla="*/ 6333 h 10000"/>
              <a:gd name="connsiteX312" fmla="*/ 1324 w 10000"/>
              <a:gd name="connsiteY312" fmla="*/ 6392 h 10000"/>
              <a:gd name="connsiteX313" fmla="*/ 1272 w 10000"/>
              <a:gd name="connsiteY313" fmla="*/ 6492 h 10000"/>
              <a:gd name="connsiteX314" fmla="*/ 1167 w 10000"/>
              <a:gd name="connsiteY314" fmla="*/ 6561 h 10000"/>
              <a:gd name="connsiteX315" fmla="*/ 758 w 10000"/>
              <a:gd name="connsiteY315" fmla="*/ 6614 h 10000"/>
              <a:gd name="connsiteX316" fmla="*/ 732 w 10000"/>
              <a:gd name="connsiteY316" fmla="*/ 6706 h 10000"/>
              <a:gd name="connsiteX317" fmla="*/ 510 w 10000"/>
              <a:gd name="connsiteY317" fmla="*/ 6843 h 10000"/>
              <a:gd name="connsiteX318" fmla="*/ 540 w 10000"/>
              <a:gd name="connsiteY318" fmla="*/ 7040 h 10000"/>
              <a:gd name="connsiteX319" fmla="*/ 353 w 10000"/>
              <a:gd name="connsiteY319" fmla="*/ 7293 h 10000"/>
              <a:gd name="connsiteX320" fmla="*/ 226 w 10000"/>
              <a:gd name="connsiteY320" fmla="*/ 7323 h 10000"/>
              <a:gd name="connsiteX321" fmla="*/ 174 w 10000"/>
              <a:gd name="connsiteY321" fmla="*/ 7262 h 10000"/>
              <a:gd name="connsiteX322" fmla="*/ 109 w 10000"/>
              <a:gd name="connsiteY322" fmla="*/ 7354 h 10000"/>
              <a:gd name="connsiteX323" fmla="*/ 152 w 10000"/>
              <a:gd name="connsiteY323" fmla="*/ 7197 h 10000"/>
              <a:gd name="connsiteX324" fmla="*/ 126 w 10000"/>
              <a:gd name="connsiteY32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558 w 10000"/>
              <a:gd name="connsiteY208" fmla="*/ 2459 h 10000"/>
              <a:gd name="connsiteX209" fmla="*/ 8698 w 10000"/>
              <a:gd name="connsiteY209" fmla="*/ 2504 h 10000"/>
              <a:gd name="connsiteX210" fmla="*/ 8815 w 10000"/>
              <a:gd name="connsiteY210" fmla="*/ 2548 h 10000"/>
              <a:gd name="connsiteX211" fmla="*/ 8789 w 10000"/>
              <a:gd name="connsiteY211" fmla="*/ 2457 h 10000"/>
              <a:gd name="connsiteX212" fmla="*/ 8798 w 10000"/>
              <a:gd name="connsiteY212" fmla="*/ 2467 h 10000"/>
              <a:gd name="connsiteX213" fmla="*/ 8841 w 10000"/>
              <a:gd name="connsiteY213" fmla="*/ 2457 h 10000"/>
              <a:gd name="connsiteX214" fmla="*/ 8855 w 10000"/>
              <a:gd name="connsiteY214" fmla="*/ 2341 h 10000"/>
              <a:gd name="connsiteX215" fmla="*/ 8898 w 10000"/>
              <a:gd name="connsiteY215" fmla="*/ 2332 h 10000"/>
              <a:gd name="connsiteX216" fmla="*/ 8946 w 10000"/>
              <a:gd name="connsiteY216" fmla="*/ 2330 h 10000"/>
              <a:gd name="connsiteX217" fmla="*/ 8946 w 10000"/>
              <a:gd name="connsiteY217" fmla="*/ 2361 h 10000"/>
              <a:gd name="connsiteX218" fmla="*/ 8994 w 10000"/>
              <a:gd name="connsiteY218" fmla="*/ 2389 h 10000"/>
              <a:gd name="connsiteX219" fmla="*/ 9051 w 10000"/>
              <a:gd name="connsiteY219" fmla="*/ 2400 h 10000"/>
              <a:gd name="connsiteX220" fmla="*/ 9094 w 10000"/>
              <a:gd name="connsiteY220" fmla="*/ 2324 h 10000"/>
              <a:gd name="connsiteX221" fmla="*/ 9164 w 10000"/>
              <a:gd name="connsiteY221" fmla="*/ 2347 h 10000"/>
              <a:gd name="connsiteX222" fmla="*/ 9247 w 10000"/>
              <a:gd name="connsiteY222" fmla="*/ 2402 h 10000"/>
              <a:gd name="connsiteX223" fmla="*/ 9286 w 10000"/>
              <a:gd name="connsiteY223" fmla="*/ 2400 h 10000"/>
              <a:gd name="connsiteX224" fmla="*/ 9355 w 10000"/>
              <a:gd name="connsiteY224" fmla="*/ 2428 h 10000"/>
              <a:gd name="connsiteX225" fmla="*/ 9408 w 10000"/>
              <a:gd name="connsiteY225" fmla="*/ 2359 h 10000"/>
              <a:gd name="connsiteX226" fmla="*/ 9717 w 10000"/>
              <a:gd name="connsiteY226" fmla="*/ 2343 h 10000"/>
              <a:gd name="connsiteX227" fmla="*/ 9830 w 10000"/>
              <a:gd name="connsiteY227" fmla="*/ 2369 h 10000"/>
              <a:gd name="connsiteX228" fmla="*/ 9909 w 10000"/>
              <a:gd name="connsiteY228" fmla="*/ 2410 h 10000"/>
              <a:gd name="connsiteX229" fmla="*/ 9948 w 10000"/>
              <a:gd name="connsiteY229" fmla="*/ 2365 h 10000"/>
              <a:gd name="connsiteX230" fmla="*/ 10000 w 10000"/>
              <a:gd name="connsiteY230" fmla="*/ 2349 h 10000"/>
              <a:gd name="connsiteX231" fmla="*/ 9704 w 10000"/>
              <a:gd name="connsiteY231" fmla="*/ 1992 h 10000"/>
              <a:gd name="connsiteX232" fmla="*/ 9743 w 10000"/>
              <a:gd name="connsiteY232" fmla="*/ 1897 h 10000"/>
              <a:gd name="connsiteX233" fmla="*/ 9830 w 10000"/>
              <a:gd name="connsiteY233" fmla="*/ 1819 h 10000"/>
              <a:gd name="connsiteX234" fmla="*/ 9830 w 10000"/>
              <a:gd name="connsiteY234" fmla="*/ 1699 h 10000"/>
              <a:gd name="connsiteX235" fmla="*/ 9556 w 10000"/>
              <a:gd name="connsiteY235" fmla="*/ 1465 h 10000"/>
              <a:gd name="connsiteX236" fmla="*/ 9512 w 10000"/>
              <a:gd name="connsiteY236" fmla="*/ 1379 h 10000"/>
              <a:gd name="connsiteX237" fmla="*/ 9573 w 10000"/>
              <a:gd name="connsiteY237" fmla="*/ 1271 h 10000"/>
              <a:gd name="connsiteX238" fmla="*/ 9543 w 10000"/>
              <a:gd name="connsiteY238" fmla="*/ 1194 h 10000"/>
              <a:gd name="connsiteX239" fmla="*/ 9486 w 10000"/>
              <a:gd name="connsiteY239" fmla="*/ 1159 h 10000"/>
              <a:gd name="connsiteX240" fmla="*/ 9438 w 10000"/>
              <a:gd name="connsiteY240" fmla="*/ 978 h 10000"/>
              <a:gd name="connsiteX241" fmla="*/ 9495 w 10000"/>
              <a:gd name="connsiteY241" fmla="*/ 831 h 10000"/>
              <a:gd name="connsiteX242" fmla="*/ 9077 w 10000"/>
              <a:gd name="connsiteY242" fmla="*/ 517 h 10000"/>
              <a:gd name="connsiteX243" fmla="*/ 8872 w 10000"/>
              <a:gd name="connsiteY243" fmla="*/ 440 h 10000"/>
              <a:gd name="connsiteX244" fmla="*/ 8493 w 10000"/>
              <a:gd name="connsiteY244" fmla="*/ 389 h 10000"/>
              <a:gd name="connsiteX245" fmla="*/ 7709 w 10000"/>
              <a:gd name="connsiteY245" fmla="*/ 26 h 10000"/>
              <a:gd name="connsiteX246" fmla="*/ 7683 w 10000"/>
              <a:gd name="connsiteY246" fmla="*/ 2 h 10000"/>
              <a:gd name="connsiteX247" fmla="*/ 7417 w 10000"/>
              <a:gd name="connsiteY247" fmla="*/ 0 h 10000"/>
              <a:gd name="connsiteX248" fmla="*/ 7356 w 10000"/>
              <a:gd name="connsiteY248" fmla="*/ 14 h 10000"/>
              <a:gd name="connsiteX249" fmla="*/ 7369 w 10000"/>
              <a:gd name="connsiteY249" fmla="*/ 61 h 10000"/>
              <a:gd name="connsiteX250" fmla="*/ 7422 w 10000"/>
              <a:gd name="connsiteY250" fmla="*/ 86 h 10000"/>
              <a:gd name="connsiteX251" fmla="*/ 7435 w 10000"/>
              <a:gd name="connsiteY251" fmla="*/ 139 h 10000"/>
              <a:gd name="connsiteX252" fmla="*/ 7417 w 10000"/>
              <a:gd name="connsiteY252" fmla="*/ 181 h 10000"/>
              <a:gd name="connsiteX253" fmla="*/ 7369 w 10000"/>
              <a:gd name="connsiteY253" fmla="*/ 208 h 10000"/>
              <a:gd name="connsiteX254" fmla="*/ 7334 w 10000"/>
              <a:gd name="connsiteY254" fmla="*/ 283 h 10000"/>
              <a:gd name="connsiteX255" fmla="*/ 7269 w 10000"/>
              <a:gd name="connsiteY255" fmla="*/ 336 h 10000"/>
              <a:gd name="connsiteX256" fmla="*/ 7282 w 10000"/>
              <a:gd name="connsiteY256" fmla="*/ 387 h 10000"/>
              <a:gd name="connsiteX257" fmla="*/ 7382 w 10000"/>
              <a:gd name="connsiteY257" fmla="*/ 434 h 10000"/>
              <a:gd name="connsiteX258" fmla="*/ 7317 w 10000"/>
              <a:gd name="connsiteY258" fmla="*/ 475 h 10000"/>
              <a:gd name="connsiteX259" fmla="*/ 7221 w 10000"/>
              <a:gd name="connsiteY259" fmla="*/ 485 h 10000"/>
              <a:gd name="connsiteX260" fmla="*/ 6420 w 10000"/>
              <a:gd name="connsiteY260" fmla="*/ 387 h 10000"/>
              <a:gd name="connsiteX261" fmla="*/ 6324 w 10000"/>
              <a:gd name="connsiteY261" fmla="*/ 395 h 10000"/>
              <a:gd name="connsiteX262" fmla="*/ 6267 w 10000"/>
              <a:gd name="connsiteY262" fmla="*/ 414 h 10000"/>
              <a:gd name="connsiteX263" fmla="*/ 6211 w 10000"/>
              <a:gd name="connsiteY263" fmla="*/ 462 h 10000"/>
              <a:gd name="connsiteX264" fmla="*/ 6220 w 10000"/>
              <a:gd name="connsiteY264" fmla="*/ 581 h 10000"/>
              <a:gd name="connsiteX265" fmla="*/ 6132 w 10000"/>
              <a:gd name="connsiteY265" fmla="*/ 735 h 10000"/>
              <a:gd name="connsiteX266" fmla="*/ 6024 w 10000"/>
              <a:gd name="connsiteY266" fmla="*/ 815 h 10000"/>
              <a:gd name="connsiteX267" fmla="*/ 5980 w 10000"/>
              <a:gd name="connsiteY267" fmla="*/ 805 h 10000"/>
              <a:gd name="connsiteX268" fmla="*/ 5880 w 10000"/>
              <a:gd name="connsiteY268" fmla="*/ 739 h 10000"/>
              <a:gd name="connsiteX269" fmla="*/ 5753 w 10000"/>
              <a:gd name="connsiteY269" fmla="*/ 705 h 10000"/>
              <a:gd name="connsiteX270" fmla="*/ 5618 w 10000"/>
              <a:gd name="connsiteY270" fmla="*/ 715 h 10000"/>
              <a:gd name="connsiteX271" fmla="*/ 5301 w 10000"/>
              <a:gd name="connsiteY271" fmla="*/ 866 h 10000"/>
              <a:gd name="connsiteX272" fmla="*/ 5218 w 10000"/>
              <a:gd name="connsiteY272" fmla="*/ 1017 h 10000"/>
              <a:gd name="connsiteX273" fmla="*/ 4978 w 10000"/>
              <a:gd name="connsiteY273" fmla="*/ 1153 h 10000"/>
              <a:gd name="connsiteX274" fmla="*/ 4935 w 10000"/>
              <a:gd name="connsiteY274" fmla="*/ 1222 h 10000"/>
              <a:gd name="connsiteX275" fmla="*/ 5061 w 10000"/>
              <a:gd name="connsiteY275" fmla="*/ 1344 h 10000"/>
              <a:gd name="connsiteX276" fmla="*/ 5074 w 10000"/>
              <a:gd name="connsiteY276" fmla="*/ 1412 h 10000"/>
              <a:gd name="connsiteX277" fmla="*/ 4421 w 10000"/>
              <a:gd name="connsiteY277" fmla="*/ 1813 h 10000"/>
              <a:gd name="connsiteX278" fmla="*/ 4220 w 10000"/>
              <a:gd name="connsiteY278" fmla="*/ 2070 h 10000"/>
              <a:gd name="connsiteX279" fmla="*/ 4003 w 10000"/>
              <a:gd name="connsiteY279" fmla="*/ 2135 h 10000"/>
              <a:gd name="connsiteX280" fmla="*/ 3868 w 10000"/>
              <a:gd name="connsiteY280" fmla="*/ 2131 h 10000"/>
              <a:gd name="connsiteX281" fmla="*/ 3785 w 10000"/>
              <a:gd name="connsiteY281" fmla="*/ 2153 h 10000"/>
              <a:gd name="connsiteX282" fmla="*/ 3558 w 10000"/>
              <a:gd name="connsiteY282" fmla="*/ 2793 h 10000"/>
              <a:gd name="connsiteX283" fmla="*/ 3036 w 10000"/>
              <a:gd name="connsiteY283" fmla="*/ 3166 h 10000"/>
              <a:gd name="connsiteX284" fmla="*/ 3040 w 10000"/>
              <a:gd name="connsiteY284" fmla="*/ 3225 h 10000"/>
              <a:gd name="connsiteX285" fmla="*/ 3271 w 10000"/>
              <a:gd name="connsiteY285" fmla="*/ 3392 h 10000"/>
              <a:gd name="connsiteX286" fmla="*/ 3197 w 10000"/>
              <a:gd name="connsiteY286" fmla="*/ 3573 h 10000"/>
              <a:gd name="connsiteX287" fmla="*/ 3062 w 10000"/>
              <a:gd name="connsiteY287" fmla="*/ 3640 h 10000"/>
              <a:gd name="connsiteX288" fmla="*/ 2657 w 10000"/>
              <a:gd name="connsiteY288" fmla="*/ 3595 h 10000"/>
              <a:gd name="connsiteX289" fmla="*/ 2378 w 10000"/>
              <a:gd name="connsiteY289" fmla="*/ 3620 h 10000"/>
              <a:gd name="connsiteX290" fmla="*/ 2152 w 10000"/>
              <a:gd name="connsiteY290" fmla="*/ 3673 h 10000"/>
              <a:gd name="connsiteX291" fmla="*/ 1790 w 10000"/>
              <a:gd name="connsiteY291" fmla="*/ 3840 h 10000"/>
              <a:gd name="connsiteX292" fmla="*/ 1598 w 10000"/>
              <a:gd name="connsiteY292" fmla="*/ 4042 h 10000"/>
              <a:gd name="connsiteX293" fmla="*/ 1616 w 10000"/>
              <a:gd name="connsiteY293" fmla="*/ 4154 h 10000"/>
              <a:gd name="connsiteX294" fmla="*/ 1681 w 10000"/>
              <a:gd name="connsiteY294" fmla="*/ 4241 h 10000"/>
              <a:gd name="connsiteX295" fmla="*/ 1733 w 10000"/>
              <a:gd name="connsiteY295" fmla="*/ 4276 h 10000"/>
              <a:gd name="connsiteX296" fmla="*/ 1638 w 10000"/>
              <a:gd name="connsiteY296" fmla="*/ 4331 h 10000"/>
              <a:gd name="connsiteX297" fmla="*/ 1433 w 10000"/>
              <a:gd name="connsiteY297" fmla="*/ 4710 h 10000"/>
              <a:gd name="connsiteX298" fmla="*/ 1472 w 10000"/>
              <a:gd name="connsiteY298" fmla="*/ 4732 h 10000"/>
              <a:gd name="connsiteX299" fmla="*/ 1503 w 10000"/>
              <a:gd name="connsiteY299" fmla="*/ 4828 h 10000"/>
              <a:gd name="connsiteX300" fmla="*/ 1407 w 10000"/>
              <a:gd name="connsiteY300" fmla="*/ 5227 h 10000"/>
              <a:gd name="connsiteX301" fmla="*/ 1503 w 10000"/>
              <a:gd name="connsiteY301" fmla="*/ 5329 h 10000"/>
              <a:gd name="connsiteX302" fmla="*/ 1764 w 10000"/>
              <a:gd name="connsiteY302" fmla="*/ 5441 h 10000"/>
              <a:gd name="connsiteX303" fmla="*/ 1777 w 10000"/>
              <a:gd name="connsiteY303" fmla="*/ 5578 h 10000"/>
              <a:gd name="connsiteX304" fmla="*/ 1664 w 10000"/>
              <a:gd name="connsiteY304" fmla="*/ 5690 h 10000"/>
              <a:gd name="connsiteX305" fmla="*/ 1503 w 10000"/>
              <a:gd name="connsiteY305" fmla="*/ 5759 h 10000"/>
              <a:gd name="connsiteX306" fmla="*/ 1289 w 10000"/>
              <a:gd name="connsiteY306" fmla="*/ 5787 h 10000"/>
              <a:gd name="connsiteX307" fmla="*/ 1233 w 10000"/>
              <a:gd name="connsiteY307" fmla="*/ 5826 h 10000"/>
              <a:gd name="connsiteX308" fmla="*/ 1359 w 10000"/>
              <a:gd name="connsiteY308" fmla="*/ 5920 h 10000"/>
              <a:gd name="connsiteX309" fmla="*/ 1429 w 10000"/>
              <a:gd name="connsiteY309" fmla="*/ 6142 h 10000"/>
              <a:gd name="connsiteX310" fmla="*/ 1267 w 10000"/>
              <a:gd name="connsiteY310" fmla="*/ 6333 h 10000"/>
              <a:gd name="connsiteX311" fmla="*/ 1324 w 10000"/>
              <a:gd name="connsiteY311" fmla="*/ 6392 h 10000"/>
              <a:gd name="connsiteX312" fmla="*/ 1272 w 10000"/>
              <a:gd name="connsiteY312" fmla="*/ 6492 h 10000"/>
              <a:gd name="connsiteX313" fmla="*/ 1167 w 10000"/>
              <a:gd name="connsiteY313" fmla="*/ 6561 h 10000"/>
              <a:gd name="connsiteX314" fmla="*/ 758 w 10000"/>
              <a:gd name="connsiteY314" fmla="*/ 6614 h 10000"/>
              <a:gd name="connsiteX315" fmla="*/ 732 w 10000"/>
              <a:gd name="connsiteY315" fmla="*/ 6706 h 10000"/>
              <a:gd name="connsiteX316" fmla="*/ 510 w 10000"/>
              <a:gd name="connsiteY316" fmla="*/ 6843 h 10000"/>
              <a:gd name="connsiteX317" fmla="*/ 540 w 10000"/>
              <a:gd name="connsiteY317" fmla="*/ 7040 h 10000"/>
              <a:gd name="connsiteX318" fmla="*/ 353 w 10000"/>
              <a:gd name="connsiteY318" fmla="*/ 7293 h 10000"/>
              <a:gd name="connsiteX319" fmla="*/ 226 w 10000"/>
              <a:gd name="connsiteY319" fmla="*/ 7323 h 10000"/>
              <a:gd name="connsiteX320" fmla="*/ 174 w 10000"/>
              <a:gd name="connsiteY320" fmla="*/ 7262 h 10000"/>
              <a:gd name="connsiteX321" fmla="*/ 109 w 10000"/>
              <a:gd name="connsiteY321" fmla="*/ 7354 h 10000"/>
              <a:gd name="connsiteX322" fmla="*/ 152 w 10000"/>
              <a:gd name="connsiteY322" fmla="*/ 7197 h 10000"/>
              <a:gd name="connsiteX323" fmla="*/ 126 w 10000"/>
              <a:gd name="connsiteY32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798 w 10000"/>
              <a:gd name="connsiteY211" fmla="*/ 2467 h 10000"/>
              <a:gd name="connsiteX212" fmla="*/ 8841 w 10000"/>
              <a:gd name="connsiteY212" fmla="*/ 2457 h 10000"/>
              <a:gd name="connsiteX213" fmla="*/ 8855 w 10000"/>
              <a:gd name="connsiteY213" fmla="*/ 2341 h 10000"/>
              <a:gd name="connsiteX214" fmla="*/ 8898 w 10000"/>
              <a:gd name="connsiteY214" fmla="*/ 2332 h 10000"/>
              <a:gd name="connsiteX215" fmla="*/ 8946 w 10000"/>
              <a:gd name="connsiteY215" fmla="*/ 2330 h 10000"/>
              <a:gd name="connsiteX216" fmla="*/ 8946 w 10000"/>
              <a:gd name="connsiteY216" fmla="*/ 2361 h 10000"/>
              <a:gd name="connsiteX217" fmla="*/ 8994 w 10000"/>
              <a:gd name="connsiteY217" fmla="*/ 2389 h 10000"/>
              <a:gd name="connsiteX218" fmla="*/ 9051 w 10000"/>
              <a:gd name="connsiteY218" fmla="*/ 2400 h 10000"/>
              <a:gd name="connsiteX219" fmla="*/ 9094 w 10000"/>
              <a:gd name="connsiteY219" fmla="*/ 2324 h 10000"/>
              <a:gd name="connsiteX220" fmla="*/ 9164 w 10000"/>
              <a:gd name="connsiteY220" fmla="*/ 2347 h 10000"/>
              <a:gd name="connsiteX221" fmla="*/ 9247 w 10000"/>
              <a:gd name="connsiteY221" fmla="*/ 2402 h 10000"/>
              <a:gd name="connsiteX222" fmla="*/ 9286 w 10000"/>
              <a:gd name="connsiteY222" fmla="*/ 2400 h 10000"/>
              <a:gd name="connsiteX223" fmla="*/ 9355 w 10000"/>
              <a:gd name="connsiteY223" fmla="*/ 2428 h 10000"/>
              <a:gd name="connsiteX224" fmla="*/ 9408 w 10000"/>
              <a:gd name="connsiteY224" fmla="*/ 2359 h 10000"/>
              <a:gd name="connsiteX225" fmla="*/ 9717 w 10000"/>
              <a:gd name="connsiteY225" fmla="*/ 2343 h 10000"/>
              <a:gd name="connsiteX226" fmla="*/ 9830 w 10000"/>
              <a:gd name="connsiteY226" fmla="*/ 2369 h 10000"/>
              <a:gd name="connsiteX227" fmla="*/ 9909 w 10000"/>
              <a:gd name="connsiteY227" fmla="*/ 2410 h 10000"/>
              <a:gd name="connsiteX228" fmla="*/ 9948 w 10000"/>
              <a:gd name="connsiteY228" fmla="*/ 2365 h 10000"/>
              <a:gd name="connsiteX229" fmla="*/ 10000 w 10000"/>
              <a:gd name="connsiteY229" fmla="*/ 2349 h 10000"/>
              <a:gd name="connsiteX230" fmla="*/ 9704 w 10000"/>
              <a:gd name="connsiteY230" fmla="*/ 1992 h 10000"/>
              <a:gd name="connsiteX231" fmla="*/ 9743 w 10000"/>
              <a:gd name="connsiteY231" fmla="*/ 1897 h 10000"/>
              <a:gd name="connsiteX232" fmla="*/ 9830 w 10000"/>
              <a:gd name="connsiteY232" fmla="*/ 1819 h 10000"/>
              <a:gd name="connsiteX233" fmla="*/ 9830 w 10000"/>
              <a:gd name="connsiteY233" fmla="*/ 1699 h 10000"/>
              <a:gd name="connsiteX234" fmla="*/ 9556 w 10000"/>
              <a:gd name="connsiteY234" fmla="*/ 1465 h 10000"/>
              <a:gd name="connsiteX235" fmla="*/ 9512 w 10000"/>
              <a:gd name="connsiteY235" fmla="*/ 1379 h 10000"/>
              <a:gd name="connsiteX236" fmla="*/ 9573 w 10000"/>
              <a:gd name="connsiteY236" fmla="*/ 1271 h 10000"/>
              <a:gd name="connsiteX237" fmla="*/ 9543 w 10000"/>
              <a:gd name="connsiteY237" fmla="*/ 1194 h 10000"/>
              <a:gd name="connsiteX238" fmla="*/ 9486 w 10000"/>
              <a:gd name="connsiteY238" fmla="*/ 1159 h 10000"/>
              <a:gd name="connsiteX239" fmla="*/ 9438 w 10000"/>
              <a:gd name="connsiteY239" fmla="*/ 978 h 10000"/>
              <a:gd name="connsiteX240" fmla="*/ 9495 w 10000"/>
              <a:gd name="connsiteY240" fmla="*/ 831 h 10000"/>
              <a:gd name="connsiteX241" fmla="*/ 9077 w 10000"/>
              <a:gd name="connsiteY241" fmla="*/ 517 h 10000"/>
              <a:gd name="connsiteX242" fmla="*/ 8872 w 10000"/>
              <a:gd name="connsiteY242" fmla="*/ 440 h 10000"/>
              <a:gd name="connsiteX243" fmla="*/ 8493 w 10000"/>
              <a:gd name="connsiteY243" fmla="*/ 389 h 10000"/>
              <a:gd name="connsiteX244" fmla="*/ 7709 w 10000"/>
              <a:gd name="connsiteY244" fmla="*/ 26 h 10000"/>
              <a:gd name="connsiteX245" fmla="*/ 7683 w 10000"/>
              <a:gd name="connsiteY245" fmla="*/ 2 h 10000"/>
              <a:gd name="connsiteX246" fmla="*/ 7417 w 10000"/>
              <a:gd name="connsiteY246" fmla="*/ 0 h 10000"/>
              <a:gd name="connsiteX247" fmla="*/ 7356 w 10000"/>
              <a:gd name="connsiteY247" fmla="*/ 14 h 10000"/>
              <a:gd name="connsiteX248" fmla="*/ 7369 w 10000"/>
              <a:gd name="connsiteY248" fmla="*/ 61 h 10000"/>
              <a:gd name="connsiteX249" fmla="*/ 7422 w 10000"/>
              <a:gd name="connsiteY249" fmla="*/ 86 h 10000"/>
              <a:gd name="connsiteX250" fmla="*/ 7435 w 10000"/>
              <a:gd name="connsiteY250" fmla="*/ 139 h 10000"/>
              <a:gd name="connsiteX251" fmla="*/ 7417 w 10000"/>
              <a:gd name="connsiteY251" fmla="*/ 181 h 10000"/>
              <a:gd name="connsiteX252" fmla="*/ 7369 w 10000"/>
              <a:gd name="connsiteY252" fmla="*/ 208 h 10000"/>
              <a:gd name="connsiteX253" fmla="*/ 7334 w 10000"/>
              <a:gd name="connsiteY253" fmla="*/ 283 h 10000"/>
              <a:gd name="connsiteX254" fmla="*/ 7269 w 10000"/>
              <a:gd name="connsiteY254" fmla="*/ 336 h 10000"/>
              <a:gd name="connsiteX255" fmla="*/ 7282 w 10000"/>
              <a:gd name="connsiteY255" fmla="*/ 387 h 10000"/>
              <a:gd name="connsiteX256" fmla="*/ 7382 w 10000"/>
              <a:gd name="connsiteY256" fmla="*/ 434 h 10000"/>
              <a:gd name="connsiteX257" fmla="*/ 7317 w 10000"/>
              <a:gd name="connsiteY257" fmla="*/ 475 h 10000"/>
              <a:gd name="connsiteX258" fmla="*/ 7221 w 10000"/>
              <a:gd name="connsiteY258" fmla="*/ 485 h 10000"/>
              <a:gd name="connsiteX259" fmla="*/ 6420 w 10000"/>
              <a:gd name="connsiteY259" fmla="*/ 387 h 10000"/>
              <a:gd name="connsiteX260" fmla="*/ 6324 w 10000"/>
              <a:gd name="connsiteY260" fmla="*/ 395 h 10000"/>
              <a:gd name="connsiteX261" fmla="*/ 6267 w 10000"/>
              <a:gd name="connsiteY261" fmla="*/ 414 h 10000"/>
              <a:gd name="connsiteX262" fmla="*/ 6211 w 10000"/>
              <a:gd name="connsiteY262" fmla="*/ 462 h 10000"/>
              <a:gd name="connsiteX263" fmla="*/ 6220 w 10000"/>
              <a:gd name="connsiteY263" fmla="*/ 581 h 10000"/>
              <a:gd name="connsiteX264" fmla="*/ 6132 w 10000"/>
              <a:gd name="connsiteY264" fmla="*/ 735 h 10000"/>
              <a:gd name="connsiteX265" fmla="*/ 6024 w 10000"/>
              <a:gd name="connsiteY265" fmla="*/ 815 h 10000"/>
              <a:gd name="connsiteX266" fmla="*/ 5980 w 10000"/>
              <a:gd name="connsiteY266" fmla="*/ 805 h 10000"/>
              <a:gd name="connsiteX267" fmla="*/ 5880 w 10000"/>
              <a:gd name="connsiteY267" fmla="*/ 739 h 10000"/>
              <a:gd name="connsiteX268" fmla="*/ 5753 w 10000"/>
              <a:gd name="connsiteY268" fmla="*/ 705 h 10000"/>
              <a:gd name="connsiteX269" fmla="*/ 5618 w 10000"/>
              <a:gd name="connsiteY269" fmla="*/ 715 h 10000"/>
              <a:gd name="connsiteX270" fmla="*/ 5301 w 10000"/>
              <a:gd name="connsiteY270" fmla="*/ 866 h 10000"/>
              <a:gd name="connsiteX271" fmla="*/ 5218 w 10000"/>
              <a:gd name="connsiteY271" fmla="*/ 1017 h 10000"/>
              <a:gd name="connsiteX272" fmla="*/ 4978 w 10000"/>
              <a:gd name="connsiteY272" fmla="*/ 1153 h 10000"/>
              <a:gd name="connsiteX273" fmla="*/ 4935 w 10000"/>
              <a:gd name="connsiteY273" fmla="*/ 1222 h 10000"/>
              <a:gd name="connsiteX274" fmla="*/ 5061 w 10000"/>
              <a:gd name="connsiteY274" fmla="*/ 1344 h 10000"/>
              <a:gd name="connsiteX275" fmla="*/ 5074 w 10000"/>
              <a:gd name="connsiteY275" fmla="*/ 1412 h 10000"/>
              <a:gd name="connsiteX276" fmla="*/ 4421 w 10000"/>
              <a:gd name="connsiteY276" fmla="*/ 1813 h 10000"/>
              <a:gd name="connsiteX277" fmla="*/ 4220 w 10000"/>
              <a:gd name="connsiteY277" fmla="*/ 2070 h 10000"/>
              <a:gd name="connsiteX278" fmla="*/ 4003 w 10000"/>
              <a:gd name="connsiteY278" fmla="*/ 2135 h 10000"/>
              <a:gd name="connsiteX279" fmla="*/ 3868 w 10000"/>
              <a:gd name="connsiteY279" fmla="*/ 2131 h 10000"/>
              <a:gd name="connsiteX280" fmla="*/ 3785 w 10000"/>
              <a:gd name="connsiteY280" fmla="*/ 2153 h 10000"/>
              <a:gd name="connsiteX281" fmla="*/ 3558 w 10000"/>
              <a:gd name="connsiteY281" fmla="*/ 2793 h 10000"/>
              <a:gd name="connsiteX282" fmla="*/ 3036 w 10000"/>
              <a:gd name="connsiteY282" fmla="*/ 3166 h 10000"/>
              <a:gd name="connsiteX283" fmla="*/ 3040 w 10000"/>
              <a:gd name="connsiteY283" fmla="*/ 3225 h 10000"/>
              <a:gd name="connsiteX284" fmla="*/ 3271 w 10000"/>
              <a:gd name="connsiteY284" fmla="*/ 3392 h 10000"/>
              <a:gd name="connsiteX285" fmla="*/ 3197 w 10000"/>
              <a:gd name="connsiteY285" fmla="*/ 3573 h 10000"/>
              <a:gd name="connsiteX286" fmla="*/ 3062 w 10000"/>
              <a:gd name="connsiteY286" fmla="*/ 3640 h 10000"/>
              <a:gd name="connsiteX287" fmla="*/ 2657 w 10000"/>
              <a:gd name="connsiteY287" fmla="*/ 3595 h 10000"/>
              <a:gd name="connsiteX288" fmla="*/ 2378 w 10000"/>
              <a:gd name="connsiteY288" fmla="*/ 3620 h 10000"/>
              <a:gd name="connsiteX289" fmla="*/ 2152 w 10000"/>
              <a:gd name="connsiteY289" fmla="*/ 3673 h 10000"/>
              <a:gd name="connsiteX290" fmla="*/ 1790 w 10000"/>
              <a:gd name="connsiteY290" fmla="*/ 3840 h 10000"/>
              <a:gd name="connsiteX291" fmla="*/ 1598 w 10000"/>
              <a:gd name="connsiteY291" fmla="*/ 4042 h 10000"/>
              <a:gd name="connsiteX292" fmla="*/ 1616 w 10000"/>
              <a:gd name="connsiteY292" fmla="*/ 4154 h 10000"/>
              <a:gd name="connsiteX293" fmla="*/ 1681 w 10000"/>
              <a:gd name="connsiteY293" fmla="*/ 4241 h 10000"/>
              <a:gd name="connsiteX294" fmla="*/ 1733 w 10000"/>
              <a:gd name="connsiteY294" fmla="*/ 4276 h 10000"/>
              <a:gd name="connsiteX295" fmla="*/ 1638 w 10000"/>
              <a:gd name="connsiteY295" fmla="*/ 4331 h 10000"/>
              <a:gd name="connsiteX296" fmla="*/ 1433 w 10000"/>
              <a:gd name="connsiteY296" fmla="*/ 4710 h 10000"/>
              <a:gd name="connsiteX297" fmla="*/ 1472 w 10000"/>
              <a:gd name="connsiteY297" fmla="*/ 4732 h 10000"/>
              <a:gd name="connsiteX298" fmla="*/ 1503 w 10000"/>
              <a:gd name="connsiteY298" fmla="*/ 4828 h 10000"/>
              <a:gd name="connsiteX299" fmla="*/ 1407 w 10000"/>
              <a:gd name="connsiteY299" fmla="*/ 5227 h 10000"/>
              <a:gd name="connsiteX300" fmla="*/ 1503 w 10000"/>
              <a:gd name="connsiteY300" fmla="*/ 5329 h 10000"/>
              <a:gd name="connsiteX301" fmla="*/ 1764 w 10000"/>
              <a:gd name="connsiteY301" fmla="*/ 5441 h 10000"/>
              <a:gd name="connsiteX302" fmla="*/ 1777 w 10000"/>
              <a:gd name="connsiteY302" fmla="*/ 5578 h 10000"/>
              <a:gd name="connsiteX303" fmla="*/ 1664 w 10000"/>
              <a:gd name="connsiteY303" fmla="*/ 5690 h 10000"/>
              <a:gd name="connsiteX304" fmla="*/ 1503 w 10000"/>
              <a:gd name="connsiteY304" fmla="*/ 5759 h 10000"/>
              <a:gd name="connsiteX305" fmla="*/ 1289 w 10000"/>
              <a:gd name="connsiteY305" fmla="*/ 5787 h 10000"/>
              <a:gd name="connsiteX306" fmla="*/ 1233 w 10000"/>
              <a:gd name="connsiteY306" fmla="*/ 5826 h 10000"/>
              <a:gd name="connsiteX307" fmla="*/ 1359 w 10000"/>
              <a:gd name="connsiteY307" fmla="*/ 5920 h 10000"/>
              <a:gd name="connsiteX308" fmla="*/ 1429 w 10000"/>
              <a:gd name="connsiteY308" fmla="*/ 6142 h 10000"/>
              <a:gd name="connsiteX309" fmla="*/ 1267 w 10000"/>
              <a:gd name="connsiteY309" fmla="*/ 6333 h 10000"/>
              <a:gd name="connsiteX310" fmla="*/ 1324 w 10000"/>
              <a:gd name="connsiteY310" fmla="*/ 6392 h 10000"/>
              <a:gd name="connsiteX311" fmla="*/ 1272 w 10000"/>
              <a:gd name="connsiteY311" fmla="*/ 6492 h 10000"/>
              <a:gd name="connsiteX312" fmla="*/ 1167 w 10000"/>
              <a:gd name="connsiteY312" fmla="*/ 6561 h 10000"/>
              <a:gd name="connsiteX313" fmla="*/ 758 w 10000"/>
              <a:gd name="connsiteY313" fmla="*/ 6614 h 10000"/>
              <a:gd name="connsiteX314" fmla="*/ 732 w 10000"/>
              <a:gd name="connsiteY314" fmla="*/ 6706 h 10000"/>
              <a:gd name="connsiteX315" fmla="*/ 510 w 10000"/>
              <a:gd name="connsiteY315" fmla="*/ 6843 h 10000"/>
              <a:gd name="connsiteX316" fmla="*/ 540 w 10000"/>
              <a:gd name="connsiteY316" fmla="*/ 7040 h 10000"/>
              <a:gd name="connsiteX317" fmla="*/ 353 w 10000"/>
              <a:gd name="connsiteY317" fmla="*/ 7293 h 10000"/>
              <a:gd name="connsiteX318" fmla="*/ 226 w 10000"/>
              <a:gd name="connsiteY318" fmla="*/ 7323 h 10000"/>
              <a:gd name="connsiteX319" fmla="*/ 174 w 10000"/>
              <a:gd name="connsiteY319" fmla="*/ 7262 h 10000"/>
              <a:gd name="connsiteX320" fmla="*/ 109 w 10000"/>
              <a:gd name="connsiteY320" fmla="*/ 7354 h 10000"/>
              <a:gd name="connsiteX321" fmla="*/ 152 w 10000"/>
              <a:gd name="connsiteY321" fmla="*/ 7197 h 10000"/>
              <a:gd name="connsiteX322" fmla="*/ 126 w 10000"/>
              <a:gd name="connsiteY32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798 w 10000"/>
              <a:gd name="connsiteY211" fmla="*/ 2467 h 10000"/>
              <a:gd name="connsiteX212" fmla="*/ 8855 w 10000"/>
              <a:gd name="connsiteY212" fmla="*/ 2341 h 10000"/>
              <a:gd name="connsiteX213" fmla="*/ 8898 w 10000"/>
              <a:gd name="connsiteY213" fmla="*/ 2332 h 10000"/>
              <a:gd name="connsiteX214" fmla="*/ 8946 w 10000"/>
              <a:gd name="connsiteY214" fmla="*/ 2330 h 10000"/>
              <a:gd name="connsiteX215" fmla="*/ 8946 w 10000"/>
              <a:gd name="connsiteY215" fmla="*/ 2361 h 10000"/>
              <a:gd name="connsiteX216" fmla="*/ 8994 w 10000"/>
              <a:gd name="connsiteY216" fmla="*/ 2389 h 10000"/>
              <a:gd name="connsiteX217" fmla="*/ 9051 w 10000"/>
              <a:gd name="connsiteY217" fmla="*/ 2400 h 10000"/>
              <a:gd name="connsiteX218" fmla="*/ 9094 w 10000"/>
              <a:gd name="connsiteY218" fmla="*/ 2324 h 10000"/>
              <a:gd name="connsiteX219" fmla="*/ 9164 w 10000"/>
              <a:gd name="connsiteY219" fmla="*/ 2347 h 10000"/>
              <a:gd name="connsiteX220" fmla="*/ 9247 w 10000"/>
              <a:gd name="connsiteY220" fmla="*/ 2402 h 10000"/>
              <a:gd name="connsiteX221" fmla="*/ 9286 w 10000"/>
              <a:gd name="connsiteY221" fmla="*/ 2400 h 10000"/>
              <a:gd name="connsiteX222" fmla="*/ 9355 w 10000"/>
              <a:gd name="connsiteY222" fmla="*/ 2428 h 10000"/>
              <a:gd name="connsiteX223" fmla="*/ 9408 w 10000"/>
              <a:gd name="connsiteY223" fmla="*/ 2359 h 10000"/>
              <a:gd name="connsiteX224" fmla="*/ 9717 w 10000"/>
              <a:gd name="connsiteY224" fmla="*/ 2343 h 10000"/>
              <a:gd name="connsiteX225" fmla="*/ 9830 w 10000"/>
              <a:gd name="connsiteY225" fmla="*/ 2369 h 10000"/>
              <a:gd name="connsiteX226" fmla="*/ 9909 w 10000"/>
              <a:gd name="connsiteY226" fmla="*/ 2410 h 10000"/>
              <a:gd name="connsiteX227" fmla="*/ 9948 w 10000"/>
              <a:gd name="connsiteY227" fmla="*/ 2365 h 10000"/>
              <a:gd name="connsiteX228" fmla="*/ 10000 w 10000"/>
              <a:gd name="connsiteY228" fmla="*/ 2349 h 10000"/>
              <a:gd name="connsiteX229" fmla="*/ 9704 w 10000"/>
              <a:gd name="connsiteY229" fmla="*/ 1992 h 10000"/>
              <a:gd name="connsiteX230" fmla="*/ 9743 w 10000"/>
              <a:gd name="connsiteY230" fmla="*/ 1897 h 10000"/>
              <a:gd name="connsiteX231" fmla="*/ 9830 w 10000"/>
              <a:gd name="connsiteY231" fmla="*/ 1819 h 10000"/>
              <a:gd name="connsiteX232" fmla="*/ 9830 w 10000"/>
              <a:gd name="connsiteY232" fmla="*/ 1699 h 10000"/>
              <a:gd name="connsiteX233" fmla="*/ 9556 w 10000"/>
              <a:gd name="connsiteY233" fmla="*/ 1465 h 10000"/>
              <a:gd name="connsiteX234" fmla="*/ 9512 w 10000"/>
              <a:gd name="connsiteY234" fmla="*/ 1379 h 10000"/>
              <a:gd name="connsiteX235" fmla="*/ 9573 w 10000"/>
              <a:gd name="connsiteY235" fmla="*/ 1271 h 10000"/>
              <a:gd name="connsiteX236" fmla="*/ 9543 w 10000"/>
              <a:gd name="connsiteY236" fmla="*/ 1194 h 10000"/>
              <a:gd name="connsiteX237" fmla="*/ 9486 w 10000"/>
              <a:gd name="connsiteY237" fmla="*/ 1159 h 10000"/>
              <a:gd name="connsiteX238" fmla="*/ 9438 w 10000"/>
              <a:gd name="connsiteY238" fmla="*/ 978 h 10000"/>
              <a:gd name="connsiteX239" fmla="*/ 9495 w 10000"/>
              <a:gd name="connsiteY239" fmla="*/ 831 h 10000"/>
              <a:gd name="connsiteX240" fmla="*/ 9077 w 10000"/>
              <a:gd name="connsiteY240" fmla="*/ 517 h 10000"/>
              <a:gd name="connsiteX241" fmla="*/ 8872 w 10000"/>
              <a:gd name="connsiteY241" fmla="*/ 440 h 10000"/>
              <a:gd name="connsiteX242" fmla="*/ 8493 w 10000"/>
              <a:gd name="connsiteY242" fmla="*/ 389 h 10000"/>
              <a:gd name="connsiteX243" fmla="*/ 7709 w 10000"/>
              <a:gd name="connsiteY243" fmla="*/ 26 h 10000"/>
              <a:gd name="connsiteX244" fmla="*/ 7683 w 10000"/>
              <a:gd name="connsiteY244" fmla="*/ 2 h 10000"/>
              <a:gd name="connsiteX245" fmla="*/ 7417 w 10000"/>
              <a:gd name="connsiteY245" fmla="*/ 0 h 10000"/>
              <a:gd name="connsiteX246" fmla="*/ 7356 w 10000"/>
              <a:gd name="connsiteY246" fmla="*/ 14 h 10000"/>
              <a:gd name="connsiteX247" fmla="*/ 7369 w 10000"/>
              <a:gd name="connsiteY247" fmla="*/ 61 h 10000"/>
              <a:gd name="connsiteX248" fmla="*/ 7422 w 10000"/>
              <a:gd name="connsiteY248" fmla="*/ 86 h 10000"/>
              <a:gd name="connsiteX249" fmla="*/ 7435 w 10000"/>
              <a:gd name="connsiteY249" fmla="*/ 139 h 10000"/>
              <a:gd name="connsiteX250" fmla="*/ 7417 w 10000"/>
              <a:gd name="connsiteY250" fmla="*/ 181 h 10000"/>
              <a:gd name="connsiteX251" fmla="*/ 7369 w 10000"/>
              <a:gd name="connsiteY251" fmla="*/ 208 h 10000"/>
              <a:gd name="connsiteX252" fmla="*/ 7334 w 10000"/>
              <a:gd name="connsiteY252" fmla="*/ 283 h 10000"/>
              <a:gd name="connsiteX253" fmla="*/ 7269 w 10000"/>
              <a:gd name="connsiteY253" fmla="*/ 336 h 10000"/>
              <a:gd name="connsiteX254" fmla="*/ 7282 w 10000"/>
              <a:gd name="connsiteY254" fmla="*/ 387 h 10000"/>
              <a:gd name="connsiteX255" fmla="*/ 7382 w 10000"/>
              <a:gd name="connsiteY255" fmla="*/ 434 h 10000"/>
              <a:gd name="connsiteX256" fmla="*/ 7317 w 10000"/>
              <a:gd name="connsiteY256" fmla="*/ 475 h 10000"/>
              <a:gd name="connsiteX257" fmla="*/ 7221 w 10000"/>
              <a:gd name="connsiteY257" fmla="*/ 485 h 10000"/>
              <a:gd name="connsiteX258" fmla="*/ 6420 w 10000"/>
              <a:gd name="connsiteY258" fmla="*/ 387 h 10000"/>
              <a:gd name="connsiteX259" fmla="*/ 6324 w 10000"/>
              <a:gd name="connsiteY259" fmla="*/ 395 h 10000"/>
              <a:gd name="connsiteX260" fmla="*/ 6267 w 10000"/>
              <a:gd name="connsiteY260" fmla="*/ 414 h 10000"/>
              <a:gd name="connsiteX261" fmla="*/ 6211 w 10000"/>
              <a:gd name="connsiteY261" fmla="*/ 462 h 10000"/>
              <a:gd name="connsiteX262" fmla="*/ 6220 w 10000"/>
              <a:gd name="connsiteY262" fmla="*/ 581 h 10000"/>
              <a:gd name="connsiteX263" fmla="*/ 6132 w 10000"/>
              <a:gd name="connsiteY263" fmla="*/ 735 h 10000"/>
              <a:gd name="connsiteX264" fmla="*/ 6024 w 10000"/>
              <a:gd name="connsiteY264" fmla="*/ 815 h 10000"/>
              <a:gd name="connsiteX265" fmla="*/ 5980 w 10000"/>
              <a:gd name="connsiteY265" fmla="*/ 805 h 10000"/>
              <a:gd name="connsiteX266" fmla="*/ 5880 w 10000"/>
              <a:gd name="connsiteY266" fmla="*/ 739 h 10000"/>
              <a:gd name="connsiteX267" fmla="*/ 5753 w 10000"/>
              <a:gd name="connsiteY267" fmla="*/ 705 h 10000"/>
              <a:gd name="connsiteX268" fmla="*/ 5618 w 10000"/>
              <a:gd name="connsiteY268" fmla="*/ 715 h 10000"/>
              <a:gd name="connsiteX269" fmla="*/ 5301 w 10000"/>
              <a:gd name="connsiteY269" fmla="*/ 866 h 10000"/>
              <a:gd name="connsiteX270" fmla="*/ 5218 w 10000"/>
              <a:gd name="connsiteY270" fmla="*/ 1017 h 10000"/>
              <a:gd name="connsiteX271" fmla="*/ 4978 w 10000"/>
              <a:gd name="connsiteY271" fmla="*/ 1153 h 10000"/>
              <a:gd name="connsiteX272" fmla="*/ 4935 w 10000"/>
              <a:gd name="connsiteY272" fmla="*/ 1222 h 10000"/>
              <a:gd name="connsiteX273" fmla="*/ 5061 w 10000"/>
              <a:gd name="connsiteY273" fmla="*/ 1344 h 10000"/>
              <a:gd name="connsiteX274" fmla="*/ 5074 w 10000"/>
              <a:gd name="connsiteY274" fmla="*/ 1412 h 10000"/>
              <a:gd name="connsiteX275" fmla="*/ 4421 w 10000"/>
              <a:gd name="connsiteY275" fmla="*/ 1813 h 10000"/>
              <a:gd name="connsiteX276" fmla="*/ 4220 w 10000"/>
              <a:gd name="connsiteY276" fmla="*/ 2070 h 10000"/>
              <a:gd name="connsiteX277" fmla="*/ 4003 w 10000"/>
              <a:gd name="connsiteY277" fmla="*/ 2135 h 10000"/>
              <a:gd name="connsiteX278" fmla="*/ 3868 w 10000"/>
              <a:gd name="connsiteY278" fmla="*/ 2131 h 10000"/>
              <a:gd name="connsiteX279" fmla="*/ 3785 w 10000"/>
              <a:gd name="connsiteY279" fmla="*/ 2153 h 10000"/>
              <a:gd name="connsiteX280" fmla="*/ 3558 w 10000"/>
              <a:gd name="connsiteY280" fmla="*/ 2793 h 10000"/>
              <a:gd name="connsiteX281" fmla="*/ 3036 w 10000"/>
              <a:gd name="connsiteY281" fmla="*/ 3166 h 10000"/>
              <a:gd name="connsiteX282" fmla="*/ 3040 w 10000"/>
              <a:gd name="connsiteY282" fmla="*/ 3225 h 10000"/>
              <a:gd name="connsiteX283" fmla="*/ 3271 w 10000"/>
              <a:gd name="connsiteY283" fmla="*/ 3392 h 10000"/>
              <a:gd name="connsiteX284" fmla="*/ 3197 w 10000"/>
              <a:gd name="connsiteY284" fmla="*/ 3573 h 10000"/>
              <a:gd name="connsiteX285" fmla="*/ 3062 w 10000"/>
              <a:gd name="connsiteY285" fmla="*/ 3640 h 10000"/>
              <a:gd name="connsiteX286" fmla="*/ 2657 w 10000"/>
              <a:gd name="connsiteY286" fmla="*/ 3595 h 10000"/>
              <a:gd name="connsiteX287" fmla="*/ 2378 w 10000"/>
              <a:gd name="connsiteY287" fmla="*/ 3620 h 10000"/>
              <a:gd name="connsiteX288" fmla="*/ 2152 w 10000"/>
              <a:gd name="connsiteY288" fmla="*/ 3673 h 10000"/>
              <a:gd name="connsiteX289" fmla="*/ 1790 w 10000"/>
              <a:gd name="connsiteY289" fmla="*/ 3840 h 10000"/>
              <a:gd name="connsiteX290" fmla="*/ 1598 w 10000"/>
              <a:gd name="connsiteY290" fmla="*/ 4042 h 10000"/>
              <a:gd name="connsiteX291" fmla="*/ 1616 w 10000"/>
              <a:gd name="connsiteY291" fmla="*/ 4154 h 10000"/>
              <a:gd name="connsiteX292" fmla="*/ 1681 w 10000"/>
              <a:gd name="connsiteY292" fmla="*/ 4241 h 10000"/>
              <a:gd name="connsiteX293" fmla="*/ 1733 w 10000"/>
              <a:gd name="connsiteY293" fmla="*/ 4276 h 10000"/>
              <a:gd name="connsiteX294" fmla="*/ 1638 w 10000"/>
              <a:gd name="connsiteY294" fmla="*/ 4331 h 10000"/>
              <a:gd name="connsiteX295" fmla="*/ 1433 w 10000"/>
              <a:gd name="connsiteY295" fmla="*/ 4710 h 10000"/>
              <a:gd name="connsiteX296" fmla="*/ 1472 w 10000"/>
              <a:gd name="connsiteY296" fmla="*/ 4732 h 10000"/>
              <a:gd name="connsiteX297" fmla="*/ 1503 w 10000"/>
              <a:gd name="connsiteY297" fmla="*/ 4828 h 10000"/>
              <a:gd name="connsiteX298" fmla="*/ 1407 w 10000"/>
              <a:gd name="connsiteY298" fmla="*/ 5227 h 10000"/>
              <a:gd name="connsiteX299" fmla="*/ 1503 w 10000"/>
              <a:gd name="connsiteY299" fmla="*/ 5329 h 10000"/>
              <a:gd name="connsiteX300" fmla="*/ 1764 w 10000"/>
              <a:gd name="connsiteY300" fmla="*/ 5441 h 10000"/>
              <a:gd name="connsiteX301" fmla="*/ 1777 w 10000"/>
              <a:gd name="connsiteY301" fmla="*/ 5578 h 10000"/>
              <a:gd name="connsiteX302" fmla="*/ 1664 w 10000"/>
              <a:gd name="connsiteY302" fmla="*/ 5690 h 10000"/>
              <a:gd name="connsiteX303" fmla="*/ 1503 w 10000"/>
              <a:gd name="connsiteY303" fmla="*/ 5759 h 10000"/>
              <a:gd name="connsiteX304" fmla="*/ 1289 w 10000"/>
              <a:gd name="connsiteY304" fmla="*/ 5787 h 10000"/>
              <a:gd name="connsiteX305" fmla="*/ 1233 w 10000"/>
              <a:gd name="connsiteY305" fmla="*/ 5826 h 10000"/>
              <a:gd name="connsiteX306" fmla="*/ 1359 w 10000"/>
              <a:gd name="connsiteY306" fmla="*/ 5920 h 10000"/>
              <a:gd name="connsiteX307" fmla="*/ 1429 w 10000"/>
              <a:gd name="connsiteY307" fmla="*/ 6142 h 10000"/>
              <a:gd name="connsiteX308" fmla="*/ 1267 w 10000"/>
              <a:gd name="connsiteY308" fmla="*/ 6333 h 10000"/>
              <a:gd name="connsiteX309" fmla="*/ 1324 w 10000"/>
              <a:gd name="connsiteY309" fmla="*/ 6392 h 10000"/>
              <a:gd name="connsiteX310" fmla="*/ 1272 w 10000"/>
              <a:gd name="connsiteY310" fmla="*/ 6492 h 10000"/>
              <a:gd name="connsiteX311" fmla="*/ 1167 w 10000"/>
              <a:gd name="connsiteY311" fmla="*/ 6561 h 10000"/>
              <a:gd name="connsiteX312" fmla="*/ 758 w 10000"/>
              <a:gd name="connsiteY312" fmla="*/ 6614 h 10000"/>
              <a:gd name="connsiteX313" fmla="*/ 732 w 10000"/>
              <a:gd name="connsiteY313" fmla="*/ 6706 h 10000"/>
              <a:gd name="connsiteX314" fmla="*/ 510 w 10000"/>
              <a:gd name="connsiteY314" fmla="*/ 6843 h 10000"/>
              <a:gd name="connsiteX315" fmla="*/ 540 w 10000"/>
              <a:gd name="connsiteY315" fmla="*/ 7040 h 10000"/>
              <a:gd name="connsiteX316" fmla="*/ 353 w 10000"/>
              <a:gd name="connsiteY316" fmla="*/ 7293 h 10000"/>
              <a:gd name="connsiteX317" fmla="*/ 226 w 10000"/>
              <a:gd name="connsiteY317" fmla="*/ 7323 h 10000"/>
              <a:gd name="connsiteX318" fmla="*/ 174 w 10000"/>
              <a:gd name="connsiteY318" fmla="*/ 7262 h 10000"/>
              <a:gd name="connsiteX319" fmla="*/ 109 w 10000"/>
              <a:gd name="connsiteY319" fmla="*/ 7354 h 10000"/>
              <a:gd name="connsiteX320" fmla="*/ 152 w 10000"/>
              <a:gd name="connsiteY320" fmla="*/ 7197 h 10000"/>
              <a:gd name="connsiteX321" fmla="*/ 126 w 10000"/>
              <a:gd name="connsiteY32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855 w 10000"/>
              <a:gd name="connsiteY211" fmla="*/ 2341 h 10000"/>
              <a:gd name="connsiteX212" fmla="*/ 8898 w 10000"/>
              <a:gd name="connsiteY212" fmla="*/ 2332 h 10000"/>
              <a:gd name="connsiteX213" fmla="*/ 8946 w 10000"/>
              <a:gd name="connsiteY213" fmla="*/ 2330 h 10000"/>
              <a:gd name="connsiteX214" fmla="*/ 8946 w 10000"/>
              <a:gd name="connsiteY214" fmla="*/ 2361 h 10000"/>
              <a:gd name="connsiteX215" fmla="*/ 8994 w 10000"/>
              <a:gd name="connsiteY215" fmla="*/ 2389 h 10000"/>
              <a:gd name="connsiteX216" fmla="*/ 9051 w 10000"/>
              <a:gd name="connsiteY216" fmla="*/ 2400 h 10000"/>
              <a:gd name="connsiteX217" fmla="*/ 9094 w 10000"/>
              <a:gd name="connsiteY217" fmla="*/ 2324 h 10000"/>
              <a:gd name="connsiteX218" fmla="*/ 9164 w 10000"/>
              <a:gd name="connsiteY218" fmla="*/ 2347 h 10000"/>
              <a:gd name="connsiteX219" fmla="*/ 9247 w 10000"/>
              <a:gd name="connsiteY219" fmla="*/ 2402 h 10000"/>
              <a:gd name="connsiteX220" fmla="*/ 9286 w 10000"/>
              <a:gd name="connsiteY220" fmla="*/ 2400 h 10000"/>
              <a:gd name="connsiteX221" fmla="*/ 9355 w 10000"/>
              <a:gd name="connsiteY221" fmla="*/ 2428 h 10000"/>
              <a:gd name="connsiteX222" fmla="*/ 9408 w 10000"/>
              <a:gd name="connsiteY222" fmla="*/ 2359 h 10000"/>
              <a:gd name="connsiteX223" fmla="*/ 9717 w 10000"/>
              <a:gd name="connsiteY223" fmla="*/ 2343 h 10000"/>
              <a:gd name="connsiteX224" fmla="*/ 9830 w 10000"/>
              <a:gd name="connsiteY224" fmla="*/ 2369 h 10000"/>
              <a:gd name="connsiteX225" fmla="*/ 9909 w 10000"/>
              <a:gd name="connsiteY225" fmla="*/ 2410 h 10000"/>
              <a:gd name="connsiteX226" fmla="*/ 9948 w 10000"/>
              <a:gd name="connsiteY226" fmla="*/ 2365 h 10000"/>
              <a:gd name="connsiteX227" fmla="*/ 10000 w 10000"/>
              <a:gd name="connsiteY227" fmla="*/ 2349 h 10000"/>
              <a:gd name="connsiteX228" fmla="*/ 9704 w 10000"/>
              <a:gd name="connsiteY228" fmla="*/ 1992 h 10000"/>
              <a:gd name="connsiteX229" fmla="*/ 9743 w 10000"/>
              <a:gd name="connsiteY229" fmla="*/ 1897 h 10000"/>
              <a:gd name="connsiteX230" fmla="*/ 9830 w 10000"/>
              <a:gd name="connsiteY230" fmla="*/ 1819 h 10000"/>
              <a:gd name="connsiteX231" fmla="*/ 9830 w 10000"/>
              <a:gd name="connsiteY231" fmla="*/ 1699 h 10000"/>
              <a:gd name="connsiteX232" fmla="*/ 9556 w 10000"/>
              <a:gd name="connsiteY232" fmla="*/ 1465 h 10000"/>
              <a:gd name="connsiteX233" fmla="*/ 9512 w 10000"/>
              <a:gd name="connsiteY233" fmla="*/ 1379 h 10000"/>
              <a:gd name="connsiteX234" fmla="*/ 9573 w 10000"/>
              <a:gd name="connsiteY234" fmla="*/ 1271 h 10000"/>
              <a:gd name="connsiteX235" fmla="*/ 9543 w 10000"/>
              <a:gd name="connsiteY235" fmla="*/ 1194 h 10000"/>
              <a:gd name="connsiteX236" fmla="*/ 9486 w 10000"/>
              <a:gd name="connsiteY236" fmla="*/ 1159 h 10000"/>
              <a:gd name="connsiteX237" fmla="*/ 9438 w 10000"/>
              <a:gd name="connsiteY237" fmla="*/ 978 h 10000"/>
              <a:gd name="connsiteX238" fmla="*/ 9495 w 10000"/>
              <a:gd name="connsiteY238" fmla="*/ 831 h 10000"/>
              <a:gd name="connsiteX239" fmla="*/ 9077 w 10000"/>
              <a:gd name="connsiteY239" fmla="*/ 517 h 10000"/>
              <a:gd name="connsiteX240" fmla="*/ 8872 w 10000"/>
              <a:gd name="connsiteY240" fmla="*/ 440 h 10000"/>
              <a:gd name="connsiteX241" fmla="*/ 8493 w 10000"/>
              <a:gd name="connsiteY241" fmla="*/ 389 h 10000"/>
              <a:gd name="connsiteX242" fmla="*/ 7709 w 10000"/>
              <a:gd name="connsiteY242" fmla="*/ 26 h 10000"/>
              <a:gd name="connsiteX243" fmla="*/ 7683 w 10000"/>
              <a:gd name="connsiteY243" fmla="*/ 2 h 10000"/>
              <a:gd name="connsiteX244" fmla="*/ 7417 w 10000"/>
              <a:gd name="connsiteY244" fmla="*/ 0 h 10000"/>
              <a:gd name="connsiteX245" fmla="*/ 7356 w 10000"/>
              <a:gd name="connsiteY245" fmla="*/ 14 h 10000"/>
              <a:gd name="connsiteX246" fmla="*/ 7369 w 10000"/>
              <a:gd name="connsiteY246" fmla="*/ 61 h 10000"/>
              <a:gd name="connsiteX247" fmla="*/ 7422 w 10000"/>
              <a:gd name="connsiteY247" fmla="*/ 86 h 10000"/>
              <a:gd name="connsiteX248" fmla="*/ 7435 w 10000"/>
              <a:gd name="connsiteY248" fmla="*/ 139 h 10000"/>
              <a:gd name="connsiteX249" fmla="*/ 7417 w 10000"/>
              <a:gd name="connsiteY249" fmla="*/ 181 h 10000"/>
              <a:gd name="connsiteX250" fmla="*/ 7369 w 10000"/>
              <a:gd name="connsiteY250" fmla="*/ 208 h 10000"/>
              <a:gd name="connsiteX251" fmla="*/ 7334 w 10000"/>
              <a:gd name="connsiteY251" fmla="*/ 283 h 10000"/>
              <a:gd name="connsiteX252" fmla="*/ 7269 w 10000"/>
              <a:gd name="connsiteY252" fmla="*/ 336 h 10000"/>
              <a:gd name="connsiteX253" fmla="*/ 7282 w 10000"/>
              <a:gd name="connsiteY253" fmla="*/ 387 h 10000"/>
              <a:gd name="connsiteX254" fmla="*/ 7382 w 10000"/>
              <a:gd name="connsiteY254" fmla="*/ 434 h 10000"/>
              <a:gd name="connsiteX255" fmla="*/ 7317 w 10000"/>
              <a:gd name="connsiteY255" fmla="*/ 475 h 10000"/>
              <a:gd name="connsiteX256" fmla="*/ 7221 w 10000"/>
              <a:gd name="connsiteY256" fmla="*/ 485 h 10000"/>
              <a:gd name="connsiteX257" fmla="*/ 6420 w 10000"/>
              <a:gd name="connsiteY257" fmla="*/ 387 h 10000"/>
              <a:gd name="connsiteX258" fmla="*/ 6324 w 10000"/>
              <a:gd name="connsiteY258" fmla="*/ 395 h 10000"/>
              <a:gd name="connsiteX259" fmla="*/ 6267 w 10000"/>
              <a:gd name="connsiteY259" fmla="*/ 414 h 10000"/>
              <a:gd name="connsiteX260" fmla="*/ 6211 w 10000"/>
              <a:gd name="connsiteY260" fmla="*/ 462 h 10000"/>
              <a:gd name="connsiteX261" fmla="*/ 6220 w 10000"/>
              <a:gd name="connsiteY261" fmla="*/ 581 h 10000"/>
              <a:gd name="connsiteX262" fmla="*/ 6132 w 10000"/>
              <a:gd name="connsiteY262" fmla="*/ 735 h 10000"/>
              <a:gd name="connsiteX263" fmla="*/ 6024 w 10000"/>
              <a:gd name="connsiteY263" fmla="*/ 815 h 10000"/>
              <a:gd name="connsiteX264" fmla="*/ 5980 w 10000"/>
              <a:gd name="connsiteY264" fmla="*/ 805 h 10000"/>
              <a:gd name="connsiteX265" fmla="*/ 5880 w 10000"/>
              <a:gd name="connsiteY265" fmla="*/ 739 h 10000"/>
              <a:gd name="connsiteX266" fmla="*/ 5753 w 10000"/>
              <a:gd name="connsiteY266" fmla="*/ 705 h 10000"/>
              <a:gd name="connsiteX267" fmla="*/ 5618 w 10000"/>
              <a:gd name="connsiteY267" fmla="*/ 715 h 10000"/>
              <a:gd name="connsiteX268" fmla="*/ 5301 w 10000"/>
              <a:gd name="connsiteY268" fmla="*/ 866 h 10000"/>
              <a:gd name="connsiteX269" fmla="*/ 5218 w 10000"/>
              <a:gd name="connsiteY269" fmla="*/ 1017 h 10000"/>
              <a:gd name="connsiteX270" fmla="*/ 4978 w 10000"/>
              <a:gd name="connsiteY270" fmla="*/ 1153 h 10000"/>
              <a:gd name="connsiteX271" fmla="*/ 4935 w 10000"/>
              <a:gd name="connsiteY271" fmla="*/ 1222 h 10000"/>
              <a:gd name="connsiteX272" fmla="*/ 5061 w 10000"/>
              <a:gd name="connsiteY272" fmla="*/ 1344 h 10000"/>
              <a:gd name="connsiteX273" fmla="*/ 5074 w 10000"/>
              <a:gd name="connsiteY273" fmla="*/ 1412 h 10000"/>
              <a:gd name="connsiteX274" fmla="*/ 4421 w 10000"/>
              <a:gd name="connsiteY274" fmla="*/ 1813 h 10000"/>
              <a:gd name="connsiteX275" fmla="*/ 4220 w 10000"/>
              <a:gd name="connsiteY275" fmla="*/ 2070 h 10000"/>
              <a:gd name="connsiteX276" fmla="*/ 4003 w 10000"/>
              <a:gd name="connsiteY276" fmla="*/ 2135 h 10000"/>
              <a:gd name="connsiteX277" fmla="*/ 3868 w 10000"/>
              <a:gd name="connsiteY277" fmla="*/ 2131 h 10000"/>
              <a:gd name="connsiteX278" fmla="*/ 3785 w 10000"/>
              <a:gd name="connsiteY278" fmla="*/ 2153 h 10000"/>
              <a:gd name="connsiteX279" fmla="*/ 3558 w 10000"/>
              <a:gd name="connsiteY279" fmla="*/ 2793 h 10000"/>
              <a:gd name="connsiteX280" fmla="*/ 3036 w 10000"/>
              <a:gd name="connsiteY280" fmla="*/ 3166 h 10000"/>
              <a:gd name="connsiteX281" fmla="*/ 3040 w 10000"/>
              <a:gd name="connsiteY281" fmla="*/ 3225 h 10000"/>
              <a:gd name="connsiteX282" fmla="*/ 3271 w 10000"/>
              <a:gd name="connsiteY282" fmla="*/ 3392 h 10000"/>
              <a:gd name="connsiteX283" fmla="*/ 3197 w 10000"/>
              <a:gd name="connsiteY283" fmla="*/ 3573 h 10000"/>
              <a:gd name="connsiteX284" fmla="*/ 3062 w 10000"/>
              <a:gd name="connsiteY284" fmla="*/ 3640 h 10000"/>
              <a:gd name="connsiteX285" fmla="*/ 2657 w 10000"/>
              <a:gd name="connsiteY285" fmla="*/ 3595 h 10000"/>
              <a:gd name="connsiteX286" fmla="*/ 2378 w 10000"/>
              <a:gd name="connsiteY286" fmla="*/ 3620 h 10000"/>
              <a:gd name="connsiteX287" fmla="*/ 2152 w 10000"/>
              <a:gd name="connsiteY287" fmla="*/ 3673 h 10000"/>
              <a:gd name="connsiteX288" fmla="*/ 1790 w 10000"/>
              <a:gd name="connsiteY288" fmla="*/ 3840 h 10000"/>
              <a:gd name="connsiteX289" fmla="*/ 1598 w 10000"/>
              <a:gd name="connsiteY289" fmla="*/ 4042 h 10000"/>
              <a:gd name="connsiteX290" fmla="*/ 1616 w 10000"/>
              <a:gd name="connsiteY290" fmla="*/ 4154 h 10000"/>
              <a:gd name="connsiteX291" fmla="*/ 1681 w 10000"/>
              <a:gd name="connsiteY291" fmla="*/ 4241 h 10000"/>
              <a:gd name="connsiteX292" fmla="*/ 1733 w 10000"/>
              <a:gd name="connsiteY292" fmla="*/ 4276 h 10000"/>
              <a:gd name="connsiteX293" fmla="*/ 1638 w 10000"/>
              <a:gd name="connsiteY293" fmla="*/ 4331 h 10000"/>
              <a:gd name="connsiteX294" fmla="*/ 1433 w 10000"/>
              <a:gd name="connsiteY294" fmla="*/ 4710 h 10000"/>
              <a:gd name="connsiteX295" fmla="*/ 1472 w 10000"/>
              <a:gd name="connsiteY295" fmla="*/ 4732 h 10000"/>
              <a:gd name="connsiteX296" fmla="*/ 1503 w 10000"/>
              <a:gd name="connsiteY296" fmla="*/ 4828 h 10000"/>
              <a:gd name="connsiteX297" fmla="*/ 1407 w 10000"/>
              <a:gd name="connsiteY297" fmla="*/ 5227 h 10000"/>
              <a:gd name="connsiteX298" fmla="*/ 1503 w 10000"/>
              <a:gd name="connsiteY298" fmla="*/ 5329 h 10000"/>
              <a:gd name="connsiteX299" fmla="*/ 1764 w 10000"/>
              <a:gd name="connsiteY299" fmla="*/ 5441 h 10000"/>
              <a:gd name="connsiteX300" fmla="*/ 1777 w 10000"/>
              <a:gd name="connsiteY300" fmla="*/ 5578 h 10000"/>
              <a:gd name="connsiteX301" fmla="*/ 1664 w 10000"/>
              <a:gd name="connsiteY301" fmla="*/ 5690 h 10000"/>
              <a:gd name="connsiteX302" fmla="*/ 1503 w 10000"/>
              <a:gd name="connsiteY302" fmla="*/ 5759 h 10000"/>
              <a:gd name="connsiteX303" fmla="*/ 1289 w 10000"/>
              <a:gd name="connsiteY303" fmla="*/ 5787 h 10000"/>
              <a:gd name="connsiteX304" fmla="*/ 1233 w 10000"/>
              <a:gd name="connsiteY304" fmla="*/ 5826 h 10000"/>
              <a:gd name="connsiteX305" fmla="*/ 1359 w 10000"/>
              <a:gd name="connsiteY305" fmla="*/ 5920 h 10000"/>
              <a:gd name="connsiteX306" fmla="*/ 1429 w 10000"/>
              <a:gd name="connsiteY306" fmla="*/ 6142 h 10000"/>
              <a:gd name="connsiteX307" fmla="*/ 1267 w 10000"/>
              <a:gd name="connsiteY307" fmla="*/ 6333 h 10000"/>
              <a:gd name="connsiteX308" fmla="*/ 1324 w 10000"/>
              <a:gd name="connsiteY308" fmla="*/ 6392 h 10000"/>
              <a:gd name="connsiteX309" fmla="*/ 1272 w 10000"/>
              <a:gd name="connsiteY309" fmla="*/ 6492 h 10000"/>
              <a:gd name="connsiteX310" fmla="*/ 1167 w 10000"/>
              <a:gd name="connsiteY310" fmla="*/ 6561 h 10000"/>
              <a:gd name="connsiteX311" fmla="*/ 758 w 10000"/>
              <a:gd name="connsiteY311" fmla="*/ 6614 h 10000"/>
              <a:gd name="connsiteX312" fmla="*/ 732 w 10000"/>
              <a:gd name="connsiteY312" fmla="*/ 6706 h 10000"/>
              <a:gd name="connsiteX313" fmla="*/ 510 w 10000"/>
              <a:gd name="connsiteY313" fmla="*/ 6843 h 10000"/>
              <a:gd name="connsiteX314" fmla="*/ 540 w 10000"/>
              <a:gd name="connsiteY314" fmla="*/ 7040 h 10000"/>
              <a:gd name="connsiteX315" fmla="*/ 353 w 10000"/>
              <a:gd name="connsiteY315" fmla="*/ 7293 h 10000"/>
              <a:gd name="connsiteX316" fmla="*/ 226 w 10000"/>
              <a:gd name="connsiteY316" fmla="*/ 7323 h 10000"/>
              <a:gd name="connsiteX317" fmla="*/ 174 w 10000"/>
              <a:gd name="connsiteY317" fmla="*/ 7262 h 10000"/>
              <a:gd name="connsiteX318" fmla="*/ 109 w 10000"/>
              <a:gd name="connsiteY318" fmla="*/ 7354 h 10000"/>
              <a:gd name="connsiteX319" fmla="*/ 152 w 10000"/>
              <a:gd name="connsiteY319" fmla="*/ 7197 h 10000"/>
              <a:gd name="connsiteX320" fmla="*/ 126 w 10000"/>
              <a:gd name="connsiteY32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815 w 10000"/>
              <a:gd name="connsiteY208" fmla="*/ 2548 h 10000"/>
              <a:gd name="connsiteX209" fmla="*/ 8789 w 10000"/>
              <a:gd name="connsiteY209" fmla="*/ 2457 h 10000"/>
              <a:gd name="connsiteX210" fmla="*/ 8855 w 10000"/>
              <a:gd name="connsiteY210" fmla="*/ 2341 h 10000"/>
              <a:gd name="connsiteX211" fmla="*/ 8898 w 10000"/>
              <a:gd name="connsiteY211" fmla="*/ 2332 h 10000"/>
              <a:gd name="connsiteX212" fmla="*/ 8946 w 10000"/>
              <a:gd name="connsiteY212" fmla="*/ 2330 h 10000"/>
              <a:gd name="connsiteX213" fmla="*/ 8946 w 10000"/>
              <a:gd name="connsiteY213" fmla="*/ 2361 h 10000"/>
              <a:gd name="connsiteX214" fmla="*/ 8994 w 10000"/>
              <a:gd name="connsiteY214" fmla="*/ 2389 h 10000"/>
              <a:gd name="connsiteX215" fmla="*/ 9051 w 10000"/>
              <a:gd name="connsiteY215" fmla="*/ 2400 h 10000"/>
              <a:gd name="connsiteX216" fmla="*/ 9094 w 10000"/>
              <a:gd name="connsiteY216" fmla="*/ 2324 h 10000"/>
              <a:gd name="connsiteX217" fmla="*/ 9164 w 10000"/>
              <a:gd name="connsiteY217" fmla="*/ 2347 h 10000"/>
              <a:gd name="connsiteX218" fmla="*/ 9247 w 10000"/>
              <a:gd name="connsiteY218" fmla="*/ 2402 h 10000"/>
              <a:gd name="connsiteX219" fmla="*/ 9286 w 10000"/>
              <a:gd name="connsiteY219" fmla="*/ 2400 h 10000"/>
              <a:gd name="connsiteX220" fmla="*/ 9355 w 10000"/>
              <a:gd name="connsiteY220" fmla="*/ 2428 h 10000"/>
              <a:gd name="connsiteX221" fmla="*/ 9408 w 10000"/>
              <a:gd name="connsiteY221" fmla="*/ 2359 h 10000"/>
              <a:gd name="connsiteX222" fmla="*/ 9717 w 10000"/>
              <a:gd name="connsiteY222" fmla="*/ 2343 h 10000"/>
              <a:gd name="connsiteX223" fmla="*/ 9830 w 10000"/>
              <a:gd name="connsiteY223" fmla="*/ 2369 h 10000"/>
              <a:gd name="connsiteX224" fmla="*/ 9909 w 10000"/>
              <a:gd name="connsiteY224" fmla="*/ 2410 h 10000"/>
              <a:gd name="connsiteX225" fmla="*/ 9948 w 10000"/>
              <a:gd name="connsiteY225" fmla="*/ 2365 h 10000"/>
              <a:gd name="connsiteX226" fmla="*/ 10000 w 10000"/>
              <a:gd name="connsiteY226" fmla="*/ 2349 h 10000"/>
              <a:gd name="connsiteX227" fmla="*/ 9704 w 10000"/>
              <a:gd name="connsiteY227" fmla="*/ 1992 h 10000"/>
              <a:gd name="connsiteX228" fmla="*/ 9743 w 10000"/>
              <a:gd name="connsiteY228" fmla="*/ 1897 h 10000"/>
              <a:gd name="connsiteX229" fmla="*/ 9830 w 10000"/>
              <a:gd name="connsiteY229" fmla="*/ 1819 h 10000"/>
              <a:gd name="connsiteX230" fmla="*/ 9830 w 10000"/>
              <a:gd name="connsiteY230" fmla="*/ 1699 h 10000"/>
              <a:gd name="connsiteX231" fmla="*/ 9556 w 10000"/>
              <a:gd name="connsiteY231" fmla="*/ 1465 h 10000"/>
              <a:gd name="connsiteX232" fmla="*/ 9512 w 10000"/>
              <a:gd name="connsiteY232" fmla="*/ 1379 h 10000"/>
              <a:gd name="connsiteX233" fmla="*/ 9573 w 10000"/>
              <a:gd name="connsiteY233" fmla="*/ 1271 h 10000"/>
              <a:gd name="connsiteX234" fmla="*/ 9543 w 10000"/>
              <a:gd name="connsiteY234" fmla="*/ 1194 h 10000"/>
              <a:gd name="connsiteX235" fmla="*/ 9486 w 10000"/>
              <a:gd name="connsiteY235" fmla="*/ 1159 h 10000"/>
              <a:gd name="connsiteX236" fmla="*/ 9438 w 10000"/>
              <a:gd name="connsiteY236" fmla="*/ 978 h 10000"/>
              <a:gd name="connsiteX237" fmla="*/ 9495 w 10000"/>
              <a:gd name="connsiteY237" fmla="*/ 831 h 10000"/>
              <a:gd name="connsiteX238" fmla="*/ 9077 w 10000"/>
              <a:gd name="connsiteY238" fmla="*/ 517 h 10000"/>
              <a:gd name="connsiteX239" fmla="*/ 8872 w 10000"/>
              <a:gd name="connsiteY239" fmla="*/ 440 h 10000"/>
              <a:gd name="connsiteX240" fmla="*/ 8493 w 10000"/>
              <a:gd name="connsiteY240" fmla="*/ 389 h 10000"/>
              <a:gd name="connsiteX241" fmla="*/ 7709 w 10000"/>
              <a:gd name="connsiteY241" fmla="*/ 26 h 10000"/>
              <a:gd name="connsiteX242" fmla="*/ 7683 w 10000"/>
              <a:gd name="connsiteY242" fmla="*/ 2 h 10000"/>
              <a:gd name="connsiteX243" fmla="*/ 7417 w 10000"/>
              <a:gd name="connsiteY243" fmla="*/ 0 h 10000"/>
              <a:gd name="connsiteX244" fmla="*/ 7356 w 10000"/>
              <a:gd name="connsiteY244" fmla="*/ 14 h 10000"/>
              <a:gd name="connsiteX245" fmla="*/ 7369 w 10000"/>
              <a:gd name="connsiteY245" fmla="*/ 61 h 10000"/>
              <a:gd name="connsiteX246" fmla="*/ 7422 w 10000"/>
              <a:gd name="connsiteY246" fmla="*/ 86 h 10000"/>
              <a:gd name="connsiteX247" fmla="*/ 7435 w 10000"/>
              <a:gd name="connsiteY247" fmla="*/ 139 h 10000"/>
              <a:gd name="connsiteX248" fmla="*/ 7417 w 10000"/>
              <a:gd name="connsiteY248" fmla="*/ 181 h 10000"/>
              <a:gd name="connsiteX249" fmla="*/ 7369 w 10000"/>
              <a:gd name="connsiteY249" fmla="*/ 208 h 10000"/>
              <a:gd name="connsiteX250" fmla="*/ 7334 w 10000"/>
              <a:gd name="connsiteY250" fmla="*/ 283 h 10000"/>
              <a:gd name="connsiteX251" fmla="*/ 7269 w 10000"/>
              <a:gd name="connsiteY251" fmla="*/ 336 h 10000"/>
              <a:gd name="connsiteX252" fmla="*/ 7282 w 10000"/>
              <a:gd name="connsiteY252" fmla="*/ 387 h 10000"/>
              <a:gd name="connsiteX253" fmla="*/ 7382 w 10000"/>
              <a:gd name="connsiteY253" fmla="*/ 434 h 10000"/>
              <a:gd name="connsiteX254" fmla="*/ 7317 w 10000"/>
              <a:gd name="connsiteY254" fmla="*/ 475 h 10000"/>
              <a:gd name="connsiteX255" fmla="*/ 7221 w 10000"/>
              <a:gd name="connsiteY255" fmla="*/ 485 h 10000"/>
              <a:gd name="connsiteX256" fmla="*/ 6420 w 10000"/>
              <a:gd name="connsiteY256" fmla="*/ 387 h 10000"/>
              <a:gd name="connsiteX257" fmla="*/ 6324 w 10000"/>
              <a:gd name="connsiteY257" fmla="*/ 395 h 10000"/>
              <a:gd name="connsiteX258" fmla="*/ 6267 w 10000"/>
              <a:gd name="connsiteY258" fmla="*/ 414 h 10000"/>
              <a:gd name="connsiteX259" fmla="*/ 6211 w 10000"/>
              <a:gd name="connsiteY259" fmla="*/ 462 h 10000"/>
              <a:gd name="connsiteX260" fmla="*/ 6220 w 10000"/>
              <a:gd name="connsiteY260" fmla="*/ 581 h 10000"/>
              <a:gd name="connsiteX261" fmla="*/ 6132 w 10000"/>
              <a:gd name="connsiteY261" fmla="*/ 735 h 10000"/>
              <a:gd name="connsiteX262" fmla="*/ 6024 w 10000"/>
              <a:gd name="connsiteY262" fmla="*/ 815 h 10000"/>
              <a:gd name="connsiteX263" fmla="*/ 5980 w 10000"/>
              <a:gd name="connsiteY263" fmla="*/ 805 h 10000"/>
              <a:gd name="connsiteX264" fmla="*/ 5880 w 10000"/>
              <a:gd name="connsiteY264" fmla="*/ 739 h 10000"/>
              <a:gd name="connsiteX265" fmla="*/ 5753 w 10000"/>
              <a:gd name="connsiteY265" fmla="*/ 705 h 10000"/>
              <a:gd name="connsiteX266" fmla="*/ 5618 w 10000"/>
              <a:gd name="connsiteY266" fmla="*/ 715 h 10000"/>
              <a:gd name="connsiteX267" fmla="*/ 5301 w 10000"/>
              <a:gd name="connsiteY267" fmla="*/ 866 h 10000"/>
              <a:gd name="connsiteX268" fmla="*/ 5218 w 10000"/>
              <a:gd name="connsiteY268" fmla="*/ 1017 h 10000"/>
              <a:gd name="connsiteX269" fmla="*/ 4978 w 10000"/>
              <a:gd name="connsiteY269" fmla="*/ 1153 h 10000"/>
              <a:gd name="connsiteX270" fmla="*/ 4935 w 10000"/>
              <a:gd name="connsiteY270" fmla="*/ 1222 h 10000"/>
              <a:gd name="connsiteX271" fmla="*/ 5061 w 10000"/>
              <a:gd name="connsiteY271" fmla="*/ 1344 h 10000"/>
              <a:gd name="connsiteX272" fmla="*/ 5074 w 10000"/>
              <a:gd name="connsiteY272" fmla="*/ 1412 h 10000"/>
              <a:gd name="connsiteX273" fmla="*/ 4421 w 10000"/>
              <a:gd name="connsiteY273" fmla="*/ 1813 h 10000"/>
              <a:gd name="connsiteX274" fmla="*/ 4220 w 10000"/>
              <a:gd name="connsiteY274" fmla="*/ 2070 h 10000"/>
              <a:gd name="connsiteX275" fmla="*/ 4003 w 10000"/>
              <a:gd name="connsiteY275" fmla="*/ 2135 h 10000"/>
              <a:gd name="connsiteX276" fmla="*/ 3868 w 10000"/>
              <a:gd name="connsiteY276" fmla="*/ 2131 h 10000"/>
              <a:gd name="connsiteX277" fmla="*/ 3785 w 10000"/>
              <a:gd name="connsiteY277" fmla="*/ 2153 h 10000"/>
              <a:gd name="connsiteX278" fmla="*/ 3558 w 10000"/>
              <a:gd name="connsiteY278" fmla="*/ 2793 h 10000"/>
              <a:gd name="connsiteX279" fmla="*/ 3036 w 10000"/>
              <a:gd name="connsiteY279" fmla="*/ 3166 h 10000"/>
              <a:gd name="connsiteX280" fmla="*/ 3040 w 10000"/>
              <a:gd name="connsiteY280" fmla="*/ 3225 h 10000"/>
              <a:gd name="connsiteX281" fmla="*/ 3271 w 10000"/>
              <a:gd name="connsiteY281" fmla="*/ 3392 h 10000"/>
              <a:gd name="connsiteX282" fmla="*/ 3197 w 10000"/>
              <a:gd name="connsiteY282" fmla="*/ 3573 h 10000"/>
              <a:gd name="connsiteX283" fmla="*/ 3062 w 10000"/>
              <a:gd name="connsiteY283" fmla="*/ 3640 h 10000"/>
              <a:gd name="connsiteX284" fmla="*/ 2657 w 10000"/>
              <a:gd name="connsiteY284" fmla="*/ 3595 h 10000"/>
              <a:gd name="connsiteX285" fmla="*/ 2378 w 10000"/>
              <a:gd name="connsiteY285" fmla="*/ 3620 h 10000"/>
              <a:gd name="connsiteX286" fmla="*/ 2152 w 10000"/>
              <a:gd name="connsiteY286" fmla="*/ 3673 h 10000"/>
              <a:gd name="connsiteX287" fmla="*/ 1790 w 10000"/>
              <a:gd name="connsiteY287" fmla="*/ 3840 h 10000"/>
              <a:gd name="connsiteX288" fmla="*/ 1598 w 10000"/>
              <a:gd name="connsiteY288" fmla="*/ 4042 h 10000"/>
              <a:gd name="connsiteX289" fmla="*/ 1616 w 10000"/>
              <a:gd name="connsiteY289" fmla="*/ 4154 h 10000"/>
              <a:gd name="connsiteX290" fmla="*/ 1681 w 10000"/>
              <a:gd name="connsiteY290" fmla="*/ 4241 h 10000"/>
              <a:gd name="connsiteX291" fmla="*/ 1733 w 10000"/>
              <a:gd name="connsiteY291" fmla="*/ 4276 h 10000"/>
              <a:gd name="connsiteX292" fmla="*/ 1638 w 10000"/>
              <a:gd name="connsiteY292" fmla="*/ 4331 h 10000"/>
              <a:gd name="connsiteX293" fmla="*/ 1433 w 10000"/>
              <a:gd name="connsiteY293" fmla="*/ 4710 h 10000"/>
              <a:gd name="connsiteX294" fmla="*/ 1472 w 10000"/>
              <a:gd name="connsiteY294" fmla="*/ 4732 h 10000"/>
              <a:gd name="connsiteX295" fmla="*/ 1503 w 10000"/>
              <a:gd name="connsiteY295" fmla="*/ 4828 h 10000"/>
              <a:gd name="connsiteX296" fmla="*/ 1407 w 10000"/>
              <a:gd name="connsiteY296" fmla="*/ 5227 h 10000"/>
              <a:gd name="connsiteX297" fmla="*/ 1503 w 10000"/>
              <a:gd name="connsiteY297" fmla="*/ 5329 h 10000"/>
              <a:gd name="connsiteX298" fmla="*/ 1764 w 10000"/>
              <a:gd name="connsiteY298" fmla="*/ 5441 h 10000"/>
              <a:gd name="connsiteX299" fmla="*/ 1777 w 10000"/>
              <a:gd name="connsiteY299" fmla="*/ 5578 h 10000"/>
              <a:gd name="connsiteX300" fmla="*/ 1664 w 10000"/>
              <a:gd name="connsiteY300" fmla="*/ 5690 h 10000"/>
              <a:gd name="connsiteX301" fmla="*/ 1503 w 10000"/>
              <a:gd name="connsiteY301" fmla="*/ 5759 h 10000"/>
              <a:gd name="connsiteX302" fmla="*/ 1289 w 10000"/>
              <a:gd name="connsiteY302" fmla="*/ 5787 h 10000"/>
              <a:gd name="connsiteX303" fmla="*/ 1233 w 10000"/>
              <a:gd name="connsiteY303" fmla="*/ 5826 h 10000"/>
              <a:gd name="connsiteX304" fmla="*/ 1359 w 10000"/>
              <a:gd name="connsiteY304" fmla="*/ 5920 h 10000"/>
              <a:gd name="connsiteX305" fmla="*/ 1429 w 10000"/>
              <a:gd name="connsiteY305" fmla="*/ 6142 h 10000"/>
              <a:gd name="connsiteX306" fmla="*/ 1267 w 10000"/>
              <a:gd name="connsiteY306" fmla="*/ 6333 h 10000"/>
              <a:gd name="connsiteX307" fmla="*/ 1324 w 10000"/>
              <a:gd name="connsiteY307" fmla="*/ 6392 h 10000"/>
              <a:gd name="connsiteX308" fmla="*/ 1272 w 10000"/>
              <a:gd name="connsiteY308" fmla="*/ 6492 h 10000"/>
              <a:gd name="connsiteX309" fmla="*/ 1167 w 10000"/>
              <a:gd name="connsiteY309" fmla="*/ 6561 h 10000"/>
              <a:gd name="connsiteX310" fmla="*/ 758 w 10000"/>
              <a:gd name="connsiteY310" fmla="*/ 6614 h 10000"/>
              <a:gd name="connsiteX311" fmla="*/ 732 w 10000"/>
              <a:gd name="connsiteY311" fmla="*/ 6706 h 10000"/>
              <a:gd name="connsiteX312" fmla="*/ 510 w 10000"/>
              <a:gd name="connsiteY312" fmla="*/ 6843 h 10000"/>
              <a:gd name="connsiteX313" fmla="*/ 540 w 10000"/>
              <a:gd name="connsiteY313" fmla="*/ 7040 h 10000"/>
              <a:gd name="connsiteX314" fmla="*/ 353 w 10000"/>
              <a:gd name="connsiteY314" fmla="*/ 7293 h 10000"/>
              <a:gd name="connsiteX315" fmla="*/ 226 w 10000"/>
              <a:gd name="connsiteY315" fmla="*/ 7323 h 10000"/>
              <a:gd name="connsiteX316" fmla="*/ 174 w 10000"/>
              <a:gd name="connsiteY316" fmla="*/ 7262 h 10000"/>
              <a:gd name="connsiteX317" fmla="*/ 109 w 10000"/>
              <a:gd name="connsiteY317" fmla="*/ 7354 h 10000"/>
              <a:gd name="connsiteX318" fmla="*/ 152 w 10000"/>
              <a:gd name="connsiteY318" fmla="*/ 7197 h 10000"/>
              <a:gd name="connsiteX319" fmla="*/ 126 w 10000"/>
              <a:gd name="connsiteY31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15 w 10000"/>
              <a:gd name="connsiteY207" fmla="*/ 2548 h 10000"/>
              <a:gd name="connsiteX208" fmla="*/ 8789 w 10000"/>
              <a:gd name="connsiteY208" fmla="*/ 2457 h 10000"/>
              <a:gd name="connsiteX209" fmla="*/ 8855 w 10000"/>
              <a:gd name="connsiteY209" fmla="*/ 2341 h 10000"/>
              <a:gd name="connsiteX210" fmla="*/ 8898 w 10000"/>
              <a:gd name="connsiteY210" fmla="*/ 2332 h 10000"/>
              <a:gd name="connsiteX211" fmla="*/ 8946 w 10000"/>
              <a:gd name="connsiteY211" fmla="*/ 2330 h 10000"/>
              <a:gd name="connsiteX212" fmla="*/ 8946 w 10000"/>
              <a:gd name="connsiteY212" fmla="*/ 2361 h 10000"/>
              <a:gd name="connsiteX213" fmla="*/ 8994 w 10000"/>
              <a:gd name="connsiteY213" fmla="*/ 2389 h 10000"/>
              <a:gd name="connsiteX214" fmla="*/ 9051 w 10000"/>
              <a:gd name="connsiteY214" fmla="*/ 2400 h 10000"/>
              <a:gd name="connsiteX215" fmla="*/ 9094 w 10000"/>
              <a:gd name="connsiteY215" fmla="*/ 2324 h 10000"/>
              <a:gd name="connsiteX216" fmla="*/ 9164 w 10000"/>
              <a:gd name="connsiteY216" fmla="*/ 2347 h 10000"/>
              <a:gd name="connsiteX217" fmla="*/ 9247 w 10000"/>
              <a:gd name="connsiteY217" fmla="*/ 2402 h 10000"/>
              <a:gd name="connsiteX218" fmla="*/ 9286 w 10000"/>
              <a:gd name="connsiteY218" fmla="*/ 2400 h 10000"/>
              <a:gd name="connsiteX219" fmla="*/ 9355 w 10000"/>
              <a:gd name="connsiteY219" fmla="*/ 2428 h 10000"/>
              <a:gd name="connsiteX220" fmla="*/ 9408 w 10000"/>
              <a:gd name="connsiteY220" fmla="*/ 2359 h 10000"/>
              <a:gd name="connsiteX221" fmla="*/ 9717 w 10000"/>
              <a:gd name="connsiteY221" fmla="*/ 2343 h 10000"/>
              <a:gd name="connsiteX222" fmla="*/ 9830 w 10000"/>
              <a:gd name="connsiteY222" fmla="*/ 2369 h 10000"/>
              <a:gd name="connsiteX223" fmla="*/ 9909 w 10000"/>
              <a:gd name="connsiteY223" fmla="*/ 2410 h 10000"/>
              <a:gd name="connsiteX224" fmla="*/ 9948 w 10000"/>
              <a:gd name="connsiteY224" fmla="*/ 2365 h 10000"/>
              <a:gd name="connsiteX225" fmla="*/ 10000 w 10000"/>
              <a:gd name="connsiteY225" fmla="*/ 2349 h 10000"/>
              <a:gd name="connsiteX226" fmla="*/ 9704 w 10000"/>
              <a:gd name="connsiteY226" fmla="*/ 1992 h 10000"/>
              <a:gd name="connsiteX227" fmla="*/ 9743 w 10000"/>
              <a:gd name="connsiteY227" fmla="*/ 1897 h 10000"/>
              <a:gd name="connsiteX228" fmla="*/ 9830 w 10000"/>
              <a:gd name="connsiteY228" fmla="*/ 1819 h 10000"/>
              <a:gd name="connsiteX229" fmla="*/ 9830 w 10000"/>
              <a:gd name="connsiteY229" fmla="*/ 1699 h 10000"/>
              <a:gd name="connsiteX230" fmla="*/ 9556 w 10000"/>
              <a:gd name="connsiteY230" fmla="*/ 1465 h 10000"/>
              <a:gd name="connsiteX231" fmla="*/ 9512 w 10000"/>
              <a:gd name="connsiteY231" fmla="*/ 1379 h 10000"/>
              <a:gd name="connsiteX232" fmla="*/ 9573 w 10000"/>
              <a:gd name="connsiteY232" fmla="*/ 1271 h 10000"/>
              <a:gd name="connsiteX233" fmla="*/ 9543 w 10000"/>
              <a:gd name="connsiteY233" fmla="*/ 1194 h 10000"/>
              <a:gd name="connsiteX234" fmla="*/ 9486 w 10000"/>
              <a:gd name="connsiteY234" fmla="*/ 1159 h 10000"/>
              <a:gd name="connsiteX235" fmla="*/ 9438 w 10000"/>
              <a:gd name="connsiteY235" fmla="*/ 978 h 10000"/>
              <a:gd name="connsiteX236" fmla="*/ 9495 w 10000"/>
              <a:gd name="connsiteY236" fmla="*/ 831 h 10000"/>
              <a:gd name="connsiteX237" fmla="*/ 9077 w 10000"/>
              <a:gd name="connsiteY237" fmla="*/ 517 h 10000"/>
              <a:gd name="connsiteX238" fmla="*/ 8872 w 10000"/>
              <a:gd name="connsiteY238" fmla="*/ 440 h 10000"/>
              <a:gd name="connsiteX239" fmla="*/ 8493 w 10000"/>
              <a:gd name="connsiteY239" fmla="*/ 389 h 10000"/>
              <a:gd name="connsiteX240" fmla="*/ 7709 w 10000"/>
              <a:gd name="connsiteY240" fmla="*/ 26 h 10000"/>
              <a:gd name="connsiteX241" fmla="*/ 7683 w 10000"/>
              <a:gd name="connsiteY241" fmla="*/ 2 h 10000"/>
              <a:gd name="connsiteX242" fmla="*/ 7417 w 10000"/>
              <a:gd name="connsiteY242" fmla="*/ 0 h 10000"/>
              <a:gd name="connsiteX243" fmla="*/ 7356 w 10000"/>
              <a:gd name="connsiteY243" fmla="*/ 14 h 10000"/>
              <a:gd name="connsiteX244" fmla="*/ 7369 w 10000"/>
              <a:gd name="connsiteY244" fmla="*/ 61 h 10000"/>
              <a:gd name="connsiteX245" fmla="*/ 7422 w 10000"/>
              <a:gd name="connsiteY245" fmla="*/ 86 h 10000"/>
              <a:gd name="connsiteX246" fmla="*/ 7435 w 10000"/>
              <a:gd name="connsiteY246" fmla="*/ 139 h 10000"/>
              <a:gd name="connsiteX247" fmla="*/ 7417 w 10000"/>
              <a:gd name="connsiteY247" fmla="*/ 181 h 10000"/>
              <a:gd name="connsiteX248" fmla="*/ 7369 w 10000"/>
              <a:gd name="connsiteY248" fmla="*/ 208 h 10000"/>
              <a:gd name="connsiteX249" fmla="*/ 7334 w 10000"/>
              <a:gd name="connsiteY249" fmla="*/ 283 h 10000"/>
              <a:gd name="connsiteX250" fmla="*/ 7269 w 10000"/>
              <a:gd name="connsiteY250" fmla="*/ 336 h 10000"/>
              <a:gd name="connsiteX251" fmla="*/ 7282 w 10000"/>
              <a:gd name="connsiteY251" fmla="*/ 387 h 10000"/>
              <a:gd name="connsiteX252" fmla="*/ 7382 w 10000"/>
              <a:gd name="connsiteY252" fmla="*/ 434 h 10000"/>
              <a:gd name="connsiteX253" fmla="*/ 7317 w 10000"/>
              <a:gd name="connsiteY253" fmla="*/ 475 h 10000"/>
              <a:gd name="connsiteX254" fmla="*/ 7221 w 10000"/>
              <a:gd name="connsiteY254" fmla="*/ 485 h 10000"/>
              <a:gd name="connsiteX255" fmla="*/ 6420 w 10000"/>
              <a:gd name="connsiteY255" fmla="*/ 387 h 10000"/>
              <a:gd name="connsiteX256" fmla="*/ 6324 w 10000"/>
              <a:gd name="connsiteY256" fmla="*/ 395 h 10000"/>
              <a:gd name="connsiteX257" fmla="*/ 6267 w 10000"/>
              <a:gd name="connsiteY257" fmla="*/ 414 h 10000"/>
              <a:gd name="connsiteX258" fmla="*/ 6211 w 10000"/>
              <a:gd name="connsiteY258" fmla="*/ 462 h 10000"/>
              <a:gd name="connsiteX259" fmla="*/ 6220 w 10000"/>
              <a:gd name="connsiteY259" fmla="*/ 581 h 10000"/>
              <a:gd name="connsiteX260" fmla="*/ 6132 w 10000"/>
              <a:gd name="connsiteY260" fmla="*/ 735 h 10000"/>
              <a:gd name="connsiteX261" fmla="*/ 6024 w 10000"/>
              <a:gd name="connsiteY261" fmla="*/ 815 h 10000"/>
              <a:gd name="connsiteX262" fmla="*/ 5980 w 10000"/>
              <a:gd name="connsiteY262" fmla="*/ 805 h 10000"/>
              <a:gd name="connsiteX263" fmla="*/ 5880 w 10000"/>
              <a:gd name="connsiteY263" fmla="*/ 739 h 10000"/>
              <a:gd name="connsiteX264" fmla="*/ 5753 w 10000"/>
              <a:gd name="connsiteY264" fmla="*/ 705 h 10000"/>
              <a:gd name="connsiteX265" fmla="*/ 5618 w 10000"/>
              <a:gd name="connsiteY265" fmla="*/ 715 h 10000"/>
              <a:gd name="connsiteX266" fmla="*/ 5301 w 10000"/>
              <a:gd name="connsiteY266" fmla="*/ 866 h 10000"/>
              <a:gd name="connsiteX267" fmla="*/ 5218 w 10000"/>
              <a:gd name="connsiteY267" fmla="*/ 1017 h 10000"/>
              <a:gd name="connsiteX268" fmla="*/ 4978 w 10000"/>
              <a:gd name="connsiteY268" fmla="*/ 1153 h 10000"/>
              <a:gd name="connsiteX269" fmla="*/ 4935 w 10000"/>
              <a:gd name="connsiteY269" fmla="*/ 1222 h 10000"/>
              <a:gd name="connsiteX270" fmla="*/ 5061 w 10000"/>
              <a:gd name="connsiteY270" fmla="*/ 1344 h 10000"/>
              <a:gd name="connsiteX271" fmla="*/ 5074 w 10000"/>
              <a:gd name="connsiteY271" fmla="*/ 1412 h 10000"/>
              <a:gd name="connsiteX272" fmla="*/ 4421 w 10000"/>
              <a:gd name="connsiteY272" fmla="*/ 1813 h 10000"/>
              <a:gd name="connsiteX273" fmla="*/ 4220 w 10000"/>
              <a:gd name="connsiteY273" fmla="*/ 2070 h 10000"/>
              <a:gd name="connsiteX274" fmla="*/ 4003 w 10000"/>
              <a:gd name="connsiteY274" fmla="*/ 2135 h 10000"/>
              <a:gd name="connsiteX275" fmla="*/ 3868 w 10000"/>
              <a:gd name="connsiteY275" fmla="*/ 2131 h 10000"/>
              <a:gd name="connsiteX276" fmla="*/ 3785 w 10000"/>
              <a:gd name="connsiteY276" fmla="*/ 2153 h 10000"/>
              <a:gd name="connsiteX277" fmla="*/ 3558 w 10000"/>
              <a:gd name="connsiteY277" fmla="*/ 2793 h 10000"/>
              <a:gd name="connsiteX278" fmla="*/ 3036 w 10000"/>
              <a:gd name="connsiteY278" fmla="*/ 3166 h 10000"/>
              <a:gd name="connsiteX279" fmla="*/ 3040 w 10000"/>
              <a:gd name="connsiteY279" fmla="*/ 3225 h 10000"/>
              <a:gd name="connsiteX280" fmla="*/ 3271 w 10000"/>
              <a:gd name="connsiteY280" fmla="*/ 3392 h 10000"/>
              <a:gd name="connsiteX281" fmla="*/ 3197 w 10000"/>
              <a:gd name="connsiteY281" fmla="*/ 3573 h 10000"/>
              <a:gd name="connsiteX282" fmla="*/ 3062 w 10000"/>
              <a:gd name="connsiteY282" fmla="*/ 3640 h 10000"/>
              <a:gd name="connsiteX283" fmla="*/ 2657 w 10000"/>
              <a:gd name="connsiteY283" fmla="*/ 3595 h 10000"/>
              <a:gd name="connsiteX284" fmla="*/ 2378 w 10000"/>
              <a:gd name="connsiteY284" fmla="*/ 3620 h 10000"/>
              <a:gd name="connsiteX285" fmla="*/ 2152 w 10000"/>
              <a:gd name="connsiteY285" fmla="*/ 3673 h 10000"/>
              <a:gd name="connsiteX286" fmla="*/ 1790 w 10000"/>
              <a:gd name="connsiteY286" fmla="*/ 3840 h 10000"/>
              <a:gd name="connsiteX287" fmla="*/ 1598 w 10000"/>
              <a:gd name="connsiteY287" fmla="*/ 4042 h 10000"/>
              <a:gd name="connsiteX288" fmla="*/ 1616 w 10000"/>
              <a:gd name="connsiteY288" fmla="*/ 4154 h 10000"/>
              <a:gd name="connsiteX289" fmla="*/ 1681 w 10000"/>
              <a:gd name="connsiteY289" fmla="*/ 4241 h 10000"/>
              <a:gd name="connsiteX290" fmla="*/ 1733 w 10000"/>
              <a:gd name="connsiteY290" fmla="*/ 4276 h 10000"/>
              <a:gd name="connsiteX291" fmla="*/ 1638 w 10000"/>
              <a:gd name="connsiteY291" fmla="*/ 4331 h 10000"/>
              <a:gd name="connsiteX292" fmla="*/ 1433 w 10000"/>
              <a:gd name="connsiteY292" fmla="*/ 4710 h 10000"/>
              <a:gd name="connsiteX293" fmla="*/ 1472 w 10000"/>
              <a:gd name="connsiteY293" fmla="*/ 4732 h 10000"/>
              <a:gd name="connsiteX294" fmla="*/ 1503 w 10000"/>
              <a:gd name="connsiteY294" fmla="*/ 4828 h 10000"/>
              <a:gd name="connsiteX295" fmla="*/ 1407 w 10000"/>
              <a:gd name="connsiteY295" fmla="*/ 5227 h 10000"/>
              <a:gd name="connsiteX296" fmla="*/ 1503 w 10000"/>
              <a:gd name="connsiteY296" fmla="*/ 5329 h 10000"/>
              <a:gd name="connsiteX297" fmla="*/ 1764 w 10000"/>
              <a:gd name="connsiteY297" fmla="*/ 5441 h 10000"/>
              <a:gd name="connsiteX298" fmla="*/ 1777 w 10000"/>
              <a:gd name="connsiteY298" fmla="*/ 5578 h 10000"/>
              <a:gd name="connsiteX299" fmla="*/ 1664 w 10000"/>
              <a:gd name="connsiteY299" fmla="*/ 5690 h 10000"/>
              <a:gd name="connsiteX300" fmla="*/ 1503 w 10000"/>
              <a:gd name="connsiteY300" fmla="*/ 5759 h 10000"/>
              <a:gd name="connsiteX301" fmla="*/ 1289 w 10000"/>
              <a:gd name="connsiteY301" fmla="*/ 5787 h 10000"/>
              <a:gd name="connsiteX302" fmla="*/ 1233 w 10000"/>
              <a:gd name="connsiteY302" fmla="*/ 5826 h 10000"/>
              <a:gd name="connsiteX303" fmla="*/ 1359 w 10000"/>
              <a:gd name="connsiteY303" fmla="*/ 5920 h 10000"/>
              <a:gd name="connsiteX304" fmla="*/ 1429 w 10000"/>
              <a:gd name="connsiteY304" fmla="*/ 6142 h 10000"/>
              <a:gd name="connsiteX305" fmla="*/ 1267 w 10000"/>
              <a:gd name="connsiteY305" fmla="*/ 6333 h 10000"/>
              <a:gd name="connsiteX306" fmla="*/ 1324 w 10000"/>
              <a:gd name="connsiteY306" fmla="*/ 6392 h 10000"/>
              <a:gd name="connsiteX307" fmla="*/ 1272 w 10000"/>
              <a:gd name="connsiteY307" fmla="*/ 6492 h 10000"/>
              <a:gd name="connsiteX308" fmla="*/ 1167 w 10000"/>
              <a:gd name="connsiteY308" fmla="*/ 6561 h 10000"/>
              <a:gd name="connsiteX309" fmla="*/ 758 w 10000"/>
              <a:gd name="connsiteY309" fmla="*/ 6614 h 10000"/>
              <a:gd name="connsiteX310" fmla="*/ 732 w 10000"/>
              <a:gd name="connsiteY310" fmla="*/ 6706 h 10000"/>
              <a:gd name="connsiteX311" fmla="*/ 510 w 10000"/>
              <a:gd name="connsiteY311" fmla="*/ 6843 h 10000"/>
              <a:gd name="connsiteX312" fmla="*/ 540 w 10000"/>
              <a:gd name="connsiteY312" fmla="*/ 7040 h 10000"/>
              <a:gd name="connsiteX313" fmla="*/ 353 w 10000"/>
              <a:gd name="connsiteY313" fmla="*/ 7293 h 10000"/>
              <a:gd name="connsiteX314" fmla="*/ 226 w 10000"/>
              <a:gd name="connsiteY314" fmla="*/ 7323 h 10000"/>
              <a:gd name="connsiteX315" fmla="*/ 174 w 10000"/>
              <a:gd name="connsiteY315" fmla="*/ 7262 h 10000"/>
              <a:gd name="connsiteX316" fmla="*/ 109 w 10000"/>
              <a:gd name="connsiteY316" fmla="*/ 7354 h 10000"/>
              <a:gd name="connsiteX317" fmla="*/ 152 w 10000"/>
              <a:gd name="connsiteY317" fmla="*/ 7197 h 10000"/>
              <a:gd name="connsiteX318" fmla="*/ 126 w 10000"/>
              <a:gd name="connsiteY31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15 w 10000"/>
              <a:gd name="connsiteY207" fmla="*/ 2548 h 10000"/>
              <a:gd name="connsiteX208" fmla="*/ 8855 w 10000"/>
              <a:gd name="connsiteY208" fmla="*/ 2341 h 10000"/>
              <a:gd name="connsiteX209" fmla="*/ 8898 w 10000"/>
              <a:gd name="connsiteY209" fmla="*/ 2332 h 10000"/>
              <a:gd name="connsiteX210" fmla="*/ 8946 w 10000"/>
              <a:gd name="connsiteY210" fmla="*/ 2330 h 10000"/>
              <a:gd name="connsiteX211" fmla="*/ 8946 w 10000"/>
              <a:gd name="connsiteY211" fmla="*/ 2361 h 10000"/>
              <a:gd name="connsiteX212" fmla="*/ 8994 w 10000"/>
              <a:gd name="connsiteY212" fmla="*/ 2389 h 10000"/>
              <a:gd name="connsiteX213" fmla="*/ 9051 w 10000"/>
              <a:gd name="connsiteY213" fmla="*/ 2400 h 10000"/>
              <a:gd name="connsiteX214" fmla="*/ 9094 w 10000"/>
              <a:gd name="connsiteY214" fmla="*/ 2324 h 10000"/>
              <a:gd name="connsiteX215" fmla="*/ 9164 w 10000"/>
              <a:gd name="connsiteY215" fmla="*/ 2347 h 10000"/>
              <a:gd name="connsiteX216" fmla="*/ 9247 w 10000"/>
              <a:gd name="connsiteY216" fmla="*/ 2402 h 10000"/>
              <a:gd name="connsiteX217" fmla="*/ 9286 w 10000"/>
              <a:gd name="connsiteY217" fmla="*/ 2400 h 10000"/>
              <a:gd name="connsiteX218" fmla="*/ 9355 w 10000"/>
              <a:gd name="connsiteY218" fmla="*/ 2428 h 10000"/>
              <a:gd name="connsiteX219" fmla="*/ 9408 w 10000"/>
              <a:gd name="connsiteY219" fmla="*/ 2359 h 10000"/>
              <a:gd name="connsiteX220" fmla="*/ 9717 w 10000"/>
              <a:gd name="connsiteY220" fmla="*/ 2343 h 10000"/>
              <a:gd name="connsiteX221" fmla="*/ 9830 w 10000"/>
              <a:gd name="connsiteY221" fmla="*/ 2369 h 10000"/>
              <a:gd name="connsiteX222" fmla="*/ 9909 w 10000"/>
              <a:gd name="connsiteY222" fmla="*/ 2410 h 10000"/>
              <a:gd name="connsiteX223" fmla="*/ 9948 w 10000"/>
              <a:gd name="connsiteY223" fmla="*/ 2365 h 10000"/>
              <a:gd name="connsiteX224" fmla="*/ 10000 w 10000"/>
              <a:gd name="connsiteY224" fmla="*/ 2349 h 10000"/>
              <a:gd name="connsiteX225" fmla="*/ 9704 w 10000"/>
              <a:gd name="connsiteY225" fmla="*/ 1992 h 10000"/>
              <a:gd name="connsiteX226" fmla="*/ 9743 w 10000"/>
              <a:gd name="connsiteY226" fmla="*/ 1897 h 10000"/>
              <a:gd name="connsiteX227" fmla="*/ 9830 w 10000"/>
              <a:gd name="connsiteY227" fmla="*/ 1819 h 10000"/>
              <a:gd name="connsiteX228" fmla="*/ 9830 w 10000"/>
              <a:gd name="connsiteY228" fmla="*/ 1699 h 10000"/>
              <a:gd name="connsiteX229" fmla="*/ 9556 w 10000"/>
              <a:gd name="connsiteY229" fmla="*/ 1465 h 10000"/>
              <a:gd name="connsiteX230" fmla="*/ 9512 w 10000"/>
              <a:gd name="connsiteY230" fmla="*/ 1379 h 10000"/>
              <a:gd name="connsiteX231" fmla="*/ 9573 w 10000"/>
              <a:gd name="connsiteY231" fmla="*/ 1271 h 10000"/>
              <a:gd name="connsiteX232" fmla="*/ 9543 w 10000"/>
              <a:gd name="connsiteY232" fmla="*/ 1194 h 10000"/>
              <a:gd name="connsiteX233" fmla="*/ 9486 w 10000"/>
              <a:gd name="connsiteY233" fmla="*/ 1159 h 10000"/>
              <a:gd name="connsiteX234" fmla="*/ 9438 w 10000"/>
              <a:gd name="connsiteY234" fmla="*/ 978 h 10000"/>
              <a:gd name="connsiteX235" fmla="*/ 9495 w 10000"/>
              <a:gd name="connsiteY235" fmla="*/ 831 h 10000"/>
              <a:gd name="connsiteX236" fmla="*/ 9077 w 10000"/>
              <a:gd name="connsiteY236" fmla="*/ 517 h 10000"/>
              <a:gd name="connsiteX237" fmla="*/ 8872 w 10000"/>
              <a:gd name="connsiteY237" fmla="*/ 440 h 10000"/>
              <a:gd name="connsiteX238" fmla="*/ 8493 w 10000"/>
              <a:gd name="connsiteY238" fmla="*/ 389 h 10000"/>
              <a:gd name="connsiteX239" fmla="*/ 7709 w 10000"/>
              <a:gd name="connsiteY239" fmla="*/ 26 h 10000"/>
              <a:gd name="connsiteX240" fmla="*/ 7683 w 10000"/>
              <a:gd name="connsiteY240" fmla="*/ 2 h 10000"/>
              <a:gd name="connsiteX241" fmla="*/ 7417 w 10000"/>
              <a:gd name="connsiteY241" fmla="*/ 0 h 10000"/>
              <a:gd name="connsiteX242" fmla="*/ 7356 w 10000"/>
              <a:gd name="connsiteY242" fmla="*/ 14 h 10000"/>
              <a:gd name="connsiteX243" fmla="*/ 7369 w 10000"/>
              <a:gd name="connsiteY243" fmla="*/ 61 h 10000"/>
              <a:gd name="connsiteX244" fmla="*/ 7422 w 10000"/>
              <a:gd name="connsiteY244" fmla="*/ 86 h 10000"/>
              <a:gd name="connsiteX245" fmla="*/ 7435 w 10000"/>
              <a:gd name="connsiteY245" fmla="*/ 139 h 10000"/>
              <a:gd name="connsiteX246" fmla="*/ 7417 w 10000"/>
              <a:gd name="connsiteY246" fmla="*/ 181 h 10000"/>
              <a:gd name="connsiteX247" fmla="*/ 7369 w 10000"/>
              <a:gd name="connsiteY247" fmla="*/ 208 h 10000"/>
              <a:gd name="connsiteX248" fmla="*/ 7334 w 10000"/>
              <a:gd name="connsiteY248" fmla="*/ 283 h 10000"/>
              <a:gd name="connsiteX249" fmla="*/ 7269 w 10000"/>
              <a:gd name="connsiteY249" fmla="*/ 336 h 10000"/>
              <a:gd name="connsiteX250" fmla="*/ 7282 w 10000"/>
              <a:gd name="connsiteY250" fmla="*/ 387 h 10000"/>
              <a:gd name="connsiteX251" fmla="*/ 7382 w 10000"/>
              <a:gd name="connsiteY251" fmla="*/ 434 h 10000"/>
              <a:gd name="connsiteX252" fmla="*/ 7317 w 10000"/>
              <a:gd name="connsiteY252" fmla="*/ 475 h 10000"/>
              <a:gd name="connsiteX253" fmla="*/ 7221 w 10000"/>
              <a:gd name="connsiteY253" fmla="*/ 485 h 10000"/>
              <a:gd name="connsiteX254" fmla="*/ 6420 w 10000"/>
              <a:gd name="connsiteY254" fmla="*/ 387 h 10000"/>
              <a:gd name="connsiteX255" fmla="*/ 6324 w 10000"/>
              <a:gd name="connsiteY255" fmla="*/ 395 h 10000"/>
              <a:gd name="connsiteX256" fmla="*/ 6267 w 10000"/>
              <a:gd name="connsiteY256" fmla="*/ 414 h 10000"/>
              <a:gd name="connsiteX257" fmla="*/ 6211 w 10000"/>
              <a:gd name="connsiteY257" fmla="*/ 462 h 10000"/>
              <a:gd name="connsiteX258" fmla="*/ 6220 w 10000"/>
              <a:gd name="connsiteY258" fmla="*/ 581 h 10000"/>
              <a:gd name="connsiteX259" fmla="*/ 6132 w 10000"/>
              <a:gd name="connsiteY259" fmla="*/ 735 h 10000"/>
              <a:gd name="connsiteX260" fmla="*/ 6024 w 10000"/>
              <a:gd name="connsiteY260" fmla="*/ 815 h 10000"/>
              <a:gd name="connsiteX261" fmla="*/ 5980 w 10000"/>
              <a:gd name="connsiteY261" fmla="*/ 805 h 10000"/>
              <a:gd name="connsiteX262" fmla="*/ 5880 w 10000"/>
              <a:gd name="connsiteY262" fmla="*/ 739 h 10000"/>
              <a:gd name="connsiteX263" fmla="*/ 5753 w 10000"/>
              <a:gd name="connsiteY263" fmla="*/ 705 h 10000"/>
              <a:gd name="connsiteX264" fmla="*/ 5618 w 10000"/>
              <a:gd name="connsiteY264" fmla="*/ 715 h 10000"/>
              <a:gd name="connsiteX265" fmla="*/ 5301 w 10000"/>
              <a:gd name="connsiteY265" fmla="*/ 866 h 10000"/>
              <a:gd name="connsiteX266" fmla="*/ 5218 w 10000"/>
              <a:gd name="connsiteY266" fmla="*/ 1017 h 10000"/>
              <a:gd name="connsiteX267" fmla="*/ 4978 w 10000"/>
              <a:gd name="connsiteY267" fmla="*/ 1153 h 10000"/>
              <a:gd name="connsiteX268" fmla="*/ 4935 w 10000"/>
              <a:gd name="connsiteY268" fmla="*/ 1222 h 10000"/>
              <a:gd name="connsiteX269" fmla="*/ 5061 w 10000"/>
              <a:gd name="connsiteY269" fmla="*/ 1344 h 10000"/>
              <a:gd name="connsiteX270" fmla="*/ 5074 w 10000"/>
              <a:gd name="connsiteY270" fmla="*/ 1412 h 10000"/>
              <a:gd name="connsiteX271" fmla="*/ 4421 w 10000"/>
              <a:gd name="connsiteY271" fmla="*/ 1813 h 10000"/>
              <a:gd name="connsiteX272" fmla="*/ 4220 w 10000"/>
              <a:gd name="connsiteY272" fmla="*/ 2070 h 10000"/>
              <a:gd name="connsiteX273" fmla="*/ 4003 w 10000"/>
              <a:gd name="connsiteY273" fmla="*/ 2135 h 10000"/>
              <a:gd name="connsiteX274" fmla="*/ 3868 w 10000"/>
              <a:gd name="connsiteY274" fmla="*/ 2131 h 10000"/>
              <a:gd name="connsiteX275" fmla="*/ 3785 w 10000"/>
              <a:gd name="connsiteY275" fmla="*/ 2153 h 10000"/>
              <a:gd name="connsiteX276" fmla="*/ 3558 w 10000"/>
              <a:gd name="connsiteY276" fmla="*/ 2793 h 10000"/>
              <a:gd name="connsiteX277" fmla="*/ 3036 w 10000"/>
              <a:gd name="connsiteY277" fmla="*/ 3166 h 10000"/>
              <a:gd name="connsiteX278" fmla="*/ 3040 w 10000"/>
              <a:gd name="connsiteY278" fmla="*/ 3225 h 10000"/>
              <a:gd name="connsiteX279" fmla="*/ 3271 w 10000"/>
              <a:gd name="connsiteY279" fmla="*/ 3392 h 10000"/>
              <a:gd name="connsiteX280" fmla="*/ 3197 w 10000"/>
              <a:gd name="connsiteY280" fmla="*/ 3573 h 10000"/>
              <a:gd name="connsiteX281" fmla="*/ 3062 w 10000"/>
              <a:gd name="connsiteY281" fmla="*/ 3640 h 10000"/>
              <a:gd name="connsiteX282" fmla="*/ 2657 w 10000"/>
              <a:gd name="connsiteY282" fmla="*/ 3595 h 10000"/>
              <a:gd name="connsiteX283" fmla="*/ 2378 w 10000"/>
              <a:gd name="connsiteY283" fmla="*/ 3620 h 10000"/>
              <a:gd name="connsiteX284" fmla="*/ 2152 w 10000"/>
              <a:gd name="connsiteY284" fmla="*/ 3673 h 10000"/>
              <a:gd name="connsiteX285" fmla="*/ 1790 w 10000"/>
              <a:gd name="connsiteY285" fmla="*/ 3840 h 10000"/>
              <a:gd name="connsiteX286" fmla="*/ 1598 w 10000"/>
              <a:gd name="connsiteY286" fmla="*/ 4042 h 10000"/>
              <a:gd name="connsiteX287" fmla="*/ 1616 w 10000"/>
              <a:gd name="connsiteY287" fmla="*/ 4154 h 10000"/>
              <a:gd name="connsiteX288" fmla="*/ 1681 w 10000"/>
              <a:gd name="connsiteY288" fmla="*/ 4241 h 10000"/>
              <a:gd name="connsiteX289" fmla="*/ 1733 w 10000"/>
              <a:gd name="connsiteY289" fmla="*/ 4276 h 10000"/>
              <a:gd name="connsiteX290" fmla="*/ 1638 w 10000"/>
              <a:gd name="connsiteY290" fmla="*/ 4331 h 10000"/>
              <a:gd name="connsiteX291" fmla="*/ 1433 w 10000"/>
              <a:gd name="connsiteY291" fmla="*/ 4710 h 10000"/>
              <a:gd name="connsiteX292" fmla="*/ 1472 w 10000"/>
              <a:gd name="connsiteY292" fmla="*/ 4732 h 10000"/>
              <a:gd name="connsiteX293" fmla="*/ 1503 w 10000"/>
              <a:gd name="connsiteY293" fmla="*/ 4828 h 10000"/>
              <a:gd name="connsiteX294" fmla="*/ 1407 w 10000"/>
              <a:gd name="connsiteY294" fmla="*/ 5227 h 10000"/>
              <a:gd name="connsiteX295" fmla="*/ 1503 w 10000"/>
              <a:gd name="connsiteY295" fmla="*/ 5329 h 10000"/>
              <a:gd name="connsiteX296" fmla="*/ 1764 w 10000"/>
              <a:gd name="connsiteY296" fmla="*/ 5441 h 10000"/>
              <a:gd name="connsiteX297" fmla="*/ 1777 w 10000"/>
              <a:gd name="connsiteY297" fmla="*/ 5578 h 10000"/>
              <a:gd name="connsiteX298" fmla="*/ 1664 w 10000"/>
              <a:gd name="connsiteY298" fmla="*/ 5690 h 10000"/>
              <a:gd name="connsiteX299" fmla="*/ 1503 w 10000"/>
              <a:gd name="connsiteY299" fmla="*/ 5759 h 10000"/>
              <a:gd name="connsiteX300" fmla="*/ 1289 w 10000"/>
              <a:gd name="connsiteY300" fmla="*/ 5787 h 10000"/>
              <a:gd name="connsiteX301" fmla="*/ 1233 w 10000"/>
              <a:gd name="connsiteY301" fmla="*/ 5826 h 10000"/>
              <a:gd name="connsiteX302" fmla="*/ 1359 w 10000"/>
              <a:gd name="connsiteY302" fmla="*/ 5920 h 10000"/>
              <a:gd name="connsiteX303" fmla="*/ 1429 w 10000"/>
              <a:gd name="connsiteY303" fmla="*/ 6142 h 10000"/>
              <a:gd name="connsiteX304" fmla="*/ 1267 w 10000"/>
              <a:gd name="connsiteY304" fmla="*/ 6333 h 10000"/>
              <a:gd name="connsiteX305" fmla="*/ 1324 w 10000"/>
              <a:gd name="connsiteY305" fmla="*/ 6392 h 10000"/>
              <a:gd name="connsiteX306" fmla="*/ 1272 w 10000"/>
              <a:gd name="connsiteY306" fmla="*/ 6492 h 10000"/>
              <a:gd name="connsiteX307" fmla="*/ 1167 w 10000"/>
              <a:gd name="connsiteY307" fmla="*/ 6561 h 10000"/>
              <a:gd name="connsiteX308" fmla="*/ 758 w 10000"/>
              <a:gd name="connsiteY308" fmla="*/ 6614 h 10000"/>
              <a:gd name="connsiteX309" fmla="*/ 732 w 10000"/>
              <a:gd name="connsiteY309" fmla="*/ 6706 h 10000"/>
              <a:gd name="connsiteX310" fmla="*/ 510 w 10000"/>
              <a:gd name="connsiteY310" fmla="*/ 6843 h 10000"/>
              <a:gd name="connsiteX311" fmla="*/ 540 w 10000"/>
              <a:gd name="connsiteY311" fmla="*/ 7040 h 10000"/>
              <a:gd name="connsiteX312" fmla="*/ 353 w 10000"/>
              <a:gd name="connsiteY312" fmla="*/ 7293 h 10000"/>
              <a:gd name="connsiteX313" fmla="*/ 226 w 10000"/>
              <a:gd name="connsiteY313" fmla="*/ 7323 h 10000"/>
              <a:gd name="connsiteX314" fmla="*/ 174 w 10000"/>
              <a:gd name="connsiteY314" fmla="*/ 7262 h 10000"/>
              <a:gd name="connsiteX315" fmla="*/ 109 w 10000"/>
              <a:gd name="connsiteY315" fmla="*/ 7354 h 10000"/>
              <a:gd name="connsiteX316" fmla="*/ 152 w 10000"/>
              <a:gd name="connsiteY316" fmla="*/ 7197 h 10000"/>
              <a:gd name="connsiteX317" fmla="*/ 126 w 10000"/>
              <a:gd name="connsiteY31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8994 w 10000"/>
              <a:gd name="connsiteY211" fmla="*/ 2389 h 10000"/>
              <a:gd name="connsiteX212" fmla="*/ 9051 w 10000"/>
              <a:gd name="connsiteY212" fmla="*/ 2400 h 10000"/>
              <a:gd name="connsiteX213" fmla="*/ 9094 w 10000"/>
              <a:gd name="connsiteY213" fmla="*/ 2324 h 10000"/>
              <a:gd name="connsiteX214" fmla="*/ 9164 w 10000"/>
              <a:gd name="connsiteY214" fmla="*/ 2347 h 10000"/>
              <a:gd name="connsiteX215" fmla="*/ 9247 w 10000"/>
              <a:gd name="connsiteY215" fmla="*/ 2402 h 10000"/>
              <a:gd name="connsiteX216" fmla="*/ 9286 w 10000"/>
              <a:gd name="connsiteY216" fmla="*/ 2400 h 10000"/>
              <a:gd name="connsiteX217" fmla="*/ 9355 w 10000"/>
              <a:gd name="connsiteY217" fmla="*/ 2428 h 10000"/>
              <a:gd name="connsiteX218" fmla="*/ 9408 w 10000"/>
              <a:gd name="connsiteY218" fmla="*/ 2359 h 10000"/>
              <a:gd name="connsiteX219" fmla="*/ 9717 w 10000"/>
              <a:gd name="connsiteY219" fmla="*/ 2343 h 10000"/>
              <a:gd name="connsiteX220" fmla="*/ 9830 w 10000"/>
              <a:gd name="connsiteY220" fmla="*/ 2369 h 10000"/>
              <a:gd name="connsiteX221" fmla="*/ 9909 w 10000"/>
              <a:gd name="connsiteY221" fmla="*/ 2410 h 10000"/>
              <a:gd name="connsiteX222" fmla="*/ 9948 w 10000"/>
              <a:gd name="connsiteY222" fmla="*/ 2365 h 10000"/>
              <a:gd name="connsiteX223" fmla="*/ 10000 w 10000"/>
              <a:gd name="connsiteY223" fmla="*/ 2349 h 10000"/>
              <a:gd name="connsiteX224" fmla="*/ 9704 w 10000"/>
              <a:gd name="connsiteY224" fmla="*/ 1992 h 10000"/>
              <a:gd name="connsiteX225" fmla="*/ 9743 w 10000"/>
              <a:gd name="connsiteY225" fmla="*/ 1897 h 10000"/>
              <a:gd name="connsiteX226" fmla="*/ 9830 w 10000"/>
              <a:gd name="connsiteY226" fmla="*/ 1819 h 10000"/>
              <a:gd name="connsiteX227" fmla="*/ 9830 w 10000"/>
              <a:gd name="connsiteY227" fmla="*/ 1699 h 10000"/>
              <a:gd name="connsiteX228" fmla="*/ 9556 w 10000"/>
              <a:gd name="connsiteY228" fmla="*/ 1465 h 10000"/>
              <a:gd name="connsiteX229" fmla="*/ 9512 w 10000"/>
              <a:gd name="connsiteY229" fmla="*/ 1379 h 10000"/>
              <a:gd name="connsiteX230" fmla="*/ 9573 w 10000"/>
              <a:gd name="connsiteY230" fmla="*/ 1271 h 10000"/>
              <a:gd name="connsiteX231" fmla="*/ 9543 w 10000"/>
              <a:gd name="connsiteY231" fmla="*/ 1194 h 10000"/>
              <a:gd name="connsiteX232" fmla="*/ 9486 w 10000"/>
              <a:gd name="connsiteY232" fmla="*/ 1159 h 10000"/>
              <a:gd name="connsiteX233" fmla="*/ 9438 w 10000"/>
              <a:gd name="connsiteY233" fmla="*/ 978 h 10000"/>
              <a:gd name="connsiteX234" fmla="*/ 9495 w 10000"/>
              <a:gd name="connsiteY234" fmla="*/ 831 h 10000"/>
              <a:gd name="connsiteX235" fmla="*/ 9077 w 10000"/>
              <a:gd name="connsiteY235" fmla="*/ 517 h 10000"/>
              <a:gd name="connsiteX236" fmla="*/ 8872 w 10000"/>
              <a:gd name="connsiteY236" fmla="*/ 440 h 10000"/>
              <a:gd name="connsiteX237" fmla="*/ 8493 w 10000"/>
              <a:gd name="connsiteY237" fmla="*/ 389 h 10000"/>
              <a:gd name="connsiteX238" fmla="*/ 7709 w 10000"/>
              <a:gd name="connsiteY238" fmla="*/ 26 h 10000"/>
              <a:gd name="connsiteX239" fmla="*/ 7683 w 10000"/>
              <a:gd name="connsiteY239" fmla="*/ 2 h 10000"/>
              <a:gd name="connsiteX240" fmla="*/ 7417 w 10000"/>
              <a:gd name="connsiteY240" fmla="*/ 0 h 10000"/>
              <a:gd name="connsiteX241" fmla="*/ 7356 w 10000"/>
              <a:gd name="connsiteY241" fmla="*/ 14 h 10000"/>
              <a:gd name="connsiteX242" fmla="*/ 7369 w 10000"/>
              <a:gd name="connsiteY242" fmla="*/ 61 h 10000"/>
              <a:gd name="connsiteX243" fmla="*/ 7422 w 10000"/>
              <a:gd name="connsiteY243" fmla="*/ 86 h 10000"/>
              <a:gd name="connsiteX244" fmla="*/ 7435 w 10000"/>
              <a:gd name="connsiteY244" fmla="*/ 139 h 10000"/>
              <a:gd name="connsiteX245" fmla="*/ 7417 w 10000"/>
              <a:gd name="connsiteY245" fmla="*/ 181 h 10000"/>
              <a:gd name="connsiteX246" fmla="*/ 7369 w 10000"/>
              <a:gd name="connsiteY246" fmla="*/ 208 h 10000"/>
              <a:gd name="connsiteX247" fmla="*/ 7334 w 10000"/>
              <a:gd name="connsiteY247" fmla="*/ 283 h 10000"/>
              <a:gd name="connsiteX248" fmla="*/ 7269 w 10000"/>
              <a:gd name="connsiteY248" fmla="*/ 336 h 10000"/>
              <a:gd name="connsiteX249" fmla="*/ 7282 w 10000"/>
              <a:gd name="connsiteY249" fmla="*/ 387 h 10000"/>
              <a:gd name="connsiteX250" fmla="*/ 7382 w 10000"/>
              <a:gd name="connsiteY250" fmla="*/ 434 h 10000"/>
              <a:gd name="connsiteX251" fmla="*/ 7317 w 10000"/>
              <a:gd name="connsiteY251" fmla="*/ 475 h 10000"/>
              <a:gd name="connsiteX252" fmla="*/ 7221 w 10000"/>
              <a:gd name="connsiteY252" fmla="*/ 485 h 10000"/>
              <a:gd name="connsiteX253" fmla="*/ 6420 w 10000"/>
              <a:gd name="connsiteY253" fmla="*/ 387 h 10000"/>
              <a:gd name="connsiteX254" fmla="*/ 6324 w 10000"/>
              <a:gd name="connsiteY254" fmla="*/ 395 h 10000"/>
              <a:gd name="connsiteX255" fmla="*/ 6267 w 10000"/>
              <a:gd name="connsiteY255" fmla="*/ 414 h 10000"/>
              <a:gd name="connsiteX256" fmla="*/ 6211 w 10000"/>
              <a:gd name="connsiteY256" fmla="*/ 462 h 10000"/>
              <a:gd name="connsiteX257" fmla="*/ 6220 w 10000"/>
              <a:gd name="connsiteY257" fmla="*/ 581 h 10000"/>
              <a:gd name="connsiteX258" fmla="*/ 6132 w 10000"/>
              <a:gd name="connsiteY258" fmla="*/ 735 h 10000"/>
              <a:gd name="connsiteX259" fmla="*/ 6024 w 10000"/>
              <a:gd name="connsiteY259" fmla="*/ 815 h 10000"/>
              <a:gd name="connsiteX260" fmla="*/ 5980 w 10000"/>
              <a:gd name="connsiteY260" fmla="*/ 805 h 10000"/>
              <a:gd name="connsiteX261" fmla="*/ 5880 w 10000"/>
              <a:gd name="connsiteY261" fmla="*/ 739 h 10000"/>
              <a:gd name="connsiteX262" fmla="*/ 5753 w 10000"/>
              <a:gd name="connsiteY262" fmla="*/ 705 h 10000"/>
              <a:gd name="connsiteX263" fmla="*/ 5618 w 10000"/>
              <a:gd name="connsiteY263" fmla="*/ 715 h 10000"/>
              <a:gd name="connsiteX264" fmla="*/ 5301 w 10000"/>
              <a:gd name="connsiteY264" fmla="*/ 866 h 10000"/>
              <a:gd name="connsiteX265" fmla="*/ 5218 w 10000"/>
              <a:gd name="connsiteY265" fmla="*/ 1017 h 10000"/>
              <a:gd name="connsiteX266" fmla="*/ 4978 w 10000"/>
              <a:gd name="connsiteY266" fmla="*/ 1153 h 10000"/>
              <a:gd name="connsiteX267" fmla="*/ 4935 w 10000"/>
              <a:gd name="connsiteY267" fmla="*/ 1222 h 10000"/>
              <a:gd name="connsiteX268" fmla="*/ 5061 w 10000"/>
              <a:gd name="connsiteY268" fmla="*/ 1344 h 10000"/>
              <a:gd name="connsiteX269" fmla="*/ 5074 w 10000"/>
              <a:gd name="connsiteY269" fmla="*/ 1412 h 10000"/>
              <a:gd name="connsiteX270" fmla="*/ 4421 w 10000"/>
              <a:gd name="connsiteY270" fmla="*/ 1813 h 10000"/>
              <a:gd name="connsiteX271" fmla="*/ 4220 w 10000"/>
              <a:gd name="connsiteY271" fmla="*/ 2070 h 10000"/>
              <a:gd name="connsiteX272" fmla="*/ 4003 w 10000"/>
              <a:gd name="connsiteY272" fmla="*/ 2135 h 10000"/>
              <a:gd name="connsiteX273" fmla="*/ 3868 w 10000"/>
              <a:gd name="connsiteY273" fmla="*/ 2131 h 10000"/>
              <a:gd name="connsiteX274" fmla="*/ 3785 w 10000"/>
              <a:gd name="connsiteY274" fmla="*/ 2153 h 10000"/>
              <a:gd name="connsiteX275" fmla="*/ 3558 w 10000"/>
              <a:gd name="connsiteY275" fmla="*/ 2793 h 10000"/>
              <a:gd name="connsiteX276" fmla="*/ 3036 w 10000"/>
              <a:gd name="connsiteY276" fmla="*/ 3166 h 10000"/>
              <a:gd name="connsiteX277" fmla="*/ 3040 w 10000"/>
              <a:gd name="connsiteY277" fmla="*/ 3225 h 10000"/>
              <a:gd name="connsiteX278" fmla="*/ 3271 w 10000"/>
              <a:gd name="connsiteY278" fmla="*/ 3392 h 10000"/>
              <a:gd name="connsiteX279" fmla="*/ 3197 w 10000"/>
              <a:gd name="connsiteY279" fmla="*/ 3573 h 10000"/>
              <a:gd name="connsiteX280" fmla="*/ 3062 w 10000"/>
              <a:gd name="connsiteY280" fmla="*/ 3640 h 10000"/>
              <a:gd name="connsiteX281" fmla="*/ 2657 w 10000"/>
              <a:gd name="connsiteY281" fmla="*/ 3595 h 10000"/>
              <a:gd name="connsiteX282" fmla="*/ 2378 w 10000"/>
              <a:gd name="connsiteY282" fmla="*/ 3620 h 10000"/>
              <a:gd name="connsiteX283" fmla="*/ 2152 w 10000"/>
              <a:gd name="connsiteY283" fmla="*/ 3673 h 10000"/>
              <a:gd name="connsiteX284" fmla="*/ 1790 w 10000"/>
              <a:gd name="connsiteY284" fmla="*/ 3840 h 10000"/>
              <a:gd name="connsiteX285" fmla="*/ 1598 w 10000"/>
              <a:gd name="connsiteY285" fmla="*/ 4042 h 10000"/>
              <a:gd name="connsiteX286" fmla="*/ 1616 w 10000"/>
              <a:gd name="connsiteY286" fmla="*/ 4154 h 10000"/>
              <a:gd name="connsiteX287" fmla="*/ 1681 w 10000"/>
              <a:gd name="connsiteY287" fmla="*/ 4241 h 10000"/>
              <a:gd name="connsiteX288" fmla="*/ 1733 w 10000"/>
              <a:gd name="connsiteY288" fmla="*/ 4276 h 10000"/>
              <a:gd name="connsiteX289" fmla="*/ 1638 w 10000"/>
              <a:gd name="connsiteY289" fmla="*/ 4331 h 10000"/>
              <a:gd name="connsiteX290" fmla="*/ 1433 w 10000"/>
              <a:gd name="connsiteY290" fmla="*/ 4710 h 10000"/>
              <a:gd name="connsiteX291" fmla="*/ 1472 w 10000"/>
              <a:gd name="connsiteY291" fmla="*/ 4732 h 10000"/>
              <a:gd name="connsiteX292" fmla="*/ 1503 w 10000"/>
              <a:gd name="connsiteY292" fmla="*/ 4828 h 10000"/>
              <a:gd name="connsiteX293" fmla="*/ 1407 w 10000"/>
              <a:gd name="connsiteY293" fmla="*/ 5227 h 10000"/>
              <a:gd name="connsiteX294" fmla="*/ 1503 w 10000"/>
              <a:gd name="connsiteY294" fmla="*/ 5329 h 10000"/>
              <a:gd name="connsiteX295" fmla="*/ 1764 w 10000"/>
              <a:gd name="connsiteY295" fmla="*/ 5441 h 10000"/>
              <a:gd name="connsiteX296" fmla="*/ 1777 w 10000"/>
              <a:gd name="connsiteY296" fmla="*/ 5578 h 10000"/>
              <a:gd name="connsiteX297" fmla="*/ 1664 w 10000"/>
              <a:gd name="connsiteY297" fmla="*/ 5690 h 10000"/>
              <a:gd name="connsiteX298" fmla="*/ 1503 w 10000"/>
              <a:gd name="connsiteY298" fmla="*/ 5759 h 10000"/>
              <a:gd name="connsiteX299" fmla="*/ 1289 w 10000"/>
              <a:gd name="connsiteY299" fmla="*/ 5787 h 10000"/>
              <a:gd name="connsiteX300" fmla="*/ 1233 w 10000"/>
              <a:gd name="connsiteY300" fmla="*/ 5826 h 10000"/>
              <a:gd name="connsiteX301" fmla="*/ 1359 w 10000"/>
              <a:gd name="connsiteY301" fmla="*/ 5920 h 10000"/>
              <a:gd name="connsiteX302" fmla="*/ 1429 w 10000"/>
              <a:gd name="connsiteY302" fmla="*/ 6142 h 10000"/>
              <a:gd name="connsiteX303" fmla="*/ 1267 w 10000"/>
              <a:gd name="connsiteY303" fmla="*/ 6333 h 10000"/>
              <a:gd name="connsiteX304" fmla="*/ 1324 w 10000"/>
              <a:gd name="connsiteY304" fmla="*/ 6392 h 10000"/>
              <a:gd name="connsiteX305" fmla="*/ 1272 w 10000"/>
              <a:gd name="connsiteY305" fmla="*/ 6492 h 10000"/>
              <a:gd name="connsiteX306" fmla="*/ 1167 w 10000"/>
              <a:gd name="connsiteY306" fmla="*/ 6561 h 10000"/>
              <a:gd name="connsiteX307" fmla="*/ 758 w 10000"/>
              <a:gd name="connsiteY307" fmla="*/ 6614 h 10000"/>
              <a:gd name="connsiteX308" fmla="*/ 732 w 10000"/>
              <a:gd name="connsiteY308" fmla="*/ 6706 h 10000"/>
              <a:gd name="connsiteX309" fmla="*/ 510 w 10000"/>
              <a:gd name="connsiteY309" fmla="*/ 6843 h 10000"/>
              <a:gd name="connsiteX310" fmla="*/ 540 w 10000"/>
              <a:gd name="connsiteY310" fmla="*/ 7040 h 10000"/>
              <a:gd name="connsiteX311" fmla="*/ 353 w 10000"/>
              <a:gd name="connsiteY311" fmla="*/ 7293 h 10000"/>
              <a:gd name="connsiteX312" fmla="*/ 226 w 10000"/>
              <a:gd name="connsiteY312" fmla="*/ 7323 h 10000"/>
              <a:gd name="connsiteX313" fmla="*/ 174 w 10000"/>
              <a:gd name="connsiteY313" fmla="*/ 7262 h 10000"/>
              <a:gd name="connsiteX314" fmla="*/ 109 w 10000"/>
              <a:gd name="connsiteY314" fmla="*/ 7354 h 10000"/>
              <a:gd name="connsiteX315" fmla="*/ 152 w 10000"/>
              <a:gd name="connsiteY315" fmla="*/ 7197 h 10000"/>
              <a:gd name="connsiteX316" fmla="*/ 126 w 10000"/>
              <a:gd name="connsiteY31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51 w 10000"/>
              <a:gd name="connsiteY211" fmla="*/ 2400 h 10000"/>
              <a:gd name="connsiteX212" fmla="*/ 9094 w 10000"/>
              <a:gd name="connsiteY212" fmla="*/ 2324 h 10000"/>
              <a:gd name="connsiteX213" fmla="*/ 9164 w 10000"/>
              <a:gd name="connsiteY213" fmla="*/ 2347 h 10000"/>
              <a:gd name="connsiteX214" fmla="*/ 9247 w 10000"/>
              <a:gd name="connsiteY214" fmla="*/ 2402 h 10000"/>
              <a:gd name="connsiteX215" fmla="*/ 9286 w 10000"/>
              <a:gd name="connsiteY215" fmla="*/ 2400 h 10000"/>
              <a:gd name="connsiteX216" fmla="*/ 9355 w 10000"/>
              <a:gd name="connsiteY216" fmla="*/ 2428 h 10000"/>
              <a:gd name="connsiteX217" fmla="*/ 9408 w 10000"/>
              <a:gd name="connsiteY217" fmla="*/ 2359 h 10000"/>
              <a:gd name="connsiteX218" fmla="*/ 9717 w 10000"/>
              <a:gd name="connsiteY218" fmla="*/ 2343 h 10000"/>
              <a:gd name="connsiteX219" fmla="*/ 9830 w 10000"/>
              <a:gd name="connsiteY219" fmla="*/ 2369 h 10000"/>
              <a:gd name="connsiteX220" fmla="*/ 9909 w 10000"/>
              <a:gd name="connsiteY220" fmla="*/ 2410 h 10000"/>
              <a:gd name="connsiteX221" fmla="*/ 9948 w 10000"/>
              <a:gd name="connsiteY221" fmla="*/ 2365 h 10000"/>
              <a:gd name="connsiteX222" fmla="*/ 10000 w 10000"/>
              <a:gd name="connsiteY222" fmla="*/ 2349 h 10000"/>
              <a:gd name="connsiteX223" fmla="*/ 9704 w 10000"/>
              <a:gd name="connsiteY223" fmla="*/ 1992 h 10000"/>
              <a:gd name="connsiteX224" fmla="*/ 9743 w 10000"/>
              <a:gd name="connsiteY224" fmla="*/ 1897 h 10000"/>
              <a:gd name="connsiteX225" fmla="*/ 9830 w 10000"/>
              <a:gd name="connsiteY225" fmla="*/ 1819 h 10000"/>
              <a:gd name="connsiteX226" fmla="*/ 9830 w 10000"/>
              <a:gd name="connsiteY226" fmla="*/ 1699 h 10000"/>
              <a:gd name="connsiteX227" fmla="*/ 9556 w 10000"/>
              <a:gd name="connsiteY227" fmla="*/ 1465 h 10000"/>
              <a:gd name="connsiteX228" fmla="*/ 9512 w 10000"/>
              <a:gd name="connsiteY228" fmla="*/ 1379 h 10000"/>
              <a:gd name="connsiteX229" fmla="*/ 9573 w 10000"/>
              <a:gd name="connsiteY229" fmla="*/ 1271 h 10000"/>
              <a:gd name="connsiteX230" fmla="*/ 9543 w 10000"/>
              <a:gd name="connsiteY230" fmla="*/ 1194 h 10000"/>
              <a:gd name="connsiteX231" fmla="*/ 9486 w 10000"/>
              <a:gd name="connsiteY231" fmla="*/ 1159 h 10000"/>
              <a:gd name="connsiteX232" fmla="*/ 9438 w 10000"/>
              <a:gd name="connsiteY232" fmla="*/ 978 h 10000"/>
              <a:gd name="connsiteX233" fmla="*/ 9495 w 10000"/>
              <a:gd name="connsiteY233" fmla="*/ 831 h 10000"/>
              <a:gd name="connsiteX234" fmla="*/ 9077 w 10000"/>
              <a:gd name="connsiteY234" fmla="*/ 517 h 10000"/>
              <a:gd name="connsiteX235" fmla="*/ 8872 w 10000"/>
              <a:gd name="connsiteY235" fmla="*/ 440 h 10000"/>
              <a:gd name="connsiteX236" fmla="*/ 8493 w 10000"/>
              <a:gd name="connsiteY236" fmla="*/ 389 h 10000"/>
              <a:gd name="connsiteX237" fmla="*/ 7709 w 10000"/>
              <a:gd name="connsiteY237" fmla="*/ 26 h 10000"/>
              <a:gd name="connsiteX238" fmla="*/ 7683 w 10000"/>
              <a:gd name="connsiteY238" fmla="*/ 2 h 10000"/>
              <a:gd name="connsiteX239" fmla="*/ 7417 w 10000"/>
              <a:gd name="connsiteY239" fmla="*/ 0 h 10000"/>
              <a:gd name="connsiteX240" fmla="*/ 7356 w 10000"/>
              <a:gd name="connsiteY240" fmla="*/ 14 h 10000"/>
              <a:gd name="connsiteX241" fmla="*/ 7369 w 10000"/>
              <a:gd name="connsiteY241" fmla="*/ 61 h 10000"/>
              <a:gd name="connsiteX242" fmla="*/ 7422 w 10000"/>
              <a:gd name="connsiteY242" fmla="*/ 86 h 10000"/>
              <a:gd name="connsiteX243" fmla="*/ 7435 w 10000"/>
              <a:gd name="connsiteY243" fmla="*/ 139 h 10000"/>
              <a:gd name="connsiteX244" fmla="*/ 7417 w 10000"/>
              <a:gd name="connsiteY244" fmla="*/ 181 h 10000"/>
              <a:gd name="connsiteX245" fmla="*/ 7369 w 10000"/>
              <a:gd name="connsiteY245" fmla="*/ 208 h 10000"/>
              <a:gd name="connsiteX246" fmla="*/ 7334 w 10000"/>
              <a:gd name="connsiteY246" fmla="*/ 283 h 10000"/>
              <a:gd name="connsiteX247" fmla="*/ 7269 w 10000"/>
              <a:gd name="connsiteY247" fmla="*/ 336 h 10000"/>
              <a:gd name="connsiteX248" fmla="*/ 7282 w 10000"/>
              <a:gd name="connsiteY248" fmla="*/ 387 h 10000"/>
              <a:gd name="connsiteX249" fmla="*/ 7382 w 10000"/>
              <a:gd name="connsiteY249" fmla="*/ 434 h 10000"/>
              <a:gd name="connsiteX250" fmla="*/ 7317 w 10000"/>
              <a:gd name="connsiteY250" fmla="*/ 475 h 10000"/>
              <a:gd name="connsiteX251" fmla="*/ 7221 w 10000"/>
              <a:gd name="connsiteY251" fmla="*/ 485 h 10000"/>
              <a:gd name="connsiteX252" fmla="*/ 6420 w 10000"/>
              <a:gd name="connsiteY252" fmla="*/ 387 h 10000"/>
              <a:gd name="connsiteX253" fmla="*/ 6324 w 10000"/>
              <a:gd name="connsiteY253" fmla="*/ 395 h 10000"/>
              <a:gd name="connsiteX254" fmla="*/ 6267 w 10000"/>
              <a:gd name="connsiteY254" fmla="*/ 414 h 10000"/>
              <a:gd name="connsiteX255" fmla="*/ 6211 w 10000"/>
              <a:gd name="connsiteY255" fmla="*/ 462 h 10000"/>
              <a:gd name="connsiteX256" fmla="*/ 6220 w 10000"/>
              <a:gd name="connsiteY256" fmla="*/ 581 h 10000"/>
              <a:gd name="connsiteX257" fmla="*/ 6132 w 10000"/>
              <a:gd name="connsiteY257" fmla="*/ 735 h 10000"/>
              <a:gd name="connsiteX258" fmla="*/ 6024 w 10000"/>
              <a:gd name="connsiteY258" fmla="*/ 815 h 10000"/>
              <a:gd name="connsiteX259" fmla="*/ 5980 w 10000"/>
              <a:gd name="connsiteY259" fmla="*/ 805 h 10000"/>
              <a:gd name="connsiteX260" fmla="*/ 5880 w 10000"/>
              <a:gd name="connsiteY260" fmla="*/ 739 h 10000"/>
              <a:gd name="connsiteX261" fmla="*/ 5753 w 10000"/>
              <a:gd name="connsiteY261" fmla="*/ 705 h 10000"/>
              <a:gd name="connsiteX262" fmla="*/ 5618 w 10000"/>
              <a:gd name="connsiteY262" fmla="*/ 715 h 10000"/>
              <a:gd name="connsiteX263" fmla="*/ 5301 w 10000"/>
              <a:gd name="connsiteY263" fmla="*/ 866 h 10000"/>
              <a:gd name="connsiteX264" fmla="*/ 5218 w 10000"/>
              <a:gd name="connsiteY264" fmla="*/ 1017 h 10000"/>
              <a:gd name="connsiteX265" fmla="*/ 4978 w 10000"/>
              <a:gd name="connsiteY265" fmla="*/ 1153 h 10000"/>
              <a:gd name="connsiteX266" fmla="*/ 4935 w 10000"/>
              <a:gd name="connsiteY266" fmla="*/ 1222 h 10000"/>
              <a:gd name="connsiteX267" fmla="*/ 5061 w 10000"/>
              <a:gd name="connsiteY267" fmla="*/ 1344 h 10000"/>
              <a:gd name="connsiteX268" fmla="*/ 5074 w 10000"/>
              <a:gd name="connsiteY268" fmla="*/ 1412 h 10000"/>
              <a:gd name="connsiteX269" fmla="*/ 4421 w 10000"/>
              <a:gd name="connsiteY269" fmla="*/ 1813 h 10000"/>
              <a:gd name="connsiteX270" fmla="*/ 4220 w 10000"/>
              <a:gd name="connsiteY270" fmla="*/ 2070 h 10000"/>
              <a:gd name="connsiteX271" fmla="*/ 4003 w 10000"/>
              <a:gd name="connsiteY271" fmla="*/ 2135 h 10000"/>
              <a:gd name="connsiteX272" fmla="*/ 3868 w 10000"/>
              <a:gd name="connsiteY272" fmla="*/ 2131 h 10000"/>
              <a:gd name="connsiteX273" fmla="*/ 3785 w 10000"/>
              <a:gd name="connsiteY273" fmla="*/ 2153 h 10000"/>
              <a:gd name="connsiteX274" fmla="*/ 3558 w 10000"/>
              <a:gd name="connsiteY274" fmla="*/ 2793 h 10000"/>
              <a:gd name="connsiteX275" fmla="*/ 3036 w 10000"/>
              <a:gd name="connsiteY275" fmla="*/ 3166 h 10000"/>
              <a:gd name="connsiteX276" fmla="*/ 3040 w 10000"/>
              <a:gd name="connsiteY276" fmla="*/ 3225 h 10000"/>
              <a:gd name="connsiteX277" fmla="*/ 3271 w 10000"/>
              <a:gd name="connsiteY277" fmla="*/ 3392 h 10000"/>
              <a:gd name="connsiteX278" fmla="*/ 3197 w 10000"/>
              <a:gd name="connsiteY278" fmla="*/ 3573 h 10000"/>
              <a:gd name="connsiteX279" fmla="*/ 3062 w 10000"/>
              <a:gd name="connsiteY279" fmla="*/ 3640 h 10000"/>
              <a:gd name="connsiteX280" fmla="*/ 2657 w 10000"/>
              <a:gd name="connsiteY280" fmla="*/ 3595 h 10000"/>
              <a:gd name="connsiteX281" fmla="*/ 2378 w 10000"/>
              <a:gd name="connsiteY281" fmla="*/ 3620 h 10000"/>
              <a:gd name="connsiteX282" fmla="*/ 2152 w 10000"/>
              <a:gd name="connsiteY282" fmla="*/ 3673 h 10000"/>
              <a:gd name="connsiteX283" fmla="*/ 1790 w 10000"/>
              <a:gd name="connsiteY283" fmla="*/ 3840 h 10000"/>
              <a:gd name="connsiteX284" fmla="*/ 1598 w 10000"/>
              <a:gd name="connsiteY284" fmla="*/ 4042 h 10000"/>
              <a:gd name="connsiteX285" fmla="*/ 1616 w 10000"/>
              <a:gd name="connsiteY285" fmla="*/ 4154 h 10000"/>
              <a:gd name="connsiteX286" fmla="*/ 1681 w 10000"/>
              <a:gd name="connsiteY286" fmla="*/ 4241 h 10000"/>
              <a:gd name="connsiteX287" fmla="*/ 1733 w 10000"/>
              <a:gd name="connsiteY287" fmla="*/ 4276 h 10000"/>
              <a:gd name="connsiteX288" fmla="*/ 1638 w 10000"/>
              <a:gd name="connsiteY288" fmla="*/ 4331 h 10000"/>
              <a:gd name="connsiteX289" fmla="*/ 1433 w 10000"/>
              <a:gd name="connsiteY289" fmla="*/ 4710 h 10000"/>
              <a:gd name="connsiteX290" fmla="*/ 1472 w 10000"/>
              <a:gd name="connsiteY290" fmla="*/ 4732 h 10000"/>
              <a:gd name="connsiteX291" fmla="*/ 1503 w 10000"/>
              <a:gd name="connsiteY291" fmla="*/ 4828 h 10000"/>
              <a:gd name="connsiteX292" fmla="*/ 1407 w 10000"/>
              <a:gd name="connsiteY292" fmla="*/ 5227 h 10000"/>
              <a:gd name="connsiteX293" fmla="*/ 1503 w 10000"/>
              <a:gd name="connsiteY293" fmla="*/ 5329 h 10000"/>
              <a:gd name="connsiteX294" fmla="*/ 1764 w 10000"/>
              <a:gd name="connsiteY294" fmla="*/ 5441 h 10000"/>
              <a:gd name="connsiteX295" fmla="*/ 1777 w 10000"/>
              <a:gd name="connsiteY295" fmla="*/ 5578 h 10000"/>
              <a:gd name="connsiteX296" fmla="*/ 1664 w 10000"/>
              <a:gd name="connsiteY296" fmla="*/ 5690 h 10000"/>
              <a:gd name="connsiteX297" fmla="*/ 1503 w 10000"/>
              <a:gd name="connsiteY297" fmla="*/ 5759 h 10000"/>
              <a:gd name="connsiteX298" fmla="*/ 1289 w 10000"/>
              <a:gd name="connsiteY298" fmla="*/ 5787 h 10000"/>
              <a:gd name="connsiteX299" fmla="*/ 1233 w 10000"/>
              <a:gd name="connsiteY299" fmla="*/ 5826 h 10000"/>
              <a:gd name="connsiteX300" fmla="*/ 1359 w 10000"/>
              <a:gd name="connsiteY300" fmla="*/ 5920 h 10000"/>
              <a:gd name="connsiteX301" fmla="*/ 1429 w 10000"/>
              <a:gd name="connsiteY301" fmla="*/ 6142 h 10000"/>
              <a:gd name="connsiteX302" fmla="*/ 1267 w 10000"/>
              <a:gd name="connsiteY302" fmla="*/ 6333 h 10000"/>
              <a:gd name="connsiteX303" fmla="*/ 1324 w 10000"/>
              <a:gd name="connsiteY303" fmla="*/ 6392 h 10000"/>
              <a:gd name="connsiteX304" fmla="*/ 1272 w 10000"/>
              <a:gd name="connsiteY304" fmla="*/ 6492 h 10000"/>
              <a:gd name="connsiteX305" fmla="*/ 1167 w 10000"/>
              <a:gd name="connsiteY305" fmla="*/ 6561 h 10000"/>
              <a:gd name="connsiteX306" fmla="*/ 758 w 10000"/>
              <a:gd name="connsiteY306" fmla="*/ 6614 h 10000"/>
              <a:gd name="connsiteX307" fmla="*/ 732 w 10000"/>
              <a:gd name="connsiteY307" fmla="*/ 6706 h 10000"/>
              <a:gd name="connsiteX308" fmla="*/ 510 w 10000"/>
              <a:gd name="connsiteY308" fmla="*/ 6843 h 10000"/>
              <a:gd name="connsiteX309" fmla="*/ 540 w 10000"/>
              <a:gd name="connsiteY309" fmla="*/ 7040 h 10000"/>
              <a:gd name="connsiteX310" fmla="*/ 353 w 10000"/>
              <a:gd name="connsiteY310" fmla="*/ 7293 h 10000"/>
              <a:gd name="connsiteX311" fmla="*/ 226 w 10000"/>
              <a:gd name="connsiteY311" fmla="*/ 7323 h 10000"/>
              <a:gd name="connsiteX312" fmla="*/ 174 w 10000"/>
              <a:gd name="connsiteY312" fmla="*/ 7262 h 10000"/>
              <a:gd name="connsiteX313" fmla="*/ 109 w 10000"/>
              <a:gd name="connsiteY313" fmla="*/ 7354 h 10000"/>
              <a:gd name="connsiteX314" fmla="*/ 152 w 10000"/>
              <a:gd name="connsiteY314" fmla="*/ 7197 h 10000"/>
              <a:gd name="connsiteX315" fmla="*/ 126 w 10000"/>
              <a:gd name="connsiteY31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247 w 10000"/>
              <a:gd name="connsiteY213" fmla="*/ 2402 h 10000"/>
              <a:gd name="connsiteX214" fmla="*/ 9286 w 10000"/>
              <a:gd name="connsiteY214" fmla="*/ 2400 h 10000"/>
              <a:gd name="connsiteX215" fmla="*/ 9355 w 10000"/>
              <a:gd name="connsiteY215" fmla="*/ 2428 h 10000"/>
              <a:gd name="connsiteX216" fmla="*/ 9408 w 10000"/>
              <a:gd name="connsiteY216" fmla="*/ 2359 h 10000"/>
              <a:gd name="connsiteX217" fmla="*/ 9717 w 10000"/>
              <a:gd name="connsiteY217" fmla="*/ 2343 h 10000"/>
              <a:gd name="connsiteX218" fmla="*/ 9830 w 10000"/>
              <a:gd name="connsiteY218" fmla="*/ 2369 h 10000"/>
              <a:gd name="connsiteX219" fmla="*/ 9909 w 10000"/>
              <a:gd name="connsiteY219" fmla="*/ 2410 h 10000"/>
              <a:gd name="connsiteX220" fmla="*/ 9948 w 10000"/>
              <a:gd name="connsiteY220" fmla="*/ 2365 h 10000"/>
              <a:gd name="connsiteX221" fmla="*/ 10000 w 10000"/>
              <a:gd name="connsiteY221" fmla="*/ 2349 h 10000"/>
              <a:gd name="connsiteX222" fmla="*/ 9704 w 10000"/>
              <a:gd name="connsiteY222" fmla="*/ 1992 h 10000"/>
              <a:gd name="connsiteX223" fmla="*/ 9743 w 10000"/>
              <a:gd name="connsiteY223" fmla="*/ 1897 h 10000"/>
              <a:gd name="connsiteX224" fmla="*/ 9830 w 10000"/>
              <a:gd name="connsiteY224" fmla="*/ 1819 h 10000"/>
              <a:gd name="connsiteX225" fmla="*/ 9830 w 10000"/>
              <a:gd name="connsiteY225" fmla="*/ 1699 h 10000"/>
              <a:gd name="connsiteX226" fmla="*/ 9556 w 10000"/>
              <a:gd name="connsiteY226" fmla="*/ 1465 h 10000"/>
              <a:gd name="connsiteX227" fmla="*/ 9512 w 10000"/>
              <a:gd name="connsiteY227" fmla="*/ 1379 h 10000"/>
              <a:gd name="connsiteX228" fmla="*/ 9573 w 10000"/>
              <a:gd name="connsiteY228" fmla="*/ 1271 h 10000"/>
              <a:gd name="connsiteX229" fmla="*/ 9543 w 10000"/>
              <a:gd name="connsiteY229" fmla="*/ 1194 h 10000"/>
              <a:gd name="connsiteX230" fmla="*/ 9486 w 10000"/>
              <a:gd name="connsiteY230" fmla="*/ 1159 h 10000"/>
              <a:gd name="connsiteX231" fmla="*/ 9438 w 10000"/>
              <a:gd name="connsiteY231" fmla="*/ 978 h 10000"/>
              <a:gd name="connsiteX232" fmla="*/ 9495 w 10000"/>
              <a:gd name="connsiteY232" fmla="*/ 831 h 10000"/>
              <a:gd name="connsiteX233" fmla="*/ 9077 w 10000"/>
              <a:gd name="connsiteY233" fmla="*/ 517 h 10000"/>
              <a:gd name="connsiteX234" fmla="*/ 8872 w 10000"/>
              <a:gd name="connsiteY234" fmla="*/ 440 h 10000"/>
              <a:gd name="connsiteX235" fmla="*/ 8493 w 10000"/>
              <a:gd name="connsiteY235" fmla="*/ 389 h 10000"/>
              <a:gd name="connsiteX236" fmla="*/ 7709 w 10000"/>
              <a:gd name="connsiteY236" fmla="*/ 26 h 10000"/>
              <a:gd name="connsiteX237" fmla="*/ 7683 w 10000"/>
              <a:gd name="connsiteY237" fmla="*/ 2 h 10000"/>
              <a:gd name="connsiteX238" fmla="*/ 7417 w 10000"/>
              <a:gd name="connsiteY238" fmla="*/ 0 h 10000"/>
              <a:gd name="connsiteX239" fmla="*/ 7356 w 10000"/>
              <a:gd name="connsiteY239" fmla="*/ 14 h 10000"/>
              <a:gd name="connsiteX240" fmla="*/ 7369 w 10000"/>
              <a:gd name="connsiteY240" fmla="*/ 61 h 10000"/>
              <a:gd name="connsiteX241" fmla="*/ 7422 w 10000"/>
              <a:gd name="connsiteY241" fmla="*/ 86 h 10000"/>
              <a:gd name="connsiteX242" fmla="*/ 7435 w 10000"/>
              <a:gd name="connsiteY242" fmla="*/ 139 h 10000"/>
              <a:gd name="connsiteX243" fmla="*/ 7417 w 10000"/>
              <a:gd name="connsiteY243" fmla="*/ 181 h 10000"/>
              <a:gd name="connsiteX244" fmla="*/ 7369 w 10000"/>
              <a:gd name="connsiteY244" fmla="*/ 208 h 10000"/>
              <a:gd name="connsiteX245" fmla="*/ 7334 w 10000"/>
              <a:gd name="connsiteY245" fmla="*/ 283 h 10000"/>
              <a:gd name="connsiteX246" fmla="*/ 7269 w 10000"/>
              <a:gd name="connsiteY246" fmla="*/ 336 h 10000"/>
              <a:gd name="connsiteX247" fmla="*/ 7282 w 10000"/>
              <a:gd name="connsiteY247" fmla="*/ 387 h 10000"/>
              <a:gd name="connsiteX248" fmla="*/ 7382 w 10000"/>
              <a:gd name="connsiteY248" fmla="*/ 434 h 10000"/>
              <a:gd name="connsiteX249" fmla="*/ 7317 w 10000"/>
              <a:gd name="connsiteY249" fmla="*/ 475 h 10000"/>
              <a:gd name="connsiteX250" fmla="*/ 7221 w 10000"/>
              <a:gd name="connsiteY250" fmla="*/ 485 h 10000"/>
              <a:gd name="connsiteX251" fmla="*/ 6420 w 10000"/>
              <a:gd name="connsiteY251" fmla="*/ 387 h 10000"/>
              <a:gd name="connsiteX252" fmla="*/ 6324 w 10000"/>
              <a:gd name="connsiteY252" fmla="*/ 395 h 10000"/>
              <a:gd name="connsiteX253" fmla="*/ 6267 w 10000"/>
              <a:gd name="connsiteY253" fmla="*/ 414 h 10000"/>
              <a:gd name="connsiteX254" fmla="*/ 6211 w 10000"/>
              <a:gd name="connsiteY254" fmla="*/ 462 h 10000"/>
              <a:gd name="connsiteX255" fmla="*/ 6220 w 10000"/>
              <a:gd name="connsiteY255" fmla="*/ 581 h 10000"/>
              <a:gd name="connsiteX256" fmla="*/ 6132 w 10000"/>
              <a:gd name="connsiteY256" fmla="*/ 735 h 10000"/>
              <a:gd name="connsiteX257" fmla="*/ 6024 w 10000"/>
              <a:gd name="connsiteY257" fmla="*/ 815 h 10000"/>
              <a:gd name="connsiteX258" fmla="*/ 5980 w 10000"/>
              <a:gd name="connsiteY258" fmla="*/ 805 h 10000"/>
              <a:gd name="connsiteX259" fmla="*/ 5880 w 10000"/>
              <a:gd name="connsiteY259" fmla="*/ 739 h 10000"/>
              <a:gd name="connsiteX260" fmla="*/ 5753 w 10000"/>
              <a:gd name="connsiteY260" fmla="*/ 705 h 10000"/>
              <a:gd name="connsiteX261" fmla="*/ 5618 w 10000"/>
              <a:gd name="connsiteY261" fmla="*/ 715 h 10000"/>
              <a:gd name="connsiteX262" fmla="*/ 5301 w 10000"/>
              <a:gd name="connsiteY262" fmla="*/ 866 h 10000"/>
              <a:gd name="connsiteX263" fmla="*/ 5218 w 10000"/>
              <a:gd name="connsiteY263" fmla="*/ 1017 h 10000"/>
              <a:gd name="connsiteX264" fmla="*/ 4978 w 10000"/>
              <a:gd name="connsiteY264" fmla="*/ 1153 h 10000"/>
              <a:gd name="connsiteX265" fmla="*/ 4935 w 10000"/>
              <a:gd name="connsiteY265" fmla="*/ 1222 h 10000"/>
              <a:gd name="connsiteX266" fmla="*/ 5061 w 10000"/>
              <a:gd name="connsiteY266" fmla="*/ 1344 h 10000"/>
              <a:gd name="connsiteX267" fmla="*/ 5074 w 10000"/>
              <a:gd name="connsiteY267" fmla="*/ 1412 h 10000"/>
              <a:gd name="connsiteX268" fmla="*/ 4421 w 10000"/>
              <a:gd name="connsiteY268" fmla="*/ 1813 h 10000"/>
              <a:gd name="connsiteX269" fmla="*/ 4220 w 10000"/>
              <a:gd name="connsiteY269" fmla="*/ 2070 h 10000"/>
              <a:gd name="connsiteX270" fmla="*/ 4003 w 10000"/>
              <a:gd name="connsiteY270" fmla="*/ 2135 h 10000"/>
              <a:gd name="connsiteX271" fmla="*/ 3868 w 10000"/>
              <a:gd name="connsiteY271" fmla="*/ 2131 h 10000"/>
              <a:gd name="connsiteX272" fmla="*/ 3785 w 10000"/>
              <a:gd name="connsiteY272" fmla="*/ 2153 h 10000"/>
              <a:gd name="connsiteX273" fmla="*/ 3558 w 10000"/>
              <a:gd name="connsiteY273" fmla="*/ 2793 h 10000"/>
              <a:gd name="connsiteX274" fmla="*/ 3036 w 10000"/>
              <a:gd name="connsiteY274" fmla="*/ 3166 h 10000"/>
              <a:gd name="connsiteX275" fmla="*/ 3040 w 10000"/>
              <a:gd name="connsiteY275" fmla="*/ 3225 h 10000"/>
              <a:gd name="connsiteX276" fmla="*/ 3271 w 10000"/>
              <a:gd name="connsiteY276" fmla="*/ 3392 h 10000"/>
              <a:gd name="connsiteX277" fmla="*/ 3197 w 10000"/>
              <a:gd name="connsiteY277" fmla="*/ 3573 h 10000"/>
              <a:gd name="connsiteX278" fmla="*/ 3062 w 10000"/>
              <a:gd name="connsiteY278" fmla="*/ 3640 h 10000"/>
              <a:gd name="connsiteX279" fmla="*/ 2657 w 10000"/>
              <a:gd name="connsiteY279" fmla="*/ 3595 h 10000"/>
              <a:gd name="connsiteX280" fmla="*/ 2378 w 10000"/>
              <a:gd name="connsiteY280" fmla="*/ 3620 h 10000"/>
              <a:gd name="connsiteX281" fmla="*/ 2152 w 10000"/>
              <a:gd name="connsiteY281" fmla="*/ 3673 h 10000"/>
              <a:gd name="connsiteX282" fmla="*/ 1790 w 10000"/>
              <a:gd name="connsiteY282" fmla="*/ 3840 h 10000"/>
              <a:gd name="connsiteX283" fmla="*/ 1598 w 10000"/>
              <a:gd name="connsiteY283" fmla="*/ 4042 h 10000"/>
              <a:gd name="connsiteX284" fmla="*/ 1616 w 10000"/>
              <a:gd name="connsiteY284" fmla="*/ 4154 h 10000"/>
              <a:gd name="connsiteX285" fmla="*/ 1681 w 10000"/>
              <a:gd name="connsiteY285" fmla="*/ 4241 h 10000"/>
              <a:gd name="connsiteX286" fmla="*/ 1733 w 10000"/>
              <a:gd name="connsiteY286" fmla="*/ 4276 h 10000"/>
              <a:gd name="connsiteX287" fmla="*/ 1638 w 10000"/>
              <a:gd name="connsiteY287" fmla="*/ 4331 h 10000"/>
              <a:gd name="connsiteX288" fmla="*/ 1433 w 10000"/>
              <a:gd name="connsiteY288" fmla="*/ 4710 h 10000"/>
              <a:gd name="connsiteX289" fmla="*/ 1472 w 10000"/>
              <a:gd name="connsiteY289" fmla="*/ 4732 h 10000"/>
              <a:gd name="connsiteX290" fmla="*/ 1503 w 10000"/>
              <a:gd name="connsiteY290" fmla="*/ 4828 h 10000"/>
              <a:gd name="connsiteX291" fmla="*/ 1407 w 10000"/>
              <a:gd name="connsiteY291" fmla="*/ 5227 h 10000"/>
              <a:gd name="connsiteX292" fmla="*/ 1503 w 10000"/>
              <a:gd name="connsiteY292" fmla="*/ 5329 h 10000"/>
              <a:gd name="connsiteX293" fmla="*/ 1764 w 10000"/>
              <a:gd name="connsiteY293" fmla="*/ 5441 h 10000"/>
              <a:gd name="connsiteX294" fmla="*/ 1777 w 10000"/>
              <a:gd name="connsiteY294" fmla="*/ 5578 h 10000"/>
              <a:gd name="connsiteX295" fmla="*/ 1664 w 10000"/>
              <a:gd name="connsiteY295" fmla="*/ 5690 h 10000"/>
              <a:gd name="connsiteX296" fmla="*/ 1503 w 10000"/>
              <a:gd name="connsiteY296" fmla="*/ 5759 h 10000"/>
              <a:gd name="connsiteX297" fmla="*/ 1289 w 10000"/>
              <a:gd name="connsiteY297" fmla="*/ 5787 h 10000"/>
              <a:gd name="connsiteX298" fmla="*/ 1233 w 10000"/>
              <a:gd name="connsiteY298" fmla="*/ 5826 h 10000"/>
              <a:gd name="connsiteX299" fmla="*/ 1359 w 10000"/>
              <a:gd name="connsiteY299" fmla="*/ 5920 h 10000"/>
              <a:gd name="connsiteX300" fmla="*/ 1429 w 10000"/>
              <a:gd name="connsiteY300" fmla="*/ 6142 h 10000"/>
              <a:gd name="connsiteX301" fmla="*/ 1267 w 10000"/>
              <a:gd name="connsiteY301" fmla="*/ 6333 h 10000"/>
              <a:gd name="connsiteX302" fmla="*/ 1324 w 10000"/>
              <a:gd name="connsiteY302" fmla="*/ 6392 h 10000"/>
              <a:gd name="connsiteX303" fmla="*/ 1272 w 10000"/>
              <a:gd name="connsiteY303" fmla="*/ 6492 h 10000"/>
              <a:gd name="connsiteX304" fmla="*/ 1167 w 10000"/>
              <a:gd name="connsiteY304" fmla="*/ 6561 h 10000"/>
              <a:gd name="connsiteX305" fmla="*/ 758 w 10000"/>
              <a:gd name="connsiteY305" fmla="*/ 6614 h 10000"/>
              <a:gd name="connsiteX306" fmla="*/ 732 w 10000"/>
              <a:gd name="connsiteY306" fmla="*/ 6706 h 10000"/>
              <a:gd name="connsiteX307" fmla="*/ 510 w 10000"/>
              <a:gd name="connsiteY307" fmla="*/ 6843 h 10000"/>
              <a:gd name="connsiteX308" fmla="*/ 540 w 10000"/>
              <a:gd name="connsiteY308" fmla="*/ 7040 h 10000"/>
              <a:gd name="connsiteX309" fmla="*/ 353 w 10000"/>
              <a:gd name="connsiteY309" fmla="*/ 7293 h 10000"/>
              <a:gd name="connsiteX310" fmla="*/ 226 w 10000"/>
              <a:gd name="connsiteY310" fmla="*/ 7323 h 10000"/>
              <a:gd name="connsiteX311" fmla="*/ 174 w 10000"/>
              <a:gd name="connsiteY311" fmla="*/ 7262 h 10000"/>
              <a:gd name="connsiteX312" fmla="*/ 109 w 10000"/>
              <a:gd name="connsiteY312" fmla="*/ 7354 h 10000"/>
              <a:gd name="connsiteX313" fmla="*/ 152 w 10000"/>
              <a:gd name="connsiteY313" fmla="*/ 7197 h 10000"/>
              <a:gd name="connsiteX314" fmla="*/ 126 w 10000"/>
              <a:gd name="connsiteY31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286 w 10000"/>
              <a:gd name="connsiteY213" fmla="*/ 2400 h 10000"/>
              <a:gd name="connsiteX214" fmla="*/ 9355 w 10000"/>
              <a:gd name="connsiteY214" fmla="*/ 2428 h 10000"/>
              <a:gd name="connsiteX215" fmla="*/ 9408 w 10000"/>
              <a:gd name="connsiteY215" fmla="*/ 2359 h 10000"/>
              <a:gd name="connsiteX216" fmla="*/ 9717 w 10000"/>
              <a:gd name="connsiteY216" fmla="*/ 2343 h 10000"/>
              <a:gd name="connsiteX217" fmla="*/ 9830 w 10000"/>
              <a:gd name="connsiteY217" fmla="*/ 2369 h 10000"/>
              <a:gd name="connsiteX218" fmla="*/ 9909 w 10000"/>
              <a:gd name="connsiteY218" fmla="*/ 2410 h 10000"/>
              <a:gd name="connsiteX219" fmla="*/ 9948 w 10000"/>
              <a:gd name="connsiteY219" fmla="*/ 2365 h 10000"/>
              <a:gd name="connsiteX220" fmla="*/ 10000 w 10000"/>
              <a:gd name="connsiteY220" fmla="*/ 2349 h 10000"/>
              <a:gd name="connsiteX221" fmla="*/ 9704 w 10000"/>
              <a:gd name="connsiteY221" fmla="*/ 1992 h 10000"/>
              <a:gd name="connsiteX222" fmla="*/ 9743 w 10000"/>
              <a:gd name="connsiteY222" fmla="*/ 1897 h 10000"/>
              <a:gd name="connsiteX223" fmla="*/ 9830 w 10000"/>
              <a:gd name="connsiteY223" fmla="*/ 1819 h 10000"/>
              <a:gd name="connsiteX224" fmla="*/ 9830 w 10000"/>
              <a:gd name="connsiteY224" fmla="*/ 1699 h 10000"/>
              <a:gd name="connsiteX225" fmla="*/ 9556 w 10000"/>
              <a:gd name="connsiteY225" fmla="*/ 1465 h 10000"/>
              <a:gd name="connsiteX226" fmla="*/ 9512 w 10000"/>
              <a:gd name="connsiteY226" fmla="*/ 1379 h 10000"/>
              <a:gd name="connsiteX227" fmla="*/ 9573 w 10000"/>
              <a:gd name="connsiteY227" fmla="*/ 1271 h 10000"/>
              <a:gd name="connsiteX228" fmla="*/ 9543 w 10000"/>
              <a:gd name="connsiteY228" fmla="*/ 1194 h 10000"/>
              <a:gd name="connsiteX229" fmla="*/ 9486 w 10000"/>
              <a:gd name="connsiteY229" fmla="*/ 1159 h 10000"/>
              <a:gd name="connsiteX230" fmla="*/ 9438 w 10000"/>
              <a:gd name="connsiteY230" fmla="*/ 978 h 10000"/>
              <a:gd name="connsiteX231" fmla="*/ 9495 w 10000"/>
              <a:gd name="connsiteY231" fmla="*/ 831 h 10000"/>
              <a:gd name="connsiteX232" fmla="*/ 9077 w 10000"/>
              <a:gd name="connsiteY232" fmla="*/ 517 h 10000"/>
              <a:gd name="connsiteX233" fmla="*/ 8872 w 10000"/>
              <a:gd name="connsiteY233" fmla="*/ 440 h 10000"/>
              <a:gd name="connsiteX234" fmla="*/ 8493 w 10000"/>
              <a:gd name="connsiteY234" fmla="*/ 389 h 10000"/>
              <a:gd name="connsiteX235" fmla="*/ 7709 w 10000"/>
              <a:gd name="connsiteY235" fmla="*/ 26 h 10000"/>
              <a:gd name="connsiteX236" fmla="*/ 7683 w 10000"/>
              <a:gd name="connsiteY236" fmla="*/ 2 h 10000"/>
              <a:gd name="connsiteX237" fmla="*/ 7417 w 10000"/>
              <a:gd name="connsiteY237" fmla="*/ 0 h 10000"/>
              <a:gd name="connsiteX238" fmla="*/ 7356 w 10000"/>
              <a:gd name="connsiteY238" fmla="*/ 14 h 10000"/>
              <a:gd name="connsiteX239" fmla="*/ 7369 w 10000"/>
              <a:gd name="connsiteY239" fmla="*/ 61 h 10000"/>
              <a:gd name="connsiteX240" fmla="*/ 7422 w 10000"/>
              <a:gd name="connsiteY240" fmla="*/ 86 h 10000"/>
              <a:gd name="connsiteX241" fmla="*/ 7435 w 10000"/>
              <a:gd name="connsiteY241" fmla="*/ 139 h 10000"/>
              <a:gd name="connsiteX242" fmla="*/ 7417 w 10000"/>
              <a:gd name="connsiteY242" fmla="*/ 181 h 10000"/>
              <a:gd name="connsiteX243" fmla="*/ 7369 w 10000"/>
              <a:gd name="connsiteY243" fmla="*/ 208 h 10000"/>
              <a:gd name="connsiteX244" fmla="*/ 7334 w 10000"/>
              <a:gd name="connsiteY244" fmla="*/ 283 h 10000"/>
              <a:gd name="connsiteX245" fmla="*/ 7269 w 10000"/>
              <a:gd name="connsiteY245" fmla="*/ 336 h 10000"/>
              <a:gd name="connsiteX246" fmla="*/ 7282 w 10000"/>
              <a:gd name="connsiteY246" fmla="*/ 387 h 10000"/>
              <a:gd name="connsiteX247" fmla="*/ 7382 w 10000"/>
              <a:gd name="connsiteY247" fmla="*/ 434 h 10000"/>
              <a:gd name="connsiteX248" fmla="*/ 7317 w 10000"/>
              <a:gd name="connsiteY248" fmla="*/ 475 h 10000"/>
              <a:gd name="connsiteX249" fmla="*/ 7221 w 10000"/>
              <a:gd name="connsiteY249" fmla="*/ 485 h 10000"/>
              <a:gd name="connsiteX250" fmla="*/ 6420 w 10000"/>
              <a:gd name="connsiteY250" fmla="*/ 387 h 10000"/>
              <a:gd name="connsiteX251" fmla="*/ 6324 w 10000"/>
              <a:gd name="connsiteY251" fmla="*/ 395 h 10000"/>
              <a:gd name="connsiteX252" fmla="*/ 6267 w 10000"/>
              <a:gd name="connsiteY252" fmla="*/ 414 h 10000"/>
              <a:gd name="connsiteX253" fmla="*/ 6211 w 10000"/>
              <a:gd name="connsiteY253" fmla="*/ 462 h 10000"/>
              <a:gd name="connsiteX254" fmla="*/ 6220 w 10000"/>
              <a:gd name="connsiteY254" fmla="*/ 581 h 10000"/>
              <a:gd name="connsiteX255" fmla="*/ 6132 w 10000"/>
              <a:gd name="connsiteY255" fmla="*/ 735 h 10000"/>
              <a:gd name="connsiteX256" fmla="*/ 6024 w 10000"/>
              <a:gd name="connsiteY256" fmla="*/ 815 h 10000"/>
              <a:gd name="connsiteX257" fmla="*/ 5980 w 10000"/>
              <a:gd name="connsiteY257" fmla="*/ 805 h 10000"/>
              <a:gd name="connsiteX258" fmla="*/ 5880 w 10000"/>
              <a:gd name="connsiteY258" fmla="*/ 739 h 10000"/>
              <a:gd name="connsiteX259" fmla="*/ 5753 w 10000"/>
              <a:gd name="connsiteY259" fmla="*/ 705 h 10000"/>
              <a:gd name="connsiteX260" fmla="*/ 5618 w 10000"/>
              <a:gd name="connsiteY260" fmla="*/ 715 h 10000"/>
              <a:gd name="connsiteX261" fmla="*/ 5301 w 10000"/>
              <a:gd name="connsiteY261" fmla="*/ 866 h 10000"/>
              <a:gd name="connsiteX262" fmla="*/ 5218 w 10000"/>
              <a:gd name="connsiteY262" fmla="*/ 1017 h 10000"/>
              <a:gd name="connsiteX263" fmla="*/ 4978 w 10000"/>
              <a:gd name="connsiteY263" fmla="*/ 1153 h 10000"/>
              <a:gd name="connsiteX264" fmla="*/ 4935 w 10000"/>
              <a:gd name="connsiteY264" fmla="*/ 1222 h 10000"/>
              <a:gd name="connsiteX265" fmla="*/ 5061 w 10000"/>
              <a:gd name="connsiteY265" fmla="*/ 1344 h 10000"/>
              <a:gd name="connsiteX266" fmla="*/ 5074 w 10000"/>
              <a:gd name="connsiteY266" fmla="*/ 1412 h 10000"/>
              <a:gd name="connsiteX267" fmla="*/ 4421 w 10000"/>
              <a:gd name="connsiteY267" fmla="*/ 1813 h 10000"/>
              <a:gd name="connsiteX268" fmla="*/ 4220 w 10000"/>
              <a:gd name="connsiteY268" fmla="*/ 2070 h 10000"/>
              <a:gd name="connsiteX269" fmla="*/ 4003 w 10000"/>
              <a:gd name="connsiteY269" fmla="*/ 2135 h 10000"/>
              <a:gd name="connsiteX270" fmla="*/ 3868 w 10000"/>
              <a:gd name="connsiteY270" fmla="*/ 2131 h 10000"/>
              <a:gd name="connsiteX271" fmla="*/ 3785 w 10000"/>
              <a:gd name="connsiteY271" fmla="*/ 2153 h 10000"/>
              <a:gd name="connsiteX272" fmla="*/ 3558 w 10000"/>
              <a:gd name="connsiteY272" fmla="*/ 2793 h 10000"/>
              <a:gd name="connsiteX273" fmla="*/ 3036 w 10000"/>
              <a:gd name="connsiteY273" fmla="*/ 3166 h 10000"/>
              <a:gd name="connsiteX274" fmla="*/ 3040 w 10000"/>
              <a:gd name="connsiteY274" fmla="*/ 3225 h 10000"/>
              <a:gd name="connsiteX275" fmla="*/ 3271 w 10000"/>
              <a:gd name="connsiteY275" fmla="*/ 3392 h 10000"/>
              <a:gd name="connsiteX276" fmla="*/ 3197 w 10000"/>
              <a:gd name="connsiteY276" fmla="*/ 3573 h 10000"/>
              <a:gd name="connsiteX277" fmla="*/ 3062 w 10000"/>
              <a:gd name="connsiteY277" fmla="*/ 3640 h 10000"/>
              <a:gd name="connsiteX278" fmla="*/ 2657 w 10000"/>
              <a:gd name="connsiteY278" fmla="*/ 3595 h 10000"/>
              <a:gd name="connsiteX279" fmla="*/ 2378 w 10000"/>
              <a:gd name="connsiteY279" fmla="*/ 3620 h 10000"/>
              <a:gd name="connsiteX280" fmla="*/ 2152 w 10000"/>
              <a:gd name="connsiteY280" fmla="*/ 3673 h 10000"/>
              <a:gd name="connsiteX281" fmla="*/ 1790 w 10000"/>
              <a:gd name="connsiteY281" fmla="*/ 3840 h 10000"/>
              <a:gd name="connsiteX282" fmla="*/ 1598 w 10000"/>
              <a:gd name="connsiteY282" fmla="*/ 4042 h 10000"/>
              <a:gd name="connsiteX283" fmla="*/ 1616 w 10000"/>
              <a:gd name="connsiteY283" fmla="*/ 4154 h 10000"/>
              <a:gd name="connsiteX284" fmla="*/ 1681 w 10000"/>
              <a:gd name="connsiteY284" fmla="*/ 4241 h 10000"/>
              <a:gd name="connsiteX285" fmla="*/ 1733 w 10000"/>
              <a:gd name="connsiteY285" fmla="*/ 4276 h 10000"/>
              <a:gd name="connsiteX286" fmla="*/ 1638 w 10000"/>
              <a:gd name="connsiteY286" fmla="*/ 4331 h 10000"/>
              <a:gd name="connsiteX287" fmla="*/ 1433 w 10000"/>
              <a:gd name="connsiteY287" fmla="*/ 4710 h 10000"/>
              <a:gd name="connsiteX288" fmla="*/ 1472 w 10000"/>
              <a:gd name="connsiteY288" fmla="*/ 4732 h 10000"/>
              <a:gd name="connsiteX289" fmla="*/ 1503 w 10000"/>
              <a:gd name="connsiteY289" fmla="*/ 4828 h 10000"/>
              <a:gd name="connsiteX290" fmla="*/ 1407 w 10000"/>
              <a:gd name="connsiteY290" fmla="*/ 5227 h 10000"/>
              <a:gd name="connsiteX291" fmla="*/ 1503 w 10000"/>
              <a:gd name="connsiteY291" fmla="*/ 5329 h 10000"/>
              <a:gd name="connsiteX292" fmla="*/ 1764 w 10000"/>
              <a:gd name="connsiteY292" fmla="*/ 5441 h 10000"/>
              <a:gd name="connsiteX293" fmla="*/ 1777 w 10000"/>
              <a:gd name="connsiteY293" fmla="*/ 5578 h 10000"/>
              <a:gd name="connsiteX294" fmla="*/ 1664 w 10000"/>
              <a:gd name="connsiteY294" fmla="*/ 5690 h 10000"/>
              <a:gd name="connsiteX295" fmla="*/ 1503 w 10000"/>
              <a:gd name="connsiteY295" fmla="*/ 5759 h 10000"/>
              <a:gd name="connsiteX296" fmla="*/ 1289 w 10000"/>
              <a:gd name="connsiteY296" fmla="*/ 5787 h 10000"/>
              <a:gd name="connsiteX297" fmla="*/ 1233 w 10000"/>
              <a:gd name="connsiteY297" fmla="*/ 5826 h 10000"/>
              <a:gd name="connsiteX298" fmla="*/ 1359 w 10000"/>
              <a:gd name="connsiteY298" fmla="*/ 5920 h 10000"/>
              <a:gd name="connsiteX299" fmla="*/ 1429 w 10000"/>
              <a:gd name="connsiteY299" fmla="*/ 6142 h 10000"/>
              <a:gd name="connsiteX300" fmla="*/ 1267 w 10000"/>
              <a:gd name="connsiteY300" fmla="*/ 6333 h 10000"/>
              <a:gd name="connsiteX301" fmla="*/ 1324 w 10000"/>
              <a:gd name="connsiteY301" fmla="*/ 6392 h 10000"/>
              <a:gd name="connsiteX302" fmla="*/ 1272 w 10000"/>
              <a:gd name="connsiteY302" fmla="*/ 6492 h 10000"/>
              <a:gd name="connsiteX303" fmla="*/ 1167 w 10000"/>
              <a:gd name="connsiteY303" fmla="*/ 6561 h 10000"/>
              <a:gd name="connsiteX304" fmla="*/ 758 w 10000"/>
              <a:gd name="connsiteY304" fmla="*/ 6614 h 10000"/>
              <a:gd name="connsiteX305" fmla="*/ 732 w 10000"/>
              <a:gd name="connsiteY305" fmla="*/ 6706 h 10000"/>
              <a:gd name="connsiteX306" fmla="*/ 510 w 10000"/>
              <a:gd name="connsiteY306" fmla="*/ 6843 h 10000"/>
              <a:gd name="connsiteX307" fmla="*/ 540 w 10000"/>
              <a:gd name="connsiteY307" fmla="*/ 7040 h 10000"/>
              <a:gd name="connsiteX308" fmla="*/ 353 w 10000"/>
              <a:gd name="connsiteY308" fmla="*/ 7293 h 10000"/>
              <a:gd name="connsiteX309" fmla="*/ 226 w 10000"/>
              <a:gd name="connsiteY309" fmla="*/ 7323 h 10000"/>
              <a:gd name="connsiteX310" fmla="*/ 174 w 10000"/>
              <a:gd name="connsiteY310" fmla="*/ 7262 h 10000"/>
              <a:gd name="connsiteX311" fmla="*/ 109 w 10000"/>
              <a:gd name="connsiteY311" fmla="*/ 7354 h 10000"/>
              <a:gd name="connsiteX312" fmla="*/ 152 w 10000"/>
              <a:gd name="connsiteY312" fmla="*/ 7197 h 10000"/>
              <a:gd name="connsiteX313" fmla="*/ 126 w 10000"/>
              <a:gd name="connsiteY31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355 w 10000"/>
              <a:gd name="connsiteY213" fmla="*/ 2428 h 10000"/>
              <a:gd name="connsiteX214" fmla="*/ 9408 w 10000"/>
              <a:gd name="connsiteY214" fmla="*/ 2359 h 10000"/>
              <a:gd name="connsiteX215" fmla="*/ 9717 w 10000"/>
              <a:gd name="connsiteY215" fmla="*/ 2343 h 10000"/>
              <a:gd name="connsiteX216" fmla="*/ 9830 w 10000"/>
              <a:gd name="connsiteY216" fmla="*/ 2369 h 10000"/>
              <a:gd name="connsiteX217" fmla="*/ 9909 w 10000"/>
              <a:gd name="connsiteY217" fmla="*/ 2410 h 10000"/>
              <a:gd name="connsiteX218" fmla="*/ 9948 w 10000"/>
              <a:gd name="connsiteY218" fmla="*/ 2365 h 10000"/>
              <a:gd name="connsiteX219" fmla="*/ 10000 w 10000"/>
              <a:gd name="connsiteY219" fmla="*/ 2349 h 10000"/>
              <a:gd name="connsiteX220" fmla="*/ 9704 w 10000"/>
              <a:gd name="connsiteY220" fmla="*/ 1992 h 10000"/>
              <a:gd name="connsiteX221" fmla="*/ 9743 w 10000"/>
              <a:gd name="connsiteY221" fmla="*/ 1897 h 10000"/>
              <a:gd name="connsiteX222" fmla="*/ 9830 w 10000"/>
              <a:gd name="connsiteY222" fmla="*/ 1819 h 10000"/>
              <a:gd name="connsiteX223" fmla="*/ 9830 w 10000"/>
              <a:gd name="connsiteY223" fmla="*/ 1699 h 10000"/>
              <a:gd name="connsiteX224" fmla="*/ 9556 w 10000"/>
              <a:gd name="connsiteY224" fmla="*/ 1465 h 10000"/>
              <a:gd name="connsiteX225" fmla="*/ 9512 w 10000"/>
              <a:gd name="connsiteY225" fmla="*/ 1379 h 10000"/>
              <a:gd name="connsiteX226" fmla="*/ 9573 w 10000"/>
              <a:gd name="connsiteY226" fmla="*/ 1271 h 10000"/>
              <a:gd name="connsiteX227" fmla="*/ 9543 w 10000"/>
              <a:gd name="connsiteY227" fmla="*/ 1194 h 10000"/>
              <a:gd name="connsiteX228" fmla="*/ 9486 w 10000"/>
              <a:gd name="connsiteY228" fmla="*/ 1159 h 10000"/>
              <a:gd name="connsiteX229" fmla="*/ 9438 w 10000"/>
              <a:gd name="connsiteY229" fmla="*/ 978 h 10000"/>
              <a:gd name="connsiteX230" fmla="*/ 9495 w 10000"/>
              <a:gd name="connsiteY230" fmla="*/ 831 h 10000"/>
              <a:gd name="connsiteX231" fmla="*/ 9077 w 10000"/>
              <a:gd name="connsiteY231" fmla="*/ 517 h 10000"/>
              <a:gd name="connsiteX232" fmla="*/ 8872 w 10000"/>
              <a:gd name="connsiteY232" fmla="*/ 440 h 10000"/>
              <a:gd name="connsiteX233" fmla="*/ 8493 w 10000"/>
              <a:gd name="connsiteY233" fmla="*/ 389 h 10000"/>
              <a:gd name="connsiteX234" fmla="*/ 7709 w 10000"/>
              <a:gd name="connsiteY234" fmla="*/ 26 h 10000"/>
              <a:gd name="connsiteX235" fmla="*/ 7683 w 10000"/>
              <a:gd name="connsiteY235" fmla="*/ 2 h 10000"/>
              <a:gd name="connsiteX236" fmla="*/ 7417 w 10000"/>
              <a:gd name="connsiteY236" fmla="*/ 0 h 10000"/>
              <a:gd name="connsiteX237" fmla="*/ 7356 w 10000"/>
              <a:gd name="connsiteY237" fmla="*/ 14 h 10000"/>
              <a:gd name="connsiteX238" fmla="*/ 7369 w 10000"/>
              <a:gd name="connsiteY238" fmla="*/ 61 h 10000"/>
              <a:gd name="connsiteX239" fmla="*/ 7422 w 10000"/>
              <a:gd name="connsiteY239" fmla="*/ 86 h 10000"/>
              <a:gd name="connsiteX240" fmla="*/ 7435 w 10000"/>
              <a:gd name="connsiteY240" fmla="*/ 139 h 10000"/>
              <a:gd name="connsiteX241" fmla="*/ 7417 w 10000"/>
              <a:gd name="connsiteY241" fmla="*/ 181 h 10000"/>
              <a:gd name="connsiteX242" fmla="*/ 7369 w 10000"/>
              <a:gd name="connsiteY242" fmla="*/ 208 h 10000"/>
              <a:gd name="connsiteX243" fmla="*/ 7334 w 10000"/>
              <a:gd name="connsiteY243" fmla="*/ 283 h 10000"/>
              <a:gd name="connsiteX244" fmla="*/ 7269 w 10000"/>
              <a:gd name="connsiteY244" fmla="*/ 336 h 10000"/>
              <a:gd name="connsiteX245" fmla="*/ 7282 w 10000"/>
              <a:gd name="connsiteY245" fmla="*/ 387 h 10000"/>
              <a:gd name="connsiteX246" fmla="*/ 7382 w 10000"/>
              <a:gd name="connsiteY246" fmla="*/ 434 h 10000"/>
              <a:gd name="connsiteX247" fmla="*/ 7317 w 10000"/>
              <a:gd name="connsiteY247" fmla="*/ 475 h 10000"/>
              <a:gd name="connsiteX248" fmla="*/ 7221 w 10000"/>
              <a:gd name="connsiteY248" fmla="*/ 485 h 10000"/>
              <a:gd name="connsiteX249" fmla="*/ 6420 w 10000"/>
              <a:gd name="connsiteY249" fmla="*/ 387 h 10000"/>
              <a:gd name="connsiteX250" fmla="*/ 6324 w 10000"/>
              <a:gd name="connsiteY250" fmla="*/ 395 h 10000"/>
              <a:gd name="connsiteX251" fmla="*/ 6267 w 10000"/>
              <a:gd name="connsiteY251" fmla="*/ 414 h 10000"/>
              <a:gd name="connsiteX252" fmla="*/ 6211 w 10000"/>
              <a:gd name="connsiteY252" fmla="*/ 462 h 10000"/>
              <a:gd name="connsiteX253" fmla="*/ 6220 w 10000"/>
              <a:gd name="connsiteY253" fmla="*/ 581 h 10000"/>
              <a:gd name="connsiteX254" fmla="*/ 6132 w 10000"/>
              <a:gd name="connsiteY254" fmla="*/ 735 h 10000"/>
              <a:gd name="connsiteX255" fmla="*/ 6024 w 10000"/>
              <a:gd name="connsiteY255" fmla="*/ 815 h 10000"/>
              <a:gd name="connsiteX256" fmla="*/ 5980 w 10000"/>
              <a:gd name="connsiteY256" fmla="*/ 805 h 10000"/>
              <a:gd name="connsiteX257" fmla="*/ 5880 w 10000"/>
              <a:gd name="connsiteY257" fmla="*/ 739 h 10000"/>
              <a:gd name="connsiteX258" fmla="*/ 5753 w 10000"/>
              <a:gd name="connsiteY258" fmla="*/ 705 h 10000"/>
              <a:gd name="connsiteX259" fmla="*/ 5618 w 10000"/>
              <a:gd name="connsiteY259" fmla="*/ 715 h 10000"/>
              <a:gd name="connsiteX260" fmla="*/ 5301 w 10000"/>
              <a:gd name="connsiteY260" fmla="*/ 866 h 10000"/>
              <a:gd name="connsiteX261" fmla="*/ 5218 w 10000"/>
              <a:gd name="connsiteY261" fmla="*/ 1017 h 10000"/>
              <a:gd name="connsiteX262" fmla="*/ 4978 w 10000"/>
              <a:gd name="connsiteY262" fmla="*/ 1153 h 10000"/>
              <a:gd name="connsiteX263" fmla="*/ 4935 w 10000"/>
              <a:gd name="connsiteY263" fmla="*/ 1222 h 10000"/>
              <a:gd name="connsiteX264" fmla="*/ 5061 w 10000"/>
              <a:gd name="connsiteY264" fmla="*/ 1344 h 10000"/>
              <a:gd name="connsiteX265" fmla="*/ 5074 w 10000"/>
              <a:gd name="connsiteY265" fmla="*/ 1412 h 10000"/>
              <a:gd name="connsiteX266" fmla="*/ 4421 w 10000"/>
              <a:gd name="connsiteY266" fmla="*/ 1813 h 10000"/>
              <a:gd name="connsiteX267" fmla="*/ 4220 w 10000"/>
              <a:gd name="connsiteY267" fmla="*/ 2070 h 10000"/>
              <a:gd name="connsiteX268" fmla="*/ 4003 w 10000"/>
              <a:gd name="connsiteY268" fmla="*/ 2135 h 10000"/>
              <a:gd name="connsiteX269" fmla="*/ 3868 w 10000"/>
              <a:gd name="connsiteY269" fmla="*/ 2131 h 10000"/>
              <a:gd name="connsiteX270" fmla="*/ 3785 w 10000"/>
              <a:gd name="connsiteY270" fmla="*/ 2153 h 10000"/>
              <a:gd name="connsiteX271" fmla="*/ 3558 w 10000"/>
              <a:gd name="connsiteY271" fmla="*/ 2793 h 10000"/>
              <a:gd name="connsiteX272" fmla="*/ 3036 w 10000"/>
              <a:gd name="connsiteY272" fmla="*/ 3166 h 10000"/>
              <a:gd name="connsiteX273" fmla="*/ 3040 w 10000"/>
              <a:gd name="connsiteY273" fmla="*/ 3225 h 10000"/>
              <a:gd name="connsiteX274" fmla="*/ 3271 w 10000"/>
              <a:gd name="connsiteY274" fmla="*/ 3392 h 10000"/>
              <a:gd name="connsiteX275" fmla="*/ 3197 w 10000"/>
              <a:gd name="connsiteY275" fmla="*/ 3573 h 10000"/>
              <a:gd name="connsiteX276" fmla="*/ 3062 w 10000"/>
              <a:gd name="connsiteY276" fmla="*/ 3640 h 10000"/>
              <a:gd name="connsiteX277" fmla="*/ 2657 w 10000"/>
              <a:gd name="connsiteY277" fmla="*/ 3595 h 10000"/>
              <a:gd name="connsiteX278" fmla="*/ 2378 w 10000"/>
              <a:gd name="connsiteY278" fmla="*/ 3620 h 10000"/>
              <a:gd name="connsiteX279" fmla="*/ 2152 w 10000"/>
              <a:gd name="connsiteY279" fmla="*/ 3673 h 10000"/>
              <a:gd name="connsiteX280" fmla="*/ 1790 w 10000"/>
              <a:gd name="connsiteY280" fmla="*/ 3840 h 10000"/>
              <a:gd name="connsiteX281" fmla="*/ 1598 w 10000"/>
              <a:gd name="connsiteY281" fmla="*/ 4042 h 10000"/>
              <a:gd name="connsiteX282" fmla="*/ 1616 w 10000"/>
              <a:gd name="connsiteY282" fmla="*/ 4154 h 10000"/>
              <a:gd name="connsiteX283" fmla="*/ 1681 w 10000"/>
              <a:gd name="connsiteY283" fmla="*/ 4241 h 10000"/>
              <a:gd name="connsiteX284" fmla="*/ 1733 w 10000"/>
              <a:gd name="connsiteY284" fmla="*/ 4276 h 10000"/>
              <a:gd name="connsiteX285" fmla="*/ 1638 w 10000"/>
              <a:gd name="connsiteY285" fmla="*/ 4331 h 10000"/>
              <a:gd name="connsiteX286" fmla="*/ 1433 w 10000"/>
              <a:gd name="connsiteY286" fmla="*/ 4710 h 10000"/>
              <a:gd name="connsiteX287" fmla="*/ 1472 w 10000"/>
              <a:gd name="connsiteY287" fmla="*/ 4732 h 10000"/>
              <a:gd name="connsiteX288" fmla="*/ 1503 w 10000"/>
              <a:gd name="connsiteY288" fmla="*/ 4828 h 10000"/>
              <a:gd name="connsiteX289" fmla="*/ 1407 w 10000"/>
              <a:gd name="connsiteY289" fmla="*/ 5227 h 10000"/>
              <a:gd name="connsiteX290" fmla="*/ 1503 w 10000"/>
              <a:gd name="connsiteY290" fmla="*/ 5329 h 10000"/>
              <a:gd name="connsiteX291" fmla="*/ 1764 w 10000"/>
              <a:gd name="connsiteY291" fmla="*/ 5441 h 10000"/>
              <a:gd name="connsiteX292" fmla="*/ 1777 w 10000"/>
              <a:gd name="connsiteY292" fmla="*/ 5578 h 10000"/>
              <a:gd name="connsiteX293" fmla="*/ 1664 w 10000"/>
              <a:gd name="connsiteY293" fmla="*/ 5690 h 10000"/>
              <a:gd name="connsiteX294" fmla="*/ 1503 w 10000"/>
              <a:gd name="connsiteY294" fmla="*/ 5759 h 10000"/>
              <a:gd name="connsiteX295" fmla="*/ 1289 w 10000"/>
              <a:gd name="connsiteY295" fmla="*/ 5787 h 10000"/>
              <a:gd name="connsiteX296" fmla="*/ 1233 w 10000"/>
              <a:gd name="connsiteY296" fmla="*/ 5826 h 10000"/>
              <a:gd name="connsiteX297" fmla="*/ 1359 w 10000"/>
              <a:gd name="connsiteY297" fmla="*/ 5920 h 10000"/>
              <a:gd name="connsiteX298" fmla="*/ 1429 w 10000"/>
              <a:gd name="connsiteY298" fmla="*/ 6142 h 10000"/>
              <a:gd name="connsiteX299" fmla="*/ 1267 w 10000"/>
              <a:gd name="connsiteY299" fmla="*/ 6333 h 10000"/>
              <a:gd name="connsiteX300" fmla="*/ 1324 w 10000"/>
              <a:gd name="connsiteY300" fmla="*/ 6392 h 10000"/>
              <a:gd name="connsiteX301" fmla="*/ 1272 w 10000"/>
              <a:gd name="connsiteY301" fmla="*/ 6492 h 10000"/>
              <a:gd name="connsiteX302" fmla="*/ 1167 w 10000"/>
              <a:gd name="connsiteY302" fmla="*/ 6561 h 10000"/>
              <a:gd name="connsiteX303" fmla="*/ 758 w 10000"/>
              <a:gd name="connsiteY303" fmla="*/ 6614 h 10000"/>
              <a:gd name="connsiteX304" fmla="*/ 732 w 10000"/>
              <a:gd name="connsiteY304" fmla="*/ 6706 h 10000"/>
              <a:gd name="connsiteX305" fmla="*/ 510 w 10000"/>
              <a:gd name="connsiteY305" fmla="*/ 6843 h 10000"/>
              <a:gd name="connsiteX306" fmla="*/ 540 w 10000"/>
              <a:gd name="connsiteY306" fmla="*/ 7040 h 10000"/>
              <a:gd name="connsiteX307" fmla="*/ 353 w 10000"/>
              <a:gd name="connsiteY307" fmla="*/ 7293 h 10000"/>
              <a:gd name="connsiteX308" fmla="*/ 226 w 10000"/>
              <a:gd name="connsiteY308" fmla="*/ 7323 h 10000"/>
              <a:gd name="connsiteX309" fmla="*/ 174 w 10000"/>
              <a:gd name="connsiteY309" fmla="*/ 7262 h 10000"/>
              <a:gd name="connsiteX310" fmla="*/ 109 w 10000"/>
              <a:gd name="connsiteY310" fmla="*/ 7354 h 10000"/>
              <a:gd name="connsiteX311" fmla="*/ 152 w 10000"/>
              <a:gd name="connsiteY311" fmla="*/ 7197 h 10000"/>
              <a:gd name="connsiteX312" fmla="*/ 126 w 10000"/>
              <a:gd name="connsiteY31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355 w 10000"/>
              <a:gd name="connsiteY212" fmla="*/ 2428 h 10000"/>
              <a:gd name="connsiteX213" fmla="*/ 9408 w 10000"/>
              <a:gd name="connsiteY213" fmla="*/ 2359 h 10000"/>
              <a:gd name="connsiteX214" fmla="*/ 9717 w 10000"/>
              <a:gd name="connsiteY214" fmla="*/ 2343 h 10000"/>
              <a:gd name="connsiteX215" fmla="*/ 9830 w 10000"/>
              <a:gd name="connsiteY215" fmla="*/ 2369 h 10000"/>
              <a:gd name="connsiteX216" fmla="*/ 9909 w 10000"/>
              <a:gd name="connsiteY216" fmla="*/ 2410 h 10000"/>
              <a:gd name="connsiteX217" fmla="*/ 9948 w 10000"/>
              <a:gd name="connsiteY217" fmla="*/ 2365 h 10000"/>
              <a:gd name="connsiteX218" fmla="*/ 10000 w 10000"/>
              <a:gd name="connsiteY218" fmla="*/ 2349 h 10000"/>
              <a:gd name="connsiteX219" fmla="*/ 9704 w 10000"/>
              <a:gd name="connsiteY219" fmla="*/ 1992 h 10000"/>
              <a:gd name="connsiteX220" fmla="*/ 9743 w 10000"/>
              <a:gd name="connsiteY220" fmla="*/ 1897 h 10000"/>
              <a:gd name="connsiteX221" fmla="*/ 9830 w 10000"/>
              <a:gd name="connsiteY221" fmla="*/ 1819 h 10000"/>
              <a:gd name="connsiteX222" fmla="*/ 9830 w 10000"/>
              <a:gd name="connsiteY222" fmla="*/ 1699 h 10000"/>
              <a:gd name="connsiteX223" fmla="*/ 9556 w 10000"/>
              <a:gd name="connsiteY223" fmla="*/ 1465 h 10000"/>
              <a:gd name="connsiteX224" fmla="*/ 9512 w 10000"/>
              <a:gd name="connsiteY224" fmla="*/ 1379 h 10000"/>
              <a:gd name="connsiteX225" fmla="*/ 9573 w 10000"/>
              <a:gd name="connsiteY225" fmla="*/ 1271 h 10000"/>
              <a:gd name="connsiteX226" fmla="*/ 9543 w 10000"/>
              <a:gd name="connsiteY226" fmla="*/ 1194 h 10000"/>
              <a:gd name="connsiteX227" fmla="*/ 9486 w 10000"/>
              <a:gd name="connsiteY227" fmla="*/ 1159 h 10000"/>
              <a:gd name="connsiteX228" fmla="*/ 9438 w 10000"/>
              <a:gd name="connsiteY228" fmla="*/ 978 h 10000"/>
              <a:gd name="connsiteX229" fmla="*/ 9495 w 10000"/>
              <a:gd name="connsiteY229" fmla="*/ 831 h 10000"/>
              <a:gd name="connsiteX230" fmla="*/ 9077 w 10000"/>
              <a:gd name="connsiteY230" fmla="*/ 517 h 10000"/>
              <a:gd name="connsiteX231" fmla="*/ 8872 w 10000"/>
              <a:gd name="connsiteY231" fmla="*/ 440 h 10000"/>
              <a:gd name="connsiteX232" fmla="*/ 8493 w 10000"/>
              <a:gd name="connsiteY232" fmla="*/ 389 h 10000"/>
              <a:gd name="connsiteX233" fmla="*/ 7709 w 10000"/>
              <a:gd name="connsiteY233" fmla="*/ 26 h 10000"/>
              <a:gd name="connsiteX234" fmla="*/ 7683 w 10000"/>
              <a:gd name="connsiteY234" fmla="*/ 2 h 10000"/>
              <a:gd name="connsiteX235" fmla="*/ 7417 w 10000"/>
              <a:gd name="connsiteY235" fmla="*/ 0 h 10000"/>
              <a:gd name="connsiteX236" fmla="*/ 7356 w 10000"/>
              <a:gd name="connsiteY236" fmla="*/ 14 h 10000"/>
              <a:gd name="connsiteX237" fmla="*/ 7369 w 10000"/>
              <a:gd name="connsiteY237" fmla="*/ 61 h 10000"/>
              <a:gd name="connsiteX238" fmla="*/ 7422 w 10000"/>
              <a:gd name="connsiteY238" fmla="*/ 86 h 10000"/>
              <a:gd name="connsiteX239" fmla="*/ 7435 w 10000"/>
              <a:gd name="connsiteY239" fmla="*/ 139 h 10000"/>
              <a:gd name="connsiteX240" fmla="*/ 7417 w 10000"/>
              <a:gd name="connsiteY240" fmla="*/ 181 h 10000"/>
              <a:gd name="connsiteX241" fmla="*/ 7369 w 10000"/>
              <a:gd name="connsiteY241" fmla="*/ 208 h 10000"/>
              <a:gd name="connsiteX242" fmla="*/ 7334 w 10000"/>
              <a:gd name="connsiteY242" fmla="*/ 283 h 10000"/>
              <a:gd name="connsiteX243" fmla="*/ 7269 w 10000"/>
              <a:gd name="connsiteY243" fmla="*/ 336 h 10000"/>
              <a:gd name="connsiteX244" fmla="*/ 7282 w 10000"/>
              <a:gd name="connsiteY244" fmla="*/ 387 h 10000"/>
              <a:gd name="connsiteX245" fmla="*/ 7382 w 10000"/>
              <a:gd name="connsiteY245" fmla="*/ 434 h 10000"/>
              <a:gd name="connsiteX246" fmla="*/ 7317 w 10000"/>
              <a:gd name="connsiteY246" fmla="*/ 475 h 10000"/>
              <a:gd name="connsiteX247" fmla="*/ 7221 w 10000"/>
              <a:gd name="connsiteY247" fmla="*/ 485 h 10000"/>
              <a:gd name="connsiteX248" fmla="*/ 6420 w 10000"/>
              <a:gd name="connsiteY248" fmla="*/ 387 h 10000"/>
              <a:gd name="connsiteX249" fmla="*/ 6324 w 10000"/>
              <a:gd name="connsiteY249" fmla="*/ 395 h 10000"/>
              <a:gd name="connsiteX250" fmla="*/ 6267 w 10000"/>
              <a:gd name="connsiteY250" fmla="*/ 414 h 10000"/>
              <a:gd name="connsiteX251" fmla="*/ 6211 w 10000"/>
              <a:gd name="connsiteY251" fmla="*/ 462 h 10000"/>
              <a:gd name="connsiteX252" fmla="*/ 6220 w 10000"/>
              <a:gd name="connsiteY252" fmla="*/ 581 h 10000"/>
              <a:gd name="connsiteX253" fmla="*/ 6132 w 10000"/>
              <a:gd name="connsiteY253" fmla="*/ 735 h 10000"/>
              <a:gd name="connsiteX254" fmla="*/ 6024 w 10000"/>
              <a:gd name="connsiteY254" fmla="*/ 815 h 10000"/>
              <a:gd name="connsiteX255" fmla="*/ 5980 w 10000"/>
              <a:gd name="connsiteY255" fmla="*/ 805 h 10000"/>
              <a:gd name="connsiteX256" fmla="*/ 5880 w 10000"/>
              <a:gd name="connsiteY256" fmla="*/ 739 h 10000"/>
              <a:gd name="connsiteX257" fmla="*/ 5753 w 10000"/>
              <a:gd name="connsiteY257" fmla="*/ 705 h 10000"/>
              <a:gd name="connsiteX258" fmla="*/ 5618 w 10000"/>
              <a:gd name="connsiteY258" fmla="*/ 715 h 10000"/>
              <a:gd name="connsiteX259" fmla="*/ 5301 w 10000"/>
              <a:gd name="connsiteY259" fmla="*/ 866 h 10000"/>
              <a:gd name="connsiteX260" fmla="*/ 5218 w 10000"/>
              <a:gd name="connsiteY260" fmla="*/ 1017 h 10000"/>
              <a:gd name="connsiteX261" fmla="*/ 4978 w 10000"/>
              <a:gd name="connsiteY261" fmla="*/ 1153 h 10000"/>
              <a:gd name="connsiteX262" fmla="*/ 4935 w 10000"/>
              <a:gd name="connsiteY262" fmla="*/ 1222 h 10000"/>
              <a:gd name="connsiteX263" fmla="*/ 5061 w 10000"/>
              <a:gd name="connsiteY263" fmla="*/ 1344 h 10000"/>
              <a:gd name="connsiteX264" fmla="*/ 5074 w 10000"/>
              <a:gd name="connsiteY264" fmla="*/ 1412 h 10000"/>
              <a:gd name="connsiteX265" fmla="*/ 4421 w 10000"/>
              <a:gd name="connsiteY265" fmla="*/ 1813 h 10000"/>
              <a:gd name="connsiteX266" fmla="*/ 4220 w 10000"/>
              <a:gd name="connsiteY266" fmla="*/ 2070 h 10000"/>
              <a:gd name="connsiteX267" fmla="*/ 4003 w 10000"/>
              <a:gd name="connsiteY267" fmla="*/ 2135 h 10000"/>
              <a:gd name="connsiteX268" fmla="*/ 3868 w 10000"/>
              <a:gd name="connsiteY268" fmla="*/ 2131 h 10000"/>
              <a:gd name="connsiteX269" fmla="*/ 3785 w 10000"/>
              <a:gd name="connsiteY269" fmla="*/ 2153 h 10000"/>
              <a:gd name="connsiteX270" fmla="*/ 3558 w 10000"/>
              <a:gd name="connsiteY270" fmla="*/ 2793 h 10000"/>
              <a:gd name="connsiteX271" fmla="*/ 3036 w 10000"/>
              <a:gd name="connsiteY271" fmla="*/ 3166 h 10000"/>
              <a:gd name="connsiteX272" fmla="*/ 3040 w 10000"/>
              <a:gd name="connsiteY272" fmla="*/ 3225 h 10000"/>
              <a:gd name="connsiteX273" fmla="*/ 3271 w 10000"/>
              <a:gd name="connsiteY273" fmla="*/ 3392 h 10000"/>
              <a:gd name="connsiteX274" fmla="*/ 3197 w 10000"/>
              <a:gd name="connsiteY274" fmla="*/ 3573 h 10000"/>
              <a:gd name="connsiteX275" fmla="*/ 3062 w 10000"/>
              <a:gd name="connsiteY275" fmla="*/ 3640 h 10000"/>
              <a:gd name="connsiteX276" fmla="*/ 2657 w 10000"/>
              <a:gd name="connsiteY276" fmla="*/ 3595 h 10000"/>
              <a:gd name="connsiteX277" fmla="*/ 2378 w 10000"/>
              <a:gd name="connsiteY277" fmla="*/ 3620 h 10000"/>
              <a:gd name="connsiteX278" fmla="*/ 2152 w 10000"/>
              <a:gd name="connsiteY278" fmla="*/ 3673 h 10000"/>
              <a:gd name="connsiteX279" fmla="*/ 1790 w 10000"/>
              <a:gd name="connsiteY279" fmla="*/ 3840 h 10000"/>
              <a:gd name="connsiteX280" fmla="*/ 1598 w 10000"/>
              <a:gd name="connsiteY280" fmla="*/ 4042 h 10000"/>
              <a:gd name="connsiteX281" fmla="*/ 1616 w 10000"/>
              <a:gd name="connsiteY281" fmla="*/ 4154 h 10000"/>
              <a:gd name="connsiteX282" fmla="*/ 1681 w 10000"/>
              <a:gd name="connsiteY282" fmla="*/ 4241 h 10000"/>
              <a:gd name="connsiteX283" fmla="*/ 1733 w 10000"/>
              <a:gd name="connsiteY283" fmla="*/ 4276 h 10000"/>
              <a:gd name="connsiteX284" fmla="*/ 1638 w 10000"/>
              <a:gd name="connsiteY284" fmla="*/ 4331 h 10000"/>
              <a:gd name="connsiteX285" fmla="*/ 1433 w 10000"/>
              <a:gd name="connsiteY285" fmla="*/ 4710 h 10000"/>
              <a:gd name="connsiteX286" fmla="*/ 1472 w 10000"/>
              <a:gd name="connsiteY286" fmla="*/ 4732 h 10000"/>
              <a:gd name="connsiteX287" fmla="*/ 1503 w 10000"/>
              <a:gd name="connsiteY287" fmla="*/ 4828 h 10000"/>
              <a:gd name="connsiteX288" fmla="*/ 1407 w 10000"/>
              <a:gd name="connsiteY288" fmla="*/ 5227 h 10000"/>
              <a:gd name="connsiteX289" fmla="*/ 1503 w 10000"/>
              <a:gd name="connsiteY289" fmla="*/ 5329 h 10000"/>
              <a:gd name="connsiteX290" fmla="*/ 1764 w 10000"/>
              <a:gd name="connsiteY290" fmla="*/ 5441 h 10000"/>
              <a:gd name="connsiteX291" fmla="*/ 1777 w 10000"/>
              <a:gd name="connsiteY291" fmla="*/ 5578 h 10000"/>
              <a:gd name="connsiteX292" fmla="*/ 1664 w 10000"/>
              <a:gd name="connsiteY292" fmla="*/ 5690 h 10000"/>
              <a:gd name="connsiteX293" fmla="*/ 1503 w 10000"/>
              <a:gd name="connsiteY293" fmla="*/ 5759 h 10000"/>
              <a:gd name="connsiteX294" fmla="*/ 1289 w 10000"/>
              <a:gd name="connsiteY294" fmla="*/ 5787 h 10000"/>
              <a:gd name="connsiteX295" fmla="*/ 1233 w 10000"/>
              <a:gd name="connsiteY295" fmla="*/ 5826 h 10000"/>
              <a:gd name="connsiteX296" fmla="*/ 1359 w 10000"/>
              <a:gd name="connsiteY296" fmla="*/ 5920 h 10000"/>
              <a:gd name="connsiteX297" fmla="*/ 1429 w 10000"/>
              <a:gd name="connsiteY297" fmla="*/ 6142 h 10000"/>
              <a:gd name="connsiteX298" fmla="*/ 1267 w 10000"/>
              <a:gd name="connsiteY298" fmla="*/ 6333 h 10000"/>
              <a:gd name="connsiteX299" fmla="*/ 1324 w 10000"/>
              <a:gd name="connsiteY299" fmla="*/ 6392 h 10000"/>
              <a:gd name="connsiteX300" fmla="*/ 1272 w 10000"/>
              <a:gd name="connsiteY300" fmla="*/ 6492 h 10000"/>
              <a:gd name="connsiteX301" fmla="*/ 1167 w 10000"/>
              <a:gd name="connsiteY301" fmla="*/ 6561 h 10000"/>
              <a:gd name="connsiteX302" fmla="*/ 758 w 10000"/>
              <a:gd name="connsiteY302" fmla="*/ 6614 h 10000"/>
              <a:gd name="connsiteX303" fmla="*/ 732 w 10000"/>
              <a:gd name="connsiteY303" fmla="*/ 6706 h 10000"/>
              <a:gd name="connsiteX304" fmla="*/ 510 w 10000"/>
              <a:gd name="connsiteY304" fmla="*/ 6843 h 10000"/>
              <a:gd name="connsiteX305" fmla="*/ 540 w 10000"/>
              <a:gd name="connsiteY305" fmla="*/ 7040 h 10000"/>
              <a:gd name="connsiteX306" fmla="*/ 353 w 10000"/>
              <a:gd name="connsiteY306" fmla="*/ 7293 h 10000"/>
              <a:gd name="connsiteX307" fmla="*/ 226 w 10000"/>
              <a:gd name="connsiteY307" fmla="*/ 7323 h 10000"/>
              <a:gd name="connsiteX308" fmla="*/ 174 w 10000"/>
              <a:gd name="connsiteY308" fmla="*/ 7262 h 10000"/>
              <a:gd name="connsiteX309" fmla="*/ 109 w 10000"/>
              <a:gd name="connsiteY309" fmla="*/ 7354 h 10000"/>
              <a:gd name="connsiteX310" fmla="*/ 152 w 10000"/>
              <a:gd name="connsiteY310" fmla="*/ 7197 h 10000"/>
              <a:gd name="connsiteX311" fmla="*/ 126 w 10000"/>
              <a:gd name="connsiteY31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9094 w 10000"/>
              <a:gd name="connsiteY210" fmla="*/ 2324 h 10000"/>
              <a:gd name="connsiteX211" fmla="*/ 9355 w 10000"/>
              <a:gd name="connsiteY211" fmla="*/ 2428 h 10000"/>
              <a:gd name="connsiteX212" fmla="*/ 9408 w 10000"/>
              <a:gd name="connsiteY212" fmla="*/ 2359 h 10000"/>
              <a:gd name="connsiteX213" fmla="*/ 9717 w 10000"/>
              <a:gd name="connsiteY213" fmla="*/ 2343 h 10000"/>
              <a:gd name="connsiteX214" fmla="*/ 9830 w 10000"/>
              <a:gd name="connsiteY214" fmla="*/ 2369 h 10000"/>
              <a:gd name="connsiteX215" fmla="*/ 9909 w 10000"/>
              <a:gd name="connsiteY215" fmla="*/ 2410 h 10000"/>
              <a:gd name="connsiteX216" fmla="*/ 9948 w 10000"/>
              <a:gd name="connsiteY216" fmla="*/ 2365 h 10000"/>
              <a:gd name="connsiteX217" fmla="*/ 10000 w 10000"/>
              <a:gd name="connsiteY217" fmla="*/ 2349 h 10000"/>
              <a:gd name="connsiteX218" fmla="*/ 9704 w 10000"/>
              <a:gd name="connsiteY218" fmla="*/ 1992 h 10000"/>
              <a:gd name="connsiteX219" fmla="*/ 9743 w 10000"/>
              <a:gd name="connsiteY219" fmla="*/ 1897 h 10000"/>
              <a:gd name="connsiteX220" fmla="*/ 9830 w 10000"/>
              <a:gd name="connsiteY220" fmla="*/ 1819 h 10000"/>
              <a:gd name="connsiteX221" fmla="*/ 9830 w 10000"/>
              <a:gd name="connsiteY221" fmla="*/ 1699 h 10000"/>
              <a:gd name="connsiteX222" fmla="*/ 9556 w 10000"/>
              <a:gd name="connsiteY222" fmla="*/ 1465 h 10000"/>
              <a:gd name="connsiteX223" fmla="*/ 9512 w 10000"/>
              <a:gd name="connsiteY223" fmla="*/ 1379 h 10000"/>
              <a:gd name="connsiteX224" fmla="*/ 9573 w 10000"/>
              <a:gd name="connsiteY224" fmla="*/ 1271 h 10000"/>
              <a:gd name="connsiteX225" fmla="*/ 9543 w 10000"/>
              <a:gd name="connsiteY225" fmla="*/ 1194 h 10000"/>
              <a:gd name="connsiteX226" fmla="*/ 9486 w 10000"/>
              <a:gd name="connsiteY226" fmla="*/ 1159 h 10000"/>
              <a:gd name="connsiteX227" fmla="*/ 9438 w 10000"/>
              <a:gd name="connsiteY227" fmla="*/ 978 h 10000"/>
              <a:gd name="connsiteX228" fmla="*/ 9495 w 10000"/>
              <a:gd name="connsiteY228" fmla="*/ 831 h 10000"/>
              <a:gd name="connsiteX229" fmla="*/ 9077 w 10000"/>
              <a:gd name="connsiteY229" fmla="*/ 517 h 10000"/>
              <a:gd name="connsiteX230" fmla="*/ 8872 w 10000"/>
              <a:gd name="connsiteY230" fmla="*/ 440 h 10000"/>
              <a:gd name="connsiteX231" fmla="*/ 8493 w 10000"/>
              <a:gd name="connsiteY231" fmla="*/ 389 h 10000"/>
              <a:gd name="connsiteX232" fmla="*/ 7709 w 10000"/>
              <a:gd name="connsiteY232" fmla="*/ 26 h 10000"/>
              <a:gd name="connsiteX233" fmla="*/ 7683 w 10000"/>
              <a:gd name="connsiteY233" fmla="*/ 2 h 10000"/>
              <a:gd name="connsiteX234" fmla="*/ 7417 w 10000"/>
              <a:gd name="connsiteY234" fmla="*/ 0 h 10000"/>
              <a:gd name="connsiteX235" fmla="*/ 7356 w 10000"/>
              <a:gd name="connsiteY235" fmla="*/ 14 h 10000"/>
              <a:gd name="connsiteX236" fmla="*/ 7369 w 10000"/>
              <a:gd name="connsiteY236" fmla="*/ 61 h 10000"/>
              <a:gd name="connsiteX237" fmla="*/ 7422 w 10000"/>
              <a:gd name="connsiteY237" fmla="*/ 86 h 10000"/>
              <a:gd name="connsiteX238" fmla="*/ 7435 w 10000"/>
              <a:gd name="connsiteY238" fmla="*/ 139 h 10000"/>
              <a:gd name="connsiteX239" fmla="*/ 7417 w 10000"/>
              <a:gd name="connsiteY239" fmla="*/ 181 h 10000"/>
              <a:gd name="connsiteX240" fmla="*/ 7369 w 10000"/>
              <a:gd name="connsiteY240" fmla="*/ 208 h 10000"/>
              <a:gd name="connsiteX241" fmla="*/ 7334 w 10000"/>
              <a:gd name="connsiteY241" fmla="*/ 283 h 10000"/>
              <a:gd name="connsiteX242" fmla="*/ 7269 w 10000"/>
              <a:gd name="connsiteY242" fmla="*/ 336 h 10000"/>
              <a:gd name="connsiteX243" fmla="*/ 7282 w 10000"/>
              <a:gd name="connsiteY243" fmla="*/ 387 h 10000"/>
              <a:gd name="connsiteX244" fmla="*/ 7382 w 10000"/>
              <a:gd name="connsiteY244" fmla="*/ 434 h 10000"/>
              <a:gd name="connsiteX245" fmla="*/ 7317 w 10000"/>
              <a:gd name="connsiteY245" fmla="*/ 475 h 10000"/>
              <a:gd name="connsiteX246" fmla="*/ 7221 w 10000"/>
              <a:gd name="connsiteY246" fmla="*/ 485 h 10000"/>
              <a:gd name="connsiteX247" fmla="*/ 6420 w 10000"/>
              <a:gd name="connsiteY247" fmla="*/ 387 h 10000"/>
              <a:gd name="connsiteX248" fmla="*/ 6324 w 10000"/>
              <a:gd name="connsiteY248" fmla="*/ 395 h 10000"/>
              <a:gd name="connsiteX249" fmla="*/ 6267 w 10000"/>
              <a:gd name="connsiteY249" fmla="*/ 414 h 10000"/>
              <a:gd name="connsiteX250" fmla="*/ 6211 w 10000"/>
              <a:gd name="connsiteY250" fmla="*/ 462 h 10000"/>
              <a:gd name="connsiteX251" fmla="*/ 6220 w 10000"/>
              <a:gd name="connsiteY251" fmla="*/ 581 h 10000"/>
              <a:gd name="connsiteX252" fmla="*/ 6132 w 10000"/>
              <a:gd name="connsiteY252" fmla="*/ 735 h 10000"/>
              <a:gd name="connsiteX253" fmla="*/ 6024 w 10000"/>
              <a:gd name="connsiteY253" fmla="*/ 815 h 10000"/>
              <a:gd name="connsiteX254" fmla="*/ 5980 w 10000"/>
              <a:gd name="connsiteY254" fmla="*/ 805 h 10000"/>
              <a:gd name="connsiteX255" fmla="*/ 5880 w 10000"/>
              <a:gd name="connsiteY255" fmla="*/ 739 h 10000"/>
              <a:gd name="connsiteX256" fmla="*/ 5753 w 10000"/>
              <a:gd name="connsiteY256" fmla="*/ 705 h 10000"/>
              <a:gd name="connsiteX257" fmla="*/ 5618 w 10000"/>
              <a:gd name="connsiteY257" fmla="*/ 715 h 10000"/>
              <a:gd name="connsiteX258" fmla="*/ 5301 w 10000"/>
              <a:gd name="connsiteY258" fmla="*/ 866 h 10000"/>
              <a:gd name="connsiteX259" fmla="*/ 5218 w 10000"/>
              <a:gd name="connsiteY259" fmla="*/ 1017 h 10000"/>
              <a:gd name="connsiteX260" fmla="*/ 4978 w 10000"/>
              <a:gd name="connsiteY260" fmla="*/ 1153 h 10000"/>
              <a:gd name="connsiteX261" fmla="*/ 4935 w 10000"/>
              <a:gd name="connsiteY261" fmla="*/ 1222 h 10000"/>
              <a:gd name="connsiteX262" fmla="*/ 5061 w 10000"/>
              <a:gd name="connsiteY262" fmla="*/ 1344 h 10000"/>
              <a:gd name="connsiteX263" fmla="*/ 5074 w 10000"/>
              <a:gd name="connsiteY263" fmla="*/ 1412 h 10000"/>
              <a:gd name="connsiteX264" fmla="*/ 4421 w 10000"/>
              <a:gd name="connsiteY264" fmla="*/ 1813 h 10000"/>
              <a:gd name="connsiteX265" fmla="*/ 4220 w 10000"/>
              <a:gd name="connsiteY265" fmla="*/ 2070 h 10000"/>
              <a:gd name="connsiteX266" fmla="*/ 4003 w 10000"/>
              <a:gd name="connsiteY266" fmla="*/ 2135 h 10000"/>
              <a:gd name="connsiteX267" fmla="*/ 3868 w 10000"/>
              <a:gd name="connsiteY267" fmla="*/ 2131 h 10000"/>
              <a:gd name="connsiteX268" fmla="*/ 3785 w 10000"/>
              <a:gd name="connsiteY268" fmla="*/ 2153 h 10000"/>
              <a:gd name="connsiteX269" fmla="*/ 3558 w 10000"/>
              <a:gd name="connsiteY269" fmla="*/ 2793 h 10000"/>
              <a:gd name="connsiteX270" fmla="*/ 3036 w 10000"/>
              <a:gd name="connsiteY270" fmla="*/ 3166 h 10000"/>
              <a:gd name="connsiteX271" fmla="*/ 3040 w 10000"/>
              <a:gd name="connsiteY271" fmla="*/ 3225 h 10000"/>
              <a:gd name="connsiteX272" fmla="*/ 3271 w 10000"/>
              <a:gd name="connsiteY272" fmla="*/ 3392 h 10000"/>
              <a:gd name="connsiteX273" fmla="*/ 3197 w 10000"/>
              <a:gd name="connsiteY273" fmla="*/ 3573 h 10000"/>
              <a:gd name="connsiteX274" fmla="*/ 3062 w 10000"/>
              <a:gd name="connsiteY274" fmla="*/ 3640 h 10000"/>
              <a:gd name="connsiteX275" fmla="*/ 2657 w 10000"/>
              <a:gd name="connsiteY275" fmla="*/ 3595 h 10000"/>
              <a:gd name="connsiteX276" fmla="*/ 2378 w 10000"/>
              <a:gd name="connsiteY276" fmla="*/ 3620 h 10000"/>
              <a:gd name="connsiteX277" fmla="*/ 2152 w 10000"/>
              <a:gd name="connsiteY277" fmla="*/ 3673 h 10000"/>
              <a:gd name="connsiteX278" fmla="*/ 1790 w 10000"/>
              <a:gd name="connsiteY278" fmla="*/ 3840 h 10000"/>
              <a:gd name="connsiteX279" fmla="*/ 1598 w 10000"/>
              <a:gd name="connsiteY279" fmla="*/ 4042 h 10000"/>
              <a:gd name="connsiteX280" fmla="*/ 1616 w 10000"/>
              <a:gd name="connsiteY280" fmla="*/ 4154 h 10000"/>
              <a:gd name="connsiteX281" fmla="*/ 1681 w 10000"/>
              <a:gd name="connsiteY281" fmla="*/ 4241 h 10000"/>
              <a:gd name="connsiteX282" fmla="*/ 1733 w 10000"/>
              <a:gd name="connsiteY282" fmla="*/ 4276 h 10000"/>
              <a:gd name="connsiteX283" fmla="*/ 1638 w 10000"/>
              <a:gd name="connsiteY283" fmla="*/ 4331 h 10000"/>
              <a:gd name="connsiteX284" fmla="*/ 1433 w 10000"/>
              <a:gd name="connsiteY284" fmla="*/ 4710 h 10000"/>
              <a:gd name="connsiteX285" fmla="*/ 1472 w 10000"/>
              <a:gd name="connsiteY285" fmla="*/ 4732 h 10000"/>
              <a:gd name="connsiteX286" fmla="*/ 1503 w 10000"/>
              <a:gd name="connsiteY286" fmla="*/ 4828 h 10000"/>
              <a:gd name="connsiteX287" fmla="*/ 1407 w 10000"/>
              <a:gd name="connsiteY287" fmla="*/ 5227 h 10000"/>
              <a:gd name="connsiteX288" fmla="*/ 1503 w 10000"/>
              <a:gd name="connsiteY288" fmla="*/ 5329 h 10000"/>
              <a:gd name="connsiteX289" fmla="*/ 1764 w 10000"/>
              <a:gd name="connsiteY289" fmla="*/ 5441 h 10000"/>
              <a:gd name="connsiteX290" fmla="*/ 1777 w 10000"/>
              <a:gd name="connsiteY290" fmla="*/ 5578 h 10000"/>
              <a:gd name="connsiteX291" fmla="*/ 1664 w 10000"/>
              <a:gd name="connsiteY291" fmla="*/ 5690 h 10000"/>
              <a:gd name="connsiteX292" fmla="*/ 1503 w 10000"/>
              <a:gd name="connsiteY292" fmla="*/ 5759 h 10000"/>
              <a:gd name="connsiteX293" fmla="*/ 1289 w 10000"/>
              <a:gd name="connsiteY293" fmla="*/ 5787 h 10000"/>
              <a:gd name="connsiteX294" fmla="*/ 1233 w 10000"/>
              <a:gd name="connsiteY294" fmla="*/ 5826 h 10000"/>
              <a:gd name="connsiteX295" fmla="*/ 1359 w 10000"/>
              <a:gd name="connsiteY295" fmla="*/ 5920 h 10000"/>
              <a:gd name="connsiteX296" fmla="*/ 1429 w 10000"/>
              <a:gd name="connsiteY296" fmla="*/ 6142 h 10000"/>
              <a:gd name="connsiteX297" fmla="*/ 1267 w 10000"/>
              <a:gd name="connsiteY297" fmla="*/ 6333 h 10000"/>
              <a:gd name="connsiteX298" fmla="*/ 1324 w 10000"/>
              <a:gd name="connsiteY298" fmla="*/ 6392 h 10000"/>
              <a:gd name="connsiteX299" fmla="*/ 1272 w 10000"/>
              <a:gd name="connsiteY299" fmla="*/ 6492 h 10000"/>
              <a:gd name="connsiteX300" fmla="*/ 1167 w 10000"/>
              <a:gd name="connsiteY300" fmla="*/ 6561 h 10000"/>
              <a:gd name="connsiteX301" fmla="*/ 758 w 10000"/>
              <a:gd name="connsiteY301" fmla="*/ 6614 h 10000"/>
              <a:gd name="connsiteX302" fmla="*/ 732 w 10000"/>
              <a:gd name="connsiteY302" fmla="*/ 6706 h 10000"/>
              <a:gd name="connsiteX303" fmla="*/ 510 w 10000"/>
              <a:gd name="connsiteY303" fmla="*/ 6843 h 10000"/>
              <a:gd name="connsiteX304" fmla="*/ 540 w 10000"/>
              <a:gd name="connsiteY304" fmla="*/ 7040 h 10000"/>
              <a:gd name="connsiteX305" fmla="*/ 353 w 10000"/>
              <a:gd name="connsiteY305" fmla="*/ 7293 h 10000"/>
              <a:gd name="connsiteX306" fmla="*/ 226 w 10000"/>
              <a:gd name="connsiteY306" fmla="*/ 7323 h 10000"/>
              <a:gd name="connsiteX307" fmla="*/ 174 w 10000"/>
              <a:gd name="connsiteY307" fmla="*/ 7262 h 10000"/>
              <a:gd name="connsiteX308" fmla="*/ 109 w 10000"/>
              <a:gd name="connsiteY308" fmla="*/ 7354 h 10000"/>
              <a:gd name="connsiteX309" fmla="*/ 152 w 10000"/>
              <a:gd name="connsiteY309" fmla="*/ 7197 h 10000"/>
              <a:gd name="connsiteX310" fmla="*/ 126 w 10000"/>
              <a:gd name="connsiteY31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9094 w 10000"/>
              <a:gd name="connsiteY209" fmla="*/ 2324 h 10000"/>
              <a:gd name="connsiteX210" fmla="*/ 9355 w 10000"/>
              <a:gd name="connsiteY210" fmla="*/ 2428 h 10000"/>
              <a:gd name="connsiteX211" fmla="*/ 9408 w 10000"/>
              <a:gd name="connsiteY211" fmla="*/ 2359 h 10000"/>
              <a:gd name="connsiteX212" fmla="*/ 9717 w 10000"/>
              <a:gd name="connsiteY212" fmla="*/ 2343 h 10000"/>
              <a:gd name="connsiteX213" fmla="*/ 9830 w 10000"/>
              <a:gd name="connsiteY213" fmla="*/ 2369 h 10000"/>
              <a:gd name="connsiteX214" fmla="*/ 9909 w 10000"/>
              <a:gd name="connsiteY214" fmla="*/ 2410 h 10000"/>
              <a:gd name="connsiteX215" fmla="*/ 9948 w 10000"/>
              <a:gd name="connsiteY215" fmla="*/ 2365 h 10000"/>
              <a:gd name="connsiteX216" fmla="*/ 10000 w 10000"/>
              <a:gd name="connsiteY216" fmla="*/ 2349 h 10000"/>
              <a:gd name="connsiteX217" fmla="*/ 9704 w 10000"/>
              <a:gd name="connsiteY217" fmla="*/ 1992 h 10000"/>
              <a:gd name="connsiteX218" fmla="*/ 9743 w 10000"/>
              <a:gd name="connsiteY218" fmla="*/ 1897 h 10000"/>
              <a:gd name="connsiteX219" fmla="*/ 9830 w 10000"/>
              <a:gd name="connsiteY219" fmla="*/ 1819 h 10000"/>
              <a:gd name="connsiteX220" fmla="*/ 9830 w 10000"/>
              <a:gd name="connsiteY220" fmla="*/ 1699 h 10000"/>
              <a:gd name="connsiteX221" fmla="*/ 9556 w 10000"/>
              <a:gd name="connsiteY221" fmla="*/ 1465 h 10000"/>
              <a:gd name="connsiteX222" fmla="*/ 9512 w 10000"/>
              <a:gd name="connsiteY222" fmla="*/ 1379 h 10000"/>
              <a:gd name="connsiteX223" fmla="*/ 9573 w 10000"/>
              <a:gd name="connsiteY223" fmla="*/ 1271 h 10000"/>
              <a:gd name="connsiteX224" fmla="*/ 9543 w 10000"/>
              <a:gd name="connsiteY224" fmla="*/ 1194 h 10000"/>
              <a:gd name="connsiteX225" fmla="*/ 9486 w 10000"/>
              <a:gd name="connsiteY225" fmla="*/ 1159 h 10000"/>
              <a:gd name="connsiteX226" fmla="*/ 9438 w 10000"/>
              <a:gd name="connsiteY226" fmla="*/ 978 h 10000"/>
              <a:gd name="connsiteX227" fmla="*/ 9495 w 10000"/>
              <a:gd name="connsiteY227" fmla="*/ 831 h 10000"/>
              <a:gd name="connsiteX228" fmla="*/ 9077 w 10000"/>
              <a:gd name="connsiteY228" fmla="*/ 517 h 10000"/>
              <a:gd name="connsiteX229" fmla="*/ 8872 w 10000"/>
              <a:gd name="connsiteY229" fmla="*/ 440 h 10000"/>
              <a:gd name="connsiteX230" fmla="*/ 8493 w 10000"/>
              <a:gd name="connsiteY230" fmla="*/ 389 h 10000"/>
              <a:gd name="connsiteX231" fmla="*/ 7709 w 10000"/>
              <a:gd name="connsiteY231" fmla="*/ 26 h 10000"/>
              <a:gd name="connsiteX232" fmla="*/ 7683 w 10000"/>
              <a:gd name="connsiteY232" fmla="*/ 2 h 10000"/>
              <a:gd name="connsiteX233" fmla="*/ 7417 w 10000"/>
              <a:gd name="connsiteY233" fmla="*/ 0 h 10000"/>
              <a:gd name="connsiteX234" fmla="*/ 7356 w 10000"/>
              <a:gd name="connsiteY234" fmla="*/ 14 h 10000"/>
              <a:gd name="connsiteX235" fmla="*/ 7369 w 10000"/>
              <a:gd name="connsiteY235" fmla="*/ 61 h 10000"/>
              <a:gd name="connsiteX236" fmla="*/ 7422 w 10000"/>
              <a:gd name="connsiteY236" fmla="*/ 86 h 10000"/>
              <a:gd name="connsiteX237" fmla="*/ 7435 w 10000"/>
              <a:gd name="connsiteY237" fmla="*/ 139 h 10000"/>
              <a:gd name="connsiteX238" fmla="*/ 7417 w 10000"/>
              <a:gd name="connsiteY238" fmla="*/ 181 h 10000"/>
              <a:gd name="connsiteX239" fmla="*/ 7369 w 10000"/>
              <a:gd name="connsiteY239" fmla="*/ 208 h 10000"/>
              <a:gd name="connsiteX240" fmla="*/ 7334 w 10000"/>
              <a:gd name="connsiteY240" fmla="*/ 283 h 10000"/>
              <a:gd name="connsiteX241" fmla="*/ 7269 w 10000"/>
              <a:gd name="connsiteY241" fmla="*/ 336 h 10000"/>
              <a:gd name="connsiteX242" fmla="*/ 7282 w 10000"/>
              <a:gd name="connsiteY242" fmla="*/ 387 h 10000"/>
              <a:gd name="connsiteX243" fmla="*/ 7382 w 10000"/>
              <a:gd name="connsiteY243" fmla="*/ 434 h 10000"/>
              <a:gd name="connsiteX244" fmla="*/ 7317 w 10000"/>
              <a:gd name="connsiteY244" fmla="*/ 475 h 10000"/>
              <a:gd name="connsiteX245" fmla="*/ 7221 w 10000"/>
              <a:gd name="connsiteY245" fmla="*/ 485 h 10000"/>
              <a:gd name="connsiteX246" fmla="*/ 6420 w 10000"/>
              <a:gd name="connsiteY246" fmla="*/ 387 h 10000"/>
              <a:gd name="connsiteX247" fmla="*/ 6324 w 10000"/>
              <a:gd name="connsiteY247" fmla="*/ 395 h 10000"/>
              <a:gd name="connsiteX248" fmla="*/ 6267 w 10000"/>
              <a:gd name="connsiteY248" fmla="*/ 414 h 10000"/>
              <a:gd name="connsiteX249" fmla="*/ 6211 w 10000"/>
              <a:gd name="connsiteY249" fmla="*/ 462 h 10000"/>
              <a:gd name="connsiteX250" fmla="*/ 6220 w 10000"/>
              <a:gd name="connsiteY250" fmla="*/ 581 h 10000"/>
              <a:gd name="connsiteX251" fmla="*/ 6132 w 10000"/>
              <a:gd name="connsiteY251" fmla="*/ 735 h 10000"/>
              <a:gd name="connsiteX252" fmla="*/ 6024 w 10000"/>
              <a:gd name="connsiteY252" fmla="*/ 815 h 10000"/>
              <a:gd name="connsiteX253" fmla="*/ 5980 w 10000"/>
              <a:gd name="connsiteY253" fmla="*/ 805 h 10000"/>
              <a:gd name="connsiteX254" fmla="*/ 5880 w 10000"/>
              <a:gd name="connsiteY254" fmla="*/ 739 h 10000"/>
              <a:gd name="connsiteX255" fmla="*/ 5753 w 10000"/>
              <a:gd name="connsiteY255" fmla="*/ 705 h 10000"/>
              <a:gd name="connsiteX256" fmla="*/ 5618 w 10000"/>
              <a:gd name="connsiteY256" fmla="*/ 715 h 10000"/>
              <a:gd name="connsiteX257" fmla="*/ 5301 w 10000"/>
              <a:gd name="connsiteY257" fmla="*/ 866 h 10000"/>
              <a:gd name="connsiteX258" fmla="*/ 5218 w 10000"/>
              <a:gd name="connsiteY258" fmla="*/ 1017 h 10000"/>
              <a:gd name="connsiteX259" fmla="*/ 4978 w 10000"/>
              <a:gd name="connsiteY259" fmla="*/ 1153 h 10000"/>
              <a:gd name="connsiteX260" fmla="*/ 4935 w 10000"/>
              <a:gd name="connsiteY260" fmla="*/ 1222 h 10000"/>
              <a:gd name="connsiteX261" fmla="*/ 5061 w 10000"/>
              <a:gd name="connsiteY261" fmla="*/ 1344 h 10000"/>
              <a:gd name="connsiteX262" fmla="*/ 5074 w 10000"/>
              <a:gd name="connsiteY262" fmla="*/ 1412 h 10000"/>
              <a:gd name="connsiteX263" fmla="*/ 4421 w 10000"/>
              <a:gd name="connsiteY263" fmla="*/ 1813 h 10000"/>
              <a:gd name="connsiteX264" fmla="*/ 4220 w 10000"/>
              <a:gd name="connsiteY264" fmla="*/ 2070 h 10000"/>
              <a:gd name="connsiteX265" fmla="*/ 4003 w 10000"/>
              <a:gd name="connsiteY265" fmla="*/ 2135 h 10000"/>
              <a:gd name="connsiteX266" fmla="*/ 3868 w 10000"/>
              <a:gd name="connsiteY266" fmla="*/ 2131 h 10000"/>
              <a:gd name="connsiteX267" fmla="*/ 3785 w 10000"/>
              <a:gd name="connsiteY267" fmla="*/ 2153 h 10000"/>
              <a:gd name="connsiteX268" fmla="*/ 3558 w 10000"/>
              <a:gd name="connsiteY268" fmla="*/ 2793 h 10000"/>
              <a:gd name="connsiteX269" fmla="*/ 3036 w 10000"/>
              <a:gd name="connsiteY269" fmla="*/ 3166 h 10000"/>
              <a:gd name="connsiteX270" fmla="*/ 3040 w 10000"/>
              <a:gd name="connsiteY270" fmla="*/ 3225 h 10000"/>
              <a:gd name="connsiteX271" fmla="*/ 3271 w 10000"/>
              <a:gd name="connsiteY271" fmla="*/ 3392 h 10000"/>
              <a:gd name="connsiteX272" fmla="*/ 3197 w 10000"/>
              <a:gd name="connsiteY272" fmla="*/ 3573 h 10000"/>
              <a:gd name="connsiteX273" fmla="*/ 3062 w 10000"/>
              <a:gd name="connsiteY273" fmla="*/ 3640 h 10000"/>
              <a:gd name="connsiteX274" fmla="*/ 2657 w 10000"/>
              <a:gd name="connsiteY274" fmla="*/ 3595 h 10000"/>
              <a:gd name="connsiteX275" fmla="*/ 2378 w 10000"/>
              <a:gd name="connsiteY275" fmla="*/ 3620 h 10000"/>
              <a:gd name="connsiteX276" fmla="*/ 2152 w 10000"/>
              <a:gd name="connsiteY276" fmla="*/ 3673 h 10000"/>
              <a:gd name="connsiteX277" fmla="*/ 1790 w 10000"/>
              <a:gd name="connsiteY277" fmla="*/ 3840 h 10000"/>
              <a:gd name="connsiteX278" fmla="*/ 1598 w 10000"/>
              <a:gd name="connsiteY278" fmla="*/ 4042 h 10000"/>
              <a:gd name="connsiteX279" fmla="*/ 1616 w 10000"/>
              <a:gd name="connsiteY279" fmla="*/ 4154 h 10000"/>
              <a:gd name="connsiteX280" fmla="*/ 1681 w 10000"/>
              <a:gd name="connsiteY280" fmla="*/ 4241 h 10000"/>
              <a:gd name="connsiteX281" fmla="*/ 1733 w 10000"/>
              <a:gd name="connsiteY281" fmla="*/ 4276 h 10000"/>
              <a:gd name="connsiteX282" fmla="*/ 1638 w 10000"/>
              <a:gd name="connsiteY282" fmla="*/ 4331 h 10000"/>
              <a:gd name="connsiteX283" fmla="*/ 1433 w 10000"/>
              <a:gd name="connsiteY283" fmla="*/ 4710 h 10000"/>
              <a:gd name="connsiteX284" fmla="*/ 1472 w 10000"/>
              <a:gd name="connsiteY284" fmla="*/ 4732 h 10000"/>
              <a:gd name="connsiteX285" fmla="*/ 1503 w 10000"/>
              <a:gd name="connsiteY285" fmla="*/ 4828 h 10000"/>
              <a:gd name="connsiteX286" fmla="*/ 1407 w 10000"/>
              <a:gd name="connsiteY286" fmla="*/ 5227 h 10000"/>
              <a:gd name="connsiteX287" fmla="*/ 1503 w 10000"/>
              <a:gd name="connsiteY287" fmla="*/ 5329 h 10000"/>
              <a:gd name="connsiteX288" fmla="*/ 1764 w 10000"/>
              <a:gd name="connsiteY288" fmla="*/ 5441 h 10000"/>
              <a:gd name="connsiteX289" fmla="*/ 1777 w 10000"/>
              <a:gd name="connsiteY289" fmla="*/ 5578 h 10000"/>
              <a:gd name="connsiteX290" fmla="*/ 1664 w 10000"/>
              <a:gd name="connsiteY290" fmla="*/ 5690 h 10000"/>
              <a:gd name="connsiteX291" fmla="*/ 1503 w 10000"/>
              <a:gd name="connsiteY291" fmla="*/ 5759 h 10000"/>
              <a:gd name="connsiteX292" fmla="*/ 1289 w 10000"/>
              <a:gd name="connsiteY292" fmla="*/ 5787 h 10000"/>
              <a:gd name="connsiteX293" fmla="*/ 1233 w 10000"/>
              <a:gd name="connsiteY293" fmla="*/ 5826 h 10000"/>
              <a:gd name="connsiteX294" fmla="*/ 1359 w 10000"/>
              <a:gd name="connsiteY294" fmla="*/ 5920 h 10000"/>
              <a:gd name="connsiteX295" fmla="*/ 1429 w 10000"/>
              <a:gd name="connsiteY295" fmla="*/ 6142 h 10000"/>
              <a:gd name="connsiteX296" fmla="*/ 1267 w 10000"/>
              <a:gd name="connsiteY296" fmla="*/ 6333 h 10000"/>
              <a:gd name="connsiteX297" fmla="*/ 1324 w 10000"/>
              <a:gd name="connsiteY297" fmla="*/ 6392 h 10000"/>
              <a:gd name="connsiteX298" fmla="*/ 1272 w 10000"/>
              <a:gd name="connsiteY298" fmla="*/ 6492 h 10000"/>
              <a:gd name="connsiteX299" fmla="*/ 1167 w 10000"/>
              <a:gd name="connsiteY299" fmla="*/ 6561 h 10000"/>
              <a:gd name="connsiteX300" fmla="*/ 758 w 10000"/>
              <a:gd name="connsiteY300" fmla="*/ 6614 h 10000"/>
              <a:gd name="connsiteX301" fmla="*/ 732 w 10000"/>
              <a:gd name="connsiteY301" fmla="*/ 6706 h 10000"/>
              <a:gd name="connsiteX302" fmla="*/ 510 w 10000"/>
              <a:gd name="connsiteY302" fmla="*/ 6843 h 10000"/>
              <a:gd name="connsiteX303" fmla="*/ 540 w 10000"/>
              <a:gd name="connsiteY303" fmla="*/ 7040 h 10000"/>
              <a:gd name="connsiteX304" fmla="*/ 353 w 10000"/>
              <a:gd name="connsiteY304" fmla="*/ 7293 h 10000"/>
              <a:gd name="connsiteX305" fmla="*/ 226 w 10000"/>
              <a:gd name="connsiteY305" fmla="*/ 7323 h 10000"/>
              <a:gd name="connsiteX306" fmla="*/ 174 w 10000"/>
              <a:gd name="connsiteY306" fmla="*/ 7262 h 10000"/>
              <a:gd name="connsiteX307" fmla="*/ 109 w 10000"/>
              <a:gd name="connsiteY307" fmla="*/ 7354 h 10000"/>
              <a:gd name="connsiteX308" fmla="*/ 152 w 10000"/>
              <a:gd name="connsiteY308" fmla="*/ 7197 h 10000"/>
              <a:gd name="connsiteX309" fmla="*/ 126 w 10000"/>
              <a:gd name="connsiteY30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9355 w 10000"/>
              <a:gd name="connsiteY209" fmla="*/ 2428 h 10000"/>
              <a:gd name="connsiteX210" fmla="*/ 9408 w 10000"/>
              <a:gd name="connsiteY210" fmla="*/ 2359 h 10000"/>
              <a:gd name="connsiteX211" fmla="*/ 9717 w 10000"/>
              <a:gd name="connsiteY211" fmla="*/ 2343 h 10000"/>
              <a:gd name="connsiteX212" fmla="*/ 9830 w 10000"/>
              <a:gd name="connsiteY212" fmla="*/ 2369 h 10000"/>
              <a:gd name="connsiteX213" fmla="*/ 9909 w 10000"/>
              <a:gd name="connsiteY213" fmla="*/ 2410 h 10000"/>
              <a:gd name="connsiteX214" fmla="*/ 9948 w 10000"/>
              <a:gd name="connsiteY214" fmla="*/ 2365 h 10000"/>
              <a:gd name="connsiteX215" fmla="*/ 10000 w 10000"/>
              <a:gd name="connsiteY215" fmla="*/ 2349 h 10000"/>
              <a:gd name="connsiteX216" fmla="*/ 9704 w 10000"/>
              <a:gd name="connsiteY216" fmla="*/ 1992 h 10000"/>
              <a:gd name="connsiteX217" fmla="*/ 9743 w 10000"/>
              <a:gd name="connsiteY217" fmla="*/ 1897 h 10000"/>
              <a:gd name="connsiteX218" fmla="*/ 9830 w 10000"/>
              <a:gd name="connsiteY218" fmla="*/ 1819 h 10000"/>
              <a:gd name="connsiteX219" fmla="*/ 9830 w 10000"/>
              <a:gd name="connsiteY219" fmla="*/ 1699 h 10000"/>
              <a:gd name="connsiteX220" fmla="*/ 9556 w 10000"/>
              <a:gd name="connsiteY220" fmla="*/ 1465 h 10000"/>
              <a:gd name="connsiteX221" fmla="*/ 9512 w 10000"/>
              <a:gd name="connsiteY221" fmla="*/ 1379 h 10000"/>
              <a:gd name="connsiteX222" fmla="*/ 9573 w 10000"/>
              <a:gd name="connsiteY222" fmla="*/ 1271 h 10000"/>
              <a:gd name="connsiteX223" fmla="*/ 9543 w 10000"/>
              <a:gd name="connsiteY223" fmla="*/ 1194 h 10000"/>
              <a:gd name="connsiteX224" fmla="*/ 9486 w 10000"/>
              <a:gd name="connsiteY224" fmla="*/ 1159 h 10000"/>
              <a:gd name="connsiteX225" fmla="*/ 9438 w 10000"/>
              <a:gd name="connsiteY225" fmla="*/ 978 h 10000"/>
              <a:gd name="connsiteX226" fmla="*/ 9495 w 10000"/>
              <a:gd name="connsiteY226" fmla="*/ 831 h 10000"/>
              <a:gd name="connsiteX227" fmla="*/ 9077 w 10000"/>
              <a:gd name="connsiteY227" fmla="*/ 517 h 10000"/>
              <a:gd name="connsiteX228" fmla="*/ 8872 w 10000"/>
              <a:gd name="connsiteY228" fmla="*/ 440 h 10000"/>
              <a:gd name="connsiteX229" fmla="*/ 8493 w 10000"/>
              <a:gd name="connsiteY229" fmla="*/ 389 h 10000"/>
              <a:gd name="connsiteX230" fmla="*/ 7709 w 10000"/>
              <a:gd name="connsiteY230" fmla="*/ 26 h 10000"/>
              <a:gd name="connsiteX231" fmla="*/ 7683 w 10000"/>
              <a:gd name="connsiteY231" fmla="*/ 2 h 10000"/>
              <a:gd name="connsiteX232" fmla="*/ 7417 w 10000"/>
              <a:gd name="connsiteY232" fmla="*/ 0 h 10000"/>
              <a:gd name="connsiteX233" fmla="*/ 7356 w 10000"/>
              <a:gd name="connsiteY233" fmla="*/ 14 h 10000"/>
              <a:gd name="connsiteX234" fmla="*/ 7369 w 10000"/>
              <a:gd name="connsiteY234" fmla="*/ 61 h 10000"/>
              <a:gd name="connsiteX235" fmla="*/ 7422 w 10000"/>
              <a:gd name="connsiteY235" fmla="*/ 86 h 10000"/>
              <a:gd name="connsiteX236" fmla="*/ 7435 w 10000"/>
              <a:gd name="connsiteY236" fmla="*/ 139 h 10000"/>
              <a:gd name="connsiteX237" fmla="*/ 7417 w 10000"/>
              <a:gd name="connsiteY237" fmla="*/ 181 h 10000"/>
              <a:gd name="connsiteX238" fmla="*/ 7369 w 10000"/>
              <a:gd name="connsiteY238" fmla="*/ 208 h 10000"/>
              <a:gd name="connsiteX239" fmla="*/ 7334 w 10000"/>
              <a:gd name="connsiteY239" fmla="*/ 283 h 10000"/>
              <a:gd name="connsiteX240" fmla="*/ 7269 w 10000"/>
              <a:gd name="connsiteY240" fmla="*/ 336 h 10000"/>
              <a:gd name="connsiteX241" fmla="*/ 7282 w 10000"/>
              <a:gd name="connsiteY241" fmla="*/ 387 h 10000"/>
              <a:gd name="connsiteX242" fmla="*/ 7382 w 10000"/>
              <a:gd name="connsiteY242" fmla="*/ 434 h 10000"/>
              <a:gd name="connsiteX243" fmla="*/ 7317 w 10000"/>
              <a:gd name="connsiteY243" fmla="*/ 475 h 10000"/>
              <a:gd name="connsiteX244" fmla="*/ 7221 w 10000"/>
              <a:gd name="connsiteY244" fmla="*/ 485 h 10000"/>
              <a:gd name="connsiteX245" fmla="*/ 6420 w 10000"/>
              <a:gd name="connsiteY245" fmla="*/ 387 h 10000"/>
              <a:gd name="connsiteX246" fmla="*/ 6324 w 10000"/>
              <a:gd name="connsiteY246" fmla="*/ 395 h 10000"/>
              <a:gd name="connsiteX247" fmla="*/ 6267 w 10000"/>
              <a:gd name="connsiteY247" fmla="*/ 414 h 10000"/>
              <a:gd name="connsiteX248" fmla="*/ 6211 w 10000"/>
              <a:gd name="connsiteY248" fmla="*/ 462 h 10000"/>
              <a:gd name="connsiteX249" fmla="*/ 6220 w 10000"/>
              <a:gd name="connsiteY249" fmla="*/ 581 h 10000"/>
              <a:gd name="connsiteX250" fmla="*/ 6132 w 10000"/>
              <a:gd name="connsiteY250" fmla="*/ 735 h 10000"/>
              <a:gd name="connsiteX251" fmla="*/ 6024 w 10000"/>
              <a:gd name="connsiteY251" fmla="*/ 815 h 10000"/>
              <a:gd name="connsiteX252" fmla="*/ 5980 w 10000"/>
              <a:gd name="connsiteY252" fmla="*/ 805 h 10000"/>
              <a:gd name="connsiteX253" fmla="*/ 5880 w 10000"/>
              <a:gd name="connsiteY253" fmla="*/ 739 h 10000"/>
              <a:gd name="connsiteX254" fmla="*/ 5753 w 10000"/>
              <a:gd name="connsiteY254" fmla="*/ 705 h 10000"/>
              <a:gd name="connsiteX255" fmla="*/ 5618 w 10000"/>
              <a:gd name="connsiteY255" fmla="*/ 715 h 10000"/>
              <a:gd name="connsiteX256" fmla="*/ 5301 w 10000"/>
              <a:gd name="connsiteY256" fmla="*/ 866 h 10000"/>
              <a:gd name="connsiteX257" fmla="*/ 5218 w 10000"/>
              <a:gd name="connsiteY257" fmla="*/ 1017 h 10000"/>
              <a:gd name="connsiteX258" fmla="*/ 4978 w 10000"/>
              <a:gd name="connsiteY258" fmla="*/ 1153 h 10000"/>
              <a:gd name="connsiteX259" fmla="*/ 4935 w 10000"/>
              <a:gd name="connsiteY259" fmla="*/ 1222 h 10000"/>
              <a:gd name="connsiteX260" fmla="*/ 5061 w 10000"/>
              <a:gd name="connsiteY260" fmla="*/ 1344 h 10000"/>
              <a:gd name="connsiteX261" fmla="*/ 5074 w 10000"/>
              <a:gd name="connsiteY261" fmla="*/ 1412 h 10000"/>
              <a:gd name="connsiteX262" fmla="*/ 4421 w 10000"/>
              <a:gd name="connsiteY262" fmla="*/ 1813 h 10000"/>
              <a:gd name="connsiteX263" fmla="*/ 4220 w 10000"/>
              <a:gd name="connsiteY263" fmla="*/ 2070 h 10000"/>
              <a:gd name="connsiteX264" fmla="*/ 4003 w 10000"/>
              <a:gd name="connsiteY264" fmla="*/ 2135 h 10000"/>
              <a:gd name="connsiteX265" fmla="*/ 3868 w 10000"/>
              <a:gd name="connsiteY265" fmla="*/ 2131 h 10000"/>
              <a:gd name="connsiteX266" fmla="*/ 3785 w 10000"/>
              <a:gd name="connsiteY266" fmla="*/ 2153 h 10000"/>
              <a:gd name="connsiteX267" fmla="*/ 3558 w 10000"/>
              <a:gd name="connsiteY267" fmla="*/ 2793 h 10000"/>
              <a:gd name="connsiteX268" fmla="*/ 3036 w 10000"/>
              <a:gd name="connsiteY268" fmla="*/ 3166 h 10000"/>
              <a:gd name="connsiteX269" fmla="*/ 3040 w 10000"/>
              <a:gd name="connsiteY269" fmla="*/ 3225 h 10000"/>
              <a:gd name="connsiteX270" fmla="*/ 3271 w 10000"/>
              <a:gd name="connsiteY270" fmla="*/ 3392 h 10000"/>
              <a:gd name="connsiteX271" fmla="*/ 3197 w 10000"/>
              <a:gd name="connsiteY271" fmla="*/ 3573 h 10000"/>
              <a:gd name="connsiteX272" fmla="*/ 3062 w 10000"/>
              <a:gd name="connsiteY272" fmla="*/ 3640 h 10000"/>
              <a:gd name="connsiteX273" fmla="*/ 2657 w 10000"/>
              <a:gd name="connsiteY273" fmla="*/ 3595 h 10000"/>
              <a:gd name="connsiteX274" fmla="*/ 2378 w 10000"/>
              <a:gd name="connsiteY274" fmla="*/ 3620 h 10000"/>
              <a:gd name="connsiteX275" fmla="*/ 2152 w 10000"/>
              <a:gd name="connsiteY275" fmla="*/ 3673 h 10000"/>
              <a:gd name="connsiteX276" fmla="*/ 1790 w 10000"/>
              <a:gd name="connsiteY276" fmla="*/ 3840 h 10000"/>
              <a:gd name="connsiteX277" fmla="*/ 1598 w 10000"/>
              <a:gd name="connsiteY277" fmla="*/ 4042 h 10000"/>
              <a:gd name="connsiteX278" fmla="*/ 1616 w 10000"/>
              <a:gd name="connsiteY278" fmla="*/ 4154 h 10000"/>
              <a:gd name="connsiteX279" fmla="*/ 1681 w 10000"/>
              <a:gd name="connsiteY279" fmla="*/ 4241 h 10000"/>
              <a:gd name="connsiteX280" fmla="*/ 1733 w 10000"/>
              <a:gd name="connsiteY280" fmla="*/ 4276 h 10000"/>
              <a:gd name="connsiteX281" fmla="*/ 1638 w 10000"/>
              <a:gd name="connsiteY281" fmla="*/ 4331 h 10000"/>
              <a:gd name="connsiteX282" fmla="*/ 1433 w 10000"/>
              <a:gd name="connsiteY282" fmla="*/ 4710 h 10000"/>
              <a:gd name="connsiteX283" fmla="*/ 1472 w 10000"/>
              <a:gd name="connsiteY283" fmla="*/ 4732 h 10000"/>
              <a:gd name="connsiteX284" fmla="*/ 1503 w 10000"/>
              <a:gd name="connsiteY284" fmla="*/ 4828 h 10000"/>
              <a:gd name="connsiteX285" fmla="*/ 1407 w 10000"/>
              <a:gd name="connsiteY285" fmla="*/ 5227 h 10000"/>
              <a:gd name="connsiteX286" fmla="*/ 1503 w 10000"/>
              <a:gd name="connsiteY286" fmla="*/ 5329 h 10000"/>
              <a:gd name="connsiteX287" fmla="*/ 1764 w 10000"/>
              <a:gd name="connsiteY287" fmla="*/ 5441 h 10000"/>
              <a:gd name="connsiteX288" fmla="*/ 1777 w 10000"/>
              <a:gd name="connsiteY288" fmla="*/ 5578 h 10000"/>
              <a:gd name="connsiteX289" fmla="*/ 1664 w 10000"/>
              <a:gd name="connsiteY289" fmla="*/ 5690 h 10000"/>
              <a:gd name="connsiteX290" fmla="*/ 1503 w 10000"/>
              <a:gd name="connsiteY290" fmla="*/ 5759 h 10000"/>
              <a:gd name="connsiteX291" fmla="*/ 1289 w 10000"/>
              <a:gd name="connsiteY291" fmla="*/ 5787 h 10000"/>
              <a:gd name="connsiteX292" fmla="*/ 1233 w 10000"/>
              <a:gd name="connsiteY292" fmla="*/ 5826 h 10000"/>
              <a:gd name="connsiteX293" fmla="*/ 1359 w 10000"/>
              <a:gd name="connsiteY293" fmla="*/ 5920 h 10000"/>
              <a:gd name="connsiteX294" fmla="*/ 1429 w 10000"/>
              <a:gd name="connsiteY294" fmla="*/ 6142 h 10000"/>
              <a:gd name="connsiteX295" fmla="*/ 1267 w 10000"/>
              <a:gd name="connsiteY295" fmla="*/ 6333 h 10000"/>
              <a:gd name="connsiteX296" fmla="*/ 1324 w 10000"/>
              <a:gd name="connsiteY296" fmla="*/ 6392 h 10000"/>
              <a:gd name="connsiteX297" fmla="*/ 1272 w 10000"/>
              <a:gd name="connsiteY297" fmla="*/ 6492 h 10000"/>
              <a:gd name="connsiteX298" fmla="*/ 1167 w 10000"/>
              <a:gd name="connsiteY298" fmla="*/ 6561 h 10000"/>
              <a:gd name="connsiteX299" fmla="*/ 758 w 10000"/>
              <a:gd name="connsiteY299" fmla="*/ 6614 h 10000"/>
              <a:gd name="connsiteX300" fmla="*/ 732 w 10000"/>
              <a:gd name="connsiteY300" fmla="*/ 6706 h 10000"/>
              <a:gd name="connsiteX301" fmla="*/ 510 w 10000"/>
              <a:gd name="connsiteY301" fmla="*/ 6843 h 10000"/>
              <a:gd name="connsiteX302" fmla="*/ 540 w 10000"/>
              <a:gd name="connsiteY302" fmla="*/ 7040 h 10000"/>
              <a:gd name="connsiteX303" fmla="*/ 353 w 10000"/>
              <a:gd name="connsiteY303" fmla="*/ 7293 h 10000"/>
              <a:gd name="connsiteX304" fmla="*/ 226 w 10000"/>
              <a:gd name="connsiteY304" fmla="*/ 7323 h 10000"/>
              <a:gd name="connsiteX305" fmla="*/ 174 w 10000"/>
              <a:gd name="connsiteY305" fmla="*/ 7262 h 10000"/>
              <a:gd name="connsiteX306" fmla="*/ 109 w 10000"/>
              <a:gd name="connsiteY306" fmla="*/ 7354 h 10000"/>
              <a:gd name="connsiteX307" fmla="*/ 152 w 10000"/>
              <a:gd name="connsiteY307" fmla="*/ 7197 h 10000"/>
              <a:gd name="connsiteX308" fmla="*/ 126 w 10000"/>
              <a:gd name="connsiteY30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9355 w 10000"/>
              <a:gd name="connsiteY208" fmla="*/ 2428 h 10000"/>
              <a:gd name="connsiteX209" fmla="*/ 9408 w 10000"/>
              <a:gd name="connsiteY209" fmla="*/ 2359 h 10000"/>
              <a:gd name="connsiteX210" fmla="*/ 9717 w 10000"/>
              <a:gd name="connsiteY210" fmla="*/ 2343 h 10000"/>
              <a:gd name="connsiteX211" fmla="*/ 9830 w 10000"/>
              <a:gd name="connsiteY211" fmla="*/ 2369 h 10000"/>
              <a:gd name="connsiteX212" fmla="*/ 9909 w 10000"/>
              <a:gd name="connsiteY212" fmla="*/ 2410 h 10000"/>
              <a:gd name="connsiteX213" fmla="*/ 9948 w 10000"/>
              <a:gd name="connsiteY213" fmla="*/ 2365 h 10000"/>
              <a:gd name="connsiteX214" fmla="*/ 10000 w 10000"/>
              <a:gd name="connsiteY214" fmla="*/ 2349 h 10000"/>
              <a:gd name="connsiteX215" fmla="*/ 9704 w 10000"/>
              <a:gd name="connsiteY215" fmla="*/ 1992 h 10000"/>
              <a:gd name="connsiteX216" fmla="*/ 9743 w 10000"/>
              <a:gd name="connsiteY216" fmla="*/ 1897 h 10000"/>
              <a:gd name="connsiteX217" fmla="*/ 9830 w 10000"/>
              <a:gd name="connsiteY217" fmla="*/ 1819 h 10000"/>
              <a:gd name="connsiteX218" fmla="*/ 9830 w 10000"/>
              <a:gd name="connsiteY218" fmla="*/ 1699 h 10000"/>
              <a:gd name="connsiteX219" fmla="*/ 9556 w 10000"/>
              <a:gd name="connsiteY219" fmla="*/ 1465 h 10000"/>
              <a:gd name="connsiteX220" fmla="*/ 9512 w 10000"/>
              <a:gd name="connsiteY220" fmla="*/ 1379 h 10000"/>
              <a:gd name="connsiteX221" fmla="*/ 9573 w 10000"/>
              <a:gd name="connsiteY221" fmla="*/ 1271 h 10000"/>
              <a:gd name="connsiteX222" fmla="*/ 9543 w 10000"/>
              <a:gd name="connsiteY222" fmla="*/ 1194 h 10000"/>
              <a:gd name="connsiteX223" fmla="*/ 9486 w 10000"/>
              <a:gd name="connsiteY223" fmla="*/ 1159 h 10000"/>
              <a:gd name="connsiteX224" fmla="*/ 9438 w 10000"/>
              <a:gd name="connsiteY224" fmla="*/ 978 h 10000"/>
              <a:gd name="connsiteX225" fmla="*/ 9495 w 10000"/>
              <a:gd name="connsiteY225" fmla="*/ 831 h 10000"/>
              <a:gd name="connsiteX226" fmla="*/ 9077 w 10000"/>
              <a:gd name="connsiteY226" fmla="*/ 517 h 10000"/>
              <a:gd name="connsiteX227" fmla="*/ 8872 w 10000"/>
              <a:gd name="connsiteY227" fmla="*/ 440 h 10000"/>
              <a:gd name="connsiteX228" fmla="*/ 8493 w 10000"/>
              <a:gd name="connsiteY228" fmla="*/ 389 h 10000"/>
              <a:gd name="connsiteX229" fmla="*/ 7709 w 10000"/>
              <a:gd name="connsiteY229" fmla="*/ 26 h 10000"/>
              <a:gd name="connsiteX230" fmla="*/ 7683 w 10000"/>
              <a:gd name="connsiteY230" fmla="*/ 2 h 10000"/>
              <a:gd name="connsiteX231" fmla="*/ 7417 w 10000"/>
              <a:gd name="connsiteY231" fmla="*/ 0 h 10000"/>
              <a:gd name="connsiteX232" fmla="*/ 7356 w 10000"/>
              <a:gd name="connsiteY232" fmla="*/ 14 h 10000"/>
              <a:gd name="connsiteX233" fmla="*/ 7369 w 10000"/>
              <a:gd name="connsiteY233" fmla="*/ 61 h 10000"/>
              <a:gd name="connsiteX234" fmla="*/ 7422 w 10000"/>
              <a:gd name="connsiteY234" fmla="*/ 86 h 10000"/>
              <a:gd name="connsiteX235" fmla="*/ 7435 w 10000"/>
              <a:gd name="connsiteY235" fmla="*/ 139 h 10000"/>
              <a:gd name="connsiteX236" fmla="*/ 7417 w 10000"/>
              <a:gd name="connsiteY236" fmla="*/ 181 h 10000"/>
              <a:gd name="connsiteX237" fmla="*/ 7369 w 10000"/>
              <a:gd name="connsiteY237" fmla="*/ 208 h 10000"/>
              <a:gd name="connsiteX238" fmla="*/ 7334 w 10000"/>
              <a:gd name="connsiteY238" fmla="*/ 283 h 10000"/>
              <a:gd name="connsiteX239" fmla="*/ 7269 w 10000"/>
              <a:gd name="connsiteY239" fmla="*/ 336 h 10000"/>
              <a:gd name="connsiteX240" fmla="*/ 7282 w 10000"/>
              <a:gd name="connsiteY240" fmla="*/ 387 h 10000"/>
              <a:gd name="connsiteX241" fmla="*/ 7382 w 10000"/>
              <a:gd name="connsiteY241" fmla="*/ 434 h 10000"/>
              <a:gd name="connsiteX242" fmla="*/ 7317 w 10000"/>
              <a:gd name="connsiteY242" fmla="*/ 475 h 10000"/>
              <a:gd name="connsiteX243" fmla="*/ 7221 w 10000"/>
              <a:gd name="connsiteY243" fmla="*/ 485 h 10000"/>
              <a:gd name="connsiteX244" fmla="*/ 6420 w 10000"/>
              <a:gd name="connsiteY244" fmla="*/ 387 h 10000"/>
              <a:gd name="connsiteX245" fmla="*/ 6324 w 10000"/>
              <a:gd name="connsiteY245" fmla="*/ 395 h 10000"/>
              <a:gd name="connsiteX246" fmla="*/ 6267 w 10000"/>
              <a:gd name="connsiteY246" fmla="*/ 414 h 10000"/>
              <a:gd name="connsiteX247" fmla="*/ 6211 w 10000"/>
              <a:gd name="connsiteY247" fmla="*/ 462 h 10000"/>
              <a:gd name="connsiteX248" fmla="*/ 6220 w 10000"/>
              <a:gd name="connsiteY248" fmla="*/ 581 h 10000"/>
              <a:gd name="connsiteX249" fmla="*/ 6132 w 10000"/>
              <a:gd name="connsiteY249" fmla="*/ 735 h 10000"/>
              <a:gd name="connsiteX250" fmla="*/ 6024 w 10000"/>
              <a:gd name="connsiteY250" fmla="*/ 815 h 10000"/>
              <a:gd name="connsiteX251" fmla="*/ 5980 w 10000"/>
              <a:gd name="connsiteY251" fmla="*/ 805 h 10000"/>
              <a:gd name="connsiteX252" fmla="*/ 5880 w 10000"/>
              <a:gd name="connsiteY252" fmla="*/ 739 h 10000"/>
              <a:gd name="connsiteX253" fmla="*/ 5753 w 10000"/>
              <a:gd name="connsiteY253" fmla="*/ 705 h 10000"/>
              <a:gd name="connsiteX254" fmla="*/ 5618 w 10000"/>
              <a:gd name="connsiteY254" fmla="*/ 715 h 10000"/>
              <a:gd name="connsiteX255" fmla="*/ 5301 w 10000"/>
              <a:gd name="connsiteY255" fmla="*/ 866 h 10000"/>
              <a:gd name="connsiteX256" fmla="*/ 5218 w 10000"/>
              <a:gd name="connsiteY256" fmla="*/ 1017 h 10000"/>
              <a:gd name="connsiteX257" fmla="*/ 4978 w 10000"/>
              <a:gd name="connsiteY257" fmla="*/ 1153 h 10000"/>
              <a:gd name="connsiteX258" fmla="*/ 4935 w 10000"/>
              <a:gd name="connsiteY258" fmla="*/ 1222 h 10000"/>
              <a:gd name="connsiteX259" fmla="*/ 5061 w 10000"/>
              <a:gd name="connsiteY259" fmla="*/ 1344 h 10000"/>
              <a:gd name="connsiteX260" fmla="*/ 5074 w 10000"/>
              <a:gd name="connsiteY260" fmla="*/ 1412 h 10000"/>
              <a:gd name="connsiteX261" fmla="*/ 4421 w 10000"/>
              <a:gd name="connsiteY261" fmla="*/ 1813 h 10000"/>
              <a:gd name="connsiteX262" fmla="*/ 4220 w 10000"/>
              <a:gd name="connsiteY262" fmla="*/ 2070 h 10000"/>
              <a:gd name="connsiteX263" fmla="*/ 4003 w 10000"/>
              <a:gd name="connsiteY263" fmla="*/ 2135 h 10000"/>
              <a:gd name="connsiteX264" fmla="*/ 3868 w 10000"/>
              <a:gd name="connsiteY264" fmla="*/ 2131 h 10000"/>
              <a:gd name="connsiteX265" fmla="*/ 3785 w 10000"/>
              <a:gd name="connsiteY265" fmla="*/ 2153 h 10000"/>
              <a:gd name="connsiteX266" fmla="*/ 3558 w 10000"/>
              <a:gd name="connsiteY266" fmla="*/ 2793 h 10000"/>
              <a:gd name="connsiteX267" fmla="*/ 3036 w 10000"/>
              <a:gd name="connsiteY267" fmla="*/ 3166 h 10000"/>
              <a:gd name="connsiteX268" fmla="*/ 3040 w 10000"/>
              <a:gd name="connsiteY268" fmla="*/ 3225 h 10000"/>
              <a:gd name="connsiteX269" fmla="*/ 3271 w 10000"/>
              <a:gd name="connsiteY269" fmla="*/ 3392 h 10000"/>
              <a:gd name="connsiteX270" fmla="*/ 3197 w 10000"/>
              <a:gd name="connsiteY270" fmla="*/ 3573 h 10000"/>
              <a:gd name="connsiteX271" fmla="*/ 3062 w 10000"/>
              <a:gd name="connsiteY271" fmla="*/ 3640 h 10000"/>
              <a:gd name="connsiteX272" fmla="*/ 2657 w 10000"/>
              <a:gd name="connsiteY272" fmla="*/ 3595 h 10000"/>
              <a:gd name="connsiteX273" fmla="*/ 2378 w 10000"/>
              <a:gd name="connsiteY273" fmla="*/ 3620 h 10000"/>
              <a:gd name="connsiteX274" fmla="*/ 2152 w 10000"/>
              <a:gd name="connsiteY274" fmla="*/ 3673 h 10000"/>
              <a:gd name="connsiteX275" fmla="*/ 1790 w 10000"/>
              <a:gd name="connsiteY275" fmla="*/ 3840 h 10000"/>
              <a:gd name="connsiteX276" fmla="*/ 1598 w 10000"/>
              <a:gd name="connsiteY276" fmla="*/ 4042 h 10000"/>
              <a:gd name="connsiteX277" fmla="*/ 1616 w 10000"/>
              <a:gd name="connsiteY277" fmla="*/ 4154 h 10000"/>
              <a:gd name="connsiteX278" fmla="*/ 1681 w 10000"/>
              <a:gd name="connsiteY278" fmla="*/ 4241 h 10000"/>
              <a:gd name="connsiteX279" fmla="*/ 1733 w 10000"/>
              <a:gd name="connsiteY279" fmla="*/ 4276 h 10000"/>
              <a:gd name="connsiteX280" fmla="*/ 1638 w 10000"/>
              <a:gd name="connsiteY280" fmla="*/ 4331 h 10000"/>
              <a:gd name="connsiteX281" fmla="*/ 1433 w 10000"/>
              <a:gd name="connsiteY281" fmla="*/ 4710 h 10000"/>
              <a:gd name="connsiteX282" fmla="*/ 1472 w 10000"/>
              <a:gd name="connsiteY282" fmla="*/ 4732 h 10000"/>
              <a:gd name="connsiteX283" fmla="*/ 1503 w 10000"/>
              <a:gd name="connsiteY283" fmla="*/ 4828 h 10000"/>
              <a:gd name="connsiteX284" fmla="*/ 1407 w 10000"/>
              <a:gd name="connsiteY284" fmla="*/ 5227 h 10000"/>
              <a:gd name="connsiteX285" fmla="*/ 1503 w 10000"/>
              <a:gd name="connsiteY285" fmla="*/ 5329 h 10000"/>
              <a:gd name="connsiteX286" fmla="*/ 1764 w 10000"/>
              <a:gd name="connsiteY286" fmla="*/ 5441 h 10000"/>
              <a:gd name="connsiteX287" fmla="*/ 1777 w 10000"/>
              <a:gd name="connsiteY287" fmla="*/ 5578 h 10000"/>
              <a:gd name="connsiteX288" fmla="*/ 1664 w 10000"/>
              <a:gd name="connsiteY288" fmla="*/ 5690 h 10000"/>
              <a:gd name="connsiteX289" fmla="*/ 1503 w 10000"/>
              <a:gd name="connsiteY289" fmla="*/ 5759 h 10000"/>
              <a:gd name="connsiteX290" fmla="*/ 1289 w 10000"/>
              <a:gd name="connsiteY290" fmla="*/ 5787 h 10000"/>
              <a:gd name="connsiteX291" fmla="*/ 1233 w 10000"/>
              <a:gd name="connsiteY291" fmla="*/ 5826 h 10000"/>
              <a:gd name="connsiteX292" fmla="*/ 1359 w 10000"/>
              <a:gd name="connsiteY292" fmla="*/ 5920 h 10000"/>
              <a:gd name="connsiteX293" fmla="*/ 1429 w 10000"/>
              <a:gd name="connsiteY293" fmla="*/ 6142 h 10000"/>
              <a:gd name="connsiteX294" fmla="*/ 1267 w 10000"/>
              <a:gd name="connsiteY294" fmla="*/ 6333 h 10000"/>
              <a:gd name="connsiteX295" fmla="*/ 1324 w 10000"/>
              <a:gd name="connsiteY295" fmla="*/ 6392 h 10000"/>
              <a:gd name="connsiteX296" fmla="*/ 1272 w 10000"/>
              <a:gd name="connsiteY296" fmla="*/ 6492 h 10000"/>
              <a:gd name="connsiteX297" fmla="*/ 1167 w 10000"/>
              <a:gd name="connsiteY297" fmla="*/ 6561 h 10000"/>
              <a:gd name="connsiteX298" fmla="*/ 758 w 10000"/>
              <a:gd name="connsiteY298" fmla="*/ 6614 h 10000"/>
              <a:gd name="connsiteX299" fmla="*/ 732 w 10000"/>
              <a:gd name="connsiteY299" fmla="*/ 6706 h 10000"/>
              <a:gd name="connsiteX300" fmla="*/ 510 w 10000"/>
              <a:gd name="connsiteY300" fmla="*/ 6843 h 10000"/>
              <a:gd name="connsiteX301" fmla="*/ 540 w 10000"/>
              <a:gd name="connsiteY301" fmla="*/ 7040 h 10000"/>
              <a:gd name="connsiteX302" fmla="*/ 353 w 10000"/>
              <a:gd name="connsiteY302" fmla="*/ 7293 h 10000"/>
              <a:gd name="connsiteX303" fmla="*/ 226 w 10000"/>
              <a:gd name="connsiteY303" fmla="*/ 7323 h 10000"/>
              <a:gd name="connsiteX304" fmla="*/ 174 w 10000"/>
              <a:gd name="connsiteY304" fmla="*/ 7262 h 10000"/>
              <a:gd name="connsiteX305" fmla="*/ 109 w 10000"/>
              <a:gd name="connsiteY305" fmla="*/ 7354 h 10000"/>
              <a:gd name="connsiteX306" fmla="*/ 152 w 10000"/>
              <a:gd name="connsiteY306" fmla="*/ 7197 h 10000"/>
              <a:gd name="connsiteX307" fmla="*/ 126 w 10000"/>
              <a:gd name="connsiteY30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355 w 10000"/>
              <a:gd name="connsiteY207" fmla="*/ 2428 h 10000"/>
              <a:gd name="connsiteX208" fmla="*/ 9408 w 10000"/>
              <a:gd name="connsiteY208" fmla="*/ 2359 h 10000"/>
              <a:gd name="connsiteX209" fmla="*/ 9717 w 10000"/>
              <a:gd name="connsiteY209" fmla="*/ 2343 h 10000"/>
              <a:gd name="connsiteX210" fmla="*/ 9830 w 10000"/>
              <a:gd name="connsiteY210" fmla="*/ 2369 h 10000"/>
              <a:gd name="connsiteX211" fmla="*/ 9909 w 10000"/>
              <a:gd name="connsiteY211" fmla="*/ 2410 h 10000"/>
              <a:gd name="connsiteX212" fmla="*/ 9948 w 10000"/>
              <a:gd name="connsiteY212" fmla="*/ 2365 h 10000"/>
              <a:gd name="connsiteX213" fmla="*/ 10000 w 10000"/>
              <a:gd name="connsiteY213" fmla="*/ 2349 h 10000"/>
              <a:gd name="connsiteX214" fmla="*/ 9704 w 10000"/>
              <a:gd name="connsiteY214" fmla="*/ 1992 h 10000"/>
              <a:gd name="connsiteX215" fmla="*/ 9743 w 10000"/>
              <a:gd name="connsiteY215" fmla="*/ 1897 h 10000"/>
              <a:gd name="connsiteX216" fmla="*/ 9830 w 10000"/>
              <a:gd name="connsiteY216" fmla="*/ 1819 h 10000"/>
              <a:gd name="connsiteX217" fmla="*/ 9830 w 10000"/>
              <a:gd name="connsiteY217" fmla="*/ 1699 h 10000"/>
              <a:gd name="connsiteX218" fmla="*/ 9556 w 10000"/>
              <a:gd name="connsiteY218" fmla="*/ 1465 h 10000"/>
              <a:gd name="connsiteX219" fmla="*/ 9512 w 10000"/>
              <a:gd name="connsiteY219" fmla="*/ 1379 h 10000"/>
              <a:gd name="connsiteX220" fmla="*/ 9573 w 10000"/>
              <a:gd name="connsiteY220" fmla="*/ 1271 h 10000"/>
              <a:gd name="connsiteX221" fmla="*/ 9543 w 10000"/>
              <a:gd name="connsiteY221" fmla="*/ 1194 h 10000"/>
              <a:gd name="connsiteX222" fmla="*/ 9486 w 10000"/>
              <a:gd name="connsiteY222" fmla="*/ 1159 h 10000"/>
              <a:gd name="connsiteX223" fmla="*/ 9438 w 10000"/>
              <a:gd name="connsiteY223" fmla="*/ 978 h 10000"/>
              <a:gd name="connsiteX224" fmla="*/ 9495 w 10000"/>
              <a:gd name="connsiteY224" fmla="*/ 831 h 10000"/>
              <a:gd name="connsiteX225" fmla="*/ 9077 w 10000"/>
              <a:gd name="connsiteY225" fmla="*/ 517 h 10000"/>
              <a:gd name="connsiteX226" fmla="*/ 8872 w 10000"/>
              <a:gd name="connsiteY226" fmla="*/ 440 h 10000"/>
              <a:gd name="connsiteX227" fmla="*/ 8493 w 10000"/>
              <a:gd name="connsiteY227" fmla="*/ 389 h 10000"/>
              <a:gd name="connsiteX228" fmla="*/ 7709 w 10000"/>
              <a:gd name="connsiteY228" fmla="*/ 26 h 10000"/>
              <a:gd name="connsiteX229" fmla="*/ 7683 w 10000"/>
              <a:gd name="connsiteY229" fmla="*/ 2 h 10000"/>
              <a:gd name="connsiteX230" fmla="*/ 7417 w 10000"/>
              <a:gd name="connsiteY230" fmla="*/ 0 h 10000"/>
              <a:gd name="connsiteX231" fmla="*/ 7356 w 10000"/>
              <a:gd name="connsiteY231" fmla="*/ 14 h 10000"/>
              <a:gd name="connsiteX232" fmla="*/ 7369 w 10000"/>
              <a:gd name="connsiteY232" fmla="*/ 61 h 10000"/>
              <a:gd name="connsiteX233" fmla="*/ 7422 w 10000"/>
              <a:gd name="connsiteY233" fmla="*/ 86 h 10000"/>
              <a:gd name="connsiteX234" fmla="*/ 7435 w 10000"/>
              <a:gd name="connsiteY234" fmla="*/ 139 h 10000"/>
              <a:gd name="connsiteX235" fmla="*/ 7417 w 10000"/>
              <a:gd name="connsiteY235" fmla="*/ 181 h 10000"/>
              <a:gd name="connsiteX236" fmla="*/ 7369 w 10000"/>
              <a:gd name="connsiteY236" fmla="*/ 208 h 10000"/>
              <a:gd name="connsiteX237" fmla="*/ 7334 w 10000"/>
              <a:gd name="connsiteY237" fmla="*/ 283 h 10000"/>
              <a:gd name="connsiteX238" fmla="*/ 7269 w 10000"/>
              <a:gd name="connsiteY238" fmla="*/ 336 h 10000"/>
              <a:gd name="connsiteX239" fmla="*/ 7282 w 10000"/>
              <a:gd name="connsiteY239" fmla="*/ 387 h 10000"/>
              <a:gd name="connsiteX240" fmla="*/ 7382 w 10000"/>
              <a:gd name="connsiteY240" fmla="*/ 434 h 10000"/>
              <a:gd name="connsiteX241" fmla="*/ 7317 w 10000"/>
              <a:gd name="connsiteY241" fmla="*/ 475 h 10000"/>
              <a:gd name="connsiteX242" fmla="*/ 7221 w 10000"/>
              <a:gd name="connsiteY242" fmla="*/ 485 h 10000"/>
              <a:gd name="connsiteX243" fmla="*/ 6420 w 10000"/>
              <a:gd name="connsiteY243" fmla="*/ 387 h 10000"/>
              <a:gd name="connsiteX244" fmla="*/ 6324 w 10000"/>
              <a:gd name="connsiteY244" fmla="*/ 395 h 10000"/>
              <a:gd name="connsiteX245" fmla="*/ 6267 w 10000"/>
              <a:gd name="connsiteY245" fmla="*/ 414 h 10000"/>
              <a:gd name="connsiteX246" fmla="*/ 6211 w 10000"/>
              <a:gd name="connsiteY246" fmla="*/ 462 h 10000"/>
              <a:gd name="connsiteX247" fmla="*/ 6220 w 10000"/>
              <a:gd name="connsiteY247" fmla="*/ 581 h 10000"/>
              <a:gd name="connsiteX248" fmla="*/ 6132 w 10000"/>
              <a:gd name="connsiteY248" fmla="*/ 735 h 10000"/>
              <a:gd name="connsiteX249" fmla="*/ 6024 w 10000"/>
              <a:gd name="connsiteY249" fmla="*/ 815 h 10000"/>
              <a:gd name="connsiteX250" fmla="*/ 5980 w 10000"/>
              <a:gd name="connsiteY250" fmla="*/ 805 h 10000"/>
              <a:gd name="connsiteX251" fmla="*/ 5880 w 10000"/>
              <a:gd name="connsiteY251" fmla="*/ 739 h 10000"/>
              <a:gd name="connsiteX252" fmla="*/ 5753 w 10000"/>
              <a:gd name="connsiteY252" fmla="*/ 705 h 10000"/>
              <a:gd name="connsiteX253" fmla="*/ 5618 w 10000"/>
              <a:gd name="connsiteY253" fmla="*/ 715 h 10000"/>
              <a:gd name="connsiteX254" fmla="*/ 5301 w 10000"/>
              <a:gd name="connsiteY254" fmla="*/ 866 h 10000"/>
              <a:gd name="connsiteX255" fmla="*/ 5218 w 10000"/>
              <a:gd name="connsiteY255" fmla="*/ 1017 h 10000"/>
              <a:gd name="connsiteX256" fmla="*/ 4978 w 10000"/>
              <a:gd name="connsiteY256" fmla="*/ 1153 h 10000"/>
              <a:gd name="connsiteX257" fmla="*/ 4935 w 10000"/>
              <a:gd name="connsiteY257" fmla="*/ 1222 h 10000"/>
              <a:gd name="connsiteX258" fmla="*/ 5061 w 10000"/>
              <a:gd name="connsiteY258" fmla="*/ 1344 h 10000"/>
              <a:gd name="connsiteX259" fmla="*/ 5074 w 10000"/>
              <a:gd name="connsiteY259" fmla="*/ 1412 h 10000"/>
              <a:gd name="connsiteX260" fmla="*/ 4421 w 10000"/>
              <a:gd name="connsiteY260" fmla="*/ 1813 h 10000"/>
              <a:gd name="connsiteX261" fmla="*/ 4220 w 10000"/>
              <a:gd name="connsiteY261" fmla="*/ 2070 h 10000"/>
              <a:gd name="connsiteX262" fmla="*/ 4003 w 10000"/>
              <a:gd name="connsiteY262" fmla="*/ 2135 h 10000"/>
              <a:gd name="connsiteX263" fmla="*/ 3868 w 10000"/>
              <a:gd name="connsiteY263" fmla="*/ 2131 h 10000"/>
              <a:gd name="connsiteX264" fmla="*/ 3785 w 10000"/>
              <a:gd name="connsiteY264" fmla="*/ 2153 h 10000"/>
              <a:gd name="connsiteX265" fmla="*/ 3558 w 10000"/>
              <a:gd name="connsiteY265" fmla="*/ 2793 h 10000"/>
              <a:gd name="connsiteX266" fmla="*/ 3036 w 10000"/>
              <a:gd name="connsiteY266" fmla="*/ 3166 h 10000"/>
              <a:gd name="connsiteX267" fmla="*/ 3040 w 10000"/>
              <a:gd name="connsiteY267" fmla="*/ 3225 h 10000"/>
              <a:gd name="connsiteX268" fmla="*/ 3271 w 10000"/>
              <a:gd name="connsiteY268" fmla="*/ 3392 h 10000"/>
              <a:gd name="connsiteX269" fmla="*/ 3197 w 10000"/>
              <a:gd name="connsiteY269" fmla="*/ 3573 h 10000"/>
              <a:gd name="connsiteX270" fmla="*/ 3062 w 10000"/>
              <a:gd name="connsiteY270" fmla="*/ 3640 h 10000"/>
              <a:gd name="connsiteX271" fmla="*/ 2657 w 10000"/>
              <a:gd name="connsiteY271" fmla="*/ 3595 h 10000"/>
              <a:gd name="connsiteX272" fmla="*/ 2378 w 10000"/>
              <a:gd name="connsiteY272" fmla="*/ 3620 h 10000"/>
              <a:gd name="connsiteX273" fmla="*/ 2152 w 10000"/>
              <a:gd name="connsiteY273" fmla="*/ 3673 h 10000"/>
              <a:gd name="connsiteX274" fmla="*/ 1790 w 10000"/>
              <a:gd name="connsiteY274" fmla="*/ 3840 h 10000"/>
              <a:gd name="connsiteX275" fmla="*/ 1598 w 10000"/>
              <a:gd name="connsiteY275" fmla="*/ 4042 h 10000"/>
              <a:gd name="connsiteX276" fmla="*/ 1616 w 10000"/>
              <a:gd name="connsiteY276" fmla="*/ 4154 h 10000"/>
              <a:gd name="connsiteX277" fmla="*/ 1681 w 10000"/>
              <a:gd name="connsiteY277" fmla="*/ 4241 h 10000"/>
              <a:gd name="connsiteX278" fmla="*/ 1733 w 10000"/>
              <a:gd name="connsiteY278" fmla="*/ 4276 h 10000"/>
              <a:gd name="connsiteX279" fmla="*/ 1638 w 10000"/>
              <a:gd name="connsiteY279" fmla="*/ 4331 h 10000"/>
              <a:gd name="connsiteX280" fmla="*/ 1433 w 10000"/>
              <a:gd name="connsiteY280" fmla="*/ 4710 h 10000"/>
              <a:gd name="connsiteX281" fmla="*/ 1472 w 10000"/>
              <a:gd name="connsiteY281" fmla="*/ 4732 h 10000"/>
              <a:gd name="connsiteX282" fmla="*/ 1503 w 10000"/>
              <a:gd name="connsiteY282" fmla="*/ 4828 h 10000"/>
              <a:gd name="connsiteX283" fmla="*/ 1407 w 10000"/>
              <a:gd name="connsiteY283" fmla="*/ 5227 h 10000"/>
              <a:gd name="connsiteX284" fmla="*/ 1503 w 10000"/>
              <a:gd name="connsiteY284" fmla="*/ 5329 h 10000"/>
              <a:gd name="connsiteX285" fmla="*/ 1764 w 10000"/>
              <a:gd name="connsiteY285" fmla="*/ 5441 h 10000"/>
              <a:gd name="connsiteX286" fmla="*/ 1777 w 10000"/>
              <a:gd name="connsiteY286" fmla="*/ 5578 h 10000"/>
              <a:gd name="connsiteX287" fmla="*/ 1664 w 10000"/>
              <a:gd name="connsiteY287" fmla="*/ 5690 h 10000"/>
              <a:gd name="connsiteX288" fmla="*/ 1503 w 10000"/>
              <a:gd name="connsiteY288" fmla="*/ 5759 h 10000"/>
              <a:gd name="connsiteX289" fmla="*/ 1289 w 10000"/>
              <a:gd name="connsiteY289" fmla="*/ 5787 h 10000"/>
              <a:gd name="connsiteX290" fmla="*/ 1233 w 10000"/>
              <a:gd name="connsiteY290" fmla="*/ 5826 h 10000"/>
              <a:gd name="connsiteX291" fmla="*/ 1359 w 10000"/>
              <a:gd name="connsiteY291" fmla="*/ 5920 h 10000"/>
              <a:gd name="connsiteX292" fmla="*/ 1429 w 10000"/>
              <a:gd name="connsiteY292" fmla="*/ 6142 h 10000"/>
              <a:gd name="connsiteX293" fmla="*/ 1267 w 10000"/>
              <a:gd name="connsiteY293" fmla="*/ 6333 h 10000"/>
              <a:gd name="connsiteX294" fmla="*/ 1324 w 10000"/>
              <a:gd name="connsiteY294" fmla="*/ 6392 h 10000"/>
              <a:gd name="connsiteX295" fmla="*/ 1272 w 10000"/>
              <a:gd name="connsiteY295" fmla="*/ 6492 h 10000"/>
              <a:gd name="connsiteX296" fmla="*/ 1167 w 10000"/>
              <a:gd name="connsiteY296" fmla="*/ 6561 h 10000"/>
              <a:gd name="connsiteX297" fmla="*/ 758 w 10000"/>
              <a:gd name="connsiteY297" fmla="*/ 6614 h 10000"/>
              <a:gd name="connsiteX298" fmla="*/ 732 w 10000"/>
              <a:gd name="connsiteY298" fmla="*/ 6706 h 10000"/>
              <a:gd name="connsiteX299" fmla="*/ 510 w 10000"/>
              <a:gd name="connsiteY299" fmla="*/ 6843 h 10000"/>
              <a:gd name="connsiteX300" fmla="*/ 540 w 10000"/>
              <a:gd name="connsiteY300" fmla="*/ 7040 h 10000"/>
              <a:gd name="connsiteX301" fmla="*/ 353 w 10000"/>
              <a:gd name="connsiteY301" fmla="*/ 7293 h 10000"/>
              <a:gd name="connsiteX302" fmla="*/ 226 w 10000"/>
              <a:gd name="connsiteY302" fmla="*/ 7323 h 10000"/>
              <a:gd name="connsiteX303" fmla="*/ 174 w 10000"/>
              <a:gd name="connsiteY303" fmla="*/ 7262 h 10000"/>
              <a:gd name="connsiteX304" fmla="*/ 109 w 10000"/>
              <a:gd name="connsiteY304" fmla="*/ 7354 h 10000"/>
              <a:gd name="connsiteX305" fmla="*/ 152 w 10000"/>
              <a:gd name="connsiteY305" fmla="*/ 7197 h 10000"/>
              <a:gd name="connsiteX306" fmla="*/ 126 w 10000"/>
              <a:gd name="connsiteY30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355 w 10000"/>
              <a:gd name="connsiteY207" fmla="*/ 2428 h 10000"/>
              <a:gd name="connsiteX208" fmla="*/ 9717 w 10000"/>
              <a:gd name="connsiteY208" fmla="*/ 2343 h 10000"/>
              <a:gd name="connsiteX209" fmla="*/ 9830 w 10000"/>
              <a:gd name="connsiteY209" fmla="*/ 2369 h 10000"/>
              <a:gd name="connsiteX210" fmla="*/ 9909 w 10000"/>
              <a:gd name="connsiteY210" fmla="*/ 2410 h 10000"/>
              <a:gd name="connsiteX211" fmla="*/ 9948 w 10000"/>
              <a:gd name="connsiteY211" fmla="*/ 2365 h 10000"/>
              <a:gd name="connsiteX212" fmla="*/ 10000 w 10000"/>
              <a:gd name="connsiteY212" fmla="*/ 2349 h 10000"/>
              <a:gd name="connsiteX213" fmla="*/ 9704 w 10000"/>
              <a:gd name="connsiteY213" fmla="*/ 1992 h 10000"/>
              <a:gd name="connsiteX214" fmla="*/ 9743 w 10000"/>
              <a:gd name="connsiteY214" fmla="*/ 1897 h 10000"/>
              <a:gd name="connsiteX215" fmla="*/ 9830 w 10000"/>
              <a:gd name="connsiteY215" fmla="*/ 1819 h 10000"/>
              <a:gd name="connsiteX216" fmla="*/ 9830 w 10000"/>
              <a:gd name="connsiteY216" fmla="*/ 1699 h 10000"/>
              <a:gd name="connsiteX217" fmla="*/ 9556 w 10000"/>
              <a:gd name="connsiteY217" fmla="*/ 1465 h 10000"/>
              <a:gd name="connsiteX218" fmla="*/ 9512 w 10000"/>
              <a:gd name="connsiteY218" fmla="*/ 1379 h 10000"/>
              <a:gd name="connsiteX219" fmla="*/ 9573 w 10000"/>
              <a:gd name="connsiteY219" fmla="*/ 1271 h 10000"/>
              <a:gd name="connsiteX220" fmla="*/ 9543 w 10000"/>
              <a:gd name="connsiteY220" fmla="*/ 1194 h 10000"/>
              <a:gd name="connsiteX221" fmla="*/ 9486 w 10000"/>
              <a:gd name="connsiteY221" fmla="*/ 1159 h 10000"/>
              <a:gd name="connsiteX222" fmla="*/ 9438 w 10000"/>
              <a:gd name="connsiteY222" fmla="*/ 978 h 10000"/>
              <a:gd name="connsiteX223" fmla="*/ 9495 w 10000"/>
              <a:gd name="connsiteY223" fmla="*/ 831 h 10000"/>
              <a:gd name="connsiteX224" fmla="*/ 9077 w 10000"/>
              <a:gd name="connsiteY224" fmla="*/ 517 h 10000"/>
              <a:gd name="connsiteX225" fmla="*/ 8872 w 10000"/>
              <a:gd name="connsiteY225" fmla="*/ 440 h 10000"/>
              <a:gd name="connsiteX226" fmla="*/ 8493 w 10000"/>
              <a:gd name="connsiteY226" fmla="*/ 389 h 10000"/>
              <a:gd name="connsiteX227" fmla="*/ 7709 w 10000"/>
              <a:gd name="connsiteY227" fmla="*/ 26 h 10000"/>
              <a:gd name="connsiteX228" fmla="*/ 7683 w 10000"/>
              <a:gd name="connsiteY228" fmla="*/ 2 h 10000"/>
              <a:gd name="connsiteX229" fmla="*/ 7417 w 10000"/>
              <a:gd name="connsiteY229" fmla="*/ 0 h 10000"/>
              <a:gd name="connsiteX230" fmla="*/ 7356 w 10000"/>
              <a:gd name="connsiteY230" fmla="*/ 14 h 10000"/>
              <a:gd name="connsiteX231" fmla="*/ 7369 w 10000"/>
              <a:gd name="connsiteY231" fmla="*/ 61 h 10000"/>
              <a:gd name="connsiteX232" fmla="*/ 7422 w 10000"/>
              <a:gd name="connsiteY232" fmla="*/ 86 h 10000"/>
              <a:gd name="connsiteX233" fmla="*/ 7435 w 10000"/>
              <a:gd name="connsiteY233" fmla="*/ 139 h 10000"/>
              <a:gd name="connsiteX234" fmla="*/ 7417 w 10000"/>
              <a:gd name="connsiteY234" fmla="*/ 181 h 10000"/>
              <a:gd name="connsiteX235" fmla="*/ 7369 w 10000"/>
              <a:gd name="connsiteY235" fmla="*/ 208 h 10000"/>
              <a:gd name="connsiteX236" fmla="*/ 7334 w 10000"/>
              <a:gd name="connsiteY236" fmla="*/ 283 h 10000"/>
              <a:gd name="connsiteX237" fmla="*/ 7269 w 10000"/>
              <a:gd name="connsiteY237" fmla="*/ 336 h 10000"/>
              <a:gd name="connsiteX238" fmla="*/ 7282 w 10000"/>
              <a:gd name="connsiteY238" fmla="*/ 387 h 10000"/>
              <a:gd name="connsiteX239" fmla="*/ 7382 w 10000"/>
              <a:gd name="connsiteY239" fmla="*/ 434 h 10000"/>
              <a:gd name="connsiteX240" fmla="*/ 7317 w 10000"/>
              <a:gd name="connsiteY240" fmla="*/ 475 h 10000"/>
              <a:gd name="connsiteX241" fmla="*/ 7221 w 10000"/>
              <a:gd name="connsiteY241" fmla="*/ 485 h 10000"/>
              <a:gd name="connsiteX242" fmla="*/ 6420 w 10000"/>
              <a:gd name="connsiteY242" fmla="*/ 387 h 10000"/>
              <a:gd name="connsiteX243" fmla="*/ 6324 w 10000"/>
              <a:gd name="connsiteY243" fmla="*/ 395 h 10000"/>
              <a:gd name="connsiteX244" fmla="*/ 6267 w 10000"/>
              <a:gd name="connsiteY244" fmla="*/ 414 h 10000"/>
              <a:gd name="connsiteX245" fmla="*/ 6211 w 10000"/>
              <a:gd name="connsiteY245" fmla="*/ 462 h 10000"/>
              <a:gd name="connsiteX246" fmla="*/ 6220 w 10000"/>
              <a:gd name="connsiteY246" fmla="*/ 581 h 10000"/>
              <a:gd name="connsiteX247" fmla="*/ 6132 w 10000"/>
              <a:gd name="connsiteY247" fmla="*/ 735 h 10000"/>
              <a:gd name="connsiteX248" fmla="*/ 6024 w 10000"/>
              <a:gd name="connsiteY248" fmla="*/ 815 h 10000"/>
              <a:gd name="connsiteX249" fmla="*/ 5980 w 10000"/>
              <a:gd name="connsiteY249" fmla="*/ 805 h 10000"/>
              <a:gd name="connsiteX250" fmla="*/ 5880 w 10000"/>
              <a:gd name="connsiteY250" fmla="*/ 739 h 10000"/>
              <a:gd name="connsiteX251" fmla="*/ 5753 w 10000"/>
              <a:gd name="connsiteY251" fmla="*/ 705 h 10000"/>
              <a:gd name="connsiteX252" fmla="*/ 5618 w 10000"/>
              <a:gd name="connsiteY252" fmla="*/ 715 h 10000"/>
              <a:gd name="connsiteX253" fmla="*/ 5301 w 10000"/>
              <a:gd name="connsiteY253" fmla="*/ 866 h 10000"/>
              <a:gd name="connsiteX254" fmla="*/ 5218 w 10000"/>
              <a:gd name="connsiteY254" fmla="*/ 1017 h 10000"/>
              <a:gd name="connsiteX255" fmla="*/ 4978 w 10000"/>
              <a:gd name="connsiteY255" fmla="*/ 1153 h 10000"/>
              <a:gd name="connsiteX256" fmla="*/ 4935 w 10000"/>
              <a:gd name="connsiteY256" fmla="*/ 1222 h 10000"/>
              <a:gd name="connsiteX257" fmla="*/ 5061 w 10000"/>
              <a:gd name="connsiteY257" fmla="*/ 1344 h 10000"/>
              <a:gd name="connsiteX258" fmla="*/ 5074 w 10000"/>
              <a:gd name="connsiteY258" fmla="*/ 1412 h 10000"/>
              <a:gd name="connsiteX259" fmla="*/ 4421 w 10000"/>
              <a:gd name="connsiteY259" fmla="*/ 1813 h 10000"/>
              <a:gd name="connsiteX260" fmla="*/ 4220 w 10000"/>
              <a:gd name="connsiteY260" fmla="*/ 2070 h 10000"/>
              <a:gd name="connsiteX261" fmla="*/ 4003 w 10000"/>
              <a:gd name="connsiteY261" fmla="*/ 2135 h 10000"/>
              <a:gd name="connsiteX262" fmla="*/ 3868 w 10000"/>
              <a:gd name="connsiteY262" fmla="*/ 2131 h 10000"/>
              <a:gd name="connsiteX263" fmla="*/ 3785 w 10000"/>
              <a:gd name="connsiteY263" fmla="*/ 2153 h 10000"/>
              <a:gd name="connsiteX264" fmla="*/ 3558 w 10000"/>
              <a:gd name="connsiteY264" fmla="*/ 2793 h 10000"/>
              <a:gd name="connsiteX265" fmla="*/ 3036 w 10000"/>
              <a:gd name="connsiteY265" fmla="*/ 3166 h 10000"/>
              <a:gd name="connsiteX266" fmla="*/ 3040 w 10000"/>
              <a:gd name="connsiteY266" fmla="*/ 3225 h 10000"/>
              <a:gd name="connsiteX267" fmla="*/ 3271 w 10000"/>
              <a:gd name="connsiteY267" fmla="*/ 3392 h 10000"/>
              <a:gd name="connsiteX268" fmla="*/ 3197 w 10000"/>
              <a:gd name="connsiteY268" fmla="*/ 3573 h 10000"/>
              <a:gd name="connsiteX269" fmla="*/ 3062 w 10000"/>
              <a:gd name="connsiteY269" fmla="*/ 3640 h 10000"/>
              <a:gd name="connsiteX270" fmla="*/ 2657 w 10000"/>
              <a:gd name="connsiteY270" fmla="*/ 3595 h 10000"/>
              <a:gd name="connsiteX271" fmla="*/ 2378 w 10000"/>
              <a:gd name="connsiteY271" fmla="*/ 3620 h 10000"/>
              <a:gd name="connsiteX272" fmla="*/ 2152 w 10000"/>
              <a:gd name="connsiteY272" fmla="*/ 3673 h 10000"/>
              <a:gd name="connsiteX273" fmla="*/ 1790 w 10000"/>
              <a:gd name="connsiteY273" fmla="*/ 3840 h 10000"/>
              <a:gd name="connsiteX274" fmla="*/ 1598 w 10000"/>
              <a:gd name="connsiteY274" fmla="*/ 4042 h 10000"/>
              <a:gd name="connsiteX275" fmla="*/ 1616 w 10000"/>
              <a:gd name="connsiteY275" fmla="*/ 4154 h 10000"/>
              <a:gd name="connsiteX276" fmla="*/ 1681 w 10000"/>
              <a:gd name="connsiteY276" fmla="*/ 4241 h 10000"/>
              <a:gd name="connsiteX277" fmla="*/ 1733 w 10000"/>
              <a:gd name="connsiteY277" fmla="*/ 4276 h 10000"/>
              <a:gd name="connsiteX278" fmla="*/ 1638 w 10000"/>
              <a:gd name="connsiteY278" fmla="*/ 4331 h 10000"/>
              <a:gd name="connsiteX279" fmla="*/ 1433 w 10000"/>
              <a:gd name="connsiteY279" fmla="*/ 4710 h 10000"/>
              <a:gd name="connsiteX280" fmla="*/ 1472 w 10000"/>
              <a:gd name="connsiteY280" fmla="*/ 4732 h 10000"/>
              <a:gd name="connsiteX281" fmla="*/ 1503 w 10000"/>
              <a:gd name="connsiteY281" fmla="*/ 4828 h 10000"/>
              <a:gd name="connsiteX282" fmla="*/ 1407 w 10000"/>
              <a:gd name="connsiteY282" fmla="*/ 5227 h 10000"/>
              <a:gd name="connsiteX283" fmla="*/ 1503 w 10000"/>
              <a:gd name="connsiteY283" fmla="*/ 5329 h 10000"/>
              <a:gd name="connsiteX284" fmla="*/ 1764 w 10000"/>
              <a:gd name="connsiteY284" fmla="*/ 5441 h 10000"/>
              <a:gd name="connsiteX285" fmla="*/ 1777 w 10000"/>
              <a:gd name="connsiteY285" fmla="*/ 5578 h 10000"/>
              <a:gd name="connsiteX286" fmla="*/ 1664 w 10000"/>
              <a:gd name="connsiteY286" fmla="*/ 5690 h 10000"/>
              <a:gd name="connsiteX287" fmla="*/ 1503 w 10000"/>
              <a:gd name="connsiteY287" fmla="*/ 5759 h 10000"/>
              <a:gd name="connsiteX288" fmla="*/ 1289 w 10000"/>
              <a:gd name="connsiteY288" fmla="*/ 5787 h 10000"/>
              <a:gd name="connsiteX289" fmla="*/ 1233 w 10000"/>
              <a:gd name="connsiteY289" fmla="*/ 5826 h 10000"/>
              <a:gd name="connsiteX290" fmla="*/ 1359 w 10000"/>
              <a:gd name="connsiteY290" fmla="*/ 5920 h 10000"/>
              <a:gd name="connsiteX291" fmla="*/ 1429 w 10000"/>
              <a:gd name="connsiteY291" fmla="*/ 6142 h 10000"/>
              <a:gd name="connsiteX292" fmla="*/ 1267 w 10000"/>
              <a:gd name="connsiteY292" fmla="*/ 6333 h 10000"/>
              <a:gd name="connsiteX293" fmla="*/ 1324 w 10000"/>
              <a:gd name="connsiteY293" fmla="*/ 6392 h 10000"/>
              <a:gd name="connsiteX294" fmla="*/ 1272 w 10000"/>
              <a:gd name="connsiteY294" fmla="*/ 6492 h 10000"/>
              <a:gd name="connsiteX295" fmla="*/ 1167 w 10000"/>
              <a:gd name="connsiteY295" fmla="*/ 6561 h 10000"/>
              <a:gd name="connsiteX296" fmla="*/ 758 w 10000"/>
              <a:gd name="connsiteY296" fmla="*/ 6614 h 10000"/>
              <a:gd name="connsiteX297" fmla="*/ 732 w 10000"/>
              <a:gd name="connsiteY297" fmla="*/ 6706 h 10000"/>
              <a:gd name="connsiteX298" fmla="*/ 510 w 10000"/>
              <a:gd name="connsiteY298" fmla="*/ 6843 h 10000"/>
              <a:gd name="connsiteX299" fmla="*/ 540 w 10000"/>
              <a:gd name="connsiteY299" fmla="*/ 7040 h 10000"/>
              <a:gd name="connsiteX300" fmla="*/ 353 w 10000"/>
              <a:gd name="connsiteY300" fmla="*/ 7293 h 10000"/>
              <a:gd name="connsiteX301" fmla="*/ 226 w 10000"/>
              <a:gd name="connsiteY301" fmla="*/ 7323 h 10000"/>
              <a:gd name="connsiteX302" fmla="*/ 174 w 10000"/>
              <a:gd name="connsiteY302" fmla="*/ 7262 h 10000"/>
              <a:gd name="connsiteX303" fmla="*/ 109 w 10000"/>
              <a:gd name="connsiteY303" fmla="*/ 7354 h 10000"/>
              <a:gd name="connsiteX304" fmla="*/ 152 w 10000"/>
              <a:gd name="connsiteY304" fmla="*/ 7197 h 10000"/>
              <a:gd name="connsiteX305" fmla="*/ 126 w 10000"/>
              <a:gd name="connsiteY30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717 w 10000"/>
              <a:gd name="connsiteY207" fmla="*/ 2343 h 10000"/>
              <a:gd name="connsiteX208" fmla="*/ 9830 w 10000"/>
              <a:gd name="connsiteY208" fmla="*/ 2369 h 10000"/>
              <a:gd name="connsiteX209" fmla="*/ 9909 w 10000"/>
              <a:gd name="connsiteY209" fmla="*/ 2410 h 10000"/>
              <a:gd name="connsiteX210" fmla="*/ 9948 w 10000"/>
              <a:gd name="connsiteY210" fmla="*/ 2365 h 10000"/>
              <a:gd name="connsiteX211" fmla="*/ 10000 w 10000"/>
              <a:gd name="connsiteY211" fmla="*/ 2349 h 10000"/>
              <a:gd name="connsiteX212" fmla="*/ 9704 w 10000"/>
              <a:gd name="connsiteY212" fmla="*/ 1992 h 10000"/>
              <a:gd name="connsiteX213" fmla="*/ 9743 w 10000"/>
              <a:gd name="connsiteY213" fmla="*/ 1897 h 10000"/>
              <a:gd name="connsiteX214" fmla="*/ 9830 w 10000"/>
              <a:gd name="connsiteY214" fmla="*/ 1819 h 10000"/>
              <a:gd name="connsiteX215" fmla="*/ 9830 w 10000"/>
              <a:gd name="connsiteY215" fmla="*/ 1699 h 10000"/>
              <a:gd name="connsiteX216" fmla="*/ 9556 w 10000"/>
              <a:gd name="connsiteY216" fmla="*/ 1465 h 10000"/>
              <a:gd name="connsiteX217" fmla="*/ 9512 w 10000"/>
              <a:gd name="connsiteY217" fmla="*/ 1379 h 10000"/>
              <a:gd name="connsiteX218" fmla="*/ 9573 w 10000"/>
              <a:gd name="connsiteY218" fmla="*/ 1271 h 10000"/>
              <a:gd name="connsiteX219" fmla="*/ 9543 w 10000"/>
              <a:gd name="connsiteY219" fmla="*/ 1194 h 10000"/>
              <a:gd name="connsiteX220" fmla="*/ 9486 w 10000"/>
              <a:gd name="connsiteY220" fmla="*/ 1159 h 10000"/>
              <a:gd name="connsiteX221" fmla="*/ 9438 w 10000"/>
              <a:gd name="connsiteY221" fmla="*/ 978 h 10000"/>
              <a:gd name="connsiteX222" fmla="*/ 9495 w 10000"/>
              <a:gd name="connsiteY222" fmla="*/ 831 h 10000"/>
              <a:gd name="connsiteX223" fmla="*/ 9077 w 10000"/>
              <a:gd name="connsiteY223" fmla="*/ 517 h 10000"/>
              <a:gd name="connsiteX224" fmla="*/ 8872 w 10000"/>
              <a:gd name="connsiteY224" fmla="*/ 440 h 10000"/>
              <a:gd name="connsiteX225" fmla="*/ 8493 w 10000"/>
              <a:gd name="connsiteY225" fmla="*/ 389 h 10000"/>
              <a:gd name="connsiteX226" fmla="*/ 7709 w 10000"/>
              <a:gd name="connsiteY226" fmla="*/ 26 h 10000"/>
              <a:gd name="connsiteX227" fmla="*/ 7683 w 10000"/>
              <a:gd name="connsiteY227" fmla="*/ 2 h 10000"/>
              <a:gd name="connsiteX228" fmla="*/ 7417 w 10000"/>
              <a:gd name="connsiteY228" fmla="*/ 0 h 10000"/>
              <a:gd name="connsiteX229" fmla="*/ 7356 w 10000"/>
              <a:gd name="connsiteY229" fmla="*/ 14 h 10000"/>
              <a:gd name="connsiteX230" fmla="*/ 7369 w 10000"/>
              <a:gd name="connsiteY230" fmla="*/ 61 h 10000"/>
              <a:gd name="connsiteX231" fmla="*/ 7422 w 10000"/>
              <a:gd name="connsiteY231" fmla="*/ 86 h 10000"/>
              <a:gd name="connsiteX232" fmla="*/ 7435 w 10000"/>
              <a:gd name="connsiteY232" fmla="*/ 139 h 10000"/>
              <a:gd name="connsiteX233" fmla="*/ 7417 w 10000"/>
              <a:gd name="connsiteY233" fmla="*/ 181 h 10000"/>
              <a:gd name="connsiteX234" fmla="*/ 7369 w 10000"/>
              <a:gd name="connsiteY234" fmla="*/ 208 h 10000"/>
              <a:gd name="connsiteX235" fmla="*/ 7334 w 10000"/>
              <a:gd name="connsiteY235" fmla="*/ 283 h 10000"/>
              <a:gd name="connsiteX236" fmla="*/ 7269 w 10000"/>
              <a:gd name="connsiteY236" fmla="*/ 336 h 10000"/>
              <a:gd name="connsiteX237" fmla="*/ 7282 w 10000"/>
              <a:gd name="connsiteY237" fmla="*/ 387 h 10000"/>
              <a:gd name="connsiteX238" fmla="*/ 7382 w 10000"/>
              <a:gd name="connsiteY238" fmla="*/ 434 h 10000"/>
              <a:gd name="connsiteX239" fmla="*/ 7317 w 10000"/>
              <a:gd name="connsiteY239" fmla="*/ 475 h 10000"/>
              <a:gd name="connsiteX240" fmla="*/ 7221 w 10000"/>
              <a:gd name="connsiteY240" fmla="*/ 485 h 10000"/>
              <a:gd name="connsiteX241" fmla="*/ 6420 w 10000"/>
              <a:gd name="connsiteY241" fmla="*/ 387 h 10000"/>
              <a:gd name="connsiteX242" fmla="*/ 6324 w 10000"/>
              <a:gd name="connsiteY242" fmla="*/ 395 h 10000"/>
              <a:gd name="connsiteX243" fmla="*/ 6267 w 10000"/>
              <a:gd name="connsiteY243" fmla="*/ 414 h 10000"/>
              <a:gd name="connsiteX244" fmla="*/ 6211 w 10000"/>
              <a:gd name="connsiteY244" fmla="*/ 462 h 10000"/>
              <a:gd name="connsiteX245" fmla="*/ 6220 w 10000"/>
              <a:gd name="connsiteY245" fmla="*/ 581 h 10000"/>
              <a:gd name="connsiteX246" fmla="*/ 6132 w 10000"/>
              <a:gd name="connsiteY246" fmla="*/ 735 h 10000"/>
              <a:gd name="connsiteX247" fmla="*/ 6024 w 10000"/>
              <a:gd name="connsiteY247" fmla="*/ 815 h 10000"/>
              <a:gd name="connsiteX248" fmla="*/ 5980 w 10000"/>
              <a:gd name="connsiteY248" fmla="*/ 805 h 10000"/>
              <a:gd name="connsiteX249" fmla="*/ 5880 w 10000"/>
              <a:gd name="connsiteY249" fmla="*/ 739 h 10000"/>
              <a:gd name="connsiteX250" fmla="*/ 5753 w 10000"/>
              <a:gd name="connsiteY250" fmla="*/ 705 h 10000"/>
              <a:gd name="connsiteX251" fmla="*/ 5618 w 10000"/>
              <a:gd name="connsiteY251" fmla="*/ 715 h 10000"/>
              <a:gd name="connsiteX252" fmla="*/ 5301 w 10000"/>
              <a:gd name="connsiteY252" fmla="*/ 866 h 10000"/>
              <a:gd name="connsiteX253" fmla="*/ 5218 w 10000"/>
              <a:gd name="connsiteY253" fmla="*/ 1017 h 10000"/>
              <a:gd name="connsiteX254" fmla="*/ 4978 w 10000"/>
              <a:gd name="connsiteY254" fmla="*/ 1153 h 10000"/>
              <a:gd name="connsiteX255" fmla="*/ 4935 w 10000"/>
              <a:gd name="connsiteY255" fmla="*/ 1222 h 10000"/>
              <a:gd name="connsiteX256" fmla="*/ 5061 w 10000"/>
              <a:gd name="connsiteY256" fmla="*/ 1344 h 10000"/>
              <a:gd name="connsiteX257" fmla="*/ 5074 w 10000"/>
              <a:gd name="connsiteY257" fmla="*/ 1412 h 10000"/>
              <a:gd name="connsiteX258" fmla="*/ 4421 w 10000"/>
              <a:gd name="connsiteY258" fmla="*/ 1813 h 10000"/>
              <a:gd name="connsiteX259" fmla="*/ 4220 w 10000"/>
              <a:gd name="connsiteY259" fmla="*/ 2070 h 10000"/>
              <a:gd name="connsiteX260" fmla="*/ 4003 w 10000"/>
              <a:gd name="connsiteY260" fmla="*/ 2135 h 10000"/>
              <a:gd name="connsiteX261" fmla="*/ 3868 w 10000"/>
              <a:gd name="connsiteY261" fmla="*/ 2131 h 10000"/>
              <a:gd name="connsiteX262" fmla="*/ 3785 w 10000"/>
              <a:gd name="connsiteY262" fmla="*/ 2153 h 10000"/>
              <a:gd name="connsiteX263" fmla="*/ 3558 w 10000"/>
              <a:gd name="connsiteY263" fmla="*/ 2793 h 10000"/>
              <a:gd name="connsiteX264" fmla="*/ 3036 w 10000"/>
              <a:gd name="connsiteY264" fmla="*/ 3166 h 10000"/>
              <a:gd name="connsiteX265" fmla="*/ 3040 w 10000"/>
              <a:gd name="connsiteY265" fmla="*/ 3225 h 10000"/>
              <a:gd name="connsiteX266" fmla="*/ 3271 w 10000"/>
              <a:gd name="connsiteY266" fmla="*/ 3392 h 10000"/>
              <a:gd name="connsiteX267" fmla="*/ 3197 w 10000"/>
              <a:gd name="connsiteY267" fmla="*/ 3573 h 10000"/>
              <a:gd name="connsiteX268" fmla="*/ 3062 w 10000"/>
              <a:gd name="connsiteY268" fmla="*/ 3640 h 10000"/>
              <a:gd name="connsiteX269" fmla="*/ 2657 w 10000"/>
              <a:gd name="connsiteY269" fmla="*/ 3595 h 10000"/>
              <a:gd name="connsiteX270" fmla="*/ 2378 w 10000"/>
              <a:gd name="connsiteY270" fmla="*/ 3620 h 10000"/>
              <a:gd name="connsiteX271" fmla="*/ 2152 w 10000"/>
              <a:gd name="connsiteY271" fmla="*/ 3673 h 10000"/>
              <a:gd name="connsiteX272" fmla="*/ 1790 w 10000"/>
              <a:gd name="connsiteY272" fmla="*/ 3840 h 10000"/>
              <a:gd name="connsiteX273" fmla="*/ 1598 w 10000"/>
              <a:gd name="connsiteY273" fmla="*/ 4042 h 10000"/>
              <a:gd name="connsiteX274" fmla="*/ 1616 w 10000"/>
              <a:gd name="connsiteY274" fmla="*/ 4154 h 10000"/>
              <a:gd name="connsiteX275" fmla="*/ 1681 w 10000"/>
              <a:gd name="connsiteY275" fmla="*/ 4241 h 10000"/>
              <a:gd name="connsiteX276" fmla="*/ 1733 w 10000"/>
              <a:gd name="connsiteY276" fmla="*/ 4276 h 10000"/>
              <a:gd name="connsiteX277" fmla="*/ 1638 w 10000"/>
              <a:gd name="connsiteY277" fmla="*/ 4331 h 10000"/>
              <a:gd name="connsiteX278" fmla="*/ 1433 w 10000"/>
              <a:gd name="connsiteY278" fmla="*/ 4710 h 10000"/>
              <a:gd name="connsiteX279" fmla="*/ 1472 w 10000"/>
              <a:gd name="connsiteY279" fmla="*/ 4732 h 10000"/>
              <a:gd name="connsiteX280" fmla="*/ 1503 w 10000"/>
              <a:gd name="connsiteY280" fmla="*/ 4828 h 10000"/>
              <a:gd name="connsiteX281" fmla="*/ 1407 w 10000"/>
              <a:gd name="connsiteY281" fmla="*/ 5227 h 10000"/>
              <a:gd name="connsiteX282" fmla="*/ 1503 w 10000"/>
              <a:gd name="connsiteY282" fmla="*/ 5329 h 10000"/>
              <a:gd name="connsiteX283" fmla="*/ 1764 w 10000"/>
              <a:gd name="connsiteY283" fmla="*/ 5441 h 10000"/>
              <a:gd name="connsiteX284" fmla="*/ 1777 w 10000"/>
              <a:gd name="connsiteY284" fmla="*/ 5578 h 10000"/>
              <a:gd name="connsiteX285" fmla="*/ 1664 w 10000"/>
              <a:gd name="connsiteY285" fmla="*/ 5690 h 10000"/>
              <a:gd name="connsiteX286" fmla="*/ 1503 w 10000"/>
              <a:gd name="connsiteY286" fmla="*/ 5759 h 10000"/>
              <a:gd name="connsiteX287" fmla="*/ 1289 w 10000"/>
              <a:gd name="connsiteY287" fmla="*/ 5787 h 10000"/>
              <a:gd name="connsiteX288" fmla="*/ 1233 w 10000"/>
              <a:gd name="connsiteY288" fmla="*/ 5826 h 10000"/>
              <a:gd name="connsiteX289" fmla="*/ 1359 w 10000"/>
              <a:gd name="connsiteY289" fmla="*/ 5920 h 10000"/>
              <a:gd name="connsiteX290" fmla="*/ 1429 w 10000"/>
              <a:gd name="connsiteY290" fmla="*/ 6142 h 10000"/>
              <a:gd name="connsiteX291" fmla="*/ 1267 w 10000"/>
              <a:gd name="connsiteY291" fmla="*/ 6333 h 10000"/>
              <a:gd name="connsiteX292" fmla="*/ 1324 w 10000"/>
              <a:gd name="connsiteY292" fmla="*/ 6392 h 10000"/>
              <a:gd name="connsiteX293" fmla="*/ 1272 w 10000"/>
              <a:gd name="connsiteY293" fmla="*/ 6492 h 10000"/>
              <a:gd name="connsiteX294" fmla="*/ 1167 w 10000"/>
              <a:gd name="connsiteY294" fmla="*/ 6561 h 10000"/>
              <a:gd name="connsiteX295" fmla="*/ 758 w 10000"/>
              <a:gd name="connsiteY295" fmla="*/ 6614 h 10000"/>
              <a:gd name="connsiteX296" fmla="*/ 732 w 10000"/>
              <a:gd name="connsiteY296" fmla="*/ 6706 h 10000"/>
              <a:gd name="connsiteX297" fmla="*/ 510 w 10000"/>
              <a:gd name="connsiteY297" fmla="*/ 6843 h 10000"/>
              <a:gd name="connsiteX298" fmla="*/ 540 w 10000"/>
              <a:gd name="connsiteY298" fmla="*/ 7040 h 10000"/>
              <a:gd name="connsiteX299" fmla="*/ 353 w 10000"/>
              <a:gd name="connsiteY299" fmla="*/ 7293 h 10000"/>
              <a:gd name="connsiteX300" fmla="*/ 226 w 10000"/>
              <a:gd name="connsiteY300" fmla="*/ 7323 h 10000"/>
              <a:gd name="connsiteX301" fmla="*/ 174 w 10000"/>
              <a:gd name="connsiteY301" fmla="*/ 7262 h 10000"/>
              <a:gd name="connsiteX302" fmla="*/ 109 w 10000"/>
              <a:gd name="connsiteY302" fmla="*/ 7354 h 10000"/>
              <a:gd name="connsiteX303" fmla="*/ 152 w 10000"/>
              <a:gd name="connsiteY303" fmla="*/ 7197 h 10000"/>
              <a:gd name="connsiteX304" fmla="*/ 126 w 10000"/>
              <a:gd name="connsiteY304" fmla="*/ 7166 h 10000"/>
              <a:gd name="connsiteX0" fmla="*/ 126 w 9948"/>
              <a:gd name="connsiteY0" fmla="*/ 7166 h 10000"/>
              <a:gd name="connsiteX1" fmla="*/ 0 w 9948"/>
              <a:gd name="connsiteY1" fmla="*/ 7248 h 10000"/>
              <a:gd name="connsiteX2" fmla="*/ 0 w 9948"/>
              <a:gd name="connsiteY2" fmla="*/ 7651 h 10000"/>
              <a:gd name="connsiteX3" fmla="*/ 70 w 9948"/>
              <a:gd name="connsiteY3" fmla="*/ 7663 h 10000"/>
              <a:gd name="connsiteX4" fmla="*/ 87 w 9948"/>
              <a:gd name="connsiteY4" fmla="*/ 7694 h 10000"/>
              <a:gd name="connsiteX5" fmla="*/ 83 w 9948"/>
              <a:gd name="connsiteY5" fmla="*/ 7749 h 10000"/>
              <a:gd name="connsiteX6" fmla="*/ 57 w 9948"/>
              <a:gd name="connsiteY6" fmla="*/ 7773 h 10000"/>
              <a:gd name="connsiteX7" fmla="*/ 161 w 9948"/>
              <a:gd name="connsiteY7" fmla="*/ 7727 h 10000"/>
              <a:gd name="connsiteX8" fmla="*/ 205 w 9948"/>
              <a:gd name="connsiteY8" fmla="*/ 7680 h 10000"/>
              <a:gd name="connsiteX9" fmla="*/ 261 w 9948"/>
              <a:gd name="connsiteY9" fmla="*/ 7712 h 10000"/>
              <a:gd name="connsiteX10" fmla="*/ 200 w 9948"/>
              <a:gd name="connsiteY10" fmla="*/ 7778 h 10000"/>
              <a:gd name="connsiteX11" fmla="*/ 266 w 9948"/>
              <a:gd name="connsiteY11" fmla="*/ 7780 h 10000"/>
              <a:gd name="connsiteX12" fmla="*/ 296 w 9948"/>
              <a:gd name="connsiteY12" fmla="*/ 7796 h 10000"/>
              <a:gd name="connsiteX13" fmla="*/ 213 w 9948"/>
              <a:gd name="connsiteY13" fmla="*/ 7818 h 10000"/>
              <a:gd name="connsiteX14" fmla="*/ 83 w 9948"/>
              <a:gd name="connsiteY14" fmla="*/ 7886 h 10000"/>
              <a:gd name="connsiteX15" fmla="*/ 314 w 9948"/>
              <a:gd name="connsiteY15" fmla="*/ 7938 h 10000"/>
              <a:gd name="connsiteX16" fmla="*/ 344 w 9948"/>
              <a:gd name="connsiteY16" fmla="*/ 8014 h 10000"/>
              <a:gd name="connsiteX17" fmla="*/ 266 w 9948"/>
              <a:gd name="connsiteY17" fmla="*/ 8126 h 10000"/>
              <a:gd name="connsiteX18" fmla="*/ 436 w 9948"/>
              <a:gd name="connsiteY18" fmla="*/ 8118 h 10000"/>
              <a:gd name="connsiteX19" fmla="*/ 449 w 9948"/>
              <a:gd name="connsiteY19" fmla="*/ 8203 h 10000"/>
              <a:gd name="connsiteX20" fmla="*/ 335 w 9948"/>
              <a:gd name="connsiteY20" fmla="*/ 8260 h 10000"/>
              <a:gd name="connsiteX21" fmla="*/ 353 w 9948"/>
              <a:gd name="connsiteY21" fmla="*/ 8370 h 10000"/>
              <a:gd name="connsiteX22" fmla="*/ 309 w 9948"/>
              <a:gd name="connsiteY22" fmla="*/ 8456 h 10000"/>
              <a:gd name="connsiteX23" fmla="*/ 444 w 9948"/>
              <a:gd name="connsiteY23" fmla="*/ 8464 h 10000"/>
              <a:gd name="connsiteX24" fmla="*/ 575 w 9948"/>
              <a:gd name="connsiteY24" fmla="*/ 8792 h 10000"/>
              <a:gd name="connsiteX25" fmla="*/ 727 w 9948"/>
              <a:gd name="connsiteY25" fmla="*/ 8876 h 10000"/>
              <a:gd name="connsiteX26" fmla="*/ 793 w 9948"/>
              <a:gd name="connsiteY26" fmla="*/ 8965 h 10000"/>
              <a:gd name="connsiteX27" fmla="*/ 958 w 9948"/>
              <a:gd name="connsiteY27" fmla="*/ 9030 h 10000"/>
              <a:gd name="connsiteX28" fmla="*/ 1063 w 9948"/>
              <a:gd name="connsiteY28" fmla="*/ 9112 h 10000"/>
              <a:gd name="connsiteX29" fmla="*/ 1050 w 9948"/>
              <a:gd name="connsiteY29" fmla="*/ 9171 h 10000"/>
              <a:gd name="connsiteX30" fmla="*/ 945 w 9948"/>
              <a:gd name="connsiteY30" fmla="*/ 9193 h 10000"/>
              <a:gd name="connsiteX31" fmla="*/ 832 w 9948"/>
              <a:gd name="connsiteY31" fmla="*/ 9179 h 10000"/>
              <a:gd name="connsiteX32" fmla="*/ 797 w 9948"/>
              <a:gd name="connsiteY32" fmla="*/ 9204 h 10000"/>
              <a:gd name="connsiteX33" fmla="*/ 884 w 9948"/>
              <a:gd name="connsiteY33" fmla="*/ 9332 h 10000"/>
              <a:gd name="connsiteX34" fmla="*/ 762 w 9948"/>
              <a:gd name="connsiteY34" fmla="*/ 9322 h 10000"/>
              <a:gd name="connsiteX35" fmla="*/ 658 w 9948"/>
              <a:gd name="connsiteY35" fmla="*/ 9291 h 10000"/>
              <a:gd name="connsiteX36" fmla="*/ 640 w 9948"/>
              <a:gd name="connsiteY36" fmla="*/ 9338 h 10000"/>
              <a:gd name="connsiteX37" fmla="*/ 984 w 9948"/>
              <a:gd name="connsiteY37" fmla="*/ 9776 h 10000"/>
              <a:gd name="connsiteX38" fmla="*/ 928 w 9948"/>
              <a:gd name="connsiteY38" fmla="*/ 9817 h 10000"/>
              <a:gd name="connsiteX39" fmla="*/ 889 w 9948"/>
              <a:gd name="connsiteY39" fmla="*/ 9902 h 10000"/>
              <a:gd name="connsiteX40" fmla="*/ 841 w 9948"/>
              <a:gd name="connsiteY40" fmla="*/ 9908 h 10000"/>
              <a:gd name="connsiteX41" fmla="*/ 810 w 9948"/>
              <a:gd name="connsiteY41" fmla="*/ 9945 h 10000"/>
              <a:gd name="connsiteX42" fmla="*/ 1019 w 9948"/>
              <a:gd name="connsiteY42" fmla="*/ 9949 h 10000"/>
              <a:gd name="connsiteX43" fmla="*/ 1202 w 9948"/>
              <a:gd name="connsiteY43" fmla="*/ 9986 h 10000"/>
              <a:gd name="connsiteX44" fmla="*/ 1507 w 9948"/>
              <a:gd name="connsiteY44" fmla="*/ 9947 h 10000"/>
              <a:gd name="connsiteX45" fmla="*/ 1781 w 9948"/>
              <a:gd name="connsiteY45" fmla="*/ 9953 h 10000"/>
              <a:gd name="connsiteX46" fmla="*/ 1943 w 9948"/>
              <a:gd name="connsiteY46" fmla="*/ 10000 h 10000"/>
              <a:gd name="connsiteX47" fmla="*/ 2030 w 9948"/>
              <a:gd name="connsiteY47" fmla="*/ 9969 h 10000"/>
              <a:gd name="connsiteX48" fmla="*/ 2117 w 9948"/>
              <a:gd name="connsiteY48" fmla="*/ 9868 h 10000"/>
              <a:gd name="connsiteX49" fmla="*/ 2095 w 9948"/>
              <a:gd name="connsiteY49" fmla="*/ 9703 h 10000"/>
              <a:gd name="connsiteX50" fmla="*/ 2304 w 9948"/>
              <a:gd name="connsiteY50" fmla="*/ 9517 h 10000"/>
              <a:gd name="connsiteX51" fmla="*/ 2456 w 9948"/>
              <a:gd name="connsiteY51" fmla="*/ 9546 h 10000"/>
              <a:gd name="connsiteX52" fmla="*/ 2544 w 9948"/>
              <a:gd name="connsiteY52" fmla="*/ 9472 h 10000"/>
              <a:gd name="connsiteX53" fmla="*/ 2713 w 9948"/>
              <a:gd name="connsiteY53" fmla="*/ 9430 h 10000"/>
              <a:gd name="connsiteX54" fmla="*/ 2944 w 9948"/>
              <a:gd name="connsiteY54" fmla="*/ 9440 h 10000"/>
              <a:gd name="connsiteX55" fmla="*/ 3084 w 9948"/>
              <a:gd name="connsiteY55" fmla="*/ 9470 h 10000"/>
              <a:gd name="connsiteX56" fmla="*/ 3267 w 9948"/>
              <a:gd name="connsiteY56" fmla="*/ 9456 h 10000"/>
              <a:gd name="connsiteX57" fmla="*/ 3454 w 9948"/>
              <a:gd name="connsiteY57" fmla="*/ 9489 h 10000"/>
              <a:gd name="connsiteX58" fmla="*/ 3641 w 9948"/>
              <a:gd name="connsiteY58" fmla="*/ 9493 h 10000"/>
              <a:gd name="connsiteX59" fmla="*/ 4059 w 9948"/>
              <a:gd name="connsiteY59" fmla="*/ 9061 h 10000"/>
              <a:gd name="connsiteX60" fmla="*/ 4164 w 9948"/>
              <a:gd name="connsiteY60" fmla="*/ 8711 h 10000"/>
              <a:gd name="connsiteX61" fmla="*/ 4334 w 9948"/>
              <a:gd name="connsiteY61" fmla="*/ 8554 h 10000"/>
              <a:gd name="connsiteX62" fmla="*/ 4334 w 9948"/>
              <a:gd name="connsiteY62" fmla="*/ 8472 h 10000"/>
              <a:gd name="connsiteX63" fmla="*/ 4273 w 9948"/>
              <a:gd name="connsiteY63" fmla="*/ 8425 h 10000"/>
              <a:gd name="connsiteX64" fmla="*/ 4373 w 9948"/>
              <a:gd name="connsiteY64" fmla="*/ 8352 h 10000"/>
              <a:gd name="connsiteX65" fmla="*/ 4355 w 9948"/>
              <a:gd name="connsiteY65" fmla="*/ 8289 h 10000"/>
              <a:gd name="connsiteX66" fmla="*/ 4286 w 9948"/>
              <a:gd name="connsiteY66" fmla="*/ 8236 h 10000"/>
              <a:gd name="connsiteX67" fmla="*/ 4273 w 9948"/>
              <a:gd name="connsiteY67" fmla="*/ 8199 h 10000"/>
              <a:gd name="connsiteX68" fmla="*/ 4290 w 9948"/>
              <a:gd name="connsiteY68" fmla="*/ 8169 h 10000"/>
              <a:gd name="connsiteX69" fmla="*/ 4382 w 9948"/>
              <a:gd name="connsiteY69" fmla="*/ 8193 h 10000"/>
              <a:gd name="connsiteX70" fmla="*/ 4456 w 9948"/>
              <a:gd name="connsiteY70" fmla="*/ 8191 h 10000"/>
              <a:gd name="connsiteX71" fmla="*/ 4416 w 9948"/>
              <a:gd name="connsiteY71" fmla="*/ 8140 h 10000"/>
              <a:gd name="connsiteX72" fmla="*/ 4429 w 9948"/>
              <a:gd name="connsiteY72" fmla="*/ 8112 h 10000"/>
              <a:gd name="connsiteX73" fmla="*/ 4482 w 9948"/>
              <a:gd name="connsiteY73" fmla="*/ 8069 h 10000"/>
              <a:gd name="connsiteX74" fmla="*/ 4473 w 9948"/>
              <a:gd name="connsiteY74" fmla="*/ 8034 h 10000"/>
              <a:gd name="connsiteX75" fmla="*/ 4521 w 9948"/>
              <a:gd name="connsiteY75" fmla="*/ 7916 h 10000"/>
              <a:gd name="connsiteX76" fmla="*/ 4508 w 9948"/>
              <a:gd name="connsiteY76" fmla="*/ 7881 h 10000"/>
              <a:gd name="connsiteX77" fmla="*/ 4255 w 9948"/>
              <a:gd name="connsiteY77" fmla="*/ 7792 h 10000"/>
              <a:gd name="connsiteX78" fmla="*/ 4290 w 9948"/>
              <a:gd name="connsiteY78" fmla="*/ 7788 h 10000"/>
              <a:gd name="connsiteX79" fmla="*/ 4425 w 9948"/>
              <a:gd name="connsiteY79" fmla="*/ 7812 h 10000"/>
              <a:gd name="connsiteX80" fmla="*/ 4569 w 9948"/>
              <a:gd name="connsiteY80" fmla="*/ 7804 h 10000"/>
              <a:gd name="connsiteX81" fmla="*/ 4612 w 9948"/>
              <a:gd name="connsiteY81" fmla="*/ 7771 h 10000"/>
              <a:gd name="connsiteX82" fmla="*/ 4473 w 9948"/>
              <a:gd name="connsiteY82" fmla="*/ 7710 h 10000"/>
              <a:gd name="connsiteX83" fmla="*/ 4055 w 9948"/>
              <a:gd name="connsiteY83" fmla="*/ 7670 h 10000"/>
              <a:gd name="connsiteX84" fmla="*/ 4085 w 9948"/>
              <a:gd name="connsiteY84" fmla="*/ 7651 h 10000"/>
              <a:gd name="connsiteX85" fmla="*/ 4425 w 9948"/>
              <a:gd name="connsiteY85" fmla="*/ 7639 h 10000"/>
              <a:gd name="connsiteX86" fmla="*/ 4612 w 9948"/>
              <a:gd name="connsiteY86" fmla="*/ 7676 h 10000"/>
              <a:gd name="connsiteX87" fmla="*/ 4721 w 9948"/>
              <a:gd name="connsiteY87" fmla="*/ 7651 h 10000"/>
              <a:gd name="connsiteX88" fmla="*/ 4760 w 9948"/>
              <a:gd name="connsiteY88" fmla="*/ 7588 h 10000"/>
              <a:gd name="connsiteX89" fmla="*/ 4956 w 9948"/>
              <a:gd name="connsiteY89" fmla="*/ 7588 h 10000"/>
              <a:gd name="connsiteX90" fmla="*/ 5222 w 9948"/>
              <a:gd name="connsiteY90" fmla="*/ 7462 h 10000"/>
              <a:gd name="connsiteX91" fmla="*/ 5231 w 9948"/>
              <a:gd name="connsiteY91" fmla="*/ 7378 h 10000"/>
              <a:gd name="connsiteX92" fmla="*/ 5344 w 9948"/>
              <a:gd name="connsiteY92" fmla="*/ 7397 h 10000"/>
              <a:gd name="connsiteX93" fmla="*/ 5340 w 9948"/>
              <a:gd name="connsiteY93" fmla="*/ 7482 h 10000"/>
              <a:gd name="connsiteX94" fmla="*/ 5518 w 9948"/>
              <a:gd name="connsiteY94" fmla="*/ 7476 h 10000"/>
              <a:gd name="connsiteX95" fmla="*/ 5636 w 9948"/>
              <a:gd name="connsiteY95" fmla="*/ 7388 h 10000"/>
              <a:gd name="connsiteX96" fmla="*/ 5854 w 9948"/>
              <a:gd name="connsiteY96" fmla="*/ 7309 h 10000"/>
              <a:gd name="connsiteX97" fmla="*/ 5819 w 9948"/>
              <a:gd name="connsiteY97" fmla="*/ 7219 h 10000"/>
              <a:gd name="connsiteX98" fmla="*/ 5884 w 9948"/>
              <a:gd name="connsiteY98" fmla="*/ 7254 h 10000"/>
              <a:gd name="connsiteX99" fmla="*/ 5984 w 9948"/>
              <a:gd name="connsiteY99" fmla="*/ 7254 h 10000"/>
              <a:gd name="connsiteX100" fmla="*/ 5984 w 9948"/>
              <a:gd name="connsiteY100" fmla="*/ 7213 h 10000"/>
              <a:gd name="connsiteX101" fmla="*/ 6076 w 9948"/>
              <a:gd name="connsiteY101" fmla="*/ 7181 h 10000"/>
              <a:gd name="connsiteX102" fmla="*/ 6063 w 9948"/>
              <a:gd name="connsiteY102" fmla="*/ 7148 h 10000"/>
              <a:gd name="connsiteX103" fmla="*/ 5279 w 9948"/>
              <a:gd name="connsiteY103" fmla="*/ 7215 h 10000"/>
              <a:gd name="connsiteX104" fmla="*/ 5096 w 9948"/>
              <a:gd name="connsiteY104" fmla="*/ 7195 h 10000"/>
              <a:gd name="connsiteX105" fmla="*/ 5022 w 9948"/>
              <a:gd name="connsiteY105" fmla="*/ 7219 h 10000"/>
              <a:gd name="connsiteX106" fmla="*/ 4996 w 9948"/>
              <a:gd name="connsiteY106" fmla="*/ 7173 h 10000"/>
              <a:gd name="connsiteX107" fmla="*/ 4909 w 9948"/>
              <a:gd name="connsiteY107" fmla="*/ 7132 h 10000"/>
              <a:gd name="connsiteX108" fmla="*/ 4560 w 9948"/>
              <a:gd name="connsiteY108" fmla="*/ 7052 h 10000"/>
              <a:gd name="connsiteX109" fmla="*/ 4355 w 9948"/>
              <a:gd name="connsiteY109" fmla="*/ 7065 h 10000"/>
              <a:gd name="connsiteX110" fmla="*/ 4273 w 9948"/>
              <a:gd name="connsiteY110" fmla="*/ 7042 h 10000"/>
              <a:gd name="connsiteX111" fmla="*/ 4360 w 9948"/>
              <a:gd name="connsiteY111" fmla="*/ 7022 h 10000"/>
              <a:gd name="connsiteX112" fmla="*/ 4425 w 9948"/>
              <a:gd name="connsiteY112" fmla="*/ 6979 h 10000"/>
              <a:gd name="connsiteX113" fmla="*/ 4521 w 9948"/>
              <a:gd name="connsiteY113" fmla="*/ 6993 h 10000"/>
              <a:gd name="connsiteX114" fmla="*/ 4639 w 9948"/>
              <a:gd name="connsiteY114" fmla="*/ 6981 h 10000"/>
              <a:gd name="connsiteX115" fmla="*/ 4813 w 9948"/>
              <a:gd name="connsiteY115" fmla="*/ 6995 h 10000"/>
              <a:gd name="connsiteX116" fmla="*/ 4834 w 9948"/>
              <a:gd name="connsiteY116" fmla="*/ 6989 h 10000"/>
              <a:gd name="connsiteX117" fmla="*/ 4970 w 9948"/>
              <a:gd name="connsiteY117" fmla="*/ 7056 h 10000"/>
              <a:gd name="connsiteX118" fmla="*/ 5070 w 9948"/>
              <a:gd name="connsiteY118" fmla="*/ 7032 h 10000"/>
              <a:gd name="connsiteX119" fmla="*/ 5078 w 9948"/>
              <a:gd name="connsiteY119" fmla="*/ 7010 h 10000"/>
              <a:gd name="connsiteX120" fmla="*/ 5170 w 9948"/>
              <a:gd name="connsiteY120" fmla="*/ 7048 h 10000"/>
              <a:gd name="connsiteX121" fmla="*/ 5292 w 9948"/>
              <a:gd name="connsiteY121" fmla="*/ 7069 h 10000"/>
              <a:gd name="connsiteX122" fmla="*/ 5340 w 9948"/>
              <a:gd name="connsiteY122" fmla="*/ 7030 h 10000"/>
              <a:gd name="connsiteX123" fmla="*/ 5379 w 9948"/>
              <a:gd name="connsiteY123" fmla="*/ 7052 h 10000"/>
              <a:gd name="connsiteX124" fmla="*/ 5436 w 9948"/>
              <a:gd name="connsiteY124" fmla="*/ 7126 h 10000"/>
              <a:gd name="connsiteX125" fmla="*/ 5553 w 9948"/>
              <a:gd name="connsiteY125" fmla="*/ 7144 h 10000"/>
              <a:gd name="connsiteX126" fmla="*/ 6032 w 9948"/>
              <a:gd name="connsiteY126" fmla="*/ 7034 h 10000"/>
              <a:gd name="connsiteX127" fmla="*/ 6267 w 9948"/>
              <a:gd name="connsiteY127" fmla="*/ 6879 h 10000"/>
              <a:gd name="connsiteX128" fmla="*/ 6324 w 9948"/>
              <a:gd name="connsiteY128" fmla="*/ 6765 h 10000"/>
              <a:gd name="connsiteX129" fmla="*/ 6237 w 9948"/>
              <a:gd name="connsiteY129" fmla="*/ 6663 h 10000"/>
              <a:gd name="connsiteX130" fmla="*/ 6058 w 9948"/>
              <a:gd name="connsiteY130" fmla="*/ 6602 h 10000"/>
              <a:gd name="connsiteX131" fmla="*/ 5932 w 9948"/>
              <a:gd name="connsiteY131" fmla="*/ 6502 h 10000"/>
              <a:gd name="connsiteX132" fmla="*/ 6050 w 9948"/>
              <a:gd name="connsiteY132" fmla="*/ 6498 h 10000"/>
              <a:gd name="connsiteX133" fmla="*/ 6041 w 9948"/>
              <a:gd name="connsiteY133" fmla="*/ 6474 h 10000"/>
              <a:gd name="connsiteX134" fmla="*/ 5732 w 9948"/>
              <a:gd name="connsiteY134" fmla="*/ 6403 h 10000"/>
              <a:gd name="connsiteX135" fmla="*/ 5719 w 9948"/>
              <a:gd name="connsiteY135" fmla="*/ 6339 h 10000"/>
              <a:gd name="connsiteX136" fmla="*/ 5662 w 9948"/>
              <a:gd name="connsiteY136" fmla="*/ 6272 h 10000"/>
              <a:gd name="connsiteX137" fmla="*/ 5418 w 9948"/>
              <a:gd name="connsiteY137" fmla="*/ 6284 h 10000"/>
              <a:gd name="connsiteX138" fmla="*/ 5331 w 9948"/>
              <a:gd name="connsiteY138" fmla="*/ 6213 h 10000"/>
              <a:gd name="connsiteX139" fmla="*/ 5279 w 9948"/>
              <a:gd name="connsiteY139" fmla="*/ 6209 h 10000"/>
              <a:gd name="connsiteX140" fmla="*/ 5279 w 9948"/>
              <a:gd name="connsiteY140" fmla="*/ 6238 h 10000"/>
              <a:gd name="connsiteX141" fmla="*/ 5170 w 9948"/>
              <a:gd name="connsiteY141" fmla="*/ 6358 h 10000"/>
              <a:gd name="connsiteX142" fmla="*/ 5052 w 9948"/>
              <a:gd name="connsiteY142" fmla="*/ 6429 h 10000"/>
              <a:gd name="connsiteX143" fmla="*/ 4682 w 9948"/>
              <a:gd name="connsiteY143" fmla="*/ 6551 h 10000"/>
              <a:gd name="connsiteX144" fmla="*/ 4551 w 9948"/>
              <a:gd name="connsiteY144" fmla="*/ 6547 h 10000"/>
              <a:gd name="connsiteX145" fmla="*/ 4373 w 9948"/>
              <a:gd name="connsiteY145" fmla="*/ 6565 h 10000"/>
              <a:gd name="connsiteX146" fmla="*/ 4273 w 9948"/>
              <a:gd name="connsiteY146" fmla="*/ 6547 h 10000"/>
              <a:gd name="connsiteX147" fmla="*/ 4403 w 9948"/>
              <a:gd name="connsiteY147" fmla="*/ 6513 h 10000"/>
              <a:gd name="connsiteX148" fmla="*/ 4573 w 9948"/>
              <a:gd name="connsiteY148" fmla="*/ 6498 h 10000"/>
              <a:gd name="connsiteX149" fmla="*/ 4713 w 9948"/>
              <a:gd name="connsiteY149" fmla="*/ 6441 h 10000"/>
              <a:gd name="connsiteX150" fmla="*/ 4852 w 9948"/>
              <a:gd name="connsiteY150" fmla="*/ 6415 h 10000"/>
              <a:gd name="connsiteX151" fmla="*/ 5109 w 9948"/>
              <a:gd name="connsiteY151" fmla="*/ 6317 h 10000"/>
              <a:gd name="connsiteX152" fmla="*/ 5157 w 9948"/>
              <a:gd name="connsiteY152" fmla="*/ 6252 h 10000"/>
              <a:gd name="connsiteX153" fmla="*/ 5161 w 9948"/>
              <a:gd name="connsiteY153" fmla="*/ 6168 h 10000"/>
              <a:gd name="connsiteX154" fmla="*/ 5044 w 9948"/>
              <a:gd name="connsiteY154" fmla="*/ 6154 h 10000"/>
              <a:gd name="connsiteX155" fmla="*/ 5096 w 9948"/>
              <a:gd name="connsiteY155" fmla="*/ 6103 h 10000"/>
              <a:gd name="connsiteX156" fmla="*/ 5113 w 9948"/>
              <a:gd name="connsiteY156" fmla="*/ 6038 h 10000"/>
              <a:gd name="connsiteX157" fmla="*/ 5065 w 9948"/>
              <a:gd name="connsiteY157" fmla="*/ 5977 h 10000"/>
              <a:gd name="connsiteX158" fmla="*/ 5035 w 9948"/>
              <a:gd name="connsiteY158" fmla="*/ 5533 h 10000"/>
              <a:gd name="connsiteX159" fmla="*/ 5105 w 9948"/>
              <a:gd name="connsiteY159" fmla="*/ 5437 h 10000"/>
              <a:gd name="connsiteX160" fmla="*/ 5087 w 9948"/>
              <a:gd name="connsiteY160" fmla="*/ 5398 h 10000"/>
              <a:gd name="connsiteX161" fmla="*/ 5292 w 9948"/>
              <a:gd name="connsiteY161" fmla="*/ 5455 h 10000"/>
              <a:gd name="connsiteX162" fmla="*/ 5305 w 9948"/>
              <a:gd name="connsiteY162" fmla="*/ 5402 h 10000"/>
              <a:gd name="connsiteX163" fmla="*/ 5261 w 9948"/>
              <a:gd name="connsiteY163" fmla="*/ 5264 h 10000"/>
              <a:gd name="connsiteX164" fmla="*/ 5409 w 9948"/>
              <a:gd name="connsiteY164" fmla="*/ 5019 h 10000"/>
              <a:gd name="connsiteX165" fmla="*/ 5318 w 9948"/>
              <a:gd name="connsiteY165" fmla="*/ 4960 h 10000"/>
              <a:gd name="connsiteX166" fmla="*/ 5283 w 9948"/>
              <a:gd name="connsiteY166" fmla="*/ 4905 h 10000"/>
              <a:gd name="connsiteX167" fmla="*/ 5296 w 9948"/>
              <a:gd name="connsiteY167" fmla="*/ 4816 h 10000"/>
              <a:gd name="connsiteX168" fmla="*/ 5510 w 9948"/>
              <a:gd name="connsiteY168" fmla="*/ 4875 h 10000"/>
              <a:gd name="connsiteX169" fmla="*/ 5518 w 9948"/>
              <a:gd name="connsiteY169" fmla="*/ 4858 h 10000"/>
              <a:gd name="connsiteX170" fmla="*/ 5579 w 9948"/>
              <a:gd name="connsiteY170" fmla="*/ 4842 h 10000"/>
              <a:gd name="connsiteX171" fmla="*/ 5662 w 9948"/>
              <a:gd name="connsiteY171" fmla="*/ 4785 h 10000"/>
              <a:gd name="connsiteX172" fmla="*/ 5675 w 9948"/>
              <a:gd name="connsiteY172" fmla="*/ 4769 h 10000"/>
              <a:gd name="connsiteX173" fmla="*/ 5658 w 9948"/>
              <a:gd name="connsiteY173" fmla="*/ 4748 h 10000"/>
              <a:gd name="connsiteX174" fmla="*/ 5701 w 9948"/>
              <a:gd name="connsiteY174" fmla="*/ 4647 h 10000"/>
              <a:gd name="connsiteX175" fmla="*/ 5649 w 9948"/>
              <a:gd name="connsiteY175" fmla="*/ 4581 h 10000"/>
              <a:gd name="connsiteX176" fmla="*/ 5658 w 9948"/>
              <a:gd name="connsiteY176" fmla="*/ 4528 h 10000"/>
              <a:gd name="connsiteX177" fmla="*/ 5688 w 9948"/>
              <a:gd name="connsiteY177" fmla="*/ 4590 h 10000"/>
              <a:gd name="connsiteX178" fmla="*/ 5806 w 9948"/>
              <a:gd name="connsiteY178" fmla="*/ 4636 h 10000"/>
              <a:gd name="connsiteX179" fmla="*/ 5854 w 9948"/>
              <a:gd name="connsiteY179" fmla="*/ 4630 h 10000"/>
              <a:gd name="connsiteX180" fmla="*/ 5932 w 9948"/>
              <a:gd name="connsiteY180" fmla="*/ 4569 h 10000"/>
              <a:gd name="connsiteX181" fmla="*/ 6015 w 9948"/>
              <a:gd name="connsiteY181" fmla="*/ 4594 h 10000"/>
              <a:gd name="connsiteX182" fmla="*/ 6037 w 9948"/>
              <a:gd name="connsiteY182" fmla="*/ 4545 h 10000"/>
              <a:gd name="connsiteX183" fmla="*/ 6093 w 9948"/>
              <a:gd name="connsiteY183" fmla="*/ 4512 h 10000"/>
              <a:gd name="connsiteX184" fmla="*/ 5941 w 9948"/>
              <a:gd name="connsiteY184" fmla="*/ 4477 h 10000"/>
              <a:gd name="connsiteX185" fmla="*/ 6050 w 9948"/>
              <a:gd name="connsiteY185" fmla="*/ 4484 h 10000"/>
              <a:gd name="connsiteX186" fmla="*/ 6163 w 9948"/>
              <a:gd name="connsiteY186" fmla="*/ 4447 h 10000"/>
              <a:gd name="connsiteX187" fmla="*/ 6159 w 9948"/>
              <a:gd name="connsiteY187" fmla="*/ 4422 h 10000"/>
              <a:gd name="connsiteX188" fmla="*/ 6263 w 9948"/>
              <a:gd name="connsiteY188" fmla="*/ 4398 h 10000"/>
              <a:gd name="connsiteX189" fmla="*/ 6272 w 9948"/>
              <a:gd name="connsiteY189" fmla="*/ 4337 h 10000"/>
              <a:gd name="connsiteX190" fmla="*/ 6355 w 9948"/>
              <a:gd name="connsiteY190" fmla="*/ 4325 h 10000"/>
              <a:gd name="connsiteX191" fmla="*/ 6363 w 9948"/>
              <a:gd name="connsiteY191" fmla="*/ 4253 h 10000"/>
              <a:gd name="connsiteX192" fmla="*/ 6450 w 9948"/>
              <a:gd name="connsiteY192" fmla="*/ 4245 h 10000"/>
              <a:gd name="connsiteX193" fmla="*/ 6585 w 9948"/>
              <a:gd name="connsiteY193" fmla="*/ 4260 h 10000"/>
              <a:gd name="connsiteX194" fmla="*/ 6733 w 9948"/>
              <a:gd name="connsiteY194" fmla="*/ 4202 h 10000"/>
              <a:gd name="connsiteX195" fmla="*/ 6786 w 9948"/>
              <a:gd name="connsiteY195" fmla="*/ 4137 h 10000"/>
              <a:gd name="connsiteX196" fmla="*/ 6969 w 9948"/>
              <a:gd name="connsiteY196" fmla="*/ 4070 h 10000"/>
              <a:gd name="connsiteX197" fmla="*/ 7060 w 9948"/>
              <a:gd name="connsiteY197" fmla="*/ 4111 h 10000"/>
              <a:gd name="connsiteX198" fmla="*/ 7199 w 9948"/>
              <a:gd name="connsiteY198" fmla="*/ 4066 h 10000"/>
              <a:gd name="connsiteX199" fmla="*/ 7234 w 9948"/>
              <a:gd name="connsiteY199" fmla="*/ 4009 h 10000"/>
              <a:gd name="connsiteX200" fmla="*/ 7339 w 9948"/>
              <a:gd name="connsiteY200" fmla="*/ 3970 h 10000"/>
              <a:gd name="connsiteX201" fmla="*/ 7430 w 9948"/>
              <a:gd name="connsiteY201" fmla="*/ 3987 h 10000"/>
              <a:gd name="connsiteX202" fmla="*/ 7487 w 9948"/>
              <a:gd name="connsiteY202" fmla="*/ 3958 h 10000"/>
              <a:gd name="connsiteX203" fmla="*/ 7644 w 9948"/>
              <a:gd name="connsiteY203" fmla="*/ 3917 h 10000"/>
              <a:gd name="connsiteX204" fmla="*/ 7709 w 9948"/>
              <a:gd name="connsiteY204" fmla="*/ 3864 h 10000"/>
              <a:gd name="connsiteX205" fmla="*/ 7796 w 9948"/>
              <a:gd name="connsiteY205" fmla="*/ 3842 h 10000"/>
              <a:gd name="connsiteX206" fmla="*/ 8280 w 9948"/>
              <a:gd name="connsiteY206" fmla="*/ 3522 h 10000"/>
              <a:gd name="connsiteX207" fmla="*/ 9717 w 9948"/>
              <a:gd name="connsiteY207" fmla="*/ 2343 h 10000"/>
              <a:gd name="connsiteX208" fmla="*/ 9830 w 9948"/>
              <a:gd name="connsiteY208" fmla="*/ 2369 h 10000"/>
              <a:gd name="connsiteX209" fmla="*/ 9909 w 9948"/>
              <a:gd name="connsiteY209" fmla="*/ 2410 h 10000"/>
              <a:gd name="connsiteX210" fmla="*/ 9948 w 9948"/>
              <a:gd name="connsiteY210" fmla="*/ 2365 h 10000"/>
              <a:gd name="connsiteX211" fmla="*/ 9704 w 9948"/>
              <a:gd name="connsiteY211" fmla="*/ 1992 h 10000"/>
              <a:gd name="connsiteX212" fmla="*/ 9743 w 9948"/>
              <a:gd name="connsiteY212" fmla="*/ 1897 h 10000"/>
              <a:gd name="connsiteX213" fmla="*/ 9830 w 9948"/>
              <a:gd name="connsiteY213" fmla="*/ 1819 h 10000"/>
              <a:gd name="connsiteX214" fmla="*/ 9830 w 9948"/>
              <a:gd name="connsiteY214" fmla="*/ 1699 h 10000"/>
              <a:gd name="connsiteX215" fmla="*/ 9556 w 9948"/>
              <a:gd name="connsiteY215" fmla="*/ 1465 h 10000"/>
              <a:gd name="connsiteX216" fmla="*/ 9512 w 9948"/>
              <a:gd name="connsiteY216" fmla="*/ 1379 h 10000"/>
              <a:gd name="connsiteX217" fmla="*/ 9573 w 9948"/>
              <a:gd name="connsiteY217" fmla="*/ 1271 h 10000"/>
              <a:gd name="connsiteX218" fmla="*/ 9543 w 9948"/>
              <a:gd name="connsiteY218" fmla="*/ 1194 h 10000"/>
              <a:gd name="connsiteX219" fmla="*/ 9486 w 9948"/>
              <a:gd name="connsiteY219" fmla="*/ 1159 h 10000"/>
              <a:gd name="connsiteX220" fmla="*/ 9438 w 9948"/>
              <a:gd name="connsiteY220" fmla="*/ 978 h 10000"/>
              <a:gd name="connsiteX221" fmla="*/ 9495 w 9948"/>
              <a:gd name="connsiteY221" fmla="*/ 831 h 10000"/>
              <a:gd name="connsiteX222" fmla="*/ 9077 w 9948"/>
              <a:gd name="connsiteY222" fmla="*/ 517 h 10000"/>
              <a:gd name="connsiteX223" fmla="*/ 8872 w 9948"/>
              <a:gd name="connsiteY223" fmla="*/ 440 h 10000"/>
              <a:gd name="connsiteX224" fmla="*/ 8493 w 9948"/>
              <a:gd name="connsiteY224" fmla="*/ 389 h 10000"/>
              <a:gd name="connsiteX225" fmla="*/ 7709 w 9948"/>
              <a:gd name="connsiteY225" fmla="*/ 26 h 10000"/>
              <a:gd name="connsiteX226" fmla="*/ 7683 w 9948"/>
              <a:gd name="connsiteY226" fmla="*/ 2 h 10000"/>
              <a:gd name="connsiteX227" fmla="*/ 7417 w 9948"/>
              <a:gd name="connsiteY227" fmla="*/ 0 h 10000"/>
              <a:gd name="connsiteX228" fmla="*/ 7356 w 9948"/>
              <a:gd name="connsiteY228" fmla="*/ 14 h 10000"/>
              <a:gd name="connsiteX229" fmla="*/ 7369 w 9948"/>
              <a:gd name="connsiteY229" fmla="*/ 61 h 10000"/>
              <a:gd name="connsiteX230" fmla="*/ 7422 w 9948"/>
              <a:gd name="connsiteY230" fmla="*/ 86 h 10000"/>
              <a:gd name="connsiteX231" fmla="*/ 7435 w 9948"/>
              <a:gd name="connsiteY231" fmla="*/ 139 h 10000"/>
              <a:gd name="connsiteX232" fmla="*/ 7417 w 9948"/>
              <a:gd name="connsiteY232" fmla="*/ 181 h 10000"/>
              <a:gd name="connsiteX233" fmla="*/ 7369 w 9948"/>
              <a:gd name="connsiteY233" fmla="*/ 208 h 10000"/>
              <a:gd name="connsiteX234" fmla="*/ 7334 w 9948"/>
              <a:gd name="connsiteY234" fmla="*/ 283 h 10000"/>
              <a:gd name="connsiteX235" fmla="*/ 7269 w 9948"/>
              <a:gd name="connsiteY235" fmla="*/ 336 h 10000"/>
              <a:gd name="connsiteX236" fmla="*/ 7282 w 9948"/>
              <a:gd name="connsiteY236" fmla="*/ 387 h 10000"/>
              <a:gd name="connsiteX237" fmla="*/ 7382 w 9948"/>
              <a:gd name="connsiteY237" fmla="*/ 434 h 10000"/>
              <a:gd name="connsiteX238" fmla="*/ 7317 w 9948"/>
              <a:gd name="connsiteY238" fmla="*/ 475 h 10000"/>
              <a:gd name="connsiteX239" fmla="*/ 7221 w 9948"/>
              <a:gd name="connsiteY239" fmla="*/ 485 h 10000"/>
              <a:gd name="connsiteX240" fmla="*/ 6420 w 9948"/>
              <a:gd name="connsiteY240" fmla="*/ 387 h 10000"/>
              <a:gd name="connsiteX241" fmla="*/ 6324 w 9948"/>
              <a:gd name="connsiteY241" fmla="*/ 395 h 10000"/>
              <a:gd name="connsiteX242" fmla="*/ 6267 w 9948"/>
              <a:gd name="connsiteY242" fmla="*/ 414 h 10000"/>
              <a:gd name="connsiteX243" fmla="*/ 6211 w 9948"/>
              <a:gd name="connsiteY243" fmla="*/ 462 h 10000"/>
              <a:gd name="connsiteX244" fmla="*/ 6220 w 9948"/>
              <a:gd name="connsiteY244" fmla="*/ 581 h 10000"/>
              <a:gd name="connsiteX245" fmla="*/ 6132 w 9948"/>
              <a:gd name="connsiteY245" fmla="*/ 735 h 10000"/>
              <a:gd name="connsiteX246" fmla="*/ 6024 w 9948"/>
              <a:gd name="connsiteY246" fmla="*/ 815 h 10000"/>
              <a:gd name="connsiteX247" fmla="*/ 5980 w 9948"/>
              <a:gd name="connsiteY247" fmla="*/ 805 h 10000"/>
              <a:gd name="connsiteX248" fmla="*/ 5880 w 9948"/>
              <a:gd name="connsiteY248" fmla="*/ 739 h 10000"/>
              <a:gd name="connsiteX249" fmla="*/ 5753 w 9948"/>
              <a:gd name="connsiteY249" fmla="*/ 705 h 10000"/>
              <a:gd name="connsiteX250" fmla="*/ 5618 w 9948"/>
              <a:gd name="connsiteY250" fmla="*/ 715 h 10000"/>
              <a:gd name="connsiteX251" fmla="*/ 5301 w 9948"/>
              <a:gd name="connsiteY251" fmla="*/ 866 h 10000"/>
              <a:gd name="connsiteX252" fmla="*/ 5218 w 9948"/>
              <a:gd name="connsiteY252" fmla="*/ 1017 h 10000"/>
              <a:gd name="connsiteX253" fmla="*/ 4978 w 9948"/>
              <a:gd name="connsiteY253" fmla="*/ 1153 h 10000"/>
              <a:gd name="connsiteX254" fmla="*/ 4935 w 9948"/>
              <a:gd name="connsiteY254" fmla="*/ 1222 h 10000"/>
              <a:gd name="connsiteX255" fmla="*/ 5061 w 9948"/>
              <a:gd name="connsiteY255" fmla="*/ 1344 h 10000"/>
              <a:gd name="connsiteX256" fmla="*/ 5074 w 9948"/>
              <a:gd name="connsiteY256" fmla="*/ 1412 h 10000"/>
              <a:gd name="connsiteX257" fmla="*/ 4421 w 9948"/>
              <a:gd name="connsiteY257" fmla="*/ 1813 h 10000"/>
              <a:gd name="connsiteX258" fmla="*/ 4220 w 9948"/>
              <a:gd name="connsiteY258" fmla="*/ 2070 h 10000"/>
              <a:gd name="connsiteX259" fmla="*/ 4003 w 9948"/>
              <a:gd name="connsiteY259" fmla="*/ 2135 h 10000"/>
              <a:gd name="connsiteX260" fmla="*/ 3868 w 9948"/>
              <a:gd name="connsiteY260" fmla="*/ 2131 h 10000"/>
              <a:gd name="connsiteX261" fmla="*/ 3785 w 9948"/>
              <a:gd name="connsiteY261" fmla="*/ 2153 h 10000"/>
              <a:gd name="connsiteX262" fmla="*/ 3558 w 9948"/>
              <a:gd name="connsiteY262" fmla="*/ 2793 h 10000"/>
              <a:gd name="connsiteX263" fmla="*/ 3036 w 9948"/>
              <a:gd name="connsiteY263" fmla="*/ 3166 h 10000"/>
              <a:gd name="connsiteX264" fmla="*/ 3040 w 9948"/>
              <a:gd name="connsiteY264" fmla="*/ 3225 h 10000"/>
              <a:gd name="connsiteX265" fmla="*/ 3271 w 9948"/>
              <a:gd name="connsiteY265" fmla="*/ 3392 h 10000"/>
              <a:gd name="connsiteX266" fmla="*/ 3197 w 9948"/>
              <a:gd name="connsiteY266" fmla="*/ 3573 h 10000"/>
              <a:gd name="connsiteX267" fmla="*/ 3062 w 9948"/>
              <a:gd name="connsiteY267" fmla="*/ 3640 h 10000"/>
              <a:gd name="connsiteX268" fmla="*/ 2657 w 9948"/>
              <a:gd name="connsiteY268" fmla="*/ 3595 h 10000"/>
              <a:gd name="connsiteX269" fmla="*/ 2378 w 9948"/>
              <a:gd name="connsiteY269" fmla="*/ 3620 h 10000"/>
              <a:gd name="connsiteX270" fmla="*/ 2152 w 9948"/>
              <a:gd name="connsiteY270" fmla="*/ 3673 h 10000"/>
              <a:gd name="connsiteX271" fmla="*/ 1790 w 9948"/>
              <a:gd name="connsiteY271" fmla="*/ 3840 h 10000"/>
              <a:gd name="connsiteX272" fmla="*/ 1598 w 9948"/>
              <a:gd name="connsiteY272" fmla="*/ 4042 h 10000"/>
              <a:gd name="connsiteX273" fmla="*/ 1616 w 9948"/>
              <a:gd name="connsiteY273" fmla="*/ 4154 h 10000"/>
              <a:gd name="connsiteX274" fmla="*/ 1681 w 9948"/>
              <a:gd name="connsiteY274" fmla="*/ 4241 h 10000"/>
              <a:gd name="connsiteX275" fmla="*/ 1733 w 9948"/>
              <a:gd name="connsiteY275" fmla="*/ 4276 h 10000"/>
              <a:gd name="connsiteX276" fmla="*/ 1638 w 9948"/>
              <a:gd name="connsiteY276" fmla="*/ 4331 h 10000"/>
              <a:gd name="connsiteX277" fmla="*/ 1433 w 9948"/>
              <a:gd name="connsiteY277" fmla="*/ 4710 h 10000"/>
              <a:gd name="connsiteX278" fmla="*/ 1472 w 9948"/>
              <a:gd name="connsiteY278" fmla="*/ 4732 h 10000"/>
              <a:gd name="connsiteX279" fmla="*/ 1503 w 9948"/>
              <a:gd name="connsiteY279" fmla="*/ 4828 h 10000"/>
              <a:gd name="connsiteX280" fmla="*/ 1407 w 9948"/>
              <a:gd name="connsiteY280" fmla="*/ 5227 h 10000"/>
              <a:gd name="connsiteX281" fmla="*/ 1503 w 9948"/>
              <a:gd name="connsiteY281" fmla="*/ 5329 h 10000"/>
              <a:gd name="connsiteX282" fmla="*/ 1764 w 9948"/>
              <a:gd name="connsiteY282" fmla="*/ 5441 h 10000"/>
              <a:gd name="connsiteX283" fmla="*/ 1777 w 9948"/>
              <a:gd name="connsiteY283" fmla="*/ 5578 h 10000"/>
              <a:gd name="connsiteX284" fmla="*/ 1664 w 9948"/>
              <a:gd name="connsiteY284" fmla="*/ 5690 h 10000"/>
              <a:gd name="connsiteX285" fmla="*/ 1503 w 9948"/>
              <a:gd name="connsiteY285" fmla="*/ 5759 h 10000"/>
              <a:gd name="connsiteX286" fmla="*/ 1289 w 9948"/>
              <a:gd name="connsiteY286" fmla="*/ 5787 h 10000"/>
              <a:gd name="connsiteX287" fmla="*/ 1233 w 9948"/>
              <a:gd name="connsiteY287" fmla="*/ 5826 h 10000"/>
              <a:gd name="connsiteX288" fmla="*/ 1359 w 9948"/>
              <a:gd name="connsiteY288" fmla="*/ 5920 h 10000"/>
              <a:gd name="connsiteX289" fmla="*/ 1429 w 9948"/>
              <a:gd name="connsiteY289" fmla="*/ 6142 h 10000"/>
              <a:gd name="connsiteX290" fmla="*/ 1267 w 9948"/>
              <a:gd name="connsiteY290" fmla="*/ 6333 h 10000"/>
              <a:gd name="connsiteX291" fmla="*/ 1324 w 9948"/>
              <a:gd name="connsiteY291" fmla="*/ 6392 h 10000"/>
              <a:gd name="connsiteX292" fmla="*/ 1272 w 9948"/>
              <a:gd name="connsiteY292" fmla="*/ 6492 h 10000"/>
              <a:gd name="connsiteX293" fmla="*/ 1167 w 9948"/>
              <a:gd name="connsiteY293" fmla="*/ 6561 h 10000"/>
              <a:gd name="connsiteX294" fmla="*/ 758 w 9948"/>
              <a:gd name="connsiteY294" fmla="*/ 6614 h 10000"/>
              <a:gd name="connsiteX295" fmla="*/ 732 w 9948"/>
              <a:gd name="connsiteY295" fmla="*/ 6706 h 10000"/>
              <a:gd name="connsiteX296" fmla="*/ 510 w 9948"/>
              <a:gd name="connsiteY296" fmla="*/ 6843 h 10000"/>
              <a:gd name="connsiteX297" fmla="*/ 540 w 9948"/>
              <a:gd name="connsiteY297" fmla="*/ 7040 h 10000"/>
              <a:gd name="connsiteX298" fmla="*/ 353 w 9948"/>
              <a:gd name="connsiteY298" fmla="*/ 7293 h 10000"/>
              <a:gd name="connsiteX299" fmla="*/ 226 w 9948"/>
              <a:gd name="connsiteY299" fmla="*/ 7323 h 10000"/>
              <a:gd name="connsiteX300" fmla="*/ 174 w 9948"/>
              <a:gd name="connsiteY300" fmla="*/ 7262 h 10000"/>
              <a:gd name="connsiteX301" fmla="*/ 109 w 9948"/>
              <a:gd name="connsiteY301" fmla="*/ 7354 h 10000"/>
              <a:gd name="connsiteX302" fmla="*/ 152 w 9948"/>
              <a:gd name="connsiteY302" fmla="*/ 7197 h 10000"/>
              <a:gd name="connsiteX303" fmla="*/ 126 w 9948"/>
              <a:gd name="connsiteY303" fmla="*/ 7166 h 10000"/>
              <a:gd name="connsiteX0" fmla="*/ 127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2 w 10000"/>
              <a:gd name="connsiteY7" fmla="*/ 7727 h 10000"/>
              <a:gd name="connsiteX8" fmla="*/ 206 w 10000"/>
              <a:gd name="connsiteY8" fmla="*/ 7680 h 10000"/>
              <a:gd name="connsiteX9" fmla="*/ 262 w 10000"/>
              <a:gd name="connsiteY9" fmla="*/ 7712 h 10000"/>
              <a:gd name="connsiteX10" fmla="*/ 201 w 10000"/>
              <a:gd name="connsiteY10" fmla="*/ 7778 h 10000"/>
              <a:gd name="connsiteX11" fmla="*/ 267 w 10000"/>
              <a:gd name="connsiteY11" fmla="*/ 7780 h 10000"/>
              <a:gd name="connsiteX12" fmla="*/ 298 w 10000"/>
              <a:gd name="connsiteY12" fmla="*/ 7796 h 10000"/>
              <a:gd name="connsiteX13" fmla="*/ 214 w 10000"/>
              <a:gd name="connsiteY13" fmla="*/ 7818 h 10000"/>
              <a:gd name="connsiteX14" fmla="*/ 83 w 10000"/>
              <a:gd name="connsiteY14" fmla="*/ 7886 h 10000"/>
              <a:gd name="connsiteX15" fmla="*/ 316 w 10000"/>
              <a:gd name="connsiteY15" fmla="*/ 7938 h 10000"/>
              <a:gd name="connsiteX16" fmla="*/ 346 w 10000"/>
              <a:gd name="connsiteY16" fmla="*/ 8014 h 10000"/>
              <a:gd name="connsiteX17" fmla="*/ 267 w 10000"/>
              <a:gd name="connsiteY17" fmla="*/ 8126 h 10000"/>
              <a:gd name="connsiteX18" fmla="*/ 438 w 10000"/>
              <a:gd name="connsiteY18" fmla="*/ 8118 h 10000"/>
              <a:gd name="connsiteX19" fmla="*/ 451 w 10000"/>
              <a:gd name="connsiteY19" fmla="*/ 8203 h 10000"/>
              <a:gd name="connsiteX20" fmla="*/ 337 w 10000"/>
              <a:gd name="connsiteY20" fmla="*/ 8260 h 10000"/>
              <a:gd name="connsiteX21" fmla="*/ 355 w 10000"/>
              <a:gd name="connsiteY21" fmla="*/ 8370 h 10000"/>
              <a:gd name="connsiteX22" fmla="*/ 311 w 10000"/>
              <a:gd name="connsiteY22" fmla="*/ 8456 h 10000"/>
              <a:gd name="connsiteX23" fmla="*/ 446 w 10000"/>
              <a:gd name="connsiteY23" fmla="*/ 8464 h 10000"/>
              <a:gd name="connsiteX24" fmla="*/ 578 w 10000"/>
              <a:gd name="connsiteY24" fmla="*/ 8792 h 10000"/>
              <a:gd name="connsiteX25" fmla="*/ 731 w 10000"/>
              <a:gd name="connsiteY25" fmla="*/ 8876 h 10000"/>
              <a:gd name="connsiteX26" fmla="*/ 797 w 10000"/>
              <a:gd name="connsiteY26" fmla="*/ 8965 h 10000"/>
              <a:gd name="connsiteX27" fmla="*/ 963 w 10000"/>
              <a:gd name="connsiteY27" fmla="*/ 9030 h 10000"/>
              <a:gd name="connsiteX28" fmla="*/ 1069 w 10000"/>
              <a:gd name="connsiteY28" fmla="*/ 9112 h 10000"/>
              <a:gd name="connsiteX29" fmla="*/ 1055 w 10000"/>
              <a:gd name="connsiteY29" fmla="*/ 9171 h 10000"/>
              <a:gd name="connsiteX30" fmla="*/ 950 w 10000"/>
              <a:gd name="connsiteY30" fmla="*/ 9193 h 10000"/>
              <a:gd name="connsiteX31" fmla="*/ 836 w 10000"/>
              <a:gd name="connsiteY31" fmla="*/ 9179 h 10000"/>
              <a:gd name="connsiteX32" fmla="*/ 801 w 10000"/>
              <a:gd name="connsiteY32" fmla="*/ 9204 h 10000"/>
              <a:gd name="connsiteX33" fmla="*/ 889 w 10000"/>
              <a:gd name="connsiteY33" fmla="*/ 9332 h 10000"/>
              <a:gd name="connsiteX34" fmla="*/ 766 w 10000"/>
              <a:gd name="connsiteY34" fmla="*/ 9322 h 10000"/>
              <a:gd name="connsiteX35" fmla="*/ 661 w 10000"/>
              <a:gd name="connsiteY35" fmla="*/ 9291 h 10000"/>
              <a:gd name="connsiteX36" fmla="*/ 643 w 10000"/>
              <a:gd name="connsiteY36" fmla="*/ 9338 h 10000"/>
              <a:gd name="connsiteX37" fmla="*/ 989 w 10000"/>
              <a:gd name="connsiteY37" fmla="*/ 9776 h 10000"/>
              <a:gd name="connsiteX38" fmla="*/ 933 w 10000"/>
              <a:gd name="connsiteY38" fmla="*/ 9817 h 10000"/>
              <a:gd name="connsiteX39" fmla="*/ 894 w 10000"/>
              <a:gd name="connsiteY39" fmla="*/ 9902 h 10000"/>
              <a:gd name="connsiteX40" fmla="*/ 845 w 10000"/>
              <a:gd name="connsiteY40" fmla="*/ 9908 h 10000"/>
              <a:gd name="connsiteX41" fmla="*/ 814 w 10000"/>
              <a:gd name="connsiteY41" fmla="*/ 9945 h 10000"/>
              <a:gd name="connsiteX42" fmla="*/ 1024 w 10000"/>
              <a:gd name="connsiteY42" fmla="*/ 9949 h 10000"/>
              <a:gd name="connsiteX43" fmla="*/ 1208 w 10000"/>
              <a:gd name="connsiteY43" fmla="*/ 9986 h 10000"/>
              <a:gd name="connsiteX44" fmla="*/ 1515 w 10000"/>
              <a:gd name="connsiteY44" fmla="*/ 9947 h 10000"/>
              <a:gd name="connsiteX45" fmla="*/ 1790 w 10000"/>
              <a:gd name="connsiteY45" fmla="*/ 9953 h 10000"/>
              <a:gd name="connsiteX46" fmla="*/ 1953 w 10000"/>
              <a:gd name="connsiteY46" fmla="*/ 10000 h 10000"/>
              <a:gd name="connsiteX47" fmla="*/ 2041 w 10000"/>
              <a:gd name="connsiteY47" fmla="*/ 9969 h 10000"/>
              <a:gd name="connsiteX48" fmla="*/ 2128 w 10000"/>
              <a:gd name="connsiteY48" fmla="*/ 9868 h 10000"/>
              <a:gd name="connsiteX49" fmla="*/ 2106 w 10000"/>
              <a:gd name="connsiteY49" fmla="*/ 9703 h 10000"/>
              <a:gd name="connsiteX50" fmla="*/ 2316 w 10000"/>
              <a:gd name="connsiteY50" fmla="*/ 9517 h 10000"/>
              <a:gd name="connsiteX51" fmla="*/ 2469 w 10000"/>
              <a:gd name="connsiteY51" fmla="*/ 9546 h 10000"/>
              <a:gd name="connsiteX52" fmla="*/ 2557 w 10000"/>
              <a:gd name="connsiteY52" fmla="*/ 9472 h 10000"/>
              <a:gd name="connsiteX53" fmla="*/ 2727 w 10000"/>
              <a:gd name="connsiteY53" fmla="*/ 9430 h 10000"/>
              <a:gd name="connsiteX54" fmla="*/ 2959 w 10000"/>
              <a:gd name="connsiteY54" fmla="*/ 9440 h 10000"/>
              <a:gd name="connsiteX55" fmla="*/ 3100 w 10000"/>
              <a:gd name="connsiteY55" fmla="*/ 9470 h 10000"/>
              <a:gd name="connsiteX56" fmla="*/ 3284 w 10000"/>
              <a:gd name="connsiteY56" fmla="*/ 9456 h 10000"/>
              <a:gd name="connsiteX57" fmla="*/ 3472 w 10000"/>
              <a:gd name="connsiteY57" fmla="*/ 9489 h 10000"/>
              <a:gd name="connsiteX58" fmla="*/ 3660 w 10000"/>
              <a:gd name="connsiteY58" fmla="*/ 9493 h 10000"/>
              <a:gd name="connsiteX59" fmla="*/ 4080 w 10000"/>
              <a:gd name="connsiteY59" fmla="*/ 9061 h 10000"/>
              <a:gd name="connsiteX60" fmla="*/ 4186 w 10000"/>
              <a:gd name="connsiteY60" fmla="*/ 8711 h 10000"/>
              <a:gd name="connsiteX61" fmla="*/ 4357 w 10000"/>
              <a:gd name="connsiteY61" fmla="*/ 8554 h 10000"/>
              <a:gd name="connsiteX62" fmla="*/ 4357 w 10000"/>
              <a:gd name="connsiteY62" fmla="*/ 8472 h 10000"/>
              <a:gd name="connsiteX63" fmla="*/ 4295 w 10000"/>
              <a:gd name="connsiteY63" fmla="*/ 8425 h 10000"/>
              <a:gd name="connsiteX64" fmla="*/ 4396 w 10000"/>
              <a:gd name="connsiteY64" fmla="*/ 8352 h 10000"/>
              <a:gd name="connsiteX65" fmla="*/ 4378 w 10000"/>
              <a:gd name="connsiteY65" fmla="*/ 8289 h 10000"/>
              <a:gd name="connsiteX66" fmla="*/ 4308 w 10000"/>
              <a:gd name="connsiteY66" fmla="*/ 8236 h 10000"/>
              <a:gd name="connsiteX67" fmla="*/ 4295 w 10000"/>
              <a:gd name="connsiteY67" fmla="*/ 8199 h 10000"/>
              <a:gd name="connsiteX68" fmla="*/ 4312 w 10000"/>
              <a:gd name="connsiteY68" fmla="*/ 8169 h 10000"/>
              <a:gd name="connsiteX69" fmla="*/ 4405 w 10000"/>
              <a:gd name="connsiteY69" fmla="*/ 8193 h 10000"/>
              <a:gd name="connsiteX70" fmla="*/ 4479 w 10000"/>
              <a:gd name="connsiteY70" fmla="*/ 8191 h 10000"/>
              <a:gd name="connsiteX71" fmla="*/ 4439 w 10000"/>
              <a:gd name="connsiteY71" fmla="*/ 8140 h 10000"/>
              <a:gd name="connsiteX72" fmla="*/ 4452 w 10000"/>
              <a:gd name="connsiteY72" fmla="*/ 8112 h 10000"/>
              <a:gd name="connsiteX73" fmla="*/ 4505 w 10000"/>
              <a:gd name="connsiteY73" fmla="*/ 8069 h 10000"/>
              <a:gd name="connsiteX74" fmla="*/ 4496 w 10000"/>
              <a:gd name="connsiteY74" fmla="*/ 8034 h 10000"/>
              <a:gd name="connsiteX75" fmla="*/ 4545 w 10000"/>
              <a:gd name="connsiteY75" fmla="*/ 7916 h 10000"/>
              <a:gd name="connsiteX76" fmla="*/ 4532 w 10000"/>
              <a:gd name="connsiteY76" fmla="*/ 7881 h 10000"/>
              <a:gd name="connsiteX77" fmla="*/ 4277 w 10000"/>
              <a:gd name="connsiteY77" fmla="*/ 7792 h 10000"/>
              <a:gd name="connsiteX78" fmla="*/ 4312 w 10000"/>
              <a:gd name="connsiteY78" fmla="*/ 7788 h 10000"/>
              <a:gd name="connsiteX79" fmla="*/ 4448 w 10000"/>
              <a:gd name="connsiteY79" fmla="*/ 7812 h 10000"/>
              <a:gd name="connsiteX80" fmla="*/ 4593 w 10000"/>
              <a:gd name="connsiteY80" fmla="*/ 7804 h 10000"/>
              <a:gd name="connsiteX81" fmla="*/ 4636 w 10000"/>
              <a:gd name="connsiteY81" fmla="*/ 7771 h 10000"/>
              <a:gd name="connsiteX82" fmla="*/ 4496 w 10000"/>
              <a:gd name="connsiteY82" fmla="*/ 7710 h 10000"/>
              <a:gd name="connsiteX83" fmla="*/ 4076 w 10000"/>
              <a:gd name="connsiteY83" fmla="*/ 7670 h 10000"/>
              <a:gd name="connsiteX84" fmla="*/ 4106 w 10000"/>
              <a:gd name="connsiteY84" fmla="*/ 7651 h 10000"/>
              <a:gd name="connsiteX85" fmla="*/ 4448 w 10000"/>
              <a:gd name="connsiteY85" fmla="*/ 7639 h 10000"/>
              <a:gd name="connsiteX86" fmla="*/ 4636 w 10000"/>
              <a:gd name="connsiteY86" fmla="*/ 7676 h 10000"/>
              <a:gd name="connsiteX87" fmla="*/ 4746 w 10000"/>
              <a:gd name="connsiteY87" fmla="*/ 7651 h 10000"/>
              <a:gd name="connsiteX88" fmla="*/ 4785 w 10000"/>
              <a:gd name="connsiteY88" fmla="*/ 7588 h 10000"/>
              <a:gd name="connsiteX89" fmla="*/ 4982 w 10000"/>
              <a:gd name="connsiteY89" fmla="*/ 7588 h 10000"/>
              <a:gd name="connsiteX90" fmla="*/ 5249 w 10000"/>
              <a:gd name="connsiteY90" fmla="*/ 7462 h 10000"/>
              <a:gd name="connsiteX91" fmla="*/ 5258 w 10000"/>
              <a:gd name="connsiteY91" fmla="*/ 7378 h 10000"/>
              <a:gd name="connsiteX92" fmla="*/ 5372 w 10000"/>
              <a:gd name="connsiteY92" fmla="*/ 7397 h 10000"/>
              <a:gd name="connsiteX93" fmla="*/ 5368 w 10000"/>
              <a:gd name="connsiteY93" fmla="*/ 7482 h 10000"/>
              <a:gd name="connsiteX94" fmla="*/ 5547 w 10000"/>
              <a:gd name="connsiteY94" fmla="*/ 7476 h 10000"/>
              <a:gd name="connsiteX95" fmla="*/ 5665 w 10000"/>
              <a:gd name="connsiteY95" fmla="*/ 7388 h 10000"/>
              <a:gd name="connsiteX96" fmla="*/ 5885 w 10000"/>
              <a:gd name="connsiteY96" fmla="*/ 7309 h 10000"/>
              <a:gd name="connsiteX97" fmla="*/ 5849 w 10000"/>
              <a:gd name="connsiteY97" fmla="*/ 7219 h 10000"/>
              <a:gd name="connsiteX98" fmla="*/ 5915 w 10000"/>
              <a:gd name="connsiteY98" fmla="*/ 7254 h 10000"/>
              <a:gd name="connsiteX99" fmla="*/ 6015 w 10000"/>
              <a:gd name="connsiteY99" fmla="*/ 7254 h 10000"/>
              <a:gd name="connsiteX100" fmla="*/ 6015 w 10000"/>
              <a:gd name="connsiteY100" fmla="*/ 7213 h 10000"/>
              <a:gd name="connsiteX101" fmla="*/ 6108 w 10000"/>
              <a:gd name="connsiteY101" fmla="*/ 7181 h 10000"/>
              <a:gd name="connsiteX102" fmla="*/ 6095 w 10000"/>
              <a:gd name="connsiteY102" fmla="*/ 7148 h 10000"/>
              <a:gd name="connsiteX103" fmla="*/ 5307 w 10000"/>
              <a:gd name="connsiteY103" fmla="*/ 7215 h 10000"/>
              <a:gd name="connsiteX104" fmla="*/ 5123 w 10000"/>
              <a:gd name="connsiteY104" fmla="*/ 7195 h 10000"/>
              <a:gd name="connsiteX105" fmla="*/ 5048 w 10000"/>
              <a:gd name="connsiteY105" fmla="*/ 7219 h 10000"/>
              <a:gd name="connsiteX106" fmla="*/ 5022 w 10000"/>
              <a:gd name="connsiteY106" fmla="*/ 7173 h 10000"/>
              <a:gd name="connsiteX107" fmla="*/ 4935 w 10000"/>
              <a:gd name="connsiteY107" fmla="*/ 7132 h 10000"/>
              <a:gd name="connsiteX108" fmla="*/ 4584 w 10000"/>
              <a:gd name="connsiteY108" fmla="*/ 7052 h 10000"/>
              <a:gd name="connsiteX109" fmla="*/ 4378 w 10000"/>
              <a:gd name="connsiteY109" fmla="*/ 7065 h 10000"/>
              <a:gd name="connsiteX110" fmla="*/ 4295 w 10000"/>
              <a:gd name="connsiteY110" fmla="*/ 7042 h 10000"/>
              <a:gd name="connsiteX111" fmla="*/ 4383 w 10000"/>
              <a:gd name="connsiteY111" fmla="*/ 7022 h 10000"/>
              <a:gd name="connsiteX112" fmla="*/ 4448 w 10000"/>
              <a:gd name="connsiteY112" fmla="*/ 6979 h 10000"/>
              <a:gd name="connsiteX113" fmla="*/ 4545 w 10000"/>
              <a:gd name="connsiteY113" fmla="*/ 6993 h 10000"/>
              <a:gd name="connsiteX114" fmla="*/ 4663 w 10000"/>
              <a:gd name="connsiteY114" fmla="*/ 6981 h 10000"/>
              <a:gd name="connsiteX115" fmla="*/ 4838 w 10000"/>
              <a:gd name="connsiteY115" fmla="*/ 6995 h 10000"/>
              <a:gd name="connsiteX116" fmla="*/ 4859 w 10000"/>
              <a:gd name="connsiteY116" fmla="*/ 6989 h 10000"/>
              <a:gd name="connsiteX117" fmla="*/ 4996 w 10000"/>
              <a:gd name="connsiteY117" fmla="*/ 7056 h 10000"/>
              <a:gd name="connsiteX118" fmla="*/ 5097 w 10000"/>
              <a:gd name="connsiteY118" fmla="*/ 7032 h 10000"/>
              <a:gd name="connsiteX119" fmla="*/ 5105 w 10000"/>
              <a:gd name="connsiteY119" fmla="*/ 7010 h 10000"/>
              <a:gd name="connsiteX120" fmla="*/ 5197 w 10000"/>
              <a:gd name="connsiteY120" fmla="*/ 7048 h 10000"/>
              <a:gd name="connsiteX121" fmla="*/ 5320 w 10000"/>
              <a:gd name="connsiteY121" fmla="*/ 7069 h 10000"/>
              <a:gd name="connsiteX122" fmla="*/ 5368 w 10000"/>
              <a:gd name="connsiteY122" fmla="*/ 7030 h 10000"/>
              <a:gd name="connsiteX123" fmla="*/ 5407 w 10000"/>
              <a:gd name="connsiteY123" fmla="*/ 7052 h 10000"/>
              <a:gd name="connsiteX124" fmla="*/ 5464 w 10000"/>
              <a:gd name="connsiteY124" fmla="*/ 7126 h 10000"/>
              <a:gd name="connsiteX125" fmla="*/ 5582 w 10000"/>
              <a:gd name="connsiteY125" fmla="*/ 7144 h 10000"/>
              <a:gd name="connsiteX126" fmla="*/ 6064 w 10000"/>
              <a:gd name="connsiteY126" fmla="*/ 7034 h 10000"/>
              <a:gd name="connsiteX127" fmla="*/ 6300 w 10000"/>
              <a:gd name="connsiteY127" fmla="*/ 6879 h 10000"/>
              <a:gd name="connsiteX128" fmla="*/ 6357 w 10000"/>
              <a:gd name="connsiteY128" fmla="*/ 6765 h 10000"/>
              <a:gd name="connsiteX129" fmla="*/ 6270 w 10000"/>
              <a:gd name="connsiteY129" fmla="*/ 6663 h 10000"/>
              <a:gd name="connsiteX130" fmla="*/ 6090 w 10000"/>
              <a:gd name="connsiteY130" fmla="*/ 6602 h 10000"/>
              <a:gd name="connsiteX131" fmla="*/ 5963 w 10000"/>
              <a:gd name="connsiteY131" fmla="*/ 6502 h 10000"/>
              <a:gd name="connsiteX132" fmla="*/ 6082 w 10000"/>
              <a:gd name="connsiteY132" fmla="*/ 6498 h 10000"/>
              <a:gd name="connsiteX133" fmla="*/ 6073 w 10000"/>
              <a:gd name="connsiteY133" fmla="*/ 6474 h 10000"/>
              <a:gd name="connsiteX134" fmla="*/ 5762 w 10000"/>
              <a:gd name="connsiteY134" fmla="*/ 6403 h 10000"/>
              <a:gd name="connsiteX135" fmla="*/ 5749 w 10000"/>
              <a:gd name="connsiteY135" fmla="*/ 6339 h 10000"/>
              <a:gd name="connsiteX136" fmla="*/ 5692 w 10000"/>
              <a:gd name="connsiteY136" fmla="*/ 6272 h 10000"/>
              <a:gd name="connsiteX137" fmla="*/ 5446 w 10000"/>
              <a:gd name="connsiteY137" fmla="*/ 6284 h 10000"/>
              <a:gd name="connsiteX138" fmla="*/ 5359 w 10000"/>
              <a:gd name="connsiteY138" fmla="*/ 6213 h 10000"/>
              <a:gd name="connsiteX139" fmla="*/ 5307 w 10000"/>
              <a:gd name="connsiteY139" fmla="*/ 6209 h 10000"/>
              <a:gd name="connsiteX140" fmla="*/ 5307 w 10000"/>
              <a:gd name="connsiteY140" fmla="*/ 6238 h 10000"/>
              <a:gd name="connsiteX141" fmla="*/ 5197 w 10000"/>
              <a:gd name="connsiteY141" fmla="*/ 6358 h 10000"/>
              <a:gd name="connsiteX142" fmla="*/ 5078 w 10000"/>
              <a:gd name="connsiteY142" fmla="*/ 6429 h 10000"/>
              <a:gd name="connsiteX143" fmla="*/ 4706 w 10000"/>
              <a:gd name="connsiteY143" fmla="*/ 6551 h 10000"/>
              <a:gd name="connsiteX144" fmla="*/ 4575 w 10000"/>
              <a:gd name="connsiteY144" fmla="*/ 6547 h 10000"/>
              <a:gd name="connsiteX145" fmla="*/ 4396 w 10000"/>
              <a:gd name="connsiteY145" fmla="*/ 6565 h 10000"/>
              <a:gd name="connsiteX146" fmla="*/ 4295 w 10000"/>
              <a:gd name="connsiteY146" fmla="*/ 6547 h 10000"/>
              <a:gd name="connsiteX147" fmla="*/ 4426 w 10000"/>
              <a:gd name="connsiteY147" fmla="*/ 6513 h 10000"/>
              <a:gd name="connsiteX148" fmla="*/ 4597 w 10000"/>
              <a:gd name="connsiteY148" fmla="*/ 6498 h 10000"/>
              <a:gd name="connsiteX149" fmla="*/ 4738 w 10000"/>
              <a:gd name="connsiteY149" fmla="*/ 6441 h 10000"/>
              <a:gd name="connsiteX150" fmla="*/ 4877 w 10000"/>
              <a:gd name="connsiteY150" fmla="*/ 6415 h 10000"/>
              <a:gd name="connsiteX151" fmla="*/ 5136 w 10000"/>
              <a:gd name="connsiteY151" fmla="*/ 6317 h 10000"/>
              <a:gd name="connsiteX152" fmla="*/ 5184 w 10000"/>
              <a:gd name="connsiteY152" fmla="*/ 6252 h 10000"/>
              <a:gd name="connsiteX153" fmla="*/ 5188 w 10000"/>
              <a:gd name="connsiteY153" fmla="*/ 6168 h 10000"/>
              <a:gd name="connsiteX154" fmla="*/ 5070 w 10000"/>
              <a:gd name="connsiteY154" fmla="*/ 6154 h 10000"/>
              <a:gd name="connsiteX155" fmla="*/ 5123 w 10000"/>
              <a:gd name="connsiteY155" fmla="*/ 6103 h 10000"/>
              <a:gd name="connsiteX156" fmla="*/ 5140 w 10000"/>
              <a:gd name="connsiteY156" fmla="*/ 6038 h 10000"/>
              <a:gd name="connsiteX157" fmla="*/ 5091 w 10000"/>
              <a:gd name="connsiteY157" fmla="*/ 5977 h 10000"/>
              <a:gd name="connsiteX158" fmla="*/ 5061 w 10000"/>
              <a:gd name="connsiteY158" fmla="*/ 5533 h 10000"/>
              <a:gd name="connsiteX159" fmla="*/ 5132 w 10000"/>
              <a:gd name="connsiteY159" fmla="*/ 5437 h 10000"/>
              <a:gd name="connsiteX160" fmla="*/ 5114 w 10000"/>
              <a:gd name="connsiteY160" fmla="*/ 5398 h 10000"/>
              <a:gd name="connsiteX161" fmla="*/ 5320 w 10000"/>
              <a:gd name="connsiteY161" fmla="*/ 5455 h 10000"/>
              <a:gd name="connsiteX162" fmla="*/ 5333 w 10000"/>
              <a:gd name="connsiteY162" fmla="*/ 5402 h 10000"/>
              <a:gd name="connsiteX163" fmla="*/ 5289 w 10000"/>
              <a:gd name="connsiteY163" fmla="*/ 5264 h 10000"/>
              <a:gd name="connsiteX164" fmla="*/ 5437 w 10000"/>
              <a:gd name="connsiteY164" fmla="*/ 5019 h 10000"/>
              <a:gd name="connsiteX165" fmla="*/ 5346 w 10000"/>
              <a:gd name="connsiteY165" fmla="*/ 4960 h 10000"/>
              <a:gd name="connsiteX166" fmla="*/ 5311 w 10000"/>
              <a:gd name="connsiteY166" fmla="*/ 4905 h 10000"/>
              <a:gd name="connsiteX167" fmla="*/ 5324 w 10000"/>
              <a:gd name="connsiteY167" fmla="*/ 4816 h 10000"/>
              <a:gd name="connsiteX168" fmla="*/ 5539 w 10000"/>
              <a:gd name="connsiteY168" fmla="*/ 4875 h 10000"/>
              <a:gd name="connsiteX169" fmla="*/ 5547 w 10000"/>
              <a:gd name="connsiteY169" fmla="*/ 4858 h 10000"/>
              <a:gd name="connsiteX170" fmla="*/ 5608 w 10000"/>
              <a:gd name="connsiteY170" fmla="*/ 4842 h 10000"/>
              <a:gd name="connsiteX171" fmla="*/ 5692 w 10000"/>
              <a:gd name="connsiteY171" fmla="*/ 4785 h 10000"/>
              <a:gd name="connsiteX172" fmla="*/ 5705 w 10000"/>
              <a:gd name="connsiteY172" fmla="*/ 4769 h 10000"/>
              <a:gd name="connsiteX173" fmla="*/ 5688 w 10000"/>
              <a:gd name="connsiteY173" fmla="*/ 4748 h 10000"/>
              <a:gd name="connsiteX174" fmla="*/ 5731 w 10000"/>
              <a:gd name="connsiteY174" fmla="*/ 4647 h 10000"/>
              <a:gd name="connsiteX175" fmla="*/ 5679 w 10000"/>
              <a:gd name="connsiteY175" fmla="*/ 4581 h 10000"/>
              <a:gd name="connsiteX176" fmla="*/ 5688 w 10000"/>
              <a:gd name="connsiteY176" fmla="*/ 4528 h 10000"/>
              <a:gd name="connsiteX177" fmla="*/ 5718 w 10000"/>
              <a:gd name="connsiteY177" fmla="*/ 4590 h 10000"/>
              <a:gd name="connsiteX178" fmla="*/ 5836 w 10000"/>
              <a:gd name="connsiteY178" fmla="*/ 4636 h 10000"/>
              <a:gd name="connsiteX179" fmla="*/ 5885 w 10000"/>
              <a:gd name="connsiteY179" fmla="*/ 4630 h 10000"/>
              <a:gd name="connsiteX180" fmla="*/ 5963 w 10000"/>
              <a:gd name="connsiteY180" fmla="*/ 4569 h 10000"/>
              <a:gd name="connsiteX181" fmla="*/ 6046 w 10000"/>
              <a:gd name="connsiteY181" fmla="*/ 4594 h 10000"/>
              <a:gd name="connsiteX182" fmla="*/ 6069 w 10000"/>
              <a:gd name="connsiteY182" fmla="*/ 4545 h 10000"/>
              <a:gd name="connsiteX183" fmla="*/ 6125 w 10000"/>
              <a:gd name="connsiteY183" fmla="*/ 4512 h 10000"/>
              <a:gd name="connsiteX184" fmla="*/ 5972 w 10000"/>
              <a:gd name="connsiteY184" fmla="*/ 4477 h 10000"/>
              <a:gd name="connsiteX185" fmla="*/ 6082 w 10000"/>
              <a:gd name="connsiteY185" fmla="*/ 4484 h 10000"/>
              <a:gd name="connsiteX186" fmla="*/ 6195 w 10000"/>
              <a:gd name="connsiteY186" fmla="*/ 4447 h 10000"/>
              <a:gd name="connsiteX187" fmla="*/ 6191 w 10000"/>
              <a:gd name="connsiteY187" fmla="*/ 4422 h 10000"/>
              <a:gd name="connsiteX188" fmla="*/ 6296 w 10000"/>
              <a:gd name="connsiteY188" fmla="*/ 4398 h 10000"/>
              <a:gd name="connsiteX189" fmla="*/ 6305 w 10000"/>
              <a:gd name="connsiteY189" fmla="*/ 4337 h 10000"/>
              <a:gd name="connsiteX190" fmla="*/ 6388 w 10000"/>
              <a:gd name="connsiteY190" fmla="*/ 4325 h 10000"/>
              <a:gd name="connsiteX191" fmla="*/ 6396 w 10000"/>
              <a:gd name="connsiteY191" fmla="*/ 4253 h 10000"/>
              <a:gd name="connsiteX192" fmla="*/ 6484 w 10000"/>
              <a:gd name="connsiteY192" fmla="*/ 4245 h 10000"/>
              <a:gd name="connsiteX193" fmla="*/ 6619 w 10000"/>
              <a:gd name="connsiteY193" fmla="*/ 4260 h 10000"/>
              <a:gd name="connsiteX194" fmla="*/ 6768 w 10000"/>
              <a:gd name="connsiteY194" fmla="*/ 4202 h 10000"/>
              <a:gd name="connsiteX195" fmla="*/ 6821 w 10000"/>
              <a:gd name="connsiteY195" fmla="*/ 4137 h 10000"/>
              <a:gd name="connsiteX196" fmla="*/ 7005 w 10000"/>
              <a:gd name="connsiteY196" fmla="*/ 4070 h 10000"/>
              <a:gd name="connsiteX197" fmla="*/ 7097 w 10000"/>
              <a:gd name="connsiteY197" fmla="*/ 4111 h 10000"/>
              <a:gd name="connsiteX198" fmla="*/ 7237 w 10000"/>
              <a:gd name="connsiteY198" fmla="*/ 4066 h 10000"/>
              <a:gd name="connsiteX199" fmla="*/ 7272 w 10000"/>
              <a:gd name="connsiteY199" fmla="*/ 4009 h 10000"/>
              <a:gd name="connsiteX200" fmla="*/ 7377 w 10000"/>
              <a:gd name="connsiteY200" fmla="*/ 3970 h 10000"/>
              <a:gd name="connsiteX201" fmla="*/ 7469 w 10000"/>
              <a:gd name="connsiteY201" fmla="*/ 3987 h 10000"/>
              <a:gd name="connsiteX202" fmla="*/ 7526 w 10000"/>
              <a:gd name="connsiteY202" fmla="*/ 3958 h 10000"/>
              <a:gd name="connsiteX203" fmla="*/ 7684 w 10000"/>
              <a:gd name="connsiteY203" fmla="*/ 3917 h 10000"/>
              <a:gd name="connsiteX204" fmla="*/ 7749 w 10000"/>
              <a:gd name="connsiteY204" fmla="*/ 3864 h 10000"/>
              <a:gd name="connsiteX205" fmla="*/ 7837 w 10000"/>
              <a:gd name="connsiteY205" fmla="*/ 3842 h 10000"/>
              <a:gd name="connsiteX206" fmla="*/ 8323 w 10000"/>
              <a:gd name="connsiteY206" fmla="*/ 3522 h 10000"/>
              <a:gd name="connsiteX207" fmla="*/ 9768 w 10000"/>
              <a:gd name="connsiteY207" fmla="*/ 2343 h 10000"/>
              <a:gd name="connsiteX208" fmla="*/ 9961 w 10000"/>
              <a:gd name="connsiteY208" fmla="*/ 2410 h 10000"/>
              <a:gd name="connsiteX209" fmla="*/ 10000 w 10000"/>
              <a:gd name="connsiteY209" fmla="*/ 2365 h 10000"/>
              <a:gd name="connsiteX210" fmla="*/ 9755 w 10000"/>
              <a:gd name="connsiteY210" fmla="*/ 1992 h 10000"/>
              <a:gd name="connsiteX211" fmla="*/ 9794 w 10000"/>
              <a:gd name="connsiteY211" fmla="*/ 1897 h 10000"/>
              <a:gd name="connsiteX212" fmla="*/ 9881 w 10000"/>
              <a:gd name="connsiteY212" fmla="*/ 1819 h 10000"/>
              <a:gd name="connsiteX213" fmla="*/ 9881 w 10000"/>
              <a:gd name="connsiteY213" fmla="*/ 1699 h 10000"/>
              <a:gd name="connsiteX214" fmla="*/ 9606 w 10000"/>
              <a:gd name="connsiteY214" fmla="*/ 1465 h 10000"/>
              <a:gd name="connsiteX215" fmla="*/ 9562 w 10000"/>
              <a:gd name="connsiteY215" fmla="*/ 1379 h 10000"/>
              <a:gd name="connsiteX216" fmla="*/ 9623 w 10000"/>
              <a:gd name="connsiteY216" fmla="*/ 1271 h 10000"/>
              <a:gd name="connsiteX217" fmla="*/ 9593 w 10000"/>
              <a:gd name="connsiteY217" fmla="*/ 1194 h 10000"/>
              <a:gd name="connsiteX218" fmla="*/ 9536 w 10000"/>
              <a:gd name="connsiteY218" fmla="*/ 1159 h 10000"/>
              <a:gd name="connsiteX219" fmla="*/ 9487 w 10000"/>
              <a:gd name="connsiteY219" fmla="*/ 978 h 10000"/>
              <a:gd name="connsiteX220" fmla="*/ 9545 w 10000"/>
              <a:gd name="connsiteY220" fmla="*/ 831 h 10000"/>
              <a:gd name="connsiteX221" fmla="*/ 9124 w 10000"/>
              <a:gd name="connsiteY221" fmla="*/ 517 h 10000"/>
              <a:gd name="connsiteX222" fmla="*/ 8918 w 10000"/>
              <a:gd name="connsiteY222" fmla="*/ 440 h 10000"/>
              <a:gd name="connsiteX223" fmla="*/ 8537 w 10000"/>
              <a:gd name="connsiteY223" fmla="*/ 389 h 10000"/>
              <a:gd name="connsiteX224" fmla="*/ 7749 w 10000"/>
              <a:gd name="connsiteY224" fmla="*/ 26 h 10000"/>
              <a:gd name="connsiteX225" fmla="*/ 7723 w 10000"/>
              <a:gd name="connsiteY225" fmla="*/ 2 h 10000"/>
              <a:gd name="connsiteX226" fmla="*/ 7456 w 10000"/>
              <a:gd name="connsiteY226" fmla="*/ 0 h 10000"/>
              <a:gd name="connsiteX227" fmla="*/ 7394 w 10000"/>
              <a:gd name="connsiteY227" fmla="*/ 14 h 10000"/>
              <a:gd name="connsiteX228" fmla="*/ 7408 w 10000"/>
              <a:gd name="connsiteY228" fmla="*/ 61 h 10000"/>
              <a:gd name="connsiteX229" fmla="*/ 7461 w 10000"/>
              <a:gd name="connsiteY229" fmla="*/ 86 h 10000"/>
              <a:gd name="connsiteX230" fmla="*/ 7474 w 10000"/>
              <a:gd name="connsiteY230" fmla="*/ 139 h 10000"/>
              <a:gd name="connsiteX231" fmla="*/ 7456 w 10000"/>
              <a:gd name="connsiteY231" fmla="*/ 181 h 10000"/>
              <a:gd name="connsiteX232" fmla="*/ 7408 w 10000"/>
              <a:gd name="connsiteY232" fmla="*/ 208 h 10000"/>
              <a:gd name="connsiteX233" fmla="*/ 7372 w 10000"/>
              <a:gd name="connsiteY233" fmla="*/ 283 h 10000"/>
              <a:gd name="connsiteX234" fmla="*/ 7307 w 10000"/>
              <a:gd name="connsiteY234" fmla="*/ 336 h 10000"/>
              <a:gd name="connsiteX235" fmla="*/ 7320 w 10000"/>
              <a:gd name="connsiteY235" fmla="*/ 387 h 10000"/>
              <a:gd name="connsiteX236" fmla="*/ 7421 w 10000"/>
              <a:gd name="connsiteY236" fmla="*/ 434 h 10000"/>
              <a:gd name="connsiteX237" fmla="*/ 7355 w 10000"/>
              <a:gd name="connsiteY237" fmla="*/ 475 h 10000"/>
              <a:gd name="connsiteX238" fmla="*/ 7259 w 10000"/>
              <a:gd name="connsiteY238" fmla="*/ 485 h 10000"/>
              <a:gd name="connsiteX239" fmla="*/ 6454 w 10000"/>
              <a:gd name="connsiteY239" fmla="*/ 387 h 10000"/>
              <a:gd name="connsiteX240" fmla="*/ 6357 w 10000"/>
              <a:gd name="connsiteY240" fmla="*/ 395 h 10000"/>
              <a:gd name="connsiteX241" fmla="*/ 6300 w 10000"/>
              <a:gd name="connsiteY241" fmla="*/ 414 h 10000"/>
              <a:gd name="connsiteX242" fmla="*/ 6243 w 10000"/>
              <a:gd name="connsiteY242" fmla="*/ 462 h 10000"/>
              <a:gd name="connsiteX243" fmla="*/ 6253 w 10000"/>
              <a:gd name="connsiteY243" fmla="*/ 581 h 10000"/>
              <a:gd name="connsiteX244" fmla="*/ 6164 w 10000"/>
              <a:gd name="connsiteY244" fmla="*/ 735 h 10000"/>
              <a:gd name="connsiteX245" fmla="*/ 6055 w 10000"/>
              <a:gd name="connsiteY245" fmla="*/ 815 h 10000"/>
              <a:gd name="connsiteX246" fmla="*/ 6011 w 10000"/>
              <a:gd name="connsiteY246" fmla="*/ 805 h 10000"/>
              <a:gd name="connsiteX247" fmla="*/ 5911 w 10000"/>
              <a:gd name="connsiteY247" fmla="*/ 739 h 10000"/>
              <a:gd name="connsiteX248" fmla="*/ 5783 w 10000"/>
              <a:gd name="connsiteY248" fmla="*/ 705 h 10000"/>
              <a:gd name="connsiteX249" fmla="*/ 5647 w 10000"/>
              <a:gd name="connsiteY249" fmla="*/ 715 h 10000"/>
              <a:gd name="connsiteX250" fmla="*/ 5329 w 10000"/>
              <a:gd name="connsiteY250" fmla="*/ 866 h 10000"/>
              <a:gd name="connsiteX251" fmla="*/ 5245 w 10000"/>
              <a:gd name="connsiteY251" fmla="*/ 1017 h 10000"/>
              <a:gd name="connsiteX252" fmla="*/ 5004 w 10000"/>
              <a:gd name="connsiteY252" fmla="*/ 1153 h 10000"/>
              <a:gd name="connsiteX253" fmla="*/ 4961 w 10000"/>
              <a:gd name="connsiteY253" fmla="*/ 1222 h 10000"/>
              <a:gd name="connsiteX254" fmla="*/ 5087 w 10000"/>
              <a:gd name="connsiteY254" fmla="*/ 1344 h 10000"/>
              <a:gd name="connsiteX255" fmla="*/ 5101 w 10000"/>
              <a:gd name="connsiteY255" fmla="*/ 1412 h 10000"/>
              <a:gd name="connsiteX256" fmla="*/ 4444 w 10000"/>
              <a:gd name="connsiteY256" fmla="*/ 1813 h 10000"/>
              <a:gd name="connsiteX257" fmla="*/ 4242 w 10000"/>
              <a:gd name="connsiteY257" fmla="*/ 2070 h 10000"/>
              <a:gd name="connsiteX258" fmla="*/ 4024 w 10000"/>
              <a:gd name="connsiteY258" fmla="*/ 2135 h 10000"/>
              <a:gd name="connsiteX259" fmla="*/ 3888 w 10000"/>
              <a:gd name="connsiteY259" fmla="*/ 2131 h 10000"/>
              <a:gd name="connsiteX260" fmla="*/ 3805 w 10000"/>
              <a:gd name="connsiteY260" fmla="*/ 2153 h 10000"/>
              <a:gd name="connsiteX261" fmla="*/ 3577 w 10000"/>
              <a:gd name="connsiteY261" fmla="*/ 2793 h 10000"/>
              <a:gd name="connsiteX262" fmla="*/ 3052 w 10000"/>
              <a:gd name="connsiteY262" fmla="*/ 3166 h 10000"/>
              <a:gd name="connsiteX263" fmla="*/ 3056 w 10000"/>
              <a:gd name="connsiteY263" fmla="*/ 3225 h 10000"/>
              <a:gd name="connsiteX264" fmla="*/ 3288 w 10000"/>
              <a:gd name="connsiteY264" fmla="*/ 3392 h 10000"/>
              <a:gd name="connsiteX265" fmla="*/ 3214 w 10000"/>
              <a:gd name="connsiteY265" fmla="*/ 3573 h 10000"/>
              <a:gd name="connsiteX266" fmla="*/ 3078 w 10000"/>
              <a:gd name="connsiteY266" fmla="*/ 3640 h 10000"/>
              <a:gd name="connsiteX267" fmla="*/ 2671 w 10000"/>
              <a:gd name="connsiteY267" fmla="*/ 3595 h 10000"/>
              <a:gd name="connsiteX268" fmla="*/ 2390 w 10000"/>
              <a:gd name="connsiteY268" fmla="*/ 3620 h 10000"/>
              <a:gd name="connsiteX269" fmla="*/ 2163 w 10000"/>
              <a:gd name="connsiteY269" fmla="*/ 3673 h 10000"/>
              <a:gd name="connsiteX270" fmla="*/ 1799 w 10000"/>
              <a:gd name="connsiteY270" fmla="*/ 3840 h 10000"/>
              <a:gd name="connsiteX271" fmla="*/ 1606 w 10000"/>
              <a:gd name="connsiteY271" fmla="*/ 4042 h 10000"/>
              <a:gd name="connsiteX272" fmla="*/ 1624 w 10000"/>
              <a:gd name="connsiteY272" fmla="*/ 4154 h 10000"/>
              <a:gd name="connsiteX273" fmla="*/ 1690 w 10000"/>
              <a:gd name="connsiteY273" fmla="*/ 4241 h 10000"/>
              <a:gd name="connsiteX274" fmla="*/ 1742 w 10000"/>
              <a:gd name="connsiteY274" fmla="*/ 4276 h 10000"/>
              <a:gd name="connsiteX275" fmla="*/ 1647 w 10000"/>
              <a:gd name="connsiteY275" fmla="*/ 4331 h 10000"/>
              <a:gd name="connsiteX276" fmla="*/ 1440 w 10000"/>
              <a:gd name="connsiteY276" fmla="*/ 4710 h 10000"/>
              <a:gd name="connsiteX277" fmla="*/ 1480 w 10000"/>
              <a:gd name="connsiteY277" fmla="*/ 4732 h 10000"/>
              <a:gd name="connsiteX278" fmla="*/ 1511 w 10000"/>
              <a:gd name="connsiteY278" fmla="*/ 4828 h 10000"/>
              <a:gd name="connsiteX279" fmla="*/ 1414 w 10000"/>
              <a:gd name="connsiteY279" fmla="*/ 5227 h 10000"/>
              <a:gd name="connsiteX280" fmla="*/ 1511 w 10000"/>
              <a:gd name="connsiteY280" fmla="*/ 5329 h 10000"/>
              <a:gd name="connsiteX281" fmla="*/ 1773 w 10000"/>
              <a:gd name="connsiteY281" fmla="*/ 5441 h 10000"/>
              <a:gd name="connsiteX282" fmla="*/ 1786 w 10000"/>
              <a:gd name="connsiteY282" fmla="*/ 5578 h 10000"/>
              <a:gd name="connsiteX283" fmla="*/ 1673 w 10000"/>
              <a:gd name="connsiteY283" fmla="*/ 5690 h 10000"/>
              <a:gd name="connsiteX284" fmla="*/ 1511 w 10000"/>
              <a:gd name="connsiteY284" fmla="*/ 5759 h 10000"/>
              <a:gd name="connsiteX285" fmla="*/ 1296 w 10000"/>
              <a:gd name="connsiteY285" fmla="*/ 5787 h 10000"/>
              <a:gd name="connsiteX286" fmla="*/ 1239 w 10000"/>
              <a:gd name="connsiteY286" fmla="*/ 5826 h 10000"/>
              <a:gd name="connsiteX287" fmla="*/ 1366 w 10000"/>
              <a:gd name="connsiteY287" fmla="*/ 5920 h 10000"/>
              <a:gd name="connsiteX288" fmla="*/ 1436 w 10000"/>
              <a:gd name="connsiteY288" fmla="*/ 6142 h 10000"/>
              <a:gd name="connsiteX289" fmla="*/ 1274 w 10000"/>
              <a:gd name="connsiteY289" fmla="*/ 6333 h 10000"/>
              <a:gd name="connsiteX290" fmla="*/ 1331 w 10000"/>
              <a:gd name="connsiteY290" fmla="*/ 6392 h 10000"/>
              <a:gd name="connsiteX291" fmla="*/ 1279 w 10000"/>
              <a:gd name="connsiteY291" fmla="*/ 6492 h 10000"/>
              <a:gd name="connsiteX292" fmla="*/ 1173 w 10000"/>
              <a:gd name="connsiteY292" fmla="*/ 6561 h 10000"/>
              <a:gd name="connsiteX293" fmla="*/ 762 w 10000"/>
              <a:gd name="connsiteY293" fmla="*/ 6614 h 10000"/>
              <a:gd name="connsiteX294" fmla="*/ 736 w 10000"/>
              <a:gd name="connsiteY294" fmla="*/ 6706 h 10000"/>
              <a:gd name="connsiteX295" fmla="*/ 513 w 10000"/>
              <a:gd name="connsiteY295" fmla="*/ 6843 h 10000"/>
              <a:gd name="connsiteX296" fmla="*/ 543 w 10000"/>
              <a:gd name="connsiteY296" fmla="*/ 7040 h 10000"/>
              <a:gd name="connsiteX297" fmla="*/ 355 w 10000"/>
              <a:gd name="connsiteY297" fmla="*/ 7293 h 10000"/>
              <a:gd name="connsiteX298" fmla="*/ 227 w 10000"/>
              <a:gd name="connsiteY298" fmla="*/ 7323 h 10000"/>
              <a:gd name="connsiteX299" fmla="*/ 175 w 10000"/>
              <a:gd name="connsiteY299" fmla="*/ 7262 h 10000"/>
              <a:gd name="connsiteX300" fmla="*/ 110 w 10000"/>
              <a:gd name="connsiteY300" fmla="*/ 7354 h 10000"/>
              <a:gd name="connsiteX301" fmla="*/ 153 w 10000"/>
              <a:gd name="connsiteY301" fmla="*/ 7197 h 10000"/>
              <a:gd name="connsiteX302" fmla="*/ 127 w 10000"/>
              <a:gd name="connsiteY302" fmla="*/ 7166 h 10000"/>
              <a:gd name="connsiteX0" fmla="*/ 127 w 9961"/>
              <a:gd name="connsiteY0" fmla="*/ 7166 h 10000"/>
              <a:gd name="connsiteX1" fmla="*/ 0 w 9961"/>
              <a:gd name="connsiteY1" fmla="*/ 7248 h 10000"/>
              <a:gd name="connsiteX2" fmla="*/ 0 w 9961"/>
              <a:gd name="connsiteY2" fmla="*/ 7651 h 10000"/>
              <a:gd name="connsiteX3" fmla="*/ 70 w 9961"/>
              <a:gd name="connsiteY3" fmla="*/ 7663 h 10000"/>
              <a:gd name="connsiteX4" fmla="*/ 87 w 9961"/>
              <a:gd name="connsiteY4" fmla="*/ 7694 h 10000"/>
              <a:gd name="connsiteX5" fmla="*/ 83 w 9961"/>
              <a:gd name="connsiteY5" fmla="*/ 7749 h 10000"/>
              <a:gd name="connsiteX6" fmla="*/ 57 w 9961"/>
              <a:gd name="connsiteY6" fmla="*/ 7773 h 10000"/>
              <a:gd name="connsiteX7" fmla="*/ 162 w 9961"/>
              <a:gd name="connsiteY7" fmla="*/ 7727 h 10000"/>
              <a:gd name="connsiteX8" fmla="*/ 206 w 9961"/>
              <a:gd name="connsiteY8" fmla="*/ 7680 h 10000"/>
              <a:gd name="connsiteX9" fmla="*/ 262 w 9961"/>
              <a:gd name="connsiteY9" fmla="*/ 7712 h 10000"/>
              <a:gd name="connsiteX10" fmla="*/ 201 w 9961"/>
              <a:gd name="connsiteY10" fmla="*/ 7778 h 10000"/>
              <a:gd name="connsiteX11" fmla="*/ 267 w 9961"/>
              <a:gd name="connsiteY11" fmla="*/ 7780 h 10000"/>
              <a:gd name="connsiteX12" fmla="*/ 298 w 9961"/>
              <a:gd name="connsiteY12" fmla="*/ 7796 h 10000"/>
              <a:gd name="connsiteX13" fmla="*/ 214 w 9961"/>
              <a:gd name="connsiteY13" fmla="*/ 7818 h 10000"/>
              <a:gd name="connsiteX14" fmla="*/ 83 w 9961"/>
              <a:gd name="connsiteY14" fmla="*/ 7886 h 10000"/>
              <a:gd name="connsiteX15" fmla="*/ 316 w 9961"/>
              <a:gd name="connsiteY15" fmla="*/ 7938 h 10000"/>
              <a:gd name="connsiteX16" fmla="*/ 346 w 9961"/>
              <a:gd name="connsiteY16" fmla="*/ 8014 h 10000"/>
              <a:gd name="connsiteX17" fmla="*/ 267 w 9961"/>
              <a:gd name="connsiteY17" fmla="*/ 8126 h 10000"/>
              <a:gd name="connsiteX18" fmla="*/ 438 w 9961"/>
              <a:gd name="connsiteY18" fmla="*/ 8118 h 10000"/>
              <a:gd name="connsiteX19" fmla="*/ 451 w 9961"/>
              <a:gd name="connsiteY19" fmla="*/ 8203 h 10000"/>
              <a:gd name="connsiteX20" fmla="*/ 337 w 9961"/>
              <a:gd name="connsiteY20" fmla="*/ 8260 h 10000"/>
              <a:gd name="connsiteX21" fmla="*/ 355 w 9961"/>
              <a:gd name="connsiteY21" fmla="*/ 8370 h 10000"/>
              <a:gd name="connsiteX22" fmla="*/ 311 w 9961"/>
              <a:gd name="connsiteY22" fmla="*/ 8456 h 10000"/>
              <a:gd name="connsiteX23" fmla="*/ 446 w 9961"/>
              <a:gd name="connsiteY23" fmla="*/ 8464 h 10000"/>
              <a:gd name="connsiteX24" fmla="*/ 578 w 9961"/>
              <a:gd name="connsiteY24" fmla="*/ 8792 h 10000"/>
              <a:gd name="connsiteX25" fmla="*/ 731 w 9961"/>
              <a:gd name="connsiteY25" fmla="*/ 8876 h 10000"/>
              <a:gd name="connsiteX26" fmla="*/ 797 w 9961"/>
              <a:gd name="connsiteY26" fmla="*/ 8965 h 10000"/>
              <a:gd name="connsiteX27" fmla="*/ 963 w 9961"/>
              <a:gd name="connsiteY27" fmla="*/ 9030 h 10000"/>
              <a:gd name="connsiteX28" fmla="*/ 1069 w 9961"/>
              <a:gd name="connsiteY28" fmla="*/ 9112 h 10000"/>
              <a:gd name="connsiteX29" fmla="*/ 1055 w 9961"/>
              <a:gd name="connsiteY29" fmla="*/ 9171 h 10000"/>
              <a:gd name="connsiteX30" fmla="*/ 950 w 9961"/>
              <a:gd name="connsiteY30" fmla="*/ 9193 h 10000"/>
              <a:gd name="connsiteX31" fmla="*/ 836 w 9961"/>
              <a:gd name="connsiteY31" fmla="*/ 9179 h 10000"/>
              <a:gd name="connsiteX32" fmla="*/ 801 w 9961"/>
              <a:gd name="connsiteY32" fmla="*/ 9204 h 10000"/>
              <a:gd name="connsiteX33" fmla="*/ 889 w 9961"/>
              <a:gd name="connsiteY33" fmla="*/ 9332 h 10000"/>
              <a:gd name="connsiteX34" fmla="*/ 766 w 9961"/>
              <a:gd name="connsiteY34" fmla="*/ 9322 h 10000"/>
              <a:gd name="connsiteX35" fmla="*/ 661 w 9961"/>
              <a:gd name="connsiteY35" fmla="*/ 9291 h 10000"/>
              <a:gd name="connsiteX36" fmla="*/ 643 w 9961"/>
              <a:gd name="connsiteY36" fmla="*/ 9338 h 10000"/>
              <a:gd name="connsiteX37" fmla="*/ 989 w 9961"/>
              <a:gd name="connsiteY37" fmla="*/ 9776 h 10000"/>
              <a:gd name="connsiteX38" fmla="*/ 933 w 9961"/>
              <a:gd name="connsiteY38" fmla="*/ 9817 h 10000"/>
              <a:gd name="connsiteX39" fmla="*/ 894 w 9961"/>
              <a:gd name="connsiteY39" fmla="*/ 9902 h 10000"/>
              <a:gd name="connsiteX40" fmla="*/ 845 w 9961"/>
              <a:gd name="connsiteY40" fmla="*/ 9908 h 10000"/>
              <a:gd name="connsiteX41" fmla="*/ 814 w 9961"/>
              <a:gd name="connsiteY41" fmla="*/ 9945 h 10000"/>
              <a:gd name="connsiteX42" fmla="*/ 1024 w 9961"/>
              <a:gd name="connsiteY42" fmla="*/ 9949 h 10000"/>
              <a:gd name="connsiteX43" fmla="*/ 1208 w 9961"/>
              <a:gd name="connsiteY43" fmla="*/ 9986 h 10000"/>
              <a:gd name="connsiteX44" fmla="*/ 1515 w 9961"/>
              <a:gd name="connsiteY44" fmla="*/ 9947 h 10000"/>
              <a:gd name="connsiteX45" fmla="*/ 1790 w 9961"/>
              <a:gd name="connsiteY45" fmla="*/ 9953 h 10000"/>
              <a:gd name="connsiteX46" fmla="*/ 1953 w 9961"/>
              <a:gd name="connsiteY46" fmla="*/ 10000 h 10000"/>
              <a:gd name="connsiteX47" fmla="*/ 2041 w 9961"/>
              <a:gd name="connsiteY47" fmla="*/ 9969 h 10000"/>
              <a:gd name="connsiteX48" fmla="*/ 2128 w 9961"/>
              <a:gd name="connsiteY48" fmla="*/ 9868 h 10000"/>
              <a:gd name="connsiteX49" fmla="*/ 2106 w 9961"/>
              <a:gd name="connsiteY49" fmla="*/ 9703 h 10000"/>
              <a:gd name="connsiteX50" fmla="*/ 2316 w 9961"/>
              <a:gd name="connsiteY50" fmla="*/ 9517 h 10000"/>
              <a:gd name="connsiteX51" fmla="*/ 2469 w 9961"/>
              <a:gd name="connsiteY51" fmla="*/ 9546 h 10000"/>
              <a:gd name="connsiteX52" fmla="*/ 2557 w 9961"/>
              <a:gd name="connsiteY52" fmla="*/ 9472 h 10000"/>
              <a:gd name="connsiteX53" fmla="*/ 2727 w 9961"/>
              <a:gd name="connsiteY53" fmla="*/ 9430 h 10000"/>
              <a:gd name="connsiteX54" fmla="*/ 2959 w 9961"/>
              <a:gd name="connsiteY54" fmla="*/ 9440 h 10000"/>
              <a:gd name="connsiteX55" fmla="*/ 3100 w 9961"/>
              <a:gd name="connsiteY55" fmla="*/ 9470 h 10000"/>
              <a:gd name="connsiteX56" fmla="*/ 3284 w 9961"/>
              <a:gd name="connsiteY56" fmla="*/ 9456 h 10000"/>
              <a:gd name="connsiteX57" fmla="*/ 3472 w 9961"/>
              <a:gd name="connsiteY57" fmla="*/ 9489 h 10000"/>
              <a:gd name="connsiteX58" fmla="*/ 3660 w 9961"/>
              <a:gd name="connsiteY58" fmla="*/ 9493 h 10000"/>
              <a:gd name="connsiteX59" fmla="*/ 4080 w 9961"/>
              <a:gd name="connsiteY59" fmla="*/ 9061 h 10000"/>
              <a:gd name="connsiteX60" fmla="*/ 4186 w 9961"/>
              <a:gd name="connsiteY60" fmla="*/ 8711 h 10000"/>
              <a:gd name="connsiteX61" fmla="*/ 4357 w 9961"/>
              <a:gd name="connsiteY61" fmla="*/ 8554 h 10000"/>
              <a:gd name="connsiteX62" fmla="*/ 4357 w 9961"/>
              <a:gd name="connsiteY62" fmla="*/ 8472 h 10000"/>
              <a:gd name="connsiteX63" fmla="*/ 4295 w 9961"/>
              <a:gd name="connsiteY63" fmla="*/ 8425 h 10000"/>
              <a:gd name="connsiteX64" fmla="*/ 4396 w 9961"/>
              <a:gd name="connsiteY64" fmla="*/ 8352 h 10000"/>
              <a:gd name="connsiteX65" fmla="*/ 4378 w 9961"/>
              <a:gd name="connsiteY65" fmla="*/ 8289 h 10000"/>
              <a:gd name="connsiteX66" fmla="*/ 4308 w 9961"/>
              <a:gd name="connsiteY66" fmla="*/ 8236 h 10000"/>
              <a:gd name="connsiteX67" fmla="*/ 4295 w 9961"/>
              <a:gd name="connsiteY67" fmla="*/ 8199 h 10000"/>
              <a:gd name="connsiteX68" fmla="*/ 4312 w 9961"/>
              <a:gd name="connsiteY68" fmla="*/ 8169 h 10000"/>
              <a:gd name="connsiteX69" fmla="*/ 4405 w 9961"/>
              <a:gd name="connsiteY69" fmla="*/ 8193 h 10000"/>
              <a:gd name="connsiteX70" fmla="*/ 4479 w 9961"/>
              <a:gd name="connsiteY70" fmla="*/ 8191 h 10000"/>
              <a:gd name="connsiteX71" fmla="*/ 4439 w 9961"/>
              <a:gd name="connsiteY71" fmla="*/ 8140 h 10000"/>
              <a:gd name="connsiteX72" fmla="*/ 4452 w 9961"/>
              <a:gd name="connsiteY72" fmla="*/ 8112 h 10000"/>
              <a:gd name="connsiteX73" fmla="*/ 4505 w 9961"/>
              <a:gd name="connsiteY73" fmla="*/ 8069 h 10000"/>
              <a:gd name="connsiteX74" fmla="*/ 4496 w 9961"/>
              <a:gd name="connsiteY74" fmla="*/ 8034 h 10000"/>
              <a:gd name="connsiteX75" fmla="*/ 4545 w 9961"/>
              <a:gd name="connsiteY75" fmla="*/ 7916 h 10000"/>
              <a:gd name="connsiteX76" fmla="*/ 4532 w 9961"/>
              <a:gd name="connsiteY76" fmla="*/ 7881 h 10000"/>
              <a:gd name="connsiteX77" fmla="*/ 4277 w 9961"/>
              <a:gd name="connsiteY77" fmla="*/ 7792 h 10000"/>
              <a:gd name="connsiteX78" fmla="*/ 4312 w 9961"/>
              <a:gd name="connsiteY78" fmla="*/ 7788 h 10000"/>
              <a:gd name="connsiteX79" fmla="*/ 4448 w 9961"/>
              <a:gd name="connsiteY79" fmla="*/ 7812 h 10000"/>
              <a:gd name="connsiteX80" fmla="*/ 4593 w 9961"/>
              <a:gd name="connsiteY80" fmla="*/ 7804 h 10000"/>
              <a:gd name="connsiteX81" fmla="*/ 4636 w 9961"/>
              <a:gd name="connsiteY81" fmla="*/ 7771 h 10000"/>
              <a:gd name="connsiteX82" fmla="*/ 4496 w 9961"/>
              <a:gd name="connsiteY82" fmla="*/ 7710 h 10000"/>
              <a:gd name="connsiteX83" fmla="*/ 4076 w 9961"/>
              <a:gd name="connsiteY83" fmla="*/ 7670 h 10000"/>
              <a:gd name="connsiteX84" fmla="*/ 4106 w 9961"/>
              <a:gd name="connsiteY84" fmla="*/ 7651 h 10000"/>
              <a:gd name="connsiteX85" fmla="*/ 4448 w 9961"/>
              <a:gd name="connsiteY85" fmla="*/ 7639 h 10000"/>
              <a:gd name="connsiteX86" fmla="*/ 4636 w 9961"/>
              <a:gd name="connsiteY86" fmla="*/ 7676 h 10000"/>
              <a:gd name="connsiteX87" fmla="*/ 4746 w 9961"/>
              <a:gd name="connsiteY87" fmla="*/ 7651 h 10000"/>
              <a:gd name="connsiteX88" fmla="*/ 4785 w 9961"/>
              <a:gd name="connsiteY88" fmla="*/ 7588 h 10000"/>
              <a:gd name="connsiteX89" fmla="*/ 4982 w 9961"/>
              <a:gd name="connsiteY89" fmla="*/ 7588 h 10000"/>
              <a:gd name="connsiteX90" fmla="*/ 5249 w 9961"/>
              <a:gd name="connsiteY90" fmla="*/ 7462 h 10000"/>
              <a:gd name="connsiteX91" fmla="*/ 5258 w 9961"/>
              <a:gd name="connsiteY91" fmla="*/ 7378 h 10000"/>
              <a:gd name="connsiteX92" fmla="*/ 5372 w 9961"/>
              <a:gd name="connsiteY92" fmla="*/ 7397 h 10000"/>
              <a:gd name="connsiteX93" fmla="*/ 5368 w 9961"/>
              <a:gd name="connsiteY93" fmla="*/ 7482 h 10000"/>
              <a:gd name="connsiteX94" fmla="*/ 5547 w 9961"/>
              <a:gd name="connsiteY94" fmla="*/ 7476 h 10000"/>
              <a:gd name="connsiteX95" fmla="*/ 5665 w 9961"/>
              <a:gd name="connsiteY95" fmla="*/ 7388 h 10000"/>
              <a:gd name="connsiteX96" fmla="*/ 5885 w 9961"/>
              <a:gd name="connsiteY96" fmla="*/ 7309 h 10000"/>
              <a:gd name="connsiteX97" fmla="*/ 5849 w 9961"/>
              <a:gd name="connsiteY97" fmla="*/ 7219 h 10000"/>
              <a:gd name="connsiteX98" fmla="*/ 5915 w 9961"/>
              <a:gd name="connsiteY98" fmla="*/ 7254 h 10000"/>
              <a:gd name="connsiteX99" fmla="*/ 6015 w 9961"/>
              <a:gd name="connsiteY99" fmla="*/ 7254 h 10000"/>
              <a:gd name="connsiteX100" fmla="*/ 6015 w 9961"/>
              <a:gd name="connsiteY100" fmla="*/ 7213 h 10000"/>
              <a:gd name="connsiteX101" fmla="*/ 6108 w 9961"/>
              <a:gd name="connsiteY101" fmla="*/ 7181 h 10000"/>
              <a:gd name="connsiteX102" fmla="*/ 6095 w 9961"/>
              <a:gd name="connsiteY102" fmla="*/ 7148 h 10000"/>
              <a:gd name="connsiteX103" fmla="*/ 5307 w 9961"/>
              <a:gd name="connsiteY103" fmla="*/ 7215 h 10000"/>
              <a:gd name="connsiteX104" fmla="*/ 5123 w 9961"/>
              <a:gd name="connsiteY104" fmla="*/ 7195 h 10000"/>
              <a:gd name="connsiteX105" fmla="*/ 5048 w 9961"/>
              <a:gd name="connsiteY105" fmla="*/ 7219 h 10000"/>
              <a:gd name="connsiteX106" fmla="*/ 5022 w 9961"/>
              <a:gd name="connsiteY106" fmla="*/ 7173 h 10000"/>
              <a:gd name="connsiteX107" fmla="*/ 4935 w 9961"/>
              <a:gd name="connsiteY107" fmla="*/ 7132 h 10000"/>
              <a:gd name="connsiteX108" fmla="*/ 4584 w 9961"/>
              <a:gd name="connsiteY108" fmla="*/ 7052 h 10000"/>
              <a:gd name="connsiteX109" fmla="*/ 4378 w 9961"/>
              <a:gd name="connsiteY109" fmla="*/ 7065 h 10000"/>
              <a:gd name="connsiteX110" fmla="*/ 4295 w 9961"/>
              <a:gd name="connsiteY110" fmla="*/ 7042 h 10000"/>
              <a:gd name="connsiteX111" fmla="*/ 4383 w 9961"/>
              <a:gd name="connsiteY111" fmla="*/ 7022 h 10000"/>
              <a:gd name="connsiteX112" fmla="*/ 4448 w 9961"/>
              <a:gd name="connsiteY112" fmla="*/ 6979 h 10000"/>
              <a:gd name="connsiteX113" fmla="*/ 4545 w 9961"/>
              <a:gd name="connsiteY113" fmla="*/ 6993 h 10000"/>
              <a:gd name="connsiteX114" fmla="*/ 4663 w 9961"/>
              <a:gd name="connsiteY114" fmla="*/ 6981 h 10000"/>
              <a:gd name="connsiteX115" fmla="*/ 4838 w 9961"/>
              <a:gd name="connsiteY115" fmla="*/ 6995 h 10000"/>
              <a:gd name="connsiteX116" fmla="*/ 4859 w 9961"/>
              <a:gd name="connsiteY116" fmla="*/ 6989 h 10000"/>
              <a:gd name="connsiteX117" fmla="*/ 4996 w 9961"/>
              <a:gd name="connsiteY117" fmla="*/ 7056 h 10000"/>
              <a:gd name="connsiteX118" fmla="*/ 5097 w 9961"/>
              <a:gd name="connsiteY118" fmla="*/ 7032 h 10000"/>
              <a:gd name="connsiteX119" fmla="*/ 5105 w 9961"/>
              <a:gd name="connsiteY119" fmla="*/ 7010 h 10000"/>
              <a:gd name="connsiteX120" fmla="*/ 5197 w 9961"/>
              <a:gd name="connsiteY120" fmla="*/ 7048 h 10000"/>
              <a:gd name="connsiteX121" fmla="*/ 5320 w 9961"/>
              <a:gd name="connsiteY121" fmla="*/ 7069 h 10000"/>
              <a:gd name="connsiteX122" fmla="*/ 5368 w 9961"/>
              <a:gd name="connsiteY122" fmla="*/ 7030 h 10000"/>
              <a:gd name="connsiteX123" fmla="*/ 5407 w 9961"/>
              <a:gd name="connsiteY123" fmla="*/ 7052 h 10000"/>
              <a:gd name="connsiteX124" fmla="*/ 5464 w 9961"/>
              <a:gd name="connsiteY124" fmla="*/ 7126 h 10000"/>
              <a:gd name="connsiteX125" fmla="*/ 5582 w 9961"/>
              <a:gd name="connsiteY125" fmla="*/ 7144 h 10000"/>
              <a:gd name="connsiteX126" fmla="*/ 6064 w 9961"/>
              <a:gd name="connsiteY126" fmla="*/ 7034 h 10000"/>
              <a:gd name="connsiteX127" fmla="*/ 6300 w 9961"/>
              <a:gd name="connsiteY127" fmla="*/ 6879 h 10000"/>
              <a:gd name="connsiteX128" fmla="*/ 6357 w 9961"/>
              <a:gd name="connsiteY128" fmla="*/ 6765 h 10000"/>
              <a:gd name="connsiteX129" fmla="*/ 6270 w 9961"/>
              <a:gd name="connsiteY129" fmla="*/ 6663 h 10000"/>
              <a:gd name="connsiteX130" fmla="*/ 6090 w 9961"/>
              <a:gd name="connsiteY130" fmla="*/ 6602 h 10000"/>
              <a:gd name="connsiteX131" fmla="*/ 5963 w 9961"/>
              <a:gd name="connsiteY131" fmla="*/ 6502 h 10000"/>
              <a:gd name="connsiteX132" fmla="*/ 6082 w 9961"/>
              <a:gd name="connsiteY132" fmla="*/ 6498 h 10000"/>
              <a:gd name="connsiteX133" fmla="*/ 6073 w 9961"/>
              <a:gd name="connsiteY133" fmla="*/ 6474 h 10000"/>
              <a:gd name="connsiteX134" fmla="*/ 5762 w 9961"/>
              <a:gd name="connsiteY134" fmla="*/ 6403 h 10000"/>
              <a:gd name="connsiteX135" fmla="*/ 5749 w 9961"/>
              <a:gd name="connsiteY135" fmla="*/ 6339 h 10000"/>
              <a:gd name="connsiteX136" fmla="*/ 5692 w 9961"/>
              <a:gd name="connsiteY136" fmla="*/ 6272 h 10000"/>
              <a:gd name="connsiteX137" fmla="*/ 5446 w 9961"/>
              <a:gd name="connsiteY137" fmla="*/ 6284 h 10000"/>
              <a:gd name="connsiteX138" fmla="*/ 5359 w 9961"/>
              <a:gd name="connsiteY138" fmla="*/ 6213 h 10000"/>
              <a:gd name="connsiteX139" fmla="*/ 5307 w 9961"/>
              <a:gd name="connsiteY139" fmla="*/ 6209 h 10000"/>
              <a:gd name="connsiteX140" fmla="*/ 5307 w 9961"/>
              <a:gd name="connsiteY140" fmla="*/ 6238 h 10000"/>
              <a:gd name="connsiteX141" fmla="*/ 5197 w 9961"/>
              <a:gd name="connsiteY141" fmla="*/ 6358 h 10000"/>
              <a:gd name="connsiteX142" fmla="*/ 5078 w 9961"/>
              <a:gd name="connsiteY142" fmla="*/ 6429 h 10000"/>
              <a:gd name="connsiteX143" fmla="*/ 4706 w 9961"/>
              <a:gd name="connsiteY143" fmla="*/ 6551 h 10000"/>
              <a:gd name="connsiteX144" fmla="*/ 4575 w 9961"/>
              <a:gd name="connsiteY144" fmla="*/ 6547 h 10000"/>
              <a:gd name="connsiteX145" fmla="*/ 4396 w 9961"/>
              <a:gd name="connsiteY145" fmla="*/ 6565 h 10000"/>
              <a:gd name="connsiteX146" fmla="*/ 4295 w 9961"/>
              <a:gd name="connsiteY146" fmla="*/ 6547 h 10000"/>
              <a:gd name="connsiteX147" fmla="*/ 4426 w 9961"/>
              <a:gd name="connsiteY147" fmla="*/ 6513 h 10000"/>
              <a:gd name="connsiteX148" fmla="*/ 4597 w 9961"/>
              <a:gd name="connsiteY148" fmla="*/ 6498 h 10000"/>
              <a:gd name="connsiteX149" fmla="*/ 4738 w 9961"/>
              <a:gd name="connsiteY149" fmla="*/ 6441 h 10000"/>
              <a:gd name="connsiteX150" fmla="*/ 4877 w 9961"/>
              <a:gd name="connsiteY150" fmla="*/ 6415 h 10000"/>
              <a:gd name="connsiteX151" fmla="*/ 5136 w 9961"/>
              <a:gd name="connsiteY151" fmla="*/ 6317 h 10000"/>
              <a:gd name="connsiteX152" fmla="*/ 5184 w 9961"/>
              <a:gd name="connsiteY152" fmla="*/ 6252 h 10000"/>
              <a:gd name="connsiteX153" fmla="*/ 5188 w 9961"/>
              <a:gd name="connsiteY153" fmla="*/ 6168 h 10000"/>
              <a:gd name="connsiteX154" fmla="*/ 5070 w 9961"/>
              <a:gd name="connsiteY154" fmla="*/ 6154 h 10000"/>
              <a:gd name="connsiteX155" fmla="*/ 5123 w 9961"/>
              <a:gd name="connsiteY155" fmla="*/ 6103 h 10000"/>
              <a:gd name="connsiteX156" fmla="*/ 5140 w 9961"/>
              <a:gd name="connsiteY156" fmla="*/ 6038 h 10000"/>
              <a:gd name="connsiteX157" fmla="*/ 5091 w 9961"/>
              <a:gd name="connsiteY157" fmla="*/ 5977 h 10000"/>
              <a:gd name="connsiteX158" fmla="*/ 5061 w 9961"/>
              <a:gd name="connsiteY158" fmla="*/ 5533 h 10000"/>
              <a:gd name="connsiteX159" fmla="*/ 5132 w 9961"/>
              <a:gd name="connsiteY159" fmla="*/ 5437 h 10000"/>
              <a:gd name="connsiteX160" fmla="*/ 5114 w 9961"/>
              <a:gd name="connsiteY160" fmla="*/ 5398 h 10000"/>
              <a:gd name="connsiteX161" fmla="*/ 5320 w 9961"/>
              <a:gd name="connsiteY161" fmla="*/ 5455 h 10000"/>
              <a:gd name="connsiteX162" fmla="*/ 5333 w 9961"/>
              <a:gd name="connsiteY162" fmla="*/ 5402 h 10000"/>
              <a:gd name="connsiteX163" fmla="*/ 5289 w 9961"/>
              <a:gd name="connsiteY163" fmla="*/ 5264 h 10000"/>
              <a:gd name="connsiteX164" fmla="*/ 5437 w 9961"/>
              <a:gd name="connsiteY164" fmla="*/ 5019 h 10000"/>
              <a:gd name="connsiteX165" fmla="*/ 5346 w 9961"/>
              <a:gd name="connsiteY165" fmla="*/ 4960 h 10000"/>
              <a:gd name="connsiteX166" fmla="*/ 5311 w 9961"/>
              <a:gd name="connsiteY166" fmla="*/ 4905 h 10000"/>
              <a:gd name="connsiteX167" fmla="*/ 5324 w 9961"/>
              <a:gd name="connsiteY167" fmla="*/ 4816 h 10000"/>
              <a:gd name="connsiteX168" fmla="*/ 5539 w 9961"/>
              <a:gd name="connsiteY168" fmla="*/ 4875 h 10000"/>
              <a:gd name="connsiteX169" fmla="*/ 5547 w 9961"/>
              <a:gd name="connsiteY169" fmla="*/ 4858 h 10000"/>
              <a:gd name="connsiteX170" fmla="*/ 5608 w 9961"/>
              <a:gd name="connsiteY170" fmla="*/ 4842 h 10000"/>
              <a:gd name="connsiteX171" fmla="*/ 5692 w 9961"/>
              <a:gd name="connsiteY171" fmla="*/ 4785 h 10000"/>
              <a:gd name="connsiteX172" fmla="*/ 5705 w 9961"/>
              <a:gd name="connsiteY172" fmla="*/ 4769 h 10000"/>
              <a:gd name="connsiteX173" fmla="*/ 5688 w 9961"/>
              <a:gd name="connsiteY173" fmla="*/ 4748 h 10000"/>
              <a:gd name="connsiteX174" fmla="*/ 5731 w 9961"/>
              <a:gd name="connsiteY174" fmla="*/ 4647 h 10000"/>
              <a:gd name="connsiteX175" fmla="*/ 5679 w 9961"/>
              <a:gd name="connsiteY175" fmla="*/ 4581 h 10000"/>
              <a:gd name="connsiteX176" fmla="*/ 5688 w 9961"/>
              <a:gd name="connsiteY176" fmla="*/ 4528 h 10000"/>
              <a:gd name="connsiteX177" fmla="*/ 5718 w 9961"/>
              <a:gd name="connsiteY177" fmla="*/ 4590 h 10000"/>
              <a:gd name="connsiteX178" fmla="*/ 5836 w 9961"/>
              <a:gd name="connsiteY178" fmla="*/ 4636 h 10000"/>
              <a:gd name="connsiteX179" fmla="*/ 5885 w 9961"/>
              <a:gd name="connsiteY179" fmla="*/ 4630 h 10000"/>
              <a:gd name="connsiteX180" fmla="*/ 5963 w 9961"/>
              <a:gd name="connsiteY180" fmla="*/ 4569 h 10000"/>
              <a:gd name="connsiteX181" fmla="*/ 6046 w 9961"/>
              <a:gd name="connsiteY181" fmla="*/ 4594 h 10000"/>
              <a:gd name="connsiteX182" fmla="*/ 6069 w 9961"/>
              <a:gd name="connsiteY182" fmla="*/ 4545 h 10000"/>
              <a:gd name="connsiteX183" fmla="*/ 6125 w 9961"/>
              <a:gd name="connsiteY183" fmla="*/ 4512 h 10000"/>
              <a:gd name="connsiteX184" fmla="*/ 5972 w 9961"/>
              <a:gd name="connsiteY184" fmla="*/ 4477 h 10000"/>
              <a:gd name="connsiteX185" fmla="*/ 6082 w 9961"/>
              <a:gd name="connsiteY185" fmla="*/ 4484 h 10000"/>
              <a:gd name="connsiteX186" fmla="*/ 6195 w 9961"/>
              <a:gd name="connsiteY186" fmla="*/ 4447 h 10000"/>
              <a:gd name="connsiteX187" fmla="*/ 6191 w 9961"/>
              <a:gd name="connsiteY187" fmla="*/ 4422 h 10000"/>
              <a:gd name="connsiteX188" fmla="*/ 6296 w 9961"/>
              <a:gd name="connsiteY188" fmla="*/ 4398 h 10000"/>
              <a:gd name="connsiteX189" fmla="*/ 6305 w 9961"/>
              <a:gd name="connsiteY189" fmla="*/ 4337 h 10000"/>
              <a:gd name="connsiteX190" fmla="*/ 6388 w 9961"/>
              <a:gd name="connsiteY190" fmla="*/ 4325 h 10000"/>
              <a:gd name="connsiteX191" fmla="*/ 6396 w 9961"/>
              <a:gd name="connsiteY191" fmla="*/ 4253 h 10000"/>
              <a:gd name="connsiteX192" fmla="*/ 6484 w 9961"/>
              <a:gd name="connsiteY192" fmla="*/ 4245 h 10000"/>
              <a:gd name="connsiteX193" fmla="*/ 6619 w 9961"/>
              <a:gd name="connsiteY193" fmla="*/ 4260 h 10000"/>
              <a:gd name="connsiteX194" fmla="*/ 6768 w 9961"/>
              <a:gd name="connsiteY194" fmla="*/ 4202 h 10000"/>
              <a:gd name="connsiteX195" fmla="*/ 6821 w 9961"/>
              <a:gd name="connsiteY195" fmla="*/ 4137 h 10000"/>
              <a:gd name="connsiteX196" fmla="*/ 7005 w 9961"/>
              <a:gd name="connsiteY196" fmla="*/ 4070 h 10000"/>
              <a:gd name="connsiteX197" fmla="*/ 7097 w 9961"/>
              <a:gd name="connsiteY197" fmla="*/ 4111 h 10000"/>
              <a:gd name="connsiteX198" fmla="*/ 7237 w 9961"/>
              <a:gd name="connsiteY198" fmla="*/ 4066 h 10000"/>
              <a:gd name="connsiteX199" fmla="*/ 7272 w 9961"/>
              <a:gd name="connsiteY199" fmla="*/ 4009 h 10000"/>
              <a:gd name="connsiteX200" fmla="*/ 7377 w 9961"/>
              <a:gd name="connsiteY200" fmla="*/ 3970 h 10000"/>
              <a:gd name="connsiteX201" fmla="*/ 7469 w 9961"/>
              <a:gd name="connsiteY201" fmla="*/ 3987 h 10000"/>
              <a:gd name="connsiteX202" fmla="*/ 7526 w 9961"/>
              <a:gd name="connsiteY202" fmla="*/ 3958 h 10000"/>
              <a:gd name="connsiteX203" fmla="*/ 7684 w 9961"/>
              <a:gd name="connsiteY203" fmla="*/ 3917 h 10000"/>
              <a:gd name="connsiteX204" fmla="*/ 7749 w 9961"/>
              <a:gd name="connsiteY204" fmla="*/ 3864 h 10000"/>
              <a:gd name="connsiteX205" fmla="*/ 7837 w 9961"/>
              <a:gd name="connsiteY205" fmla="*/ 3842 h 10000"/>
              <a:gd name="connsiteX206" fmla="*/ 8323 w 9961"/>
              <a:gd name="connsiteY206" fmla="*/ 3522 h 10000"/>
              <a:gd name="connsiteX207" fmla="*/ 9768 w 9961"/>
              <a:gd name="connsiteY207" fmla="*/ 2343 h 10000"/>
              <a:gd name="connsiteX208" fmla="*/ 9961 w 9961"/>
              <a:gd name="connsiteY208" fmla="*/ 2410 h 10000"/>
              <a:gd name="connsiteX209" fmla="*/ 9755 w 9961"/>
              <a:gd name="connsiteY209" fmla="*/ 1992 h 10000"/>
              <a:gd name="connsiteX210" fmla="*/ 9794 w 9961"/>
              <a:gd name="connsiteY210" fmla="*/ 1897 h 10000"/>
              <a:gd name="connsiteX211" fmla="*/ 9881 w 9961"/>
              <a:gd name="connsiteY211" fmla="*/ 1819 h 10000"/>
              <a:gd name="connsiteX212" fmla="*/ 9881 w 9961"/>
              <a:gd name="connsiteY212" fmla="*/ 1699 h 10000"/>
              <a:gd name="connsiteX213" fmla="*/ 9606 w 9961"/>
              <a:gd name="connsiteY213" fmla="*/ 1465 h 10000"/>
              <a:gd name="connsiteX214" fmla="*/ 9562 w 9961"/>
              <a:gd name="connsiteY214" fmla="*/ 1379 h 10000"/>
              <a:gd name="connsiteX215" fmla="*/ 9623 w 9961"/>
              <a:gd name="connsiteY215" fmla="*/ 1271 h 10000"/>
              <a:gd name="connsiteX216" fmla="*/ 9593 w 9961"/>
              <a:gd name="connsiteY216" fmla="*/ 1194 h 10000"/>
              <a:gd name="connsiteX217" fmla="*/ 9536 w 9961"/>
              <a:gd name="connsiteY217" fmla="*/ 1159 h 10000"/>
              <a:gd name="connsiteX218" fmla="*/ 9487 w 9961"/>
              <a:gd name="connsiteY218" fmla="*/ 978 h 10000"/>
              <a:gd name="connsiteX219" fmla="*/ 9545 w 9961"/>
              <a:gd name="connsiteY219" fmla="*/ 831 h 10000"/>
              <a:gd name="connsiteX220" fmla="*/ 9124 w 9961"/>
              <a:gd name="connsiteY220" fmla="*/ 517 h 10000"/>
              <a:gd name="connsiteX221" fmla="*/ 8918 w 9961"/>
              <a:gd name="connsiteY221" fmla="*/ 440 h 10000"/>
              <a:gd name="connsiteX222" fmla="*/ 8537 w 9961"/>
              <a:gd name="connsiteY222" fmla="*/ 389 h 10000"/>
              <a:gd name="connsiteX223" fmla="*/ 7749 w 9961"/>
              <a:gd name="connsiteY223" fmla="*/ 26 h 10000"/>
              <a:gd name="connsiteX224" fmla="*/ 7723 w 9961"/>
              <a:gd name="connsiteY224" fmla="*/ 2 h 10000"/>
              <a:gd name="connsiteX225" fmla="*/ 7456 w 9961"/>
              <a:gd name="connsiteY225" fmla="*/ 0 h 10000"/>
              <a:gd name="connsiteX226" fmla="*/ 7394 w 9961"/>
              <a:gd name="connsiteY226" fmla="*/ 14 h 10000"/>
              <a:gd name="connsiteX227" fmla="*/ 7408 w 9961"/>
              <a:gd name="connsiteY227" fmla="*/ 61 h 10000"/>
              <a:gd name="connsiteX228" fmla="*/ 7461 w 9961"/>
              <a:gd name="connsiteY228" fmla="*/ 86 h 10000"/>
              <a:gd name="connsiteX229" fmla="*/ 7474 w 9961"/>
              <a:gd name="connsiteY229" fmla="*/ 139 h 10000"/>
              <a:gd name="connsiteX230" fmla="*/ 7456 w 9961"/>
              <a:gd name="connsiteY230" fmla="*/ 181 h 10000"/>
              <a:gd name="connsiteX231" fmla="*/ 7408 w 9961"/>
              <a:gd name="connsiteY231" fmla="*/ 208 h 10000"/>
              <a:gd name="connsiteX232" fmla="*/ 7372 w 9961"/>
              <a:gd name="connsiteY232" fmla="*/ 283 h 10000"/>
              <a:gd name="connsiteX233" fmla="*/ 7307 w 9961"/>
              <a:gd name="connsiteY233" fmla="*/ 336 h 10000"/>
              <a:gd name="connsiteX234" fmla="*/ 7320 w 9961"/>
              <a:gd name="connsiteY234" fmla="*/ 387 h 10000"/>
              <a:gd name="connsiteX235" fmla="*/ 7421 w 9961"/>
              <a:gd name="connsiteY235" fmla="*/ 434 h 10000"/>
              <a:gd name="connsiteX236" fmla="*/ 7355 w 9961"/>
              <a:gd name="connsiteY236" fmla="*/ 475 h 10000"/>
              <a:gd name="connsiteX237" fmla="*/ 7259 w 9961"/>
              <a:gd name="connsiteY237" fmla="*/ 485 h 10000"/>
              <a:gd name="connsiteX238" fmla="*/ 6454 w 9961"/>
              <a:gd name="connsiteY238" fmla="*/ 387 h 10000"/>
              <a:gd name="connsiteX239" fmla="*/ 6357 w 9961"/>
              <a:gd name="connsiteY239" fmla="*/ 395 h 10000"/>
              <a:gd name="connsiteX240" fmla="*/ 6300 w 9961"/>
              <a:gd name="connsiteY240" fmla="*/ 414 h 10000"/>
              <a:gd name="connsiteX241" fmla="*/ 6243 w 9961"/>
              <a:gd name="connsiteY241" fmla="*/ 462 h 10000"/>
              <a:gd name="connsiteX242" fmla="*/ 6253 w 9961"/>
              <a:gd name="connsiteY242" fmla="*/ 581 h 10000"/>
              <a:gd name="connsiteX243" fmla="*/ 6164 w 9961"/>
              <a:gd name="connsiteY243" fmla="*/ 735 h 10000"/>
              <a:gd name="connsiteX244" fmla="*/ 6055 w 9961"/>
              <a:gd name="connsiteY244" fmla="*/ 815 h 10000"/>
              <a:gd name="connsiteX245" fmla="*/ 6011 w 9961"/>
              <a:gd name="connsiteY245" fmla="*/ 805 h 10000"/>
              <a:gd name="connsiteX246" fmla="*/ 5911 w 9961"/>
              <a:gd name="connsiteY246" fmla="*/ 739 h 10000"/>
              <a:gd name="connsiteX247" fmla="*/ 5783 w 9961"/>
              <a:gd name="connsiteY247" fmla="*/ 705 h 10000"/>
              <a:gd name="connsiteX248" fmla="*/ 5647 w 9961"/>
              <a:gd name="connsiteY248" fmla="*/ 715 h 10000"/>
              <a:gd name="connsiteX249" fmla="*/ 5329 w 9961"/>
              <a:gd name="connsiteY249" fmla="*/ 866 h 10000"/>
              <a:gd name="connsiteX250" fmla="*/ 5245 w 9961"/>
              <a:gd name="connsiteY250" fmla="*/ 1017 h 10000"/>
              <a:gd name="connsiteX251" fmla="*/ 5004 w 9961"/>
              <a:gd name="connsiteY251" fmla="*/ 1153 h 10000"/>
              <a:gd name="connsiteX252" fmla="*/ 4961 w 9961"/>
              <a:gd name="connsiteY252" fmla="*/ 1222 h 10000"/>
              <a:gd name="connsiteX253" fmla="*/ 5087 w 9961"/>
              <a:gd name="connsiteY253" fmla="*/ 1344 h 10000"/>
              <a:gd name="connsiteX254" fmla="*/ 5101 w 9961"/>
              <a:gd name="connsiteY254" fmla="*/ 1412 h 10000"/>
              <a:gd name="connsiteX255" fmla="*/ 4444 w 9961"/>
              <a:gd name="connsiteY255" fmla="*/ 1813 h 10000"/>
              <a:gd name="connsiteX256" fmla="*/ 4242 w 9961"/>
              <a:gd name="connsiteY256" fmla="*/ 2070 h 10000"/>
              <a:gd name="connsiteX257" fmla="*/ 4024 w 9961"/>
              <a:gd name="connsiteY257" fmla="*/ 2135 h 10000"/>
              <a:gd name="connsiteX258" fmla="*/ 3888 w 9961"/>
              <a:gd name="connsiteY258" fmla="*/ 2131 h 10000"/>
              <a:gd name="connsiteX259" fmla="*/ 3805 w 9961"/>
              <a:gd name="connsiteY259" fmla="*/ 2153 h 10000"/>
              <a:gd name="connsiteX260" fmla="*/ 3577 w 9961"/>
              <a:gd name="connsiteY260" fmla="*/ 2793 h 10000"/>
              <a:gd name="connsiteX261" fmla="*/ 3052 w 9961"/>
              <a:gd name="connsiteY261" fmla="*/ 3166 h 10000"/>
              <a:gd name="connsiteX262" fmla="*/ 3056 w 9961"/>
              <a:gd name="connsiteY262" fmla="*/ 3225 h 10000"/>
              <a:gd name="connsiteX263" fmla="*/ 3288 w 9961"/>
              <a:gd name="connsiteY263" fmla="*/ 3392 h 10000"/>
              <a:gd name="connsiteX264" fmla="*/ 3214 w 9961"/>
              <a:gd name="connsiteY264" fmla="*/ 3573 h 10000"/>
              <a:gd name="connsiteX265" fmla="*/ 3078 w 9961"/>
              <a:gd name="connsiteY265" fmla="*/ 3640 h 10000"/>
              <a:gd name="connsiteX266" fmla="*/ 2671 w 9961"/>
              <a:gd name="connsiteY266" fmla="*/ 3595 h 10000"/>
              <a:gd name="connsiteX267" fmla="*/ 2390 w 9961"/>
              <a:gd name="connsiteY267" fmla="*/ 3620 h 10000"/>
              <a:gd name="connsiteX268" fmla="*/ 2163 w 9961"/>
              <a:gd name="connsiteY268" fmla="*/ 3673 h 10000"/>
              <a:gd name="connsiteX269" fmla="*/ 1799 w 9961"/>
              <a:gd name="connsiteY269" fmla="*/ 3840 h 10000"/>
              <a:gd name="connsiteX270" fmla="*/ 1606 w 9961"/>
              <a:gd name="connsiteY270" fmla="*/ 4042 h 10000"/>
              <a:gd name="connsiteX271" fmla="*/ 1624 w 9961"/>
              <a:gd name="connsiteY271" fmla="*/ 4154 h 10000"/>
              <a:gd name="connsiteX272" fmla="*/ 1690 w 9961"/>
              <a:gd name="connsiteY272" fmla="*/ 4241 h 10000"/>
              <a:gd name="connsiteX273" fmla="*/ 1742 w 9961"/>
              <a:gd name="connsiteY273" fmla="*/ 4276 h 10000"/>
              <a:gd name="connsiteX274" fmla="*/ 1647 w 9961"/>
              <a:gd name="connsiteY274" fmla="*/ 4331 h 10000"/>
              <a:gd name="connsiteX275" fmla="*/ 1440 w 9961"/>
              <a:gd name="connsiteY275" fmla="*/ 4710 h 10000"/>
              <a:gd name="connsiteX276" fmla="*/ 1480 w 9961"/>
              <a:gd name="connsiteY276" fmla="*/ 4732 h 10000"/>
              <a:gd name="connsiteX277" fmla="*/ 1511 w 9961"/>
              <a:gd name="connsiteY277" fmla="*/ 4828 h 10000"/>
              <a:gd name="connsiteX278" fmla="*/ 1414 w 9961"/>
              <a:gd name="connsiteY278" fmla="*/ 5227 h 10000"/>
              <a:gd name="connsiteX279" fmla="*/ 1511 w 9961"/>
              <a:gd name="connsiteY279" fmla="*/ 5329 h 10000"/>
              <a:gd name="connsiteX280" fmla="*/ 1773 w 9961"/>
              <a:gd name="connsiteY280" fmla="*/ 5441 h 10000"/>
              <a:gd name="connsiteX281" fmla="*/ 1786 w 9961"/>
              <a:gd name="connsiteY281" fmla="*/ 5578 h 10000"/>
              <a:gd name="connsiteX282" fmla="*/ 1673 w 9961"/>
              <a:gd name="connsiteY282" fmla="*/ 5690 h 10000"/>
              <a:gd name="connsiteX283" fmla="*/ 1511 w 9961"/>
              <a:gd name="connsiteY283" fmla="*/ 5759 h 10000"/>
              <a:gd name="connsiteX284" fmla="*/ 1296 w 9961"/>
              <a:gd name="connsiteY284" fmla="*/ 5787 h 10000"/>
              <a:gd name="connsiteX285" fmla="*/ 1239 w 9961"/>
              <a:gd name="connsiteY285" fmla="*/ 5826 h 10000"/>
              <a:gd name="connsiteX286" fmla="*/ 1366 w 9961"/>
              <a:gd name="connsiteY286" fmla="*/ 5920 h 10000"/>
              <a:gd name="connsiteX287" fmla="*/ 1436 w 9961"/>
              <a:gd name="connsiteY287" fmla="*/ 6142 h 10000"/>
              <a:gd name="connsiteX288" fmla="*/ 1274 w 9961"/>
              <a:gd name="connsiteY288" fmla="*/ 6333 h 10000"/>
              <a:gd name="connsiteX289" fmla="*/ 1331 w 9961"/>
              <a:gd name="connsiteY289" fmla="*/ 6392 h 10000"/>
              <a:gd name="connsiteX290" fmla="*/ 1279 w 9961"/>
              <a:gd name="connsiteY290" fmla="*/ 6492 h 10000"/>
              <a:gd name="connsiteX291" fmla="*/ 1173 w 9961"/>
              <a:gd name="connsiteY291" fmla="*/ 6561 h 10000"/>
              <a:gd name="connsiteX292" fmla="*/ 762 w 9961"/>
              <a:gd name="connsiteY292" fmla="*/ 6614 h 10000"/>
              <a:gd name="connsiteX293" fmla="*/ 736 w 9961"/>
              <a:gd name="connsiteY293" fmla="*/ 6706 h 10000"/>
              <a:gd name="connsiteX294" fmla="*/ 513 w 9961"/>
              <a:gd name="connsiteY294" fmla="*/ 6843 h 10000"/>
              <a:gd name="connsiteX295" fmla="*/ 543 w 9961"/>
              <a:gd name="connsiteY295" fmla="*/ 7040 h 10000"/>
              <a:gd name="connsiteX296" fmla="*/ 355 w 9961"/>
              <a:gd name="connsiteY296" fmla="*/ 7293 h 10000"/>
              <a:gd name="connsiteX297" fmla="*/ 227 w 9961"/>
              <a:gd name="connsiteY297" fmla="*/ 7323 h 10000"/>
              <a:gd name="connsiteX298" fmla="*/ 175 w 9961"/>
              <a:gd name="connsiteY298" fmla="*/ 7262 h 10000"/>
              <a:gd name="connsiteX299" fmla="*/ 110 w 9961"/>
              <a:gd name="connsiteY299" fmla="*/ 7354 h 10000"/>
              <a:gd name="connsiteX300" fmla="*/ 153 w 9961"/>
              <a:gd name="connsiteY300" fmla="*/ 7197 h 10000"/>
              <a:gd name="connsiteX301" fmla="*/ 127 w 9961"/>
              <a:gd name="connsiteY301" fmla="*/ 7166 h 10000"/>
              <a:gd name="connsiteX0" fmla="*/ 127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3 w 10000"/>
              <a:gd name="connsiteY7" fmla="*/ 7727 h 10000"/>
              <a:gd name="connsiteX8" fmla="*/ 207 w 10000"/>
              <a:gd name="connsiteY8" fmla="*/ 7680 h 10000"/>
              <a:gd name="connsiteX9" fmla="*/ 263 w 10000"/>
              <a:gd name="connsiteY9" fmla="*/ 7712 h 10000"/>
              <a:gd name="connsiteX10" fmla="*/ 202 w 10000"/>
              <a:gd name="connsiteY10" fmla="*/ 7778 h 10000"/>
              <a:gd name="connsiteX11" fmla="*/ 268 w 10000"/>
              <a:gd name="connsiteY11" fmla="*/ 7780 h 10000"/>
              <a:gd name="connsiteX12" fmla="*/ 299 w 10000"/>
              <a:gd name="connsiteY12" fmla="*/ 7796 h 10000"/>
              <a:gd name="connsiteX13" fmla="*/ 215 w 10000"/>
              <a:gd name="connsiteY13" fmla="*/ 7818 h 10000"/>
              <a:gd name="connsiteX14" fmla="*/ 83 w 10000"/>
              <a:gd name="connsiteY14" fmla="*/ 7886 h 10000"/>
              <a:gd name="connsiteX15" fmla="*/ 317 w 10000"/>
              <a:gd name="connsiteY15" fmla="*/ 7938 h 10000"/>
              <a:gd name="connsiteX16" fmla="*/ 347 w 10000"/>
              <a:gd name="connsiteY16" fmla="*/ 8014 h 10000"/>
              <a:gd name="connsiteX17" fmla="*/ 268 w 10000"/>
              <a:gd name="connsiteY17" fmla="*/ 8126 h 10000"/>
              <a:gd name="connsiteX18" fmla="*/ 440 w 10000"/>
              <a:gd name="connsiteY18" fmla="*/ 8118 h 10000"/>
              <a:gd name="connsiteX19" fmla="*/ 453 w 10000"/>
              <a:gd name="connsiteY19" fmla="*/ 8203 h 10000"/>
              <a:gd name="connsiteX20" fmla="*/ 338 w 10000"/>
              <a:gd name="connsiteY20" fmla="*/ 8260 h 10000"/>
              <a:gd name="connsiteX21" fmla="*/ 356 w 10000"/>
              <a:gd name="connsiteY21" fmla="*/ 8370 h 10000"/>
              <a:gd name="connsiteX22" fmla="*/ 312 w 10000"/>
              <a:gd name="connsiteY22" fmla="*/ 8456 h 10000"/>
              <a:gd name="connsiteX23" fmla="*/ 448 w 10000"/>
              <a:gd name="connsiteY23" fmla="*/ 8464 h 10000"/>
              <a:gd name="connsiteX24" fmla="*/ 580 w 10000"/>
              <a:gd name="connsiteY24" fmla="*/ 8792 h 10000"/>
              <a:gd name="connsiteX25" fmla="*/ 734 w 10000"/>
              <a:gd name="connsiteY25" fmla="*/ 8876 h 10000"/>
              <a:gd name="connsiteX26" fmla="*/ 800 w 10000"/>
              <a:gd name="connsiteY26" fmla="*/ 8965 h 10000"/>
              <a:gd name="connsiteX27" fmla="*/ 967 w 10000"/>
              <a:gd name="connsiteY27" fmla="*/ 9030 h 10000"/>
              <a:gd name="connsiteX28" fmla="*/ 1073 w 10000"/>
              <a:gd name="connsiteY28" fmla="*/ 9112 h 10000"/>
              <a:gd name="connsiteX29" fmla="*/ 1059 w 10000"/>
              <a:gd name="connsiteY29" fmla="*/ 9171 h 10000"/>
              <a:gd name="connsiteX30" fmla="*/ 954 w 10000"/>
              <a:gd name="connsiteY30" fmla="*/ 9193 h 10000"/>
              <a:gd name="connsiteX31" fmla="*/ 839 w 10000"/>
              <a:gd name="connsiteY31" fmla="*/ 9179 h 10000"/>
              <a:gd name="connsiteX32" fmla="*/ 804 w 10000"/>
              <a:gd name="connsiteY32" fmla="*/ 9204 h 10000"/>
              <a:gd name="connsiteX33" fmla="*/ 892 w 10000"/>
              <a:gd name="connsiteY33" fmla="*/ 9332 h 10000"/>
              <a:gd name="connsiteX34" fmla="*/ 769 w 10000"/>
              <a:gd name="connsiteY34" fmla="*/ 9322 h 10000"/>
              <a:gd name="connsiteX35" fmla="*/ 664 w 10000"/>
              <a:gd name="connsiteY35" fmla="*/ 9291 h 10000"/>
              <a:gd name="connsiteX36" fmla="*/ 646 w 10000"/>
              <a:gd name="connsiteY36" fmla="*/ 9338 h 10000"/>
              <a:gd name="connsiteX37" fmla="*/ 993 w 10000"/>
              <a:gd name="connsiteY37" fmla="*/ 9776 h 10000"/>
              <a:gd name="connsiteX38" fmla="*/ 937 w 10000"/>
              <a:gd name="connsiteY38" fmla="*/ 9817 h 10000"/>
              <a:gd name="connsiteX39" fmla="*/ 898 w 10000"/>
              <a:gd name="connsiteY39" fmla="*/ 9902 h 10000"/>
              <a:gd name="connsiteX40" fmla="*/ 848 w 10000"/>
              <a:gd name="connsiteY40" fmla="*/ 9908 h 10000"/>
              <a:gd name="connsiteX41" fmla="*/ 817 w 10000"/>
              <a:gd name="connsiteY41" fmla="*/ 9945 h 10000"/>
              <a:gd name="connsiteX42" fmla="*/ 1028 w 10000"/>
              <a:gd name="connsiteY42" fmla="*/ 9949 h 10000"/>
              <a:gd name="connsiteX43" fmla="*/ 1213 w 10000"/>
              <a:gd name="connsiteY43" fmla="*/ 9986 h 10000"/>
              <a:gd name="connsiteX44" fmla="*/ 1521 w 10000"/>
              <a:gd name="connsiteY44" fmla="*/ 9947 h 10000"/>
              <a:gd name="connsiteX45" fmla="*/ 1797 w 10000"/>
              <a:gd name="connsiteY45" fmla="*/ 9953 h 10000"/>
              <a:gd name="connsiteX46" fmla="*/ 1961 w 10000"/>
              <a:gd name="connsiteY46" fmla="*/ 10000 h 10000"/>
              <a:gd name="connsiteX47" fmla="*/ 2049 w 10000"/>
              <a:gd name="connsiteY47" fmla="*/ 9969 h 10000"/>
              <a:gd name="connsiteX48" fmla="*/ 2136 w 10000"/>
              <a:gd name="connsiteY48" fmla="*/ 9868 h 10000"/>
              <a:gd name="connsiteX49" fmla="*/ 2114 w 10000"/>
              <a:gd name="connsiteY49" fmla="*/ 9703 h 10000"/>
              <a:gd name="connsiteX50" fmla="*/ 2325 w 10000"/>
              <a:gd name="connsiteY50" fmla="*/ 9517 h 10000"/>
              <a:gd name="connsiteX51" fmla="*/ 2479 w 10000"/>
              <a:gd name="connsiteY51" fmla="*/ 9546 h 10000"/>
              <a:gd name="connsiteX52" fmla="*/ 2567 w 10000"/>
              <a:gd name="connsiteY52" fmla="*/ 9472 h 10000"/>
              <a:gd name="connsiteX53" fmla="*/ 2738 w 10000"/>
              <a:gd name="connsiteY53" fmla="*/ 9430 h 10000"/>
              <a:gd name="connsiteX54" fmla="*/ 2971 w 10000"/>
              <a:gd name="connsiteY54" fmla="*/ 9440 h 10000"/>
              <a:gd name="connsiteX55" fmla="*/ 3112 w 10000"/>
              <a:gd name="connsiteY55" fmla="*/ 9470 h 10000"/>
              <a:gd name="connsiteX56" fmla="*/ 3297 w 10000"/>
              <a:gd name="connsiteY56" fmla="*/ 9456 h 10000"/>
              <a:gd name="connsiteX57" fmla="*/ 3486 w 10000"/>
              <a:gd name="connsiteY57" fmla="*/ 9489 h 10000"/>
              <a:gd name="connsiteX58" fmla="*/ 3674 w 10000"/>
              <a:gd name="connsiteY58" fmla="*/ 9493 h 10000"/>
              <a:gd name="connsiteX59" fmla="*/ 4096 w 10000"/>
              <a:gd name="connsiteY59" fmla="*/ 9061 h 10000"/>
              <a:gd name="connsiteX60" fmla="*/ 4202 w 10000"/>
              <a:gd name="connsiteY60" fmla="*/ 8711 h 10000"/>
              <a:gd name="connsiteX61" fmla="*/ 4374 w 10000"/>
              <a:gd name="connsiteY61" fmla="*/ 8554 h 10000"/>
              <a:gd name="connsiteX62" fmla="*/ 4374 w 10000"/>
              <a:gd name="connsiteY62" fmla="*/ 8472 h 10000"/>
              <a:gd name="connsiteX63" fmla="*/ 4312 w 10000"/>
              <a:gd name="connsiteY63" fmla="*/ 8425 h 10000"/>
              <a:gd name="connsiteX64" fmla="*/ 4413 w 10000"/>
              <a:gd name="connsiteY64" fmla="*/ 8352 h 10000"/>
              <a:gd name="connsiteX65" fmla="*/ 4395 w 10000"/>
              <a:gd name="connsiteY65" fmla="*/ 8289 h 10000"/>
              <a:gd name="connsiteX66" fmla="*/ 4325 w 10000"/>
              <a:gd name="connsiteY66" fmla="*/ 8236 h 10000"/>
              <a:gd name="connsiteX67" fmla="*/ 4312 w 10000"/>
              <a:gd name="connsiteY67" fmla="*/ 8199 h 10000"/>
              <a:gd name="connsiteX68" fmla="*/ 4329 w 10000"/>
              <a:gd name="connsiteY68" fmla="*/ 8169 h 10000"/>
              <a:gd name="connsiteX69" fmla="*/ 4422 w 10000"/>
              <a:gd name="connsiteY69" fmla="*/ 8193 h 10000"/>
              <a:gd name="connsiteX70" fmla="*/ 4497 w 10000"/>
              <a:gd name="connsiteY70" fmla="*/ 8191 h 10000"/>
              <a:gd name="connsiteX71" fmla="*/ 4456 w 10000"/>
              <a:gd name="connsiteY71" fmla="*/ 8140 h 10000"/>
              <a:gd name="connsiteX72" fmla="*/ 4469 w 10000"/>
              <a:gd name="connsiteY72" fmla="*/ 8112 h 10000"/>
              <a:gd name="connsiteX73" fmla="*/ 4523 w 10000"/>
              <a:gd name="connsiteY73" fmla="*/ 8069 h 10000"/>
              <a:gd name="connsiteX74" fmla="*/ 4514 w 10000"/>
              <a:gd name="connsiteY74" fmla="*/ 8034 h 10000"/>
              <a:gd name="connsiteX75" fmla="*/ 4563 w 10000"/>
              <a:gd name="connsiteY75" fmla="*/ 7916 h 10000"/>
              <a:gd name="connsiteX76" fmla="*/ 4550 w 10000"/>
              <a:gd name="connsiteY76" fmla="*/ 7881 h 10000"/>
              <a:gd name="connsiteX77" fmla="*/ 4294 w 10000"/>
              <a:gd name="connsiteY77" fmla="*/ 7792 h 10000"/>
              <a:gd name="connsiteX78" fmla="*/ 4329 w 10000"/>
              <a:gd name="connsiteY78" fmla="*/ 7788 h 10000"/>
              <a:gd name="connsiteX79" fmla="*/ 4465 w 10000"/>
              <a:gd name="connsiteY79" fmla="*/ 7812 h 10000"/>
              <a:gd name="connsiteX80" fmla="*/ 4611 w 10000"/>
              <a:gd name="connsiteY80" fmla="*/ 7804 h 10000"/>
              <a:gd name="connsiteX81" fmla="*/ 4654 w 10000"/>
              <a:gd name="connsiteY81" fmla="*/ 7771 h 10000"/>
              <a:gd name="connsiteX82" fmla="*/ 4514 w 10000"/>
              <a:gd name="connsiteY82" fmla="*/ 7710 h 10000"/>
              <a:gd name="connsiteX83" fmla="*/ 4092 w 10000"/>
              <a:gd name="connsiteY83" fmla="*/ 7670 h 10000"/>
              <a:gd name="connsiteX84" fmla="*/ 4122 w 10000"/>
              <a:gd name="connsiteY84" fmla="*/ 7651 h 10000"/>
              <a:gd name="connsiteX85" fmla="*/ 4465 w 10000"/>
              <a:gd name="connsiteY85" fmla="*/ 7639 h 10000"/>
              <a:gd name="connsiteX86" fmla="*/ 4654 w 10000"/>
              <a:gd name="connsiteY86" fmla="*/ 7676 h 10000"/>
              <a:gd name="connsiteX87" fmla="*/ 4765 w 10000"/>
              <a:gd name="connsiteY87" fmla="*/ 7651 h 10000"/>
              <a:gd name="connsiteX88" fmla="*/ 4804 w 10000"/>
              <a:gd name="connsiteY88" fmla="*/ 7588 h 10000"/>
              <a:gd name="connsiteX89" fmla="*/ 5002 w 10000"/>
              <a:gd name="connsiteY89" fmla="*/ 7588 h 10000"/>
              <a:gd name="connsiteX90" fmla="*/ 5270 w 10000"/>
              <a:gd name="connsiteY90" fmla="*/ 7462 h 10000"/>
              <a:gd name="connsiteX91" fmla="*/ 5279 w 10000"/>
              <a:gd name="connsiteY91" fmla="*/ 7378 h 10000"/>
              <a:gd name="connsiteX92" fmla="*/ 5393 w 10000"/>
              <a:gd name="connsiteY92" fmla="*/ 7397 h 10000"/>
              <a:gd name="connsiteX93" fmla="*/ 5389 w 10000"/>
              <a:gd name="connsiteY93" fmla="*/ 7482 h 10000"/>
              <a:gd name="connsiteX94" fmla="*/ 5569 w 10000"/>
              <a:gd name="connsiteY94" fmla="*/ 7476 h 10000"/>
              <a:gd name="connsiteX95" fmla="*/ 5687 w 10000"/>
              <a:gd name="connsiteY95" fmla="*/ 7388 h 10000"/>
              <a:gd name="connsiteX96" fmla="*/ 5908 w 10000"/>
              <a:gd name="connsiteY96" fmla="*/ 7309 h 10000"/>
              <a:gd name="connsiteX97" fmla="*/ 5872 w 10000"/>
              <a:gd name="connsiteY97" fmla="*/ 7219 h 10000"/>
              <a:gd name="connsiteX98" fmla="*/ 5938 w 10000"/>
              <a:gd name="connsiteY98" fmla="*/ 7254 h 10000"/>
              <a:gd name="connsiteX99" fmla="*/ 6039 w 10000"/>
              <a:gd name="connsiteY99" fmla="*/ 7254 h 10000"/>
              <a:gd name="connsiteX100" fmla="*/ 6039 w 10000"/>
              <a:gd name="connsiteY100" fmla="*/ 7213 h 10000"/>
              <a:gd name="connsiteX101" fmla="*/ 6132 w 10000"/>
              <a:gd name="connsiteY101" fmla="*/ 7181 h 10000"/>
              <a:gd name="connsiteX102" fmla="*/ 6119 w 10000"/>
              <a:gd name="connsiteY102" fmla="*/ 7148 h 10000"/>
              <a:gd name="connsiteX103" fmla="*/ 5328 w 10000"/>
              <a:gd name="connsiteY103" fmla="*/ 7215 h 10000"/>
              <a:gd name="connsiteX104" fmla="*/ 5143 w 10000"/>
              <a:gd name="connsiteY104" fmla="*/ 7195 h 10000"/>
              <a:gd name="connsiteX105" fmla="*/ 5068 w 10000"/>
              <a:gd name="connsiteY105" fmla="*/ 7219 h 10000"/>
              <a:gd name="connsiteX106" fmla="*/ 5042 w 10000"/>
              <a:gd name="connsiteY106" fmla="*/ 7173 h 10000"/>
              <a:gd name="connsiteX107" fmla="*/ 4954 w 10000"/>
              <a:gd name="connsiteY107" fmla="*/ 7132 h 10000"/>
              <a:gd name="connsiteX108" fmla="*/ 4602 w 10000"/>
              <a:gd name="connsiteY108" fmla="*/ 7052 h 10000"/>
              <a:gd name="connsiteX109" fmla="*/ 4395 w 10000"/>
              <a:gd name="connsiteY109" fmla="*/ 7065 h 10000"/>
              <a:gd name="connsiteX110" fmla="*/ 4312 w 10000"/>
              <a:gd name="connsiteY110" fmla="*/ 7042 h 10000"/>
              <a:gd name="connsiteX111" fmla="*/ 4400 w 10000"/>
              <a:gd name="connsiteY111" fmla="*/ 7022 h 10000"/>
              <a:gd name="connsiteX112" fmla="*/ 4465 w 10000"/>
              <a:gd name="connsiteY112" fmla="*/ 6979 h 10000"/>
              <a:gd name="connsiteX113" fmla="*/ 4563 w 10000"/>
              <a:gd name="connsiteY113" fmla="*/ 6993 h 10000"/>
              <a:gd name="connsiteX114" fmla="*/ 4681 w 10000"/>
              <a:gd name="connsiteY114" fmla="*/ 6981 h 10000"/>
              <a:gd name="connsiteX115" fmla="*/ 4857 w 10000"/>
              <a:gd name="connsiteY115" fmla="*/ 6995 h 10000"/>
              <a:gd name="connsiteX116" fmla="*/ 4878 w 10000"/>
              <a:gd name="connsiteY116" fmla="*/ 6989 h 10000"/>
              <a:gd name="connsiteX117" fmla="*/ 5016 w 10000"/>
              <a:gd name="connsiteY117" fmla="*/ 7056 h 10000"/>
              <a:gd name="connsiteX118" fmla="*/ 5117 w 10000"/>
              <a:gd name="connsiteY118" fmla="*/ 7032 h 10000"/>
              <a:gd name="connsiteX119" fmla="*/ 5125 w 10000"/>
              <a:gd name="connsiteY119" fmla="*/ 7010 h 10000"/>
              <a:gd name="connsiteX120" fmla="*/ 5217 w 10000"/>
              <a:gd name="connsiteY120" fmla="*/ 7048 h 10000"/>
              <a:gd name="connsiteX121" fmla="*/ 5341 w 10000"/>
              <a:gd name="connsiteY121" fmla="*/ 7069 h 10000"/>
              <a:gd name="connsiteX122" fmla="*/ 5389 w 10000"/>
              <a:gd name="connsiteY122" fmla="*/ 7030 h 10000"/>
              <a:gd name="connsiteX123" fmla="*/ 5428 w 10000"/>
              <a:gd name="connsiteY123" fmla="*/ 7052 h 10000"/>
              <a:gd name="connsiteX124" fmla="*/ 5485 w 10000"/>
              <a:gd name="connsiteY124" fmla="*/ 7126 h 10000"/>
              <a:gd name="connsiteX125" fmla="*/ 5604 w 10000"/>
              <a:gd name="connsiteY125" fmla="*/ 7144 h 10000"/>
              <a:gd name="connsiteX126" fmla="*/ 6088 w 10000"/>
              <a:gd name="connsiteY126" fmla="*/ 7034 h 10000"/>
              <a:gd name="connsiteX127" fmla="*/ 6325 w 10000"/>
              <a:gd name="connsiteY127" fmla="*/ 6879 h 10000"/>
              <a:gd name="connsiteX128" fmla="*/ 6382 w 10000"/>
              <a:gd name="connsiteY128" fmla="*/ 6765 h 10000"/>
              <a:gd name="connsiteX129" fmla="*/ 6295 w 10000"/>
              <a:gd name="connsiteY129" fmla="*/ 6663 h 10000"/>
              <a:gd name="connsiteX130" fmla="*/ 6114 w 10000"/>
              <a:gd name="connsiteY130" fmla="*/ 6602 h 10000"/>
              <a:gd name="connsiteX131" fmla="*/ 5986 w 10000"/>
              <a:gd name="connsiteY131" fmla="*/ 6502 h 10000"/>
              <a:gd name="connsiteX132" fmla="*/ 6106 w 10000"/>
              <a:gd name="connsiteY132" fmla="*/ 6498 h 10000"/>
              <a:gd name="connsiteX133" fmla="*/ 6097 w 10000"/>
              <a:gd name="connsiteY133" fmla="*/ 6474 h 10000"/>
              <a:gd name="connsiteX134" fmla="*/ 5785 w 10000"/>
              <a:gd name="connsiteY134" fmla="*/ 6403 h 10000"/>
              <a:gd name="connsiteX135" fmla="*/ 5772 w 10000"/>
              <a:gd name="connsiteY135" fmla="*/ 6339 h 10000"/>
              <a:gd name="connsiteX136" fmla="*/ 5714 w 10000"/>
              <a:gd name="connsiteY136" fmla="*/ 6272 h 10000"/>
              <a:gd name="connsiteX137" fmla="*/ 5467 w 10000"/>
              <a:gd name="connsiteY137" fmla="*/ 6284 h 10000"/>
              <a:gd name="connsiteX138" fmla="*/ 5380 w 10000"/>
              <a:gd name="connsiteY138" fmla="*/ 6213 h 10000"/>
              <a:gd name="connsiteX139" fmla="*/ 5328 w 10000"/>
              <a:gd name="connsiteY139" fmla="*/ 6209 h 10000"/>
              <a:gd name="connsiteX140" fmla="*/ 5328 w 10000"/>
              <a:gd name="connsiteY140" fmla="*/ 6238 h 10000"/>
              <a:gd name="connsiteX141" fmla="*/ 5217 w 10000"/>
              <a:gd name="connsiteY141" fmla="*/ 6358 h 10000"/>
              <a:gd name="connsiteX142" fmla="*/ 5098 w 10000"/>
              <a:gd name="connsiteY142" fmla="*/ 6429 h 10000"/>
              <a:gd name="connsiteX143" fmla="*/ 4724 w 10000"/>
              <a:gd name="connsiteY143" fmla="*/ 6551 h 10000"/>
              <a:gd name="connsiteX144" fmla="*/ 4593 w 10000"/>
              <a:gd name="connsiteY144" fmla="*/ 6547 h 10000"/>
              <a:gd name="connsiteX145" fmla="*/ 4413 w 10000"/>
              <a:gd name="connsiteY145" fmla="*/ 6565 h 10000"/>
              <a:gd name="connsiteX146" fmla="*/ 4312 w 10000"/>
              <a:gd name="connsiteY146" fmla="*/ 6547 h 10000"/>
              <a:gd name="connsiteX147" fmla="*/ 4443 w 10000"/>
              <a:gd name="connsiteY147" fmla="*/ 6513 h 10000"/>
              <a:gd name="connsiteX148" fmla="*/ 4615 w 10000"/>
              <a:gd name="connsiteY148" fmla="*/ 6498 h 10000"/>
              <a:gd name="connsiteX149" fmla="*/ 4757 w 10000"/>
              <a:gd name="connsiteY149" fmla="*/ 6441 h 10000"/>
              <a:gd name="connsiteX150" fmla="*/ 4896 w 10000"/>
              <a:gd name="connsiteY150" fmla="*/ 6415 h 10000"/>
              <a:gd name="connsiteX151" fmla="*/ 5156 w 10000"/>
              <a:gd name="connsiteY151" fmla="*/ 6317 h 10000"/>
              <a:gd name="connsiteX152" fmla="*/ 5204 w 10000"/>
              <a:gd name="connsiteY152" fmla="*/ 6252 h 10000"/>
              <a:gd name="connsiteX153" fmla="*/ 5208 w 10000"/>
              <a:gd name="connsiteY153" fmla="*/ 6168 h 10000"/>
              <a:gd name="connsiteX154" fmla="*/ 5090 w 10000"/>
              <a:gd name="connsiteY154" fmla="*/ 6154 h 10000"/>
              <a:gd name="connsiteX155" fmla="*/ 5143 w 10000"/>
              <a:gd name="connsiteY155" fmla="*/ 6103 h 10000"/>
              <a:gd name="connsiteX156" fmla="*/ 5160 w 10000"/>
              <a:gd name="connsiteY156" fmla="*/ 6038 h 10000"/>
              <a:gd name="connsiteX157" fmla="*/ 5111 w 10000"/>
              <a:gd name="connsiteY157" fmla="*/ 5977 h 10000"/>
              <a:gd name="connsiteX158" fmla="*/ 5081 w 10000"/>
              <a:gd name="connsiteY158" fmla="*/ 5533 h 10000"/>
              <a:gd name="connsiteX159" fmla="*/ 5152 w 10000"/>
              <a:gd name="connsiteY159" fmla="*/ 5437 h 10000"/>
              <a:gd name="connsiteX160" fmla="*/ 5134 w 10000"/>
              <a:gd name="connsiteY160" fmla="*/ 5398 h 10000"/>
              <a:gd name="connsiteX161" fmla="*/ 5341 w 10000"/>
              <a:gd name="connsiteY161" fmla="*/ 5455 h 10000"/>
              <a:gd name="connsiteX162" fmla="*/ 5354 w 10000"/>
              <a:gd name="connsiteY162" fmla="*/ 5402 h 10000"/>
              <a:gd name="connsiteX163" fmla="*/ 5310 w 10000"/>
              <a:gd name="connsiteY163" fmla="*/ 5264 h 10000"/>
              <a:gd name="connsiteX164" fmla="*/ 5458 w 10000"/>
              <a:gd name="connsiteY164" fmla="*/ 5019 h 10000"/>
              <a:gd name="connsiteX165" fmla="*/ 5367 w 10000"/>
              <a:gd name="connsiteY165" fmla="*/ 4960 h 10000"/>
              <a:gd name="connsiteX166" fmla="*/ 5332 w 10000"/>
              <a:gd name="connsiteY166" fmla="*/ 4905 h 10000"/>
              <a:gd name="connsiteX167" fmla="*/ 5345 w 10000"/>
              <a:gd name="connsiteY167" fmla="*/ 4816 h 10000"/>
              <a:gd name="connsiteX168" fmla="*/ 5561 w 10000"/>
              <a:gd name="connsiteY168" fmla="*/ 4875 h 10000"/>
              <a:gd name="connsiteX169" fmla="*/ 5569 w 10000"/>
              <a:gd name="connsiteY169" fmla="*/ 4858 h 10000"/>
              <a:gd name="connsiteX170" fmla="*/ 5630 w 10000"/>
              <a:gd name="connsiteY170" fmla="*/ 4842 h 10000"/>
              <a:gd name="connsiteX171" fmla="*/ 5714 w 10000"/>
              <a:gd name="connsiteY171" fmla="*/ 4785 h 10000"/>
              <a:gd name="connsiteX172" fmla="*/ 5727 w 10000"/>
              <a:gd name="connsiteY172" fmla="*/ 4769 h 10000"/>
              <a:gd name="connsiteX173" fmla="*/ 5710 w 10000"/>
              <a:gd name="connsiteY173" fmla="*/ 4748 h 10000"/>
              <a:gd name="connsiteX174" fmla="*/ 5753 w 10000"/>
              <a:gd name="connsiteY174" fmla="*/ 4647 h 10000"/>
              <a:gd name="connsiteX175" fmla="*/ 5701 w 10000"/>
              <a:gd name="connsiteY175" fmla="*/ 4581 h 10000"/>
              <a:gd name="connsiteX176" fmla="*/ 5710 w 10000"/>
              <a:gd name="connsiteY176" fmla="*/ 4528 h 10000"/>
              <a:gd name="connsiteX177" fmla="*/ 5740 w 10000"/>
              <a:gd name="connsiteY177" fmla="*/ 4590 h 10000"/>
              <a:gd name="connsiteX178" fmla="*/ 5859 w 10000"/>
              <a:gd name="connsiteY178" fmla="*/ 4636 h 10000"/>
              <a:gd name="connsiteX179" fmla="*/ 5908 w 10000"/>
              <a:gd name="connsiteY179" fmla="*/ 4630 h 10000"/>
              <a:gd name="connsiteX180" fmla="*/ 5986 w 10000"/>
              <a:gd name="connsiteY180" fmla="*/ 4569 h 10000"/>
              <a:gd name="connsiteX181" fmla="*/ 6070 w 10000"/>
              <a:gd name="connsiteY181" fmla="*/ 4594 h 10000"/>
              <a:gd name="connsiteX182" fmla="*/ 6093 w 10000"/>
              <a:gd name="connsiteY182" fmla="*/ 4545 h 10000"/>
              <a:gd name="connsiteX183" fmla="*/ 6149 w 10000"/>
              <a:gd name="connsiteY183" fmla="*/ 4512 h 10000"/>
              <a:gd name="connsiteX184" fmla="*/ 5995 w 10000"/>
              <a:gd name="connsiteY184" fmla="*/ 4477 h 10000"/>
              <a:gd name="connsiteX185" fmla="*/ 6106 w 10000"/>
              <a:gd name="connsiteY185" fmla="*/ 4484 h 10000"/>
              <a:gd name="connsiteX186" fmla="*/ 6219 w 10000"/>
              <a:gd name="connsiteY186" fmla="*/ 4447 h 10000"/>
              <a:gd name="connsiteX187" fmla="*/ 6215 w 10000"/>
              <a:gd name="connsiteY187" fmla="*/ 4422 h 10000"/>
              <a:gd name="connsiteX188" fmla="*/ 6321 w 10000"/>
              <a:gd name="connsiteY188" fmla="*/ 4398 h 10000"/>
              <a:gd name="connsiteX189" fmla="*/ 6330 w 10000"/>
              <a:gd name="connsiteY189" fmla="*/ 4337 h 10000"/>
              <a:gd name="connsiteX190" fmla="*/ 6413 w 10000"/>
              <a:gd name="connsiteY190" fmla="*/ 4325 h 10000"/>
              <a:gd name="connsiteX191" fmla="*/ 6421 w 10000"/>
              <a:gd name="connsiteY191" fmla="*/ 4253 h 10000"/>
              <a:gd name="connsiteX192" fmla="*/ 6509 w 10000"/>
              <a:gd name="connsiteY192" fmla="*/ 4245 h 10000"/>
              <a:gd name="connsiteX193" fmla="*/ 6645 w 10000"/>
              <a:gd name="connsiteY193" fmla="*/ 4260 h 10000"/>
              <a:gd name="connsiteX194" fmla="*/ 6794 w 10000"/>
              <a:gd name="connsiteY194" fmla="*/ 4202 h 10000"/>
              <a:gd name="connsiteX195" fmla="*/ 6848 w 10000"/>
              <a:gd name="connsiteY195" fmla="*/ 4137 h 10000"/>
              <a:gd name="connsiteX196" fmla="*/ 7032 w 10000"/>
              <a:gd name="connsiteY196" fmla="*/ 4070 h 10000"/>
              <a:gd name="connsiteX197" fmla="*/ 7125 w 10000"/>
              <a:gd name="connsiteY197" fmla="*/ 4111 h 10000"/>
              <a:gd name="connsiteX198" fmla="*/ 7265 w 10000"/>
              <a:gd name="connsiteY198" fmla="*/ 4066 h 10000"/>
              <a:gd name="connsiteX199" fmla="*/ 7300 w 10000"/>
              <a:gd name="connsiteY199" fmla="*/ 4009 h 10000"/>
              <a:gd name="connsiteX200" fmla="*/ 7406 w 10000"/>
              <a:gd name="connsiteY200" fmla="*/ 3970 h 10000"/>
              <a:gd name="connsiteX201" fmla="*/ 7498 w 10000"/>
              <a:gd name="connsiteY201" fmla="*/ 3987 h 10000"/>
              <a:gd name="connsiteX202" fmla="*/ 7555 w 10000"/>
              <a:gd name="connsiteY202" fmla="*/ 3958 h 10000"/>
              <a:gd name="connsiteX203" fmla="*/ 7714 w 10000"/>
              <a:gd name="connsiteY203" fmla="*/ 3917 h 10000"/>
              <a:gd name="connsiteX204" fmla="*/ 7779 w 10000"/>
              <a:gd name="connsiteY204" fmla="*/ 3864 h 10000"/>
              <a:gd name="connsiteX205" fmla="*/ 7868 w 10000"/>
              <a:gd name="connsiteY205" fmla="*/ 3842 h 10000"/>
              <a:gd name="connsiteX206" fmla="*/ 8356 w 10000"/>
              <a:gd name="connsiteY206" fmla="*/ 3522 h 10000"/>
              <a:gd name="connsiteX207" fmla="*/ 10000 w 10000"/>
              <a:gd name="connsiteY207" fmla="*/ 2410 h 10000"/>
              <a:gd name="connsiteX208" fmla="*/ 9793 w 10000"/>
              <a:gd name="connsiteY208" fmla="*/ 1992 h 10000"/>
              <a:gd name="connsiteX209" fmla="*/ 9832 w 10000"/>
              <a:gd name="connsiteY209" fmla="*/ 1897 h 10000"/>
              <a:gd name="connsiteX210" fmla="*/ 9920 w 10000"/>
              <a:gd name="connsiteY210" fmla="*/ 1819 h 10000"/>
              <a:gd name="connsiteX211" fmla="*/ 9920 w 10000"/>
              <a:gd name="connsiteY211" fmla="*/ 1699 h 10000"/>
              <a:gd name="connsiteX212" fmla="*/ 9644 w 10000"/>
              <a:gd name="connsiteY212" fmla="*/ 1465 h 10000"/>
              <a:gd name="connsiteX213" fmla="*/ 9599 w 10000"/>
              <a:gd name="connsiteY213" fmla="*/ 1379 h 10000"/>
              <a:gd name="connsiteX214" fmla="*/ 9661 w 10000"/>
              <a:gd name="connsiteY214" fmla="*/ 1271 h 10000"/>
              <a:gd name="connsiteX215" fmla="*/ 9631 w 10000"/>
              <a:gd name="connsiteY215" fmla="*/ 1194 h 10000"/>
              <a:gd name="connsiteX216" fmla="*/ 9573 w 10000"/>
              <a:gd name="connsiteY216" fmla="*/ 1159 h 10000"/>
              <a:gd name="connsiteX217" fmla="*/ 9524 w 10000"/>
              <a:gd name="connsiteY217" fmla="*/ 978 h 10000"/>
              <a:gd name="connsiteX218" fmla="*/ 9582 w 10000"/>
              <a:gd name="connsiteY218" fmla="*/ 831 h 10000"/>
              <a:gd name="connsiteX219" fmla="*/ 9160 w 10000"/>
              <a:gd name="connsiteY219" fmla="*/ 517 h 10000"/>
              <a:gd name="connsiteX220" fmla="*/ 8953 w 10000"/>
              <a:gd name="connsiteY220" fmla="*/ 440 h 10000"/>
              <a:gd name="connsiteX221" fmla="*/ 8570 w 10000"/>
              <a:gd name="connsiteY221" fmla="*/ 389 h 10000"/>
              <a:gd name="connsiteX222" fmla="*/ 7779 w 10000"/>
              <a:gd name="connsiteY222" fmla="*/ 26 h 10000"/>
              <a:gd name="connsiteX223" fmla="*/ 7753 w 10000"/>
              <a:gd name="connsiteY223" fmla="*/ 2 h 10000"/>
              <a:gd name="connsiteX224" fmla="*/ 7485 w 10000"/>
              <a:gd name="connsiteY224" fmla="*/ 0 h 10000"/>
              <a:gd name="connsiteX225" fmla="*/ 7423 w 10000"/>
              <a:gd name="connsiteY225" fmla="*/ 14 h 10000"/>
              <a:gd name="connsiteX226" fmla="*/ 7437 w 10000"/>
              <a:gd name="connsiteY226" fmla="*/ 61 h 10000"/>
              <a:gd name="connsiteX227" fmla="*/ 7490 w 10000"/>
              <a:gd name="connsiteY227" fmla="*/ 86 h 10000"/>
              <a:gd name="connsiteX228" fmla="*/ 7503 w 10000"/>
              <a:gd name="connsiteY228" fmla="*/ 139 h 10000"/>
              <a:gd name="connsiteX229" fmla="*/ 7485 w 10000"/>
              <a:gd name="connsiteY229" fmla="*/ 181 h 10000"/>
              <a:gd name="connsiteX230" fmla="*/ 7437 w 10000"/>
              <a:gd name="connsiteY230" fmla="*/ 208 h 10000"/>
              <a:gd name="connsiteX231" fmla="*/ 7401 w 10000"/>
              <a:gd name="connsiteY231" fmla="*/ 283 h 10000"/>
              <a:gd name="connsiteX232" fmla="*/ 7336 w 10000"/>
              <a:gd name="connsiteY232" fmla="*/ 336 h 10000"/>
              <a:gd name="connsiteX233" fmla="*/ 7349 w 10000"/>
              <a:gd name="connsiteY233" fmla="*/ 387 h 10000"/>
              <a:gd name="connsiteX234" fmla="*/ 7450 w 10000"/>
              <a:gd name="connsiteY234" fmla="*/ 434 h 10000"/>
              <a:gd name="connsiteX235" fmla="*/ 7384 w 10000"/>
              <a:gd name="connsiteY235" fmla="*/ 475 h 10000"/>
              <a:gd name="connsiteX236" fmla="*/ 7287 w 10000"/>
              <a:gd name="connsiteY236" fmla="*/ 485 h 10000"/>
              <a:gd name="connsiteX237" fmla="*/ 6479 w 10000"/>
              <a:gd name="connsiteY237" fmla="*/ 387 h 10000"/>
              <a:gd name="connsiteX238" fmla="*/ 6382 w 10000"/>
              <a:gd name="connsiteY238" fmla="*/ 395 h 10000"/>
              <a:gd name="connsiteX239" fmla="*/ 6325 w 10000"/>
              <a:gd name="connsiteY239" fmla="*/ 414 h 10000"/>
              <a:gd name="connsiteX240" fmla="*/ 6267 w 10000"/>
              <a:gd name="connsiteY240" fmla="*/ 462 h 10000"/>
              <a:gd name="connsiteX241" fmla="*/ 6277 w 10000"/>
              <a:gd name="connsiteY241" fmla="*/ 581 h 10000"/>
              <a:gd name="connsiteX242" fmla="*/ 6188 w 10000"/>
              <a:gd name="connsiteY242" fmla="*/ 735 h 10000"/>
              <a:gd name="connsiteX243" fmla="*/ 6079 w 10000"/>
              <a:gd name="connsiteY243" fmla="*/ 815 h 10000"/>
              <a:gd name="connsiteX244" fmla="*/ 6035 w 10000"/>
              <a:gd name="connsiteY244" fmla="*/ 805 h 10000"/>
              <a:gd name="connsiteX245" fmla="*/ 5934 w 10000"/>
              <a:gd name="connsiteY245" fmla="*/ 739 h 10000"/>
              <a:gd name="connsiteX246" fmla="*/ 5806 w 10000"/>
              <a:gd name="connsiteY246" fmla="*/ 705 h 10000"/>
              <a:gd name="connsiteX247" fmla="*/ 5669 w 10000"/>
              <a:gd name="connsiteY247" fmla="*/ 715 h 10000"/>
              <a:gd name="connsiteX248" fmla="*/ 5350 w 10000"/>
              <a:gd name="connsiteY248" fmla="*/ 866 h 10000"/>
              <a:gd name="connsiteX249" fmla="*/ 5266 w 10000"/>
              <a:gd name="connsiteY249" fmla="*/ 1017 h 10000"/>
              <a:gd name="connsiteX250" fmla="*/ 5024 w 10000"/>
              <a:gd name="connsiteY250" fmla="*/ 1153 h 10000"/>
              <a:gd name="connsiteX251" fmla="*/ 4980 w 10000"/>
              <a:gd name="connsiteY251" fmla="*/ 1222 h 10000"/>
              <a:gd name="connsiteX252" fmla="*/ 5107 w 10000"/>
              <a:gd name="connsiteY252" fmla="*/ 1344 h 10000"/>
              <a:gd name="connsiteX253" fmla="*/ 5121 w 10000"/>
              <a:gd name="connsiteY253" fmla="*/ 1412 h 10000"/>
              <a:gd name="connsiteX254" fmla="*/ 4461 w 10000"/>
              <a:gd name="connsiteY254" fmla="*/ 1813 h 10000"/>
              <a:gd name="connsiteX255" fmla="*/ 4259 w 10000"/>
              <a:gd name="connsiteY255" fmla="*/ 2070 h 10000"/>
              <a:gd name="connsiteX256" fmla="*/ 4040 w 10000"/>
              <a:gd name="connsiteY256" fmla="*/ 2135 h 10000"/>
              <a:gd name="connsiteX257" fmla="*/ 3903 w 10000"/>
              <a:gd name="connsiteY257" fmla="*/ 2131 h 10000"/>
              <a:gd name="connsiteX258" fmla="*/ 3820 w 10000"/>
              <a:gd name="connsiteY258" fmla="*/ 2153 h 10000"/>
              <a:gd name="connsiteX259" fmla="*/ 3591 w 10000"/>
              <a:gd name="connsiteY259" fmla="*/ 2793 h 10000"/>
              <a:gd name="connsiteX260" fmla="*/ 3064 w 10000"/>
              <a:gd name="connsiteY260" fmla="*/ 3166 h 10000"/>
              <a:gd name="connsiteX261" fmla="*/ 3068 w 10000"/>
              <a:gd name="connsiteY261" fmla="*/ 3225 h 10000"/>
              <a:gd name="connsiteX262" fmla="*/ 3301 w 10000"/>
              <a:gd name="connsiteY262" fmla="*/ 3392 h 10000"/>
              <a:gd name="connsiteX263" fmla="*/ 3227 w 10000"/>
              <a:gd name="connsiteY263" fmla="*/ 3573 h 10000"/>
              <a:gd name="connsiteX264" fmla="*/ 3090 w 10000"/>
              <a:gd name="connsiteY264" fmla="*/ 3640 h 10000"/>
              <a:gd name="connsiteX265" fmla="*/ 2681 w 10000"/>
              <a:gd name="connsiteY265" fmla="*/ 3595 h 10000"/>
              <a:gd name="connsiteX266" fmla="*/ 2399 w 10000"/>
              <a:gd name="connsiteY266" fmla="*/ 3620 h 10000"/>
              <a:gd name="connsiteX267" fmla="*/ 2171 w 10000"/>
              <a:gd name="connsiteY267" fmla="*/ 3673 h 10000"/>
              <a:gd name="connsiteX268" fmla="*/ 1806 w 10000"/>
              <a:gd name="connsiteY268" fmla="*/ 3840 h 10000"/>
              <a:gd name="connsiteX269" fmla="*/ 1612 w 10000"/>
              <a:gd name="connsiteY269" fmla="*/ 4042 h 10000"/>
              <a:gd name="connsiteX270" fmla="*/ 1630 w 10000"/>
              <a:gd name="connsiteY270" fmla="*/ 4154 h 10000"/>
              <a:gd name="connsiteX271" fmla="*/ 1697 w 10000"/>
              <a:gd name="connsiteY271" fmla="*/ 4241 h 10000"/>
              <a:gd name="connsiteX272" fmla="*/ 1749 w 10000"/>
              <a:gd name="connsiteY272" fmla="*/ 4276 h 10000"/>
              <a:gd name="connsiteX273" fmla="*/ 1653 w 10000"/>
              <a:gd name="connsiteY273" fmla="*/ 4331 h 10000"/>
              <a:gd name="connsiteX274" fmla="*/ 1446 w 10000"/>
              <a:gd name="connsiteY274" fmla="*/ 4710 h 10000"/>
              <a:gd name="connsiteX275" fmla="*/ 1486 w 10000"/>
              <a:gd name="connsiteY275" fmla="*/ 4732 h 10000"/>
              <a:gd name="connsiteX276" fmla="*/ 1517 w 10000"/>
              <a:gd name="connsiteY276" fmla="*/ 4828 h 10000"/>
              <a:gd name="connsiteX277" fmla="*/ 1420 w 10000"/>
              <a:gd name="connsiteY277" fmla="*/ 5227 h 10000"/>
              <a:gd name="connsiteX278" fmla="*/ 1517 w 10000"/>
              <a:gd name="connsiteY278" fmla="*/ 5329 h 10000"/>
              <a:gd name="connsiteX279" fmla="*/ 1780 w 10000"/>
              <a:gd name="connsiteY279" fmla="*/ 5441 h 10000"/>
              <a:gd name="connsiteX280" fmla="*/ 1793 w 10000"/>
              <a:gd name="connsiteY280" fmla="*/ 5578 h 10000"/>
              <a:gd name="connsiteX281" fmla="*/ 1680 w 10000"/>
              <a:gd name="connsiteY281" fmla="*/ 5690 h 10000"/>
              <a:gd name="connsiteX282" fmla="*/ 1517 w 10000"/>
              <a:gd name="connsiteY282" fmla="*/ 5759 h 10000"/>
              <a:gd name="connsiteX283" fmla="*/ 1301 w 10000"/>
              <a:gd name="connsiteY283" fmla="*/ 5787 h 10000"/>
              <a:gd name="connsiteX284" fmla="*/ 1244 w 10000"/>
              <a:gd name="connsiteY284" fmla="*/ 5826 h 10000"/>
              <a:gd name="connsiteX285" fmla="*/ 1371 w 10000"/>
              <a:gd name="connsiteY285" fmla="*/ 5920 h 10000"/>
              <a:gd name="connsiteX286" fmla="*/ 1442 w 10000"/>
              <a:gd name="connsiteY286" fmla="*/ 6142 h 10000"/>
              <a:gd name="connsiteX287" fmla="*/ 1279 w 10000"/>
              <a:gd name="connsiteY287" fmla="*/ 6333 h 10000"/>
              <a:gd name="connsiteX288" fmla="*/ 1336 w 10000"/>
              <a:gd name="connsiteY288" fmla="*/ 6392 h 10000"/>
              <a:gd name="connsiteX289" fmla="*/ 1284 w 10000"/>
              <a:gd name="connsiteY289" fmla="*/ 6492 h 10000"/>
              <a:gd name="connsiteX290" fmla="*/ 1178 w 10000"/>
              <a:gd name="connsiteY290" fmla="*/ 6561 h 10000"/>
              <a:gd name="connsiteX291" fmla="*/ 765 w 10000"/>
              <a:gd name="connsiteY291" fmla="*/ 6614 h 10000"/>
              <a:gd name="connsiteX292" fmla="*/ 739 w 10000"/>
              <a:gd name="connsiteY292" fmla="*/ 6706 h 10000"/>
              <a:gd name="connsiteX293" fmla="*/ 515 w 10000"/>
              <a:gd name="connsiteY293" fmla="*/ 6843 h 10000"/>
              <a:gd name="connsiteX294" fmla="*/ 545 w 10000"/>
              <a:gd name="connsiteY294" fmla="*/ 7040 h 10000"/>
              <a:gd name="connsiteX295" fmla="*/ 356 w 10000"/>
              <a:gd name="connsiteY295" fmla="*/ 7293 h 10000"/>
              <a:gd name="connsiteX296" fmla="*/ 228 w 10000"/>
              <a:gd name="connsiteY296" fmla="*/ 7323 h 10000"/>
              <a:gd name="connsiteX297" fmla="*/ 176 w 10000"/>
              <a:gd name="connsiteY297" fmla="*/ 7262 h 10000"/>
              <a:gd name="connsiteX298" fmla="*/ 110 w 10000"/>
              <a:gd name="connsiteY298" fmla="*/ 7354 h 10000"/>
              <a:gd name="connsiteX299" fmla="*/ 154 w 10000"/>
              <a:gd name="connsiteY299" fmla="*/ 7197 h 10000"/>
              <a:gd name="connsiteX300" fmla="*/ 127 w 10000"/>
              <a:gd name="connsiteY300" fmla="*/ 7166 h 10000"/>
              <a:gd name="connsiteX0" fmla="*/ 127 w 9920"/>
              <a:gd name="connsiteY0" fmla="*/ 7166 h 10000"/>
              <a:gd name="connsiteX1" fmla="*/ 0 w 9920"/>
              <a:gd name="connsiteY1" fmla="*/ 7248 h 10000"/>
              <a:gd name="connsiteX2" fmla="*/ 0 w 9920"/>
              <a:gd name="connsiteY2" fmla="*/ 7651 h 10000"/>
              <a:gd name="connsiteX3" fmla="*/ 70 w 9920"/>
              <a:gd name="connsiteY3" fmla="*/ 7663 h 10000"/>
              <a:gd name="connsiteX4" fmla="*/ 87 w 9920"/>
              <a:gd name="connsiteY4" fmla="*/ 7694 h 10000"/>
              <a:gd name="connsiteX5" fmla="*/ 83 w 9920"/>
              <a:gd name="connsiteY5" fmla="*/ 7749 h 10000"/>
              <a:gd name="connsiteX6" fmla="*/ 57 w 9920"/>
              <a:gd name="connsiteY6" fmla="*/ 7773 h 10000"/>
              <a:gd name="connsiteX7" fmla="*/ 163 w 9920"/>
              <a:gd name="connsiteY7" fmla="*/ 7727 h 10000"/>
              <a:gd name="connsiteX8" fmla="*/ 207 w 9920"/>
              <a:gd name="connsiteY8" fmla="*/ 7680 h 10000"/>
              <a:gd name="connsiteX9" fmla="*/ 263 w 9920"/>
              <a:gd name="connsiteY9" fmla="*/ 7712 h 10000"/>
              <a:gd name="connsiteX10" fmla="*/ 202 w 9920"/>
              <a:gd name="connsiteY10" fmla="*/ 7778 h 10000"/>
              <a:gd name="connsiteX11" fmla="*/ 268 w 9920"/>
              <a:gd name="connsiteY11" fmla="*/ 7780 h 10000"/>
              <a:gd name="connsiteX12" fmla="*/ 299 w 9920"/>
              <a:gd name="connsiteY12" fmla="*/ 7796 h 10000"/>
              <a:gd name="connsiteX13" fmla="*/ 215 w 9920"/>
              <a:gd name="connsiteY13" fmla="*/ 7818 h 10000"/>
              <a:gd name="connsiteX14" fmla="*/ 83 w 9920"/>
              <a:gd name="connsiteY14" fmla="*/ 7886 h 10000"/>
              <a:gd name="connsiteX15" fmla="*/ 317 w 9920"/>
              <a:gd name="connsiteY15" fmla="*/ 7938 h 10000"/>
              <a:gd name="connsiteX16" fmla="*/ 347 w 9920"/>
              <a:gd name="connsiteY16" fmla="*/ 8014 h 10000"/>
              <a:gd name="connsiteX17" fmla="*/ 268 w 9920"/>
              <a:gd name="connsiteY17" fmla="*/ 8126 h 10000"/>
              <a:gd name="connsiteX18" fmla="*/ 440 w 9920"/>
              <a:gd name="connsiteY18" fmla="*/ 8118 h 10000"/>
              <a:gd name="connsiteX19" fmla="*/ 453 w 9920"/>
              <a:gd name="connsiteY19" fmla="*/ 8203 h 10000"/>
              <a:gd name="connsiteX20" fmla="*/ 338 w 9920"/>
              <a:gd name="connsiteY20" fmla="*/ 8260 h 10000"/>
              <a:gd name="connsiteX21" fmla="*/ 356 w 9920"/>
              <a:gd name="connsiteY21" fmla="*/ 8370 h 10000"/>
              <a:gd name="connsiteX22" fmla="*/ 312 w 9920"/>
              <a:gd name="connsiteY22" fmla="*/ 8456 h 10000"/>
              <a:gd name="connsiteX23" fmla="*/ 448 w 9920"/>
              <a:gd name="connsiteY23" fmla="*/ 8464 h 10000"/>
              <a:gd name="connsiteX24" fmla="*/ 580 w 9920"/>
              <a:gd name="connsiteY24" fmla="*/ 8792 h 10000"/>
              <a:gd name="connsiteX25" fmla="*/ 734 w 9920"/>
              <a:gd name="connsiteY25" fmla="*/ 8876 h 10000"/>
              <a:gd name="connsiteX26" fmla="*/ 800 w 9920"/>
              <a:gd name="connsiteY26" fmla="*/ 8965 h 10000"/>
              <a:gd name="connsiteX27" fmla="*/ 967 w 9920"/>
              <a:gd name="connsiteY27" fmla="*/ 9030 h 10000"/>
              <a:gd name="connsiteX28" fmla="*/ 1073 w 9920"/>
              <a:gd name="connsiteY28" fmla="*/ 9112 h 10000"/>
              <a:gd name="connsiteX29" fmla="*/ 1059 w 9920"/>
              <a:gd name="connsiteY29" fmla="*/ 9171 h 10000"/>
              <a:gd name="connsiteX30" fmla="*/ 954 w 9920"/>
              <a:gd name="connsiteY30" fmla="*/ 9193 h 10000"/>
              <a:gd name="connsiteX31" fmla="*/ 839 w 9920"/>
              <a:gd name="connsiteY31" fmla="*/ 9179 h 10000"/>
              <a:gd name="connsiteX32" fmla="*/ 804 w 9920"/>
              <a:gd name="connsiteY32" fmla="*/ 9204 h 10000"/>
              <a:gd name="connsiteX33" fmla="*/ 892 w 9920"/>
              <a:gd name="connsiteY33" fmla="*/ 9332 h 10000"/>
              <a:gd name="connsiteX34" fmla="*/ 769 w 9920"/>
              <a:gd name="connsiteY34" fmla="*/ 9322 h 10000"/>
              <a:gd name="connsiteX35" fmla="*/ 664 w 9920"/>
              <a:gd name="connsiteY35" fmla="*/ 9291 h 10000"/>
              <a:gd name="connsiteX36" fmla="*/ 646 w 9920"/>
              <a:gd name="connsiteY36" fmla="*/ 9338 h 10000"/>
              <a:gd name="connsiteX37" fmla="*/ 993 w 9920"/>
              <a:gd name="connsiteY37" fmla="*/ 9776 h 10000"/>
              <a:gd name="connsiteX38" fmla="*/ 937 w 9920"/>
              <a:gd name="connsiteY38" fmla="*/ 9817 h 10000"/>
              <a:gd name="connsiteX39" fmla="*/ 898 w 9920"/>
              <a:gd name="connsiteY39" fmla="*/ 9902 h 10000"/>
              <a:gd name="connsiteX40" fmla="*/ 848 w 9920"/>
              <a:gd name="connsiteY40" fmla="*/ 9908 h 10000"/>
              <a:gd name="connsiteX41" fmla="*/ 817 w 9920"/>
              <a:gd name="connsiteY41" fmla="*/ 9945 h 10000"/>
              <a:gd name="connsiteX42" fmla="*/ 1028 w 9920"/>
              <a:gd name="connsiteY42" fmla="*/ 9949 h 10000"/>
              <a:gd name="connsiteX43" fmla="*/ 1213 w 9920"/>
              <a:gd name="connsiteY43" fmla="*/ 9986 h 10000"/>
              <a:gd name="connsiteX44" fmla="*/ 1521 w 9920"/>
              <a:gd name="connsiteY44" fmla="*/ 9947 h 10000"/>
              <a:gd name="connsiteX45" fmla="*/ 1797 w 9920"/>
              <a:gd name="connsiteY45" fmla="*/ 9953 h 10000"/>
              <a:gd name="connsiteX46" fmla="*/ 1961 w 9920"/>
              <a:gd name="connsiteY46" fmla="*/ 10000 h 10000"/>
              <a:gd name="connsiteX47" fmla="*/ 2049 w 9920"/>
              <a:gd name="connsiteY47" fmla="*/ 9969 h 10000"/>
              <a:gd name="connsiteX48" fmla="*/ 2136 w 9920"/>
              <a:gd name="connsiteY48" fmla="*/ 9868 h 10000"/>
              <a:gd name="connsiteX49" fmla="*/ 2114 w 9920"/>
              <a:gd name="connsiteY49" fmla="*/ 9703 h 10000"/>
              <a:gd name="connsiteX50" fmla="*/ 2325 w 9920"/>
              <a:gd name="connsiteY50" fmla="*/ 9517 h 10000"/>
              <a:gd name="connsiteX51" fmla="*/ 2479 w 9920"/>
              <a:gd name="connsiteY51" fmla="*/ 9546 h 10000"/>
              <a:gd name="connsiteX52" fmla="*/ 2567 w 9920"/>
              <a:gd name="connsiteY52" fmla="*/ 9472 h 10000"/>
              <a:gd name="connsiteX53" fmla="*/ 2738 w 9920"/>
              <a:gd name="connsiteY53" fmla="*/ 9430 h 10000"/>
              <a:gd name="connsiteX54" fmla="*/ 2971 w 9920"/>
              <a:gd name="connsiteY54" fmla="*/ 9440 h 10000"/>
              <a:gd name="connsiteX55" fmla="*/ 3112 w 9920"/>
              <a:gd name="connsiteY55" fmla="*/ 9470 h 10000"/>
              <a:gd name="connsiteX56" fmla="*/ 3297 w 9920"/>
              <a:gd name="connsiteY56" fmla="*/ 9456 h 10000"/>
              <a:gd name="connsiteX57" fmla="*/ 3486 w 9920"/>
              <a:gd name="connsiteY57" fmla="*/ 9489 h 10000"/>
              <a:gd name="connsiteX58" fmla="*/ 3674 w 9920"/>
              <a:gd name="connsiteY58" fmla="*/ 9493 h 10000"/>
              <a:gd name="connsiteX59" fmla="*/ 4096 w 9920"/>
              <a:gd name="connsiteY59" fmla="*/ 9061 h 10000"/>
              <a:gd name="connsiteX60" fmla="*/ 4202 w 9920"/>
              <a:gd name="connsiteY60" fmla="*/ 8711 h 10000"/>
              <a:gd name="connsiteX61" fmla="*/ 4374 w 9920"/>
              <a:gd name="connsiteY61" fmla="*/ 8554 h 10000"/>
              <a:gd name="connsiteX62" fmla="*/ 4374 w 9920"/>
              <a:gd name="connsiteY62" fmla="*/ 8472 h 10000"/>
              <a:gd name="connsiteX63" fmla="*/ 4312 w 9920"/>
              <a:gd name="connsiteY63" fmla="*/ 8425 h 10000"/>
              <a:gd name="connsiteX64" fmla="*/ 4413 w 9920"/>
              <a:gd name="connsiteY64" fmla="*/ 8352 h 10000"/>
              <a:gd name="connsiteX65" fmla="*/ 4395 w 9920"/>
              <a:gd name="connsiteY65" fmla="*/ 8289 h 10000"/>
              <a:gd name="connsiteX66" fmla="*/ 4325 w 9920"/>
              <a:gd name="connsiteY66" fmla="*/ 8236 h 10000"/>
              <a:gd name="connsiteX67" fmla="*/ 4312 w 9920"/>
              <a:gd name="connsiteY67" fmla="*/ 8199 h 10000"/>
              <a:gd name="connsiteX68" fmla="*/ 4329 w 9920"/>
              <a:gd name="connsiteY68" fmla="*/ 8169 h 10000"/>
              <a:gd name="connsiteX69" fmla="*/ 4422 w 9920"/>
              <a:gd name="connsiteY69" fmla="*/ 8193 h 10000"/>
              <a:gd name="connsiteX70" fmla="*/ 4497 w 9920"/>
              <a:gd name="connsiteY70" fmla="*/ 8191 h 10000"/>
              <a:gd name="connsiteX71" fmla="*/ 4456 w 9920"/>
              <a:gd name="connsiteY71" fmla="*/ 8140 h 10000"/>
              <a:gd name="connsiteX72" fmla="*/ 4469 w 9920"/>
              <a:gd name="connsiteY72" fmla="*/ 8112 h 10000"/>
              <a:gd name="connsiteX73" fmla="*/ 4523 w 9920"/>
              <a:gd name="connsiteY73" fmla="*/ 8069 h 10000"/>
              <a:gd name="connsiteX74" fmla="*/ 4514 w 9920"/>
              <a:gd name="connsiteY74" fmla="*/ 8034 h 10000"/>
              <a:gd name="connsiteX75" fmla="*/ 4563 w 9920"/>
              <a:gd name="connsiteY75" fmla="*/ 7916 h 10000"/>
              <a:gd name="connsiteX76" fmla="*/ 4550 w 9920"/>
              <a:gd name="connsiteY76" fmla="*/ 7881 h 10000"/>
              <a:gd name="connsiteX77" fmla="*/ 4294 w 9920"/>
              <a:gd name="connsiteY77" fmla="*/ 7792 h 10000"/>
              <a:gd name="connsiteX78" fmla="*/ 4329 w 9920"/>
              <a:gd name="connsiteY78" fmla="*/ 7788 h 10000"/>
              <a:gd name="connsiteX79" fmla="*/ 4465 w 9920"/>
              <a:gd name="connsiteY79" fmla="*/ 7812 h 10000"/>
              <a:gd name="connsiteX80" fmla="*/ 4611 w 9920"/>
              <a:gd name="connsiteY80" fmla="*/ 7804 h 10000"/>
              <a:gd name="connsiteX81" fmla="*/ 4654 w 9920"/>
              <a:gd name="connsiteY81" fmla="*/ 7771 h 10000"/>
              <a:gd name="connsiteX82" fmla="*/ 4514 w 9920"/>
              <a:gd name="connsiteY82" fmla="*/ 7710 h 10000"/>
              <a:gd name="connsiteX83" fmla="*/ 4092 w 9920"/>
              <a:gd name="connsiteY83" fmla="*/ 7670 h 10000"/>
              <a:gd name="connsiteX84" fmla="*/ 4122 w 9920"/>
              <a:gd name="connsiteY84" fmla="*/ 7651 h 10000"/>
              <a:gd name="connsiteX85" fmla="*/ 4465 w 9920"/>
              <a:gd name="connsiteY85" fmla="*/ 7639 h 10000"/>
              <a:gd name="connsiteX86" fmla="*/ 4654 w 9920"/>
              <a:gd name="connsiteY86" fmla="*/ 7676 h 10000"/>
              <a:gd name="connsiteX87" fmla="*/ 4765 w 9920"/>
              <a:gd name="connsiteY87" fmla="*/ 7651 h 10000"/>
              <a:gd name="connsiteX88" fmla="*/ 4804 w 9920"/>
              <a:gd name="connsiteY88" fmla="*/ 7588 h 10000"/>
              <a:gd name="connsiteX89" fmla="*/ 5002 w 9920"/>
              <a:gd name="connsiteY89" fmla="*/ 7588 h 10000"/>
              <a:gd name="connsiteX90" fmla="*/ 5270 w 9920"/>
              <a:gd name="connsiteY90" fmla="*/ 7462 h 10000"/>
              <a:gd name="connsiteX91" fmla="*/ 5279 w 9920"/>
              <a:gd name="connsiteY91" fmla="*/ 7378 h 10000"/>
              <a:gd name="connsiteX92" fmla="*/ 5393 w 9920"/>
              <a:gd name="connsiteY92" fmla="*/ 7397 h 10000"/>
              <a:gd name="connsiteX93" fmla="*/ 5389 w 9920"/>
              <a:gd name="connsiteY93" fmla="*/ 7482 h 10000"/>
              <a:gd name="connsiteX94" fmla="*/ 5569 w 9920"/>
              <a:gd name="connsiteY94" fmla="*/ 7476 h 10000"/>
              <a:gd name="connsiteX95" fmla="*/ 5687 w 9920"/>
              <a:gd name="connsiteY95" fmla="*/ 7388 h 10000"/>
              <a:gd name="connsiteX96" fmla="*/ 5908 w 9920"/>
              <a:gd name="connsiteY96" fmla="*/ 7309 h 10000"/>
              <a:gd name="connsiteX97" fmla="*/ 5872 w 9920"/>
              <a:gd name="connsiteY97" fmla="*/ 7219 h 10000"/>
              <a:gd name="connsiteX98" fmla="*/ 5938 w 9920"/>
              <a:gd name="connsiteY98" fmla="*/ 7254 h 10000"/>
              <a:gd name="connsiteX99" fmla="*/ 6039 w 9920"/>
              <a:gd name="connsiteY99" fmla="*/ 7254 h 10000"/>
              <a:gd name="connsiteX100" fmla="*/ 6039 w 9920"/>
              <a:gd name="connsiteY100" fmla="*/ 7213 h 10000"/>
              <a:gd name="connsiteX101" fmla="*/ 6132 w 9920"/>
              <a:gd name="connsiteY101" fmla="*/ 7181 h 10000"/>
              <a:gd name="connsiteX102" fmla="*/ 6119 w 9920"/>
              <a:gd name="connsiteY102" fmla="*/ 7148 h 10000"/>
              <a:gd name="connsiteX103" fmla="*/ 5328 w 9920"/>
              <a:gd name="connsiteY103" fmla="*/ 7215 h 10000"/>
              <a:gd name="connsiteX104" fmla="*/ 5143 w 9920"/>
              <a:gd name="connsiteY104" fmla="*/ 7195 h 10000"/>
              <a:gd name="connsiteX105" fmla="*/ 5068 w 9920"/>
              <a:gd name="connsiteY105" fmla="*/ 7219 h 10000"/>
              <a:gd name="connsiteX106" fmla="*/ 5042 w 9920"/>
              <a:gd name="connsiteY106" fmla="*/ 7173 h 10000"/>
              <a:gd name="connsiteX107" fmla="*/ 4954 w 9920"/>
              <a:gd name="connsiteY107" fmla="*/ 7132 h 10000"/>
              <a:gd name="connsiteX108" fmla="*/ 4602 w 9920"/>
              <a:gd name="connsiteY108" fmla="*/ 7052 h 10000"/>
              <a:gd name="connsiteX109" fmla="*/ 4395 w 9920"/>
              <a:gd name="connsiteY109" fmla="*/ 7065 h 10000"/>
              <a:gd name="connsiteX110" fmla="*/ 4312 w 9920"/>
              <a:gd name="connsiteY110" fmla="*/ 7042 h 10000"/>
              <a:gd name="connsiteX111" fmla="*/ 4400 w 9920"/>
              <a:gd name="connsiteY111" fmla="*/ 7022 h 10000"/>
              <a:gd name="connsiteX112" fmla="*/ 4465 w 9920"/>
              <a:gd name="connsiteY112" fmla="*/ 6979 h 10000"/>
              <a:gd name="connsiteX113" fmla="*/ 4563 w 9920"/>
              <a:gd name="connsiteY113" fmla="*/ 6993 h 10000"/>
              <a:gd name="connsiteX114" fmla="*/ 4681 w 9920"/>
              <a:gd name="connsiteY114" fmla="*/ 6981 h 10000"/>
              <a:gd name="connsiteX115" fmla="*/ 4857 w 9920"/>
              <a:gd name="connsiteY115" fmla="*/ 6995 h 10000"/>
              <a:gd name="connsiteX116" fmla="*/ 4878 w 9920"/>
              <a:gd name="connsiteY116" fmla="*/ 6989 h 10000"/>
              <a:gd name="connsiteX117" fmla="*/ 5016 w 9920"/>
              <a:gd name="connsiteY117" fmla="*/ 7056 h 10000"/>
              <a:gd name="connsiteX118" fmla="*/ 5117 w 9920"/>
              <a:gd name="connsiteY118" fmla="*/ 7032 h 10000"/>
              <a:gd name="connsiteX119" fmla="*/ 5125 w 9920"/>
              <a:gd name="connsiteY119" fmla="*/ 7010 h 10000"/>
              <a:gd name="connsiteX120" fmla="*/ 5217 w 9920"/>
              <a:gd name="connsiteY120" fmla="*/ 7048 h 10000"/>
              <a:gd name="connsiteX121" fmla="*/ 5341 w 9920"/>
              <a:gd name="connsiteY121" fmla="*/ 7069 h 10000"/>
              <a:gd name="connsiteX122" fmla="*/ 5389 w 9920"/>
              <a:gd name="connsiteY122" fmla="*/ 7030 h 10000"/>
              <a:gd name="connsiteX123" fmla="*/ 5428 w 9920"/>
              <a:gd name="connsiteY123" fmla="*/ 7052 h 10000"/>
              <a:gd name="connsiteX124" fmla="*/ 5485 w 9920"/>
              <a:gd name="connsiteY124" fmla="*/ 7126 h 10000"/>
              <a:gd name="connsiteX125" fmla="*/ 5604 w 9920"/>
              <a:gd name="connsiteY125" fmla="*/ 7144 h 10000"/>
              <a:gd name="connsiteX126" fmla="*/ 6088 w 9920"/>
              <a:gd name="connsiteY126" fmla="*/ 7034 h 10000"/>
              <a:gd name="connsiteX127" fmla="*/ 6325 w 9920"/>
              <a:gd name="connsiteY127" fmla="*/ 6879 h 10000"/>
              <a:gd name="connsiteX128" fmla="*/ 6382 w 9920"/>
              <a:gd name="connsiteY128" fmla="*/ 6765 h 10000"/>
              <a:gd name="connsiteX129" fmla="*/ 6295 w 9920"/>
              <a:gd name="connsiteY129" fmla="*/ 6663 h 10000"/>
              <a:gd name="connsiteX130" fmla="*/ 6114 w 9920"/>
              <a:gd name="connsiteY130" fmla="*/ 6602 h 10000"/>
              <a:gd name="connsiteX131" fmla="*/ 5986 w 9920"/>
              <a:gd name="connsiteY131" fmla="*/ 6502 h 10000"/>
              <a:gd name="connsiteX132" fmla="*/ 6106 w 9920"/>
              <a:gd name="connsiteY132" fmla="*/ 6498 h 10000"/>
              <a:gd name="connsiteX133" fmla="*/ 6097 w 9920"/>
              <a:gd name="connsiteY133" fmla="*/ 6474 h 10000"/>
              <a:gd name="connsiteX134" fmla="*/ 5785 w 9920"/>
              <a:gd name="connsiteY134" fmla="*/ 6403 h 10000"/>
              <a:gd name="connsiteX135" fmla="*/ 5772 w 9920"/>
              <a:gd name="connsiteY135" fmla="*/ 6339 h 10000"/>
              <a:gd name="connsiteX136" fmla="*/ 5714 w 9920"/>
              <a:gd name="connsiteY136" fmla="*/ 6272 h 10000"/>
              <a:gd name="connsiteX137" fmla="*/ 5467 w 9920"/>
              <a:gd name="connsiteY137" fmla="*/ 6284 h 10000"/>
              <a:gd name="connsiteX138" fmla="*/ 5380 w 9920"/>
              <a:gd name="connsiteY138" fmla="*/ 6213 h 10000"/>
              <a:gd name="connsiteX139" fmla="*/ 5328 w 9920"/>
              <a:gd name="connsiteY139" fmla="*/ 6209 h 10000"/>
              <a:gd name="connsiteX140" fmla="*/ 5328 w 9920"/>
              <a:gd name="connsiteY140" fmla="*/ 6238 h 10000"/>
              <a:gd name="connsiteX141" fmla="*/ 5217 w 9920"/>
              <a:gd name="connsiteY141" fmla="*/ 6358 h 10000"/>
              <a:gd name="connsiteX142" fmla="*/ 5098 w 9920"/>
              <a:gd name="connsiteY142" fmla="*/ 6429 h 10000"/>
              <a:gd name="connsiteX143" fmla="*/ 4724 w 9920"/>
              <a:gd name="connsiteY143" fmla="*/ 6551 h 10000"/>
              <a:gd name="connsiteX144" fmla="*/ 4593 w 9920"/>
              <a:gd name="connsiteY144" fmla="*/ 6547 h 10000"/>
              <a:gd name="connsiteX145" fmla="*/ 4413 w 9920"/>
              <a:gd name="connsiteY145" fmla="*/ 6565 h 10000"/>
              <a:gd name="connsiteX146" fmla="*/ 4312 w 9920"/>
              <a:gd name="connsiteY146" fmla="*/ 6547 h 10000"/>
              <a:gd name="connsiteX147" fmla="*/ 4443 w 9920"/>
              <a:gd name="connsiteY147" fmla="*/ 6513 h 10000"/>
              <a:gd name="connsiteX148" fmla="*/ 4615 w 9920"/>
              <a:gd name="connsiteY148" fmla="*/ 6498 h 10000"/>
              <a:gd name="connsiteX149" fmla="*/ 4757 w 9920"/>
              <a:gd name="connsiteY149" fmla="*/ 6441 h 10000"/>
              <a:gd name="connsiteX150" fmla="*/ 4896 w 9920"/>
              <a:gd name="connsiteY150" fmla="*/ 6415 h 10000"/>
              <a:gd name="connsiteX151" fmla="*/ 5156 w 9920"/>
              <a:gd name="connsiteY151" fmla="*/ 6317 h 10000"/>
              <a:gd name="connsiteX152" fmla="*/ 5204 w 9920"/>
              <a:gd name="connsiteY152" fmla="*/ 6252 h 10000"/>
              <a:gd name="connsiteX153" fmla="*/ 5208 w 9920"/>
              <a:gd name="connsiteY153" fmla="*/ 6168 h 10000"/>
              <a:gd name="connsiteX154" fmla="*/ 5090 w 9920"/>
              <a:gd name="connsiteY154" fmla="*/ 6154 h 10000"/>
              <a:gd name="connsiteX155" fmla="*/ 5143 w 9920"/>
              <a:gd name="connsiteY155" fmla="*/ 6103 h 10000"/>
              <a:gd name="connsiteX156" fmla="*/ 5160 w 9920"/>
              <a:gd name="connsiteY156" fmla="*/ 6038 h 10000"/>
              <a:gd name="connsiteX157" fmla="*/ 5111 w 9920"/>
              <a:gd name="connsiteY157" fmla="*/ 5977 h 10000"/>
              <a:gd name="connsiteX158" fmla="*/ 5081 w 9920"/>
              <a:gd name="connsiteY158" fmla="*/ 5533 h 10000"/>
              <a:gd name="connsiteX159" fmla="*/ 5152 w 9920"/>
              <a:gd name="connsiteY159" fmla="*/ 5437 h 10000"/>
              <a:gd name="connsiteX160" fmla="*/ 5134 w 9920"/>
              <a:gd name="connsiteY160" fmla="*/ 5398 h 10000"/>
              <a:gd name="connsiteX161" fmla="*/ 5341 w 9920"/>
              <a:gd name="connsiteY161" fmla="*/ 5455 h 10000"/>
              <a:gd name="connsiteX162" fmla="*/ 5354 w 9920"/>
              <a:gd name="connsiteY162" fmla="*/ 5402 h 10000"/>
              <a:gd name="connsiteX163" fmla="*/ 5310 w 9920"/>
              <a:gd name="connsiteY163" fmla="*/ 5264 h 10000"/>
              <a:gd name="connsiteX164" fmla="*/ 5458 w 9920"/>
              <a:gd name="connsiteY164" fmla="*/ 5019 h 10000"/>
              <a:gd name="connsiteX165" fmla="*/ 5367 w 9920"/>
              <a:gd name="connsiteY165" fmla="*/ 4960 h 10000"/>
              <a:gd name="connsiteX166" fmla="*/ 5332 w 9920"/>
              <a:gd name="connsiteY166" fmla="*/ 4905 h 10000"/>
              <a:gd name="connsiteX167" fmla="*/ 5345 w 9920"/>
              <a:gd name="connsiteY167" fmla="*/ 4816 h 10000"/>
              <a:gd name="connsiteX168" fmla="*/ 5561 w 9920"/>
              <a:gd name="connsiteY168" fmla="*/ 4875 h 10000"/>
              <a:gd name="connsiteX169" fmla="*/ 5569 w 9920"/>
              <a:gd name="connsiteY169" fmla="*/ 4858 h 10000"/>
              <a:gd name="connsiteX170" fmla="*/ 5630 w 9920"/>
              <a:gd name="connsiteY170" fmla="*/ 4842 h 10000"/>
              <a:gd name="connsiteX171" fmla="*/ 5714 w 9920"/>
              <a:gd name="connsiteY171" fmla="*/ 4785 h 10000"/>
              <a:gd name="connsiteX172" fmla="*/ 5727 w 9920"/>
              <a:gd name="connsiteY172" fmla="*/ 4769 h 10000"/>
              <a:gd name="connsiteX173" fmla="*/ 5710 w 9920"/>
              <a:gd name="connsiteY173" fmla="*/ 4748 h 10000"/>
              <a:gd name="connsiteX174" fmla="*/ 5753 w 9920"/>
              <a:gd name="connsiteY174" fmla="*/ 4647 h 10000"/>
              <a:gd name="connsiteX175" fmla="*/ 5701 w 9920"/>
              <a:gd name="connsiteY175" fmla="*/ 4581 h 10000"/>
              <a:gd name="connsiteX176" fmla="*/ 5710 w 9920"/>
              <a:gd name="connsiteY176" fmla="*/ 4528 h 10000"/>
              <a:gd name="connsiteX177" fmla="*/ 5740 w 9920"/>
              <a:gd name="connsiteY177" fmla="*/ 4590 h 10000"/>
              <a:gd name="connsiteX178" fmla="*/ 5859 w 9920"/>
              <a:gd name="connsiteY178" fmla="*/ 4636 h 10000"/>
              <a:gd name="connsiteX179" fmla="*/ 5908 w 9920"/>
              <a:gd name="connsiteY179" fmla="*/ 4630 h 10000"/>
              <a:gd name="connsiteX180" fmla="*/ 5986 w 9920"/>
              <a:gd name="connsiteY180" fmla="*/ 4569 h 10000"/>
              <a:gd name="connsiteX181" fmla="*/ 6070 w 9920"/>
              <a:gd name="connsiteY181" fmla="*/ 4594 h 10000"/>
              <a:gd name="connsiteX182" fmla="*/ 6093 w 9920"/>
              <a:gd name="connsiteY182" fmla="*/ 4545 h 10000"/>
              <a:gd name="connsiteX183" fmla="*/ 6149 w 9920"/>
              <a:gd name="connsiteY183" fmla="*/ 4512 h 10000"/>
              <a:gd name="connsiteX184" fmla="*/ 5995 w 9920"/>
              <a:gd name="connsiteY184" fmla="*/ 4477 h 10000"/>
              <a:gd name="connsiteX185" fmla="*/ 6106 w 9920"/>
              <a:gd name="connsiteY185" fmla="*/ 4484 h 10000"/>
              <a:gd name="connsiteX186" fmla="*/ 6219 w 9920"/>
              <a:gd name="connsiteY186" fmla="*/ 4447 h 10000"/>
              <a:gd name="connsiteX187" fmla="*/ 6215 w 9920"/>
              <a:gd name="connsiteY187" fmla="*/ 4422 h 10000"/>
              <a:gd name="connsiteX188" fmla="*/ 6321 w 9920"/>
              <a:gd name="connsiteY188" fmla="*/ 4398 h 10000"/>
              <a:gd name="connsiteX189" fmla="*/ 6330 w 9920"/>
              <a:gd name="connsiteY189" fmla="*/ 4337 h 10000"/>
              <a:gd name="connsiteX190" fmla="*/ 6413 w 9920"/>
              <a:gd name="connsiteY190" fmla="*/ 4325 h 10000"/>
              <a:gd name="connsiteX191" fmla="*/ 6421 w 9920"/>
              <a:gd name="connsiteY191" fmla="*/ 4253 h 10000"/>
              <a:gd name="connsiteX192" fmla="*/ 6509 w 9920"/>
              <a:gd name="connsiteY192" fmla="*/ 4245 h 10000"/>
              <a:gd name="connsiteX193" fmla="*/ 6645 w 9920"/>
              <a:gd name="connsiteY193" fmla="*/ 4260 h 10000"/>
              <a:gd name="connsiteX194" fmla="*/ 6794 w 9920"/>
              <a:gd name="connsiteY194" fmla="*/ 4202 h 10000"/>
              <a:gd name="connsiteX195" fmla="*/ 6848 w 9920"/>
              <a:gd name="connsiteY195" fmla="*/ 4137 h 10000"/>
              <a:gd name="connsiteX196" fmla="*/ 7032 w 9920"/>
              <a:gd name="connsiteY196" fmla="*/ 4070 h 10000"/>
              <a:gd name="connsiteX197" fmla="*/ 7125 w 9920"/>
              <a:gd name="connsiteY197" fmla="*/ 4111 h 10000"/>
              <a:gd name="connsiteX198" fmla="*/ 7265 w 9920"/>
              <a:gd name="connsiteY198" fmla="*/ 4066 h 10000"/>
              <a:gd name="connsiteX199" fmla="*/ 7300 w 9920"/>
              <a:gd name="connsiteY199" fmla="*/ 4009 h 10000"/>
              <a:gd name="connsiteX200" fmla="*/ 7406 w 9920"/>
              <a:gd name="connsiteY200" fmla="*/ 3970 h 10000"/>
              <a:gd name="connsiteX201" fmla="*/ 7498 w 9920"/>
              <a:gd name="connsiteY201" fmla="*/ 3987 h 10000"/>
              <a:gd name="connsiteX202" fmla="*/ 7555 w 9920"/>
              <a:gd name="connsiteY202" fmla="*/ 3958 h 10000"/>
              <a:gd name="connsiteX203" fmla="*/ 7714 w 9920"/>
              <a:gd name="connsiteY203" fmla="*/ 3917 h 10000"/>
              <a:gd name="connsiteX204" fmla="*/ 7779 w 9920"/>
              <a:gd name="connsiteY204" fmla="*/ 3864 h 10000"/>
              <a:gd name="connsiteX205" fmla="*/ 7868 w 9920"/>
              <a:gd name="connsiteY205" fmla="*/ 3842 h 10000"/>
              <a:gd name="connsiteX206" fmla="*/ 8356 w 9920"/>
              <a:gd name="connsiteY206" fmla="*/ 3522 h 10000"/>
              <a:gd name="connsiteX207" fmla="*/ 9793 w 9920"/>
              <a:gd name="connsiteY207" fmla="*/ 1992 h 10000"/>
              <a:gd name="connsiteX208" fmla="*/ 9832 w 9920"/>
              <a:gd name="connsiteY208" fmla="*/ 1897 h 10000"/>
              <a:gd name="connsiteX209" fmla="*/ 9920 w 9920"/>
              <a:gd name="connsiteY209" fmla="*/ 1819 h 10000"/>
              <a:gd name="connsiteX210" fmla="*/ 9920 w 9920"/>
              <a:gd name="connsiteY210" fmla="*/ 1699 h 10000"/>
              <a:gd name="connsiteX211" fmla="*/ 9644 w 9920"/>
              <a:gd name="connsiteY211" fmla="*/ 1465 h 10000"/>
              <a:gd name="connsiteX212" fmla="*/ 9599 w 9920"/>
              <a:gd name="connsiteY212" fmla="*/ 1379 h 10000"/>
              <a:gd name="connsiteX213" fmla="*/ 9661 w 9920"/>
              <a:gd name="connsiteY213" fmla="*/ 1271 h 10000"/>
              <a:gd name="connsiteX214" fmla="*/ 9631 w 9920"/>
              <a:gd name="connsiteY214" fmla="*/ 1194 h 10000"/>
              <a:gd name="connsiteX215" fmla="*/ 9573 w 9920"/>
              <a:gd name="connsiteY215" fmla="*/ 1159 h 10000"/>
              <a:gd name="connsiteX216" fmla="*/ 9524 w 9920"/>
              <a:gd name="connsiteY216" fmla="*/ 978 h 10000"/>
              <a:gd name="connsiteX217" fmla="*/ 9582 w 9920"/>
              <a:gd name="connsiteY217" fmla="*/ 831 h 10000"/>
              <a:gd name="connsiteX218" fmla="*/ 9160 w 9920"/>
              <a:gd name="connsiteY218" fmla="*/ 517 h 10000"/>
              <a:gd name="connsiteX219" fmla="*/ 8953 w 9920"/>
              <a:gd name="connsiteY219" fmla="*/ 440 h 10000"/>
              <a:gd name="connsiteX220" fmla="*/ 8570 w 9920"/>
              <a:gd name="connsiteY220" fmla="*/ 389 h 10000"/>
              <a:gd name="connsiteX221" fmla="*/ 7779 w 9920"/>
              <a:gd name="connsiteY221" fmla="*/ 26 h 10000"/>
              <a:gd name="connsiteX222" fmla="*/ 7753 w 9920"/>
              <a:gd name="connsiteY222" fmla="*/ 2 h 10000"/>
              <a:gd name="connsiteX223" fmla="*/ 7485 w 9920"/>
              <a:gd name="connsiteY223" fmla="*/ 0 h 10000"/>
              <a:gd name="connsiteX224" fmla="*/ 7423 w 9920"/>
              <a:gd name="connsiteY224" fmla="*/ 14 h 10000"/>
              <a:gd name="connsiteX225" fmla="*/ 7437 w 9920"/>
              <a:gd name="connsiteY225" fmla="*/ 61 h 10000"/>
              <a:gd name="connsiteX226" fmla="*/ 7490 w 9920"/>
              <a:gd name="connsiteY226" fmla="*/ 86 h 10000"/>
              <a:gd name="connsiteX227" fmla="*/ 7503 w 9920"/>
              <a:gd name="connsiteY227" fmla="*/ 139 h 10000"/>
              <a:gd name="connsiteX228" fmla="*/ 7485 w 9920"/>
              <a:gd name="connsiteY228" fmla="*/ 181 h 10000"/>
              <a:gd name="connsiteX229" fmla="*/ 7437 w 9920"/>
              <a:gd name="connsiteY229" fmla="*/ 208 h 10000"/>
              <a:gd name="connsiteX230" fmla="*/ 7401 w 9920"/>
              <a:gd name="connsiteY230" fmla="*/ 283 h 10000"/>
              <a:gd name="connsiteX231" fmla="*/ 7336 w 9920"/>
              <a:gd name="connsiteY231" fmla="*/ 336 h 10000"/>
              <a:gd name="connsiteX232" fmla="*/ 7349 w 9920"/>
              <a:gd name="connsiteY232" fmla="*/ 387 h 10000"/>
              <a:gd name="connsiteX233" fmla="*/ 7450 w 9920"/>
              <a:gd name="connsiteY233" fmla="*/ 434 h 10000"/>
              <a:gd name="connsiteX234" fmla="*/ 7384 w 9920"/>
              <a:gd name="connsiteY234" fmla="*/ 475 h 10000"/>
              <a:gd name="connsiteX235" fmla="*/ 7287 w 9920"/>
              <a:gd name="connsiteY235" fmla="*/ 485 h 10000"/>
              <a:gd name="connsiteX236" fmla="*/ 6479 w 9920"/>
              <a:gd name="connsiteY236" fmla="*/ 387 h 10000"/>
              <a:gd name="connsiteX237" fmla="*/ 6382 w 9920"/>
              <a:gd name="connsiteY237" fmla="*/ 395 h 10000"/>
              <a:gd name="connsiteX238" fmla="*/ 6325 w 9920"/>
              <a:gd name="connsiteY238" fmla="*/ 414 h 10000"/>
              <a:gd name="connsiteX239" fmla="*/ 6267 w 9920"/>
              <a:gd name="connsiteY239" fmla="*/ 462 h 10000"/>
              <a:gd name="connsiteX240" fmla="*/ 6277 w 9920"/>
              <a:gd name="connsiteY240" fmla="*/ 581 h 10000"/>
              <a:gd name="connsiteX241" fmla="*/ 6188 w 9920"/>
              <a:gd name="connsiteY241" fmla="*/ 735 h 10000"/>
              <a:gd name="connsiteX242" fmla="*/ 6079 w 9920"/>
              <a:gd name="connsiteY242" fmla="*/ 815 h 10000"/>
              <a:gd name="connsiteX243" fmla="*/ 6035 w 9920"/>
              <a:gd name="connsiteY243" fmla="*/ 805 h 10000"/>
              <a:gd name="connsiteX244" fmla="*/ 5934 w 9920"/>
              <a:gd name="connsiteY244" fmla="*/ 739 h 10000"/>
              <a:gd name="connsiteX245" fmla="*/ 5806 w 9920"/>
              <a:gd name="connsiteY245" fmla="*/ 705 h 10000"/>
              <a:gd name="connsiteX246" fmla="*/ 5669 w 9920"/>
              <a:gd name="connsiteY246" fmla="*/ 715 h 10000"/>
              <a:gd name="connsiteX247" fmla="*/ 5350 w 9920"/>
              <a:gd name="connsiteY247" fmla="*/ 866 h 10000"/>
              <a:gd name="connsiteX248" fmla="*/ 5266 w 9920"/>
              <a:gd name="connsiteY248" fmla="*/ 1017 h 10000"/>
              <a:gd name="connsiteX249" fmla="*/ 5024 w 9920"/>
              <a:gd name="connsiteY249" fmla="*/ 1153 h 10000"/>
              <a:gd name="connsiteX250" fmla="*/ 4980 w 9920"/>
              <a:gd name="connsiteY250" fmla="*/ 1222 h 10000"/>
              <a:gd name="connsiteX251" fmla="*/ 5107 w 9920"/>
              <a:gd name="connsiteY251" fmla="*/ 1344 h 10000"/>
              <a:gd name="connsiteX252" fmla="*/ 5121 w 9920"/>
              <a:gd name="connsiteY252" fmla="*/ 1412 h 10000"/>
              <a:gd name="connsiteX253" fmla="*/ 4461 w 9920"/>
              <a:gd name="connsiteY253" fmla="*/ 1813 h 10000"/>
              <a:gd name="connsiteX254" fmla="*/ 4259 w 9920"/>
              <a:gd name="connsiteY254" fmla="*/ 2070 h 10000"/>
              <a:gd name="connsiteX255" fmla="*/ 4040 w 9920"/>
              <a:gd name="connsiteY255" fmla="*/ 2135 h 10000"/>
              <a:gd name="connsiteX256" fmla="*/ 3903 w 9920"/>
              <a:gd name="connsiteY256" fmla="*/ 2131 h 10000"/>
              <a:gd name="connsiteX257" fmla="*/ 3820 w 9920"/>
              <a:gd name="connsiteY257" fmla="*/ 2153 h 10000"/>
              <a:gd name="connsiteX258" fmla="*/ 3591 w 9920"/>
              <a:gd name="connsiteY258" fmla="*/ 2793 h 10000"/>
              <a:gd name="connsiteX259" fmla="*/ 3064 w 9920"/>
              <a:gd name="connsiteY259" fmla="*/ 3166 h 10000"/>
              <a:gd name="connsiteX260" fmla="*/ 3068 w 9920"/>
              <a:gd name="connsiteY260" fmla="*/ 3225 h 10000"/>
              <a:gd name="connsiteX261" fmla="*/ 3301 w 9920"/>
              <a:gd name="connsiteY261" fmla="*/ 3392 h 10000"/>
              <a:gd name="connsiteX262" fmla="*/ 3227 w 9920"/>
              <a:gd name="connsiteY262" fmla="*/ 3573 h 10000"/>
              <a:gd name="connsiteX263" fmla="*/ 3090 w 9920"/>
              <a:gd name="connsiteY263" fmla="*/ 3640 h 10000"/>
              <a:gd name="connsiteX264" fmla="*/ 2681 w 9920"/>
              <a:gd name="connsiteY264" fmla="*/ 3595 h 10000"/>
              <a:gd name="connsiteX265" fmla="*/ 2399 w 9920"/>
              <a:gd name="connsiteY265" fmla="*/ 3620 h 10000"/>
              <a:gd name="connsiteX266" fmla="*/ 2171 w 9920"/>
              <a:gd name="connsiteY266" fmla="*/ 3673 h 10000"/>
              <a:gd name="connsiteX267" fmla="*/ 1806 w 9920"/>
              <a:gd name="connsiteY267" fmla="*/ 3840 h 10000"/>
              <a:gd name="connsiteX268" fmla="*/ 1612 w 9920"/>
              <a:gd name="connsiteY268" fmla="*/ 4042 h 10000"/>
              <a:gd name="connsiteX269" fmla="*/ 1630 w 9920"/>
              <a:gd name="connsiteY269" fmla="*/ 4154 h 10000"/>
              <a:gd name="connsiteX270" fmla="*/ 1697 w 9920"/>
              <a:gd name="connsiteY270" fmla="*/ 4241 h 10000"/>
              <a:gd name="connsiteX271" fmla="*/ 1749 w 9920"/>
              <a:gd name="connsiteY271" fmla="*/ 4276 h 10000"/>
              <a:gd name="connsiteX272" fmla="*/ 1653 w 9920"/>
              <a:gd name="connsiteY272" fmla="*/ 4331 h 10000"/>
              <a:gd name="connsiteX273" fmla="*/ 1446 w 9920"/>
              <a:gd name="connsiteY273" fmla="*/ 4710 h 10000"/>
              <a:gd name="connsiteX274" fmla="*/ 1486 w 9920"/>
              <a:gd name="connsiteY274" fmla="*/ 4732 h 10000"/>
              <a:gd name="connsiteX275" fmla="*/ 1517 w 9920"/>
              <a:gd name="connsiteY275" fmla="*/ 4828 h 10000"/>
              <a:gd name="connsiteX276" fmla="*/ 1420 w 9920"/>
              <a:gd name="connsiteY276" fmla="*/ 5227 h 10000"/>
              <a:gd name="connsiteX277" fmla="*/ 1517 w 9920"/>
              <a:gd name="connsiteY277" fmla="*/ 5329 h 10000"/>
              <a:gd name="connsiteX278" fmla="*/ 1780 w 9920"/>
              <a:gd name="connsiteY278" fmla="*/ 5441 h 10000"/>
              <a:gd name="connsiteX279" fmla="*/ 1793 w 9920"/>
              <a:gd name="connsiteY279" fmla="*/ 5578 h 10000"/>
              <a:gd name="connsiteX280" fmla="*/ 1680 w 9920"/>
              <a:gd name="connsiteY280" fmla="*/ 5690 h 10000"/>
              <a:gd name="connsiteX281" fmla="*/ 1517 w 9920"/>
              <a:gd name="connsiteY281" fmla="*/ 5759 h 10000"/>
              <a:gd name="connsiteX282" fmla="*/ 1301 w 9920"/>
              <a:gd name="connsiteY282" fmla="*/ 5787 h 10000"/>
              <a:gd name="connsiteX283" fmla="*/ 1244 w 9920"/>
              <a:gd name="connsiteY283" fmla="*/ 5826 h 10000"/>
              <a:gd name="connsiteX284" fmla="*/ 1371 w 9920"/>
              <a:gd name="connsiteY284" fmla="*/ 5920 h 10000"/>
              <a:gd name="connsiteX285" fmla="*/ 1442 w 9920"/>
              <a:gd name="connsiteY285" fmla="*/ 6142 h 10000"/>
              <a:gd name="connsiteX286" fmla="*/ 1279 w 9920"/>
              <a:gd name="connsiteY286" fmla="*/ 6333 h 10000"/>
              <a:gd name="connsiteX287" fmla="*/ 1336 w 9920"/>
              <a:gd name="connsiteY287" fmla="*/ 6392 h 10000"/>
              <a:gd name="connsiteX288" fmla="*/ 1284 w 9920"/>
              <a:gd name="connsiteY288" fmla="*/ 6492 h 10000"/>
              <a:gd name="connsiteX289" fmla="*/ 1178 w 9920"/>
              <a:gd name="connsiteY289" fmla="*/ 6561 h 10000"/>
              <a:gd name="connsiteX290" fmla="*/ 765 w 9920"/>
              <a:gd name="connsiteY290" fmla="*/ 6614 h 10000"/>
              <a:gd name="connsiteX291" fmla="*/ 739 w 9920"/>
              <a:gd name="connsiteY291" fmla="*/ 6706 h 10000"/>
              <a:gd name="connsiteX292" fmla="*/ 515 w 9920"/>
              <a:gd name="connsiteY292" fmla="*/ 6843 h 10000"/>
              <a:gd name="connsiteX293" fmla="*/ 545 w 9920"/>
              <a:gd name="connsiteY293" fmla="*/ 7040 h 10000"/>
              <a:gd name="connsiteX294" fmla="*/ 356 w 9920"/>
              <a:gd name="connsiteY294" fmla="*/ 7293 h 10000"/>
              <a:gd name="connsiteX295" fmla="*/ 228 w 9920"/>
              <a:gd name="connsiteY295" fmla="*/ 7323 h 10000"/>
              <a:gd name="connsiteX296" fmla="*/ 176 w 9920"/>
              <a:gd name="connsiteY296" fmla="*/ 7262 h 10000"/>
              <a:gd name="connsiteX297" fmla="*/ 110 w 9920"/>
              <a:gd name="connsiteY297" fmla="*/ 7354 h 10000"/>
              <a:gd name="connsiteX298" fmla="*/ 154 w 9920"/>
              <a:gd name="connsiteY298" fmla="*/ 7197 h 10000"/>
              <a:gd name="connsiteX299" fmla="*/ 127 w 9920"/>
              <a:gd name="connsiteY299"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9911 w 10000"/>
              <a:gd name="connsiteY207" fmla="*/ 1897 h 10000"/>
              <a:gd name="connsiteX208" fmla="*/ 10000 w 10000"/>
              <a:gd name="connsiteY208" fmla="*/ 1819 h 10000"/>
              <a:gd name="connsiteX209" fmla="*/ 10000 w 10000"/>
              <a:gd name="connsiteY209" fmla="*/ 1699 h 10000"/>
              <a:gd name="connsiteX210" fmla="*/ 9722 w 10000"/>
              <a:gd name="connsiteY210" fmla="*/ 1465 h 10000"/>
              <a:gd name="connsiteX211" fmla="*/ 9676 w 10000"/>
              <a:gd name="connsiteY211" fmla="*/ 1379 h 10000"/>
              <a:gd name="connsiteX212" fmla="*/ 9739 w 10000"/>
              <a:gd name="connsiteY212" fmla="*/ 1271 h 10000"/>
              <a:gd name="connsiteX213" fmla="*/ 9709 w 10000"/>
              <a:gd name="connsiteY213" fmla="*/ 1194 h 10000"/>
              <a:gd name="connsiteX214" fmla="*/ 9650 w 10000"/>
              <a:gd name="connsiteY214" fmla="*/ 1159 h 10000"/>
              <a:gd name="connsiteX215" fmla="*/ 9601 w 10000"/>
              <a:gd name="connsiteY215" fmla="*/ 978 h 10000"/>
              <a:gd name="connsiteX216" fmla="*/ 9659 w 10000"/>
              <a:gd name="connsiteY216" fmla="*/ 831 h 10000"/>
              <a:gd name="connsiteX217" fmla="*/ 9234 w 10000"/>
              <a:gd name="connsiteY217" fmla="*/ 517 h 10000"/>
              <a:gd name="connsiteX218" fmla="*/ 9025 w 10000"/>
              <a:gd name="connsiteY218" fmla="*/ 440 h 10000"/>
              <a:gd name="connsiteX219" fmla="*/ 8639 w 10000"/>
              <a:gd name="connsiteY219" fmla="*/ 389 h 10000"/>
              <a:gd name="connsiteX220" fmla="*/ 7842 w 10000"/>
              <a:gd name="connsiteY220" fmla="*/ 26 h 10000"/>
              <a:gd name="connsiteX221" fmla="*/ 7816 w 10000"/>
              <a:gd name="connsiteY221" fmla="*/ 2 h 10000"/>
              <a:gd name="connsiteX222" fmla="*/ 7545 w 10000"/>
              <a:gd name="connsiteY222" fmla="*/ 0 h 10000"/>
              <a:gd name="connsiteX223" fmla="*/ 7483 w 10000"/>
              <a:gd name="connsiteY223" fmla="*/ 14 h 10000"/>
              <a:gd name="connsiteX224" fmla="*/ 7497 w 10000"/>
              <a:gd name="connsiteY224" fmla="*/ 61 h 10000"/>
              <a:gd name="connsiteX225" fmla="*/ 7550 w 10000"/>
              <a:gd name="connsiteY225" fmla="*/ 86 h 10000"/>
              <a:gd name="connsiteX226" fmla="*/ 7564 w 10000"/>
              <a:gd name="connsiteY226" fmla="*/ 139 h 10000"/>
              <a:gd name="connsiteX227" fmla="*/ 7545 w 10000"/>
              <a:gd name="connsiteY227" fmla="*/ 181 h 10000"/>
              <a:gd name="connsiteX228" fmla="*/ 7497 w 10000"/>
              <a:gd name="connsiteY228" fmla="*/ 208 h 10000"/>
              <a:gd name="connsiteX229" fmla="*/ 7461 w 10000"/>
              <a:gd name="connsiteY229" fmla="*/ 283 h 10000"/>
              <a:gd name="connsiteX230" fmla="*/ 7395 w 10000"/>
              <a:gd name="connsiteY230" fmla="*/ 336 h 10000"/>
              <a:gd name="connsiteX231" fmla="*/ 7408 w 10000"/>
              <a:gd name="connsiteY231" fmla="*/ 387 h 10000"/>
              <a:gd name="connsiteX232" fmla="*/ 7510 w 10000"/>
              <a:gd name="connsiteY232" fmla="*/ 434 h 10000"/>
              <a:gd name="connsiteX233" fmla="*/ 7444 w 10000"/>
              <a:gd name="connsiteY233" fmla="*/ 475 h 10000"/>
              <a:gd name="connsiteX234" fmla="*/ 7346 w 10000"/>
              <a:gd name="connsiteY234" fmla="*/ 485 h 10000"/>
              <a:gd name="connsiteX235" fmla="*/ 6531 w 10000"/>
              <a:gd name="connsiteY235" fmla="*/ 387 h 10000"/>
              <a:gd name="connsiteX236" fmla="*/ 6433 w 10000"/>
              <a:gd name="connsiteY236" fmla="*/ 395 h 10000"/>
              <a:gd name="connsiteX237" fmla="*/ 6376 w 10000"/>
              <a:gd name="connsiteY237" fmla="*/ 414 h 10000"/>
              <a:gd name="connsiteX238" fmla="*/ 6318 w 10000"/>
              <a:gd name="connsiteY238" fmla="*/ 462 h 10000"/>
              <a:gd name="connsiteX239" fmla="*/ 6328 w 10000"/>
              <a:gd name="connsiteY239" fmla="*/ 581 h 10000"/>
              <a:gd name="connsiteX240" fmla="*/ 6238 w 10000"/>
              <a:gd name="connsiteY240" fmla="*/ 735 h 10000"/>
              <a:gd name="connsiteX241" fmla="*/ 6128 w 10000"/>
              <a:gd name="connsiteY241" fmla="*/ 815 h 10000"/>
              <a:gd name="connsiteX242" fmla="*/ 6084 w 10000"/>
              <a:gd name="connsiteY242" fmla="*/ 805 h 10000"/>
              <a:gd name="connsiteX243" fmla="*/ 5982 w 10000"/>
              <a:gd name="connsiteY243" fmla="*/ 739 h 10000"/>
              <a:gd name="connsiteX244" fmla="*/ 5853 w 10000"/>
              <a:gd name="connsiteY244" fmla="*/ 705 h 10000"/>
              <a:gd name="connsiteX245" fmla="*/ 5715 w 10000"/>
              <a:gd name="connsiteY245" fmla="*/ 715 h 10000"/>
              <a:gd name="connsiteX246" fmla="*/ 5393 w 10000"/>
              <a:gd name="connsiteY246" fmla="*/ 866 h 10000"/>
              <a:gd name="connsiteX247" fmla="*/ 5308 w 10000"/>
              <a:gd name="connsiteY247" fmla="*/ 1017 h 10000"/>
              <a:gd name="connsiteX248" fmla="*/ 5065 w 10000"/>
              <a:gd name="connsiteY248" fmla="*/ 1153 h 10000"/>
              <a:gd name="connsiteX249" fmla="*/ 5020 w 10000"/>
              <a:gd name="connsiteY249" fmla="*/ 1222 h 10000"/>
              <a:gd name="connsiteX250" fmla="*/ 5148 w 10000"/>
              <a:gd name="connsiteY250" fmla="*/ 1344 h 10000"/>
              <a:gd name="connsiteX251" fmla="*/ 5162 w 10000"/>
              <a:gd name="connsiteY251" fmla="*/ 1412 h 10000"/>
              <a:gd name="connsiteX252" fmla="*/ 4497 w 10000"/>
              <a:gd name="connsiteY252" fmla="*/ 1813 h 10000"/>
              <a:gd name="connsiteX253" fmla="*/ 4293 w 10000"/>
              <a:gd name="connsiteY253" fmla="*/ 2070 h 10000"/>
              <a:gd name="connsiteX254" fmla="*/ 4073 w 10000"/>
              <a:gd name="connsiteY254" fmla="*/ 2135 h 10000"/>
              <a:gd name="connsiteX255" fmla="*/ 3934 w 10000"/>
              <a:gd name="connsiteY255" fmla="*/ 2131 h 10000"/>
              <a:gd name="connsiteX256" fmla="*/ 3851 w 10000"/>
              <a:gd name="connsiteY256" fmla="*/ 2153 h 10000"/>
              <a:gd name="connsiteX257" fmla="*/ 3620 w 10000"/>
              <a:gd name="connsiteY257" fmla="*/ 2793 h 10000"/>
              <a:gd name="connsiteX258" fmla="*/ 3089 w 10000"/>
              <a:gd name="connsiteY258" fmla="*/ 3166 h 10000"/>
              <a:gd name="connsiteX259" fmla="*/ 3093 w 10000"/>
              <a:gd name="connsiteY259" fmla="*/ 3225 h 10000"/>
              <a:gd name="connsiteX260" fmla="*/ 3328 w 10000"/>
              <a:gd name="connsiteY260" fmla="*/ 3392 h 10000"/>
              <a:gd name="connsiteX261" fmla="*/ 3253 w 10000"/>
              <a:gd name="connsiteY261" fmla="*/ 3573 h 10000"/>
              <a:gd name="connsiteX262" fmla="*/ 3115 w 10000"/>
              <a:gd name="connsiteY262" fmla="*/ 3640 h 10000"/>
              <a:gd name="connsiteX263" fmla="*/ 2703 w 10000"/>
              <a:gd name="connsiteY263" fmla="*/ 3595 h 10000"/>
              <a:gd name="connsiteX264" fmla="*/ 2418 w 10000"/>
              <a:gd name="connsiteY264" fmla="*/ 3620 h 10000"/>
              <a:gd name="connsiteX265" fmla="*/ 2189 w 10000"/>
              <a:gd name="connsiteY265" fmla="*/ 3673 h 10000"/>
              <a:gd name="connsiteX266" fmla="*/ 1821 w 10000"/>
              <a:gd name="connsiteY266" fmla="*/ 3840 h 10000"/>
              <a:gd name="connsiteX267" fmla="*/ 1625 w 10000"/>
              <a:gd name="connsiteY267" fmla="*/ 4042 h 10000"/>
              <a:gd name="connsiteX268" fmla="*/ 1643 w 10000"/>
              <a:gd name="connsiteY268" fmla="*/ 4154 h 10000"/>
              <a:gd name="connsiteX269" fmla="*/ 1711 w 10000"/>
              <a:gd name="connsiteY269" fmla="*/ 4241 h 10000"/>
              <a:gd name="connsiteX270" fmla="*/ 1763 w 10000"/>
              <a:gd name="connsiteY270" fmla="*/ 4276 h 10000"/>
              <a:gd name="connsiteX271" fmla="*/ 1666 w 10000"/>
              <a:gd name="connsiteY271" fmla="*/ 4331 h 10000"/>
              <a:gd name="connsiteX272" fmla="*/ 1458 w 10000"/>
              <a:gd name="connsiteY272" fmla="*/ 4710 h 10000"/>
              <a:gd name="connsiteX273" fmla="*/ 1498 w 10000"/>
              <a:gd name="connsiteY273" fmla="*/ 4732 h 10000"/>
              <a:gd name="connsiteX274" fmla="*/ 1529 w 10000"/>
              <a:gd name="connsiteY274" fmla="*/ 4828 h 10000"/>
              <a:gd name="connsiteX275" fmla="*/ 1431 w 10000"/>
              <a:gd name="connsiteY275" fmla="*/ 5227 h 10000"/>
              <a:gd name="connsiteX276" fmla="*/ 1529 w 10000"/>
              <a:gd name="connsiteY276" fmla="*/ 5329 h 10000"/>
              <a:gd name="connsiteX277" fmla="*/ 1794 w 10000"/>
              <a:gd name="connsiteY277" fmla="*/ 5441 h 10000"/>
              <a:gd name="connsiteX278" fmla="*/ 1807 w 10000"/>
              <a:gd name="connsiteY278" fmla="*/ 5578 h 10000"/>
              <a:gd name="connsiteX279" fmla="*/ 1694 w 10000"/>
              <a:gd name="connsiteY279" fmla="*/ 5690 h 10000"/>
              <a:gd name="connsiteX280" fmla="*/ 1529 w 10000"/>
              <a:gd name="connsiteY280" fmla="*/ 5759 h 10000"/>
              <a:gd name="connsiteX281" fmla="*/ 1311 w 10000"/>
              <a:gd name="connsiteY281" fmla="*/ 5787 h 10000"/>
              <a:gd name="connsiteX282" fmla="*/ 1254 w 10000"/>
              <a:gd name="connsiteY282" fmla="*/ 5826 h 10000"/>
              <a:gd name="connsiteX283" fmla="*/ 1382 w 10000"/>
              <a:gd name="connsiteY283" fmla="*/ 5920 h 10000"/>
              <a:gd name="connsiteX284" fmla="*/ 1454 w 10000"/>
              <a:gd name="connsiteY284" fmla="*/ 6142 h 10000"/>
              <a:gd name="connsiteX285" fmla="*/ 1289 w 10000"/>
              <a:gd name="connsiteY285" fmla="*/ 6333 h 10000"/>
              <a:gd name="connsiteX286" fmla="*/ 1347 w 10000"/>
              <a:gd name="connsiteY286" fmla="*/ 6392 h 10000"/>
              <a:gd name="connsiteX287" fmla="*/ 1294 w 10000"/>
              <a:gd name="connsiteY287" fmla="*/ 6492 h 10000"/>
              <a:gd name="connsiteX288" fmla="*/ 1188 w 10000"/>
              <a:gd name="connsiteY288" fmla="*/ 6561 h 10000"/>
              <a:gd name="connsiteX289" fmla="*/ 771 w 10000"/>
              <a:gd name="connsiteY289" fmla="*/ 6614 h 10000"/>
              <a:gd name="connsiteX290" fmla="*/ 745 w 10000"/>
              <a:gd name="connsiteY290" fmla="*/ 6706 h 10000"/>
              <a:gd name="connsiteX291" fmla="*/ 519 w 10000"/>
              <a:gd name="connsiteY291" fmla="*/ 6843 h 10000"/>
              <a:gd name="connsiteX292" fmla="*/ 549 w 10000"/>
              <a:gd name="connsiteY292" fmla="*/ 7040 h 10000"/>
              <a:gd name="connsiteX293" fmla="*/ 359 w 10000"/>
              <a:gd name="connsiteY293" fmla="*/ 7293 h 10000"/>
              <a:gd name="connsiteX294" fmla="*/ 230 w 10000"/>
              <a:gd name="connsiteY294" fmla="*/ 7323 h 10000"/>
              <a:gd name="connsiteX295" fmla="*/ 177 w 10000"/>
              <a:gd name="connsiteY295" fmla="*/ 7262 h 10000"/>
              <a:gd name="connsiteX296" fmla="*/ 111 w 10000"/>
              <a:gd name="connsiteY296" fmla="*/ 7354 h 10000"/>
              <a:gd name="connsiteX297" fmla="*/ 155 w 10000"/>
              <a:gd name="connsiteY297" fmla="*/ 7197 h 10000"/>
              <a:gd name="connsiteX298" fmla="*/ 128 w 10000"/>
              <a:gd name="connsiteY298"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9911 w 10000"/>
              <a:gd name="connsiteY207" fmla="*/ 1897 h 10000"/>
              <a:gd name="connsiteX208" fmla="*/ 10000 w 10000"/>
              <a:gd name="connsiteY208" fmla="*/ 1699 h 10000"/>
              <a:gd name="connsiteX209" fmla="*/ 9722 w 10000"/>
              <a:gd name="connsiteY209" fmla="*/ 1465 h 10000"/>
              <a:gd name="connsiteX210" fmla="*/ 9676 w 10000"/>
              <a:gd name="connsiteY210" fmla="*/ 1379 h 10000"/>
              <a:gd name="connsiteX211" fmla="*/ 9739 w 10000"/>
              <a:gd name="connsiteY211" fmla="*/ 1271 h 10000"/>
              <a:gd name="connsiteX212" fmla="*/ 9709 w 10000"/>
              <a:gd name="connsiteY212" fmla="*/ 1194 h 10000"/>
              <a:gd name="connsiteX213" fmla="*/ 9650 w 10000"/>
              <a:gd name="connsiteY213" fmla="*/ 1159 h 10000"/>
              <a:gd name="connsiteX214" fmla="*/ 9601 w 10000"/>
              <a:gd name="connsiteY214" fmla="*/ 978 h 10000"/>
              <a:gd name="connsiteX215" fmla="*/ 9659 w 10000"/>
              <a:gd name="connsiteY215" fmla="*/ 831 h 10000"/>
              <a:gd name="connsiteX216" fmla="*/ 9234 w 10000"/>
              <a:gd name="connsiteY216" fmla="*/ 517 h 10000"/>
              <a:gd name="connsiteX217" fmla="*/ 9025 w 10000"/>
              <a:gd name="connsiteY217" fmla="*/ 440 h 10000"/>
              <a:gd name="connsiteX218" fmla="*/ 8639 w 10000"/>
              <a:gd name="connsiteY218" fmla="*/ 389 h 10000"/>
              <a:gd name="connsiteX219" fmla="*/ 7842 w 10000"/>
              <a:gd name="connsiteY219" fmla="*/ 26 h 10000"/>
              <a:gd name="connsiteX220" fmla="*/ 7816 w 10000"/>
              <a:gd name="connsiteY220" fmla="*/ 2 h 10000"/>
              <a:gd name="connsiteX221" fmla="*/ 7545 w 10000"/>
              <a:gd name="connsiteY221" fmla="*/ 0 h 10000"/>
              <a:gd name="connsiteX222" fmla="*/ 7483 w 10000"/>
              <a:gd name="connsiteY222" fmla="*/ 14 h 10000"/>
              <a:gd name="connsiteX223" fmla="*/ 7497 w 10000"/>
              <a:gd name="connsiteY223" fmla="*/ 61 h 10000"/>
              <a:gd name="connsiteX224" fmla="*/ 7550 w 10000"/>
              <a:gd name="connsiteY224" fmla="*/ 86 h 10000"/>
              <a:gd name="connsiteX225" fmla="*/ 7564 w 10000"/>
              <a:gd name="connsiteY225" fmla="*/ 139 h 10000"/>
              <a:gd name="connsiteX226" fmla="*/ 7545 w 10000"/>
              <a:gd name="connsiteY226" fmla="*/ 181 h 10000"/>
              <a:gd name="connsiteX227" fmla="*/ 7497 w 10000"/>
              <a:gd name="connsiteY227" fmla="*/ 208 h 10000"/>
              <a:gd name="connsiteX228" fmla="*/ 7461 w 10000"/>
              <a:gd name="connsiteY228" fmla="*/ 283 h 10000"/>
              <a:gd name="connsiteX229" fmla="*/ 7395 w 10000"/>
              <a:gd name="connsiteY229" fmla="*/ 336 h 10000"/>
              <a:gd name="connsiteX230" fmla="*/ 7408 w 10000"/>
              <a:gd name="connsiteY230" fmla="*/ 387 h 10000"/>
              <a:gd name="connsiteX231" fmla="*/ 7510 w 10000"/>
              <a:gd name="connsiteY231" fmla="*/ 434 h 10000"/>
              <a:gd name="connsiteX232" fmla="*/ 7444 w 10000"/>
              <a:gd name="connsiteY232" fmla="*/ 475 h 10000"/>
              <a:gd name="connsiteX233" fmla="*/ 7346 w 10000"/>
              <a:gd name="connsiteY233" fmla="*/ 485 h 10000"/>
              <a:gd name="connsiteX234" fmla="*/ 6531 w 10000"/>
              <a:gd name="connsiteY234" fmla="*/ 387 h 10000"/>
              <a:gd name="connsiteX235" fmla="*/ 6433 w 10000"/>
              <a:gd name="connsiteY235" fmla="*/ 395 h 10000"/>
              <a:gd name="connsiteX236" fmla="*/ 6376 w 10000"/>
              <a:gd name="connsiteY236" fmla="*/ 414 h 10000"/>
              <a:gd name="connsiteX237" fmla="*/ 6318 w 10000"/>
              <a:gd name="connsiteY237" fmla="*/ 462 h 10000"/>
              <a:gd name="connsiteX238" fmla="*/ 6328 w 10000"/>
              <a:gd name="connsiteY238" fmla="*/ 581 h 10000"/>
              <a:gd name="connsiteX239" fmla="*/ 6238 w 10000"/>
              <a:gd name="connsiteY239" fmla="*/ 735 h 10000"/>
              <a:gd name="connsiteX240" fmla="*/ 6128 w 10000"/>
              <a:gd name="connsiteY240" fmla="*/ 815 h 10000"/>
              <a:gd name="connsiteX241" fmla="*/ 6084 w 10000"/>
              <a:gd name="connsiteY241" fmla="*/ 805 h 10000"/>
              <a:gd name="connsiteX242" fmla="*/ 5982 w 10000"/>
              <a:gd name="connsiteY242" fmla="*/ 739 h 10000"/>
              <a:gd name="connsiteX243" fmla="*/ 5853 w 10000"/>
              <a:gd name="connsiteY243" fmla="*/ 705 h 10000"/>
              <a:gd name="connsiteX244" fmla="*/ 5715 w 10000"/>
              <a:gd name="connsiteY244" fmla="*/ 715 h 10000"/>
              <a:gd name="connsiteX245" fmla="*/ 5393 w 10000"/>
              <a:gd name="connsiteY245" fmla="*/ 866 h 10000"/>
              <a:gd name="connsiteX246" fmla="*/ 5308 w 10000"/>
              <a:gd name="connsiteY246" fmla="*/ 1017 h 10000"/>
              <a:gd name="connsiteX247" fmla="*/ 5065 w 10000"/>
              <a:gd name="connsiteY247" fmla="*/ 1153 h 10000"/>
              <a:gd name="connsiteX248" fmla="*/ 5020 w 10000"/>
              <a:gd name="connsiteY248" fmla="*/ 1222 h 10000"/>
              <a:gd name="connsiteX249" fmla="*/ 5148 w 10000"/>
              <a:gd name="connsiteY249" fmla="*/ 1344 h 10000"/>
              <a:gd name="connsiteX250" fmla="*/ 5162 w 10000"/>
              <a:gd name="connsiteY250" fmla="*/ 1412 h 10000"/>
              <a:gd name="connsiteX251" fmla="*/ 4497 w 10000"/>
              <a:gd name="connsiteY251" fmla="*/ 1813 h 10000"/>
              <a:gd name="connsiteX252" fmla="*/ 4293 w 10000"/>
              <a:gd name="connsiteY252" fmla="*/ 2070 h 10000"/>
              <a:gd name="connsiteX253" fmla="*/ 4073 w 10000"/>
              <a:gd name="connsiteY253" fmla="*/ 2135 h 10000"/>
              <a:gd name="connsiteX254" fmla="*/ 3934 w 10000"/>
              <a:gd name="connsiteY254" fmla="*/ 2131 h 10000"/>
              <a:gd name="connsiteX255" fmla="*/ 3851 w 10000"/>
              <a:gd name="connsiteY255" fmla="*/ 2153 h 10000"/>
              <a:gd name="connsiteX256" fmla="*/ 3620 w 10000"/>
              <a:gd name="connsiteY256" fmla="*/ 2793 h 10000"/>
              <a:gd name="connsiteX257" fmla="*/ 3089 w 10000"/>
              <a:gd name="connsiteY257" fmla="*/ 3166 h 10000"/>
              <a:gd name="connsiteX258" fmla="*/ 3093 w 10000"/>
              <a:gd name="connsiteY258" fmla="*/ 3225 h 10000"/>
              <a:gd name="connsiteX259" fmla="*/ 3328 w 10000"/>
              <a:gd name="connsiteY259" fmla="*/ 3392 h 10000"/>
              <a:gd name="connsiteX260" fmla="*/ 3253 w 10000"/>
              <a:gd name="connsiteY260" fmla="*/ 3573 h 10000"/>
              <a:gd name="connsiteX261" fmla="*/ 3115 w 10000"/>
              <a:gd name="connsiteY261" fmla="*/ 3640 h 10000"/>
              <a:gd name="connsiteX262" fmla="*/ 2703 w 10000"/>
              <a:gd name="connsiteY262" fmla="*/ 3595 h 10000"/>
              <a:gd name="connsiteX263" fmla="*/ 2418 w 10000"/>
              <a:gd name="connsiteY263" fmla="*/ 3620 h 10000"/>
              <a:gd name="connsiteX264" fmla="*/ 2189 w 10000"/>
              <a:gd name="connsiteY264" fmla="*/ 3673 h 10000"/>
              <a:gd name="connsiteX265" fmla="*/ 1821 w 10000"/>
              <a:gd name="connsiteY265" fmla="*/ 3840 h 10000"/>
              <a:gd name="connsiteX266" fmla="*/ 1625 w 10000"/>
              <a:gd name="connsiteY266" fmla="*/ 4042 h 10000"/>
              <a:gd name="connsiteX267" fmla="*/ 1643 w 10000"/>
              <a:gd name="connsiteY267" fmla="*/ 4154 h 10000"/>
              <a:gd name="connsiteX268" fmla="*/ 1711 w 10000"/>
              <a:gd name="connsiteY268" fmla="*/ 4241 h 10000"/>
              <a:gd name="connsiteX269" fmla="*/ 1763 w 10000"/>
              <a:gd name="connsiteY269" fmla="*/ 4276 h 10000"/>
              <a:gd name="connsiteX270" fmla="*/ 1666 w 10000"/>
              <a:gd name="connsiteY270" fmla="*/ 4331 h 10000"/>
              <a:gd name="connsiteX271" fmla="*/ 1458 w 10000"/>
              <a:gd name="connsiteY271" fmla="*/ 4710 h 10000"/>
              <a:gd name="connsiteX272" fmla="*/ 1498 w 10000"/>
              <a:gd name="connsiteY272" fmla="*/ 4732 h 10000"/>
              <a:gd name="connsiteX273" fmla="*/ 1529 w 10000"/>
              <a:gd name="connsiteY273" fmla="*/ 4828 h 10000"/>
              <a:gd name="connsiteX274" fmla="*/ 1431 w 10000"/>
              <a:gd name="connsiteY274" fmla="*/ 5227 h 10000"/>
              <a:gd name="connsiteX275" fmla="*/ 1529 w 10000"/>
              <a:gd name="connsiteY275" fmla="*/ 5329 h 10000"/>
              <a:gd name="connsiteX276" fmla="*/ 1794 w 10000"/>
              <a:gd name="connsiteY276" fmla="*/ 5441 h 10000"/>
              <a:gd name="connsiteX277" fmla="*/ 1807 w 10000"/>
              <a:gd name="connsiteY277" fmla="*/ 5578 h 10000"/>
              <a:gd name="connsiteX278" fmla="*/ 1694 w 10000"/>
              <a:gd name="connsiteY278" fmla="*/ 5690 h 10000"/>
              <a:gd name="connsiteX279" fmla="*/ 1529 w 10000"/>
              <a:gd name="connsiteY279" fmla="*/ 5759 h 10000"/>
              <a:gd name="connsiteX280" fmla="*/ 1311 w 10000"/>
              <a:gd name="connsiteY280" fmla="*/ 5787 h 10000"/>
              <a:gd name="connsiteX281" fmla="*/ 1254 w 10000"/>
              <a:gd name="connsiteY281" fmla="*/ 5826 h 10000"/>
              <a:gd name="connsiteX282" fmla="*/ 1382 w 10000"/>
              <a:gd name="connsiteY282" fmla="*/ 5920 h 10000"/>
              <a:gd name="connsiteX283" fmla="*/ 1454 w 10000"/>
              <a:gd name="connsiteY283" fmla="*/ 6142 h 10000"/>
              <a:gd name="connsiteX284" fmla="*/ 1289 w 10000"/>
              <a:gd name="connsiteY284" fmla="*/ 6333 h 10000"/>
              <a:gd name="connsiteX285" fmla="*/ 1347 w 10000"/>
              <a:gd name="connsiteY285" fmla="*/ 6392 h 10000"/>
              <a:gd name="connsiteX286" fmla="*/ 1294 w 10000"/>
              <a:gd name="connsiteY286" fmla="*/ 6492 h 10000"/>
              <a:gd name="connsiteX287" fmla="*/ 1188 w 10000"/>
              <a:gd name="connsiteY287" fmla="*/ 6561 h 10000"/>
              <a:gd name="connsiteX288" fmla="*/ 771 w 10000"/>
              <a:gd name="connsiteY288" fmla="*/ 6614 h 10000"/>
              <a:gd name="connsiteX289" fmla="*/ 745 w 10000"/>
              <a:gd name="connsiteY289" fmla="*/ 6706 h 10000"/>
              <a:gd name="connsiteX290" fmla="*/ 519 w 10000"/>
              <a:gd name="connsiteY290" fmla="*/ 6843 h 10000"/>
              <a:gd name="connsiteX291" fmla="*/ 549 w 10000"/>
              <a:gd name="connsiteY291" fmla="*/ 7040 h 10000"/>
              <a:gd name="connsiteX292" fmla="*/ 359 w 10000"/>
              <a:gd name="connsiteY292" fmla="*/ 7293 h 10000"/>
              <a:gd name="connsiteX293" fmla="*/ 230 w 10000"/>
              <a:gd name="connsiteY293" fmla="*/ 7323 h 10000"/>
              <a:gd name="connsiteX294" fmla="*/ 177 w 10000"/>
              <a:gd name="connsiteY294" fmla="*/ 7262 h 10000"/>
              <a:gd name="connsiteX295" fmla="*/ 111 w 10000"/>
              <a:gd name="connsiteY295" fmla="*/ 7354 h 10000"/>
              <a:gd name="connsiteX296" fmla="*/ 155 w 10000"/>
              <a:gd name="connsiteY296" fmla="*/ 7197 h 10000"/>
              <a:gd name="connsiteX297" fmla="*/ 128 w 10000"/>
              <a:gd name="connsiteY297"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10000 w 10000"/>
              <a:gd name="connsiteY207" fmla="*/ 1699 h 10000"/>
              <a:gd name="connsiteX208" fmla="*/ 9722 w 10000"/>
              <a:gd name="connsiteY208" fmla="*/ 1465 h 10000"/>
              <a:gd name="connsiteX209" fmla="*/ 9676 w 10000"/>
              <a:gd name="connsiteY209" fmla="*/ 1379 h 10000"/>
              <a:gd name="connsiteX210" fmla="*/ 9739 w 10000"/>
              <a:gd name="connsiteY210" fmla="*/ 1271 h 10000"/>
              <a:gd name="connsiteX211" fmla="*/ 9709 w 10000"/>
              <a:gd name="connsiteY211" fmla="*/ 1194 h 10000"/>
              <a:gd name="connsiteX212" fmla="*/ 9650 w 10000"/>
              <a:gd name="connsiteY212" fmla="*/ 1159 h 10000"/>
              <a:gd name="connsiteX213" fmla="*/ 9601 w 10000"/>
              <a:gd name="connsiteY213" fmla="*/ 978 h 10000"/>
              <a:gd name="connsiteX214" fmla="*/ 9659 w 10000"/>
              <a:gd name="connsiteY214" fmla="*/ 831 h 10000"/>
              <a:gd name="connsiteX215" fmla="*/ 9234 w 10000"/>
              <a:gd name="connsiteY215" fmla="*/ 517 h 10000"/>
              <a:gd name="connsiteX216" fmla="*/ 9025 w 10000"/>
              <a:gd name="connsiteY216" fmla="*/ 440 h 10000"/>
              <a:gd name="connsiteX217" fmla="*/ 8639 w 10000"/>
              <a:gd name="connsiteY217" fmla="*/ 389 h 10000"/>
              <a:gd name="connsiteX218" fmla="*/ 7842 w 10000"/>
              <a:gd name="connsiteY218" fmla="*/ 26 h 10000"/>
              <a:gd name="connsiteX219" fmla="*/ 7816 w 10000"/>
              <a:gd name="connsiteY219" fmla="*/ 2 h 10000"/>
              <a:gd name="connsiteX220" fmla="*/ 7545 w 10000"/>
              <a:gd name="connsiteY220" fmla="*/ 0 h 10000"/>
              <a:gd name="connsiteX221" fmla="*/ 7483 w 10000"/>
              <a:gd name="connsiteY221" fmla="*/ 14 h 10000"/>
              <a:gd name="connsiteX222" fmla="*/ 7497 w 10000"/>
              <a:gd name="connsiteY222" fmla="*/ 61 h 10000"/>
              <a:gd name="connsiteX223" fmla="*/ 7550 w 10000"/>
              <a:gd name="connsiteY223" fmla="*/ 86 h 10000"/>
              <a:gd name="connsiteX224" fmla="*/ 7564 w 10000"/>
              <a:gd name="connsiteY224" fmla="*/ 139 h 10000"/>
              <a:gd name="connsiteX225" fmla="*/ 7545 w 10000"/>
              <a:gd name="connsiteY225" fmla="*/ 181 h 10000"/>
              <a:gd name="connsiteX226" fmla="*/ 7497 w 10000"/>
              <a:gd name="connsiteY226" fmla="*/ 208 h 10000"/>
              <a:gd name="connsiteX227" fmla="*/ 7461 w 10000"/>
              <a:gd name="connsiteY227" fmla="*/ 283 h 10000"/>
              <a:gd name="connsiteX228" fmla="*/ 7395 w 10000"/>
              <a:gd name="connsiteY228" fmla="*/ 336 h 10000"/>
              <a:gd name="connsiteX229" fmla="*/ 7408 w 10000"/>
              <a:gd name="connsiteY229" fmla="*/ 387 h 10000"/>
              <a:gd name="connsiteX230" fmla="*/ 7510 w 10000"/>
              <a:gd name="connsiteY230" fmla="*/ 434 h 10000"/>
              <a:gd name="connsiteX231" fmla="*/ 7444 w 10000"/>
              <a:gd name="connsiteY231" fmla="*/ 475 h 10000"/>
              <a:gd name="connsiteX232" fmla="*/ 7346 w 10000"/>
              <a:gd name="connsiteY232" fmla="*/ 485 h 10000"/>
              <a:gd name="connsiteX233" fmla="*/ 6531 w 10000"/>
              <a:gd name="connsiteY233" fmla="*/ 387 h 10000"/>
              <a:gd name="connsiteX234" fmla="*/ 6433 w 10000"/>
              <a:gd name="connsiteY234" fmla="*/ 395 h 10000"/>
              <a:gd name="connsiteX235" fmla="*/ 6376 w 10000"/>
              <a:gd name="connsiteY235" fmla="*/ 414 h 10000"/>
              <a:gd name="connsiteX236" fmla="*/ 6318 w 10000"/>
              <a:gd name="connsiteY236" fmla="*/ 462 h 10000"/>
              <a:gd name="connsiteX237" fmla="*/ 6328 w 10000"/>
              <a:gd name="connsiteY237" fmla="*/ 581 h 10000"/>
              <a:gd name="connsiteX238" fmla="*/ 6238 w 10000"/>
              <a:gd name="connsiteY238" fmla="*/ 735 h 10000"/>
              <a:gd name="connsiteX239" fmla="*/ 6128 w 10000"/>
              <a:gd name="connsiteY239" fmla="*/ 815 h 10000"/>
              <a:gd name="connsiteX240" fmla="*/ 6084 w 10000"/>
              <a:gd name="connsiteY240" fmla="*/ 805 h 10000"/>
              <a:gd name="connsiteX241" fmla="*/ 5982 w 10000"/>
              <a:gd name="connsiteY241" fmla="*/ 739 h 10000"/>
              <a:gd name="connsiteX242" fmla="*/ 5853 w 10000"/>
              <a:gd name="connsiteY242" fmla="*/ 705 h 10000"/>
              <a:gd name="connsiteX243" fmla="*/ 5715 w 10000"/>
              <a:gd name="connsiteY243" fmla="*/ 715 h 10000"/>
              <a:gd name="connsiteX244" fmla="*/ 5393 w 10000"/>
              <a:gd name="connsiteY244" fmla="*/ 866 h 10000"/>
              <a:gd name="connsiteX245" fmla="*/ 5308 w 10000"/>
              <a:gd name="connsiteY245" fmla="*/ 1017 h 10000"/>
              <a:gd name="connsiteX246" fmla="*/ 5065 w 10000"/>
              <a:gd name="connsiteY246" fmla="*/ 1153 h 10000"/>
              <a:gd name="connsiteX247" fmla="*/ 5020 w 10000"/>
              <a:gd name="connsiteY247" fmla="*/ 1222 h 10000"/>
              <a:gd name="connsiteX248" fmla="*/ 5148 w 10000"/>
              <a:gd name="connsiteY248" fmla="*/ 1344 h 10000"/>
              <a:gd name="connsiteX249" fmla="*/ 5162 w 10000"/>
              <a:gd name="connsiteY249" fmla="*/ 1412 h 10000"/>
              <a:gd name="connsiteX250" fmla="*/ 4497 w 10000"/>
              <a:gd name="connsiteY250" fmla="*/ 1813 h 10000"/>
              <a:gd name="connsiteX251" fmla="*/ 4293 w 10000"/>
              <a:gd name="connsiteY251" fmla="*/ 2070 h 10000"/>
              <a:gd name="connsiteX252" fmla="*/ 4073 w 10000"/>
              <a:gd name="connsiteY252" fmla="*/ 2135 h 10000"/>
              <a:gd name="connsiteX253" fmla="*/ 3934 w 10000"/>
              <a:gd name="connsiteY253" fmla="*/ 2131 h 10000"/>
              <a:gd name="connsiteX254" fmla="*/ 3851 w 10000"/>
              <a:gd name="connsiteY254" fmla="*/ 2153 h 10000"/>
              <a:gd name="connsiteX255" fmla="*/ 3620 w 10000"/>
              <a:gd name="connsiteY255" fmla="*/ 2793 h 10000"/>
              <a:gd name="connsiteX256" fmla="*/ 3089 w 10000"/>
              <a:gd name="connsiteY256" fmla="*/ 3166 h 10000"/>
              <a:gd name="connsiteX257" fmla="*/ 3093 w 10000"/>
              <a:gd name="connsiteY257" fmla="*/ 3225 h 10000"/>
              <a:gd name="connsiteX258" fmla="*/ 3328 w 10000"/>
              <a:gd name="connsiteY258" fmla="*/ 3392 h 10000"/>
              <a:gd name="connsiteX259" fmla="*/ 3253 w 10000"/>
              <a:gd name="connsiteY259" fmla="*/ 3573 h 10000"/>
              <a:gd name="connsiteX260" fmla="*/ 3115 w 10000"/>
              <a:gd name="connsiteY260" fmla="*/ 3640 h 10000"/>
              <a:gd name="connsiteX261" fmla="*/ 2703 w 10000"/>
              <a:gd name="connsiteY261" fmla="*/ 3595 h 10000"/>
              <a:gd name="connsiteX262" fmla="*/ 2418 w 10000"/>
              <a:gd name="connsiteY262" fmla="*/ 3620 h 10000"/>
              <a:gd name="connsiteX263" fmla="*/ 2189 w 10000"/>
              <a:gd name="connsiteY263" fmla="*/ 3673 h 10000"/>
              <a:gd name="connsiteX264" fmla="*/ 1821 w 10000"/>
              <a:gd name="connsiteY264" fmla="*/ 3840 h 10000"/>
              <a:gd name="connsiteX265" fmla="*/ 1625 w 10000"/>
              <a:gd name="connsiteY265" fmla="*/ 4042 h 10000"/>
              <a:gd name="connsiteX266" fmla="*/ 1643 w 10000"/>
              <a:gd name="connsiteY266" fmla="*/ 4154 h 10000"/>
              <a:gd name="connsiteX267" fmla="*/ 1711 w 10000"/>
              <a:gd name="connsiteY267" fmla="*/ 4241 h 10000"/>
              <a:gd name="connsiteX268" fmla="*/ 1763 w 10000"/>
              <a:gd name="connsiteY268" fmla="*/ 4276 h 10000"/>
              <a:gd name="connsiteX269" fmla="*/ 1666 w 10000"/>
              <a:gd name="connsiteY269" fmla="*/ 4331 h 10000"/>
              <a:gd name="connsiteX270" fmla="*/ 1458 w 10000"/>
              <a:gd name="connsiteY270" fmla="*/ 4710 h 10000"/>
              <a:gd name="connsiteX271" fmla="*/ 1498 w 10000"/>
              <a:gd name="connsiteY271" fmla="*/ 4732 h 10000"/>
              <a:gd name="connsiteX272" fmla="*/ 1529 w 10000"/>
              <a:gd name="connsiteY272" fmla="*/ 4828 h 10000"/>
              <a:gd name="connsiteX273" fmla="*/ 1431 w 10000"/>
              <a:gd name="connsiteY273" fmla="*/ 5227 h 10000"/>
              <a:gd name="connsiteX274" fmla="*/ 1529 w 10000"/>
              <a:gd name="connsiteY274" fmla="*/ 5329 h 10000"/>
              <a:gd name="connsiteX275" fmla="*/ 1794 w 10000"/>
              <a:gd name="connsiteY275" fmla="*/ 5441 h 10000"/>
              <a:gd name="connsiteX276" fmla="*/ 1807 w 10000"/>
              <a:gd name="connsiteY276" fmla="*/ 5578 h 10000"/>
              <a:gd name="connsiteX277" fmla="*/ 1694 w 10000"/>
              <a:gd name="connsiteY277" fmla="*/ 5690 h 10000"/>
              <a:gd name="connsiteX278" fmla="*/ 1529 w 10000"/>
              <a:gd name="connsiteY278" fmla="*/ 5759 h 10000"/>
              <a:gd name="connsiteX279" fmla="*/ 1311 w 10000"/>
              <a:gd name="connsiteY279" fmla="*/ 5787 h 10000"/>
              <a:gd name="connsiteX280" fmla="*/ 1254 w 10000"/>
              <a:gd name="connsiteY280" fmla="*/ 5826 h 10000"/>
              <a:gd name="connsiteX281" fmla="*/ 1382 w 10000"/>
              <a:gd name="connsiteY281" fmla="*/ 5920 h 10000"/>
              <a:gd name="connsiteX282" fmla="*/ 1454 w 10000"/>
              <a:gd name="connsiteY282" fmla="*/ 6142 h 10000"/>
              <a:gd name="connsiteX283" fmla="*/ 1289 w 10000"/>
              <a:gd name="connsiteY283" fmla="*/ 6333 h 10000"/>
              <a:gd name="connsiteX284" fmla="*/ 1347 w 10000"/>
              <a:gd name="connsiteY284" fmla="*/ 6392 h 10000"/>
              <a:gd name="connsiteX285" fmla="*/ 1294 w 10000"/>
              <a:gd name="connsiteY285" fmla="*/ 6492 h 10000"/>
              <a:gd name="connsiteX286" fmla="*/ 1188 w 10000"/>
              <a:gd name="connsiteY286" fmla="*/ 6561 h 10000"/>
              <a:gd name="connsiteX287" fmla="*/ 771 w 10000"/>
              <a:gd name="connsiteY287" fmla="*/ 6614 h 10000"/>
              <a:gd name="connsiteX288" fmla="*/ 745 w 10000"/>
              <a:gd name="connsiteY288" fmla="*/ 6706 h 10000"/>
              <a:gd name="connsiteX289" fmla="*/ 519 w 10000"/>
              <a:gd name="connsiteY289" fmla="*/ 6843 h 10000"/>
              <a:gd name="connsiteX290" fmla="*/ 549 w 10000"/>
              <a:gd name="connsiteY290" fmla="*/ 7040 h 10000"/>
              <a:gd name="connsiteX291" fmla="*/ 359 w 10000"/>
              <a:gd name="connsiteY291" fmla="*/ 7293 h 10000"/>
              <a:gd name="connsiteX292" fmla="*/ 230 w 10000"/>
              <a:gd name="connsiteY292" fmla="*/ 7323 h 10000"/>
              <a:gd name="connsiteX293" fmla="*/ 177 w 10000"/>
              <a:gd name="connsiteY293" fmla="*/ 7262 h 10000"/>
              <a:gd name="connsiteX294" fmla="*/ 111 w 10000"/>
              <a:gd name="connsiteY294" fmla="*/ 7354 h 10000"/>
              <a:gd name="connsiteX295" fmla="*/ 155 w 10000"/>
              <a:gd name="connsiteY295" fmla="*/ 7197 h 10000"/>
              <a:gd name="connsiteX296" fmla="*/ 128 w 10000"/>
              <a:gd name="connsiteY296" fmla="*/ 7166 h 10000"/>
              <a:gd name="connsiteX0" fmla="*/ 128 w 9739"/>
              <a:gd name="connsiteY0" fmla="*/ 7166 h 10000"/>
              <a:gd name="connsiteX1" fmla="*/ 0 w 9739"/>
              <a:gd name="connsiteY1" fmla="*/ 7248 h 10000"/>
              <a:gd name="connsiteX2" fmla="*/ 0 w 9739"/>
              <a:gd name="connsiteY2" fmla="*/ 7651 h 10000"/>
              <a:gd name="connsiteX3" fmla="*/ 71 w 9739"/>
              <a:gd name="connsiteY3" fmla="*/ 7663 h 10000"/>
              <a:gd name="connsiteX4" fmla="*/ 88 w 9739"/>
              <a:gd name="connsiteY4" fmla="*/ 7694 h 10000"/>
              <a:gd name="connsiteX5" fmla="*/ 84 w 9739"/>
              <a:gd name="connsiteY5" fmla="*/ 7749 h 10000"/>
              <a:gd name="connsiteX6" fmla="*/ 57 w 9739"/>
              <a:gd name="connsiteY6" fmla="*/ 7773 h 10000"/>
              <a:gd name="connsiteX7" fmla="*/ 164 w 9739"/>
              <a:gd name="connsiteY7" fmla="*/ 7727 h 10000"/>
              <a:gd name="connsiteX8" fmla="*/ 209 w 9739"/>
              <a:gd name="connsiteY8" fmla="*/ 7680 h 10000"/>
              <a:gd name="connsiteX9" fmla="*/ 265 w 9739"/>
              <a:gd name="connsiteY9" fmla="*/ 7712 h 10000"/>
              <a:gd name="connsiteX10" fmla="*/ 204 w 9739"/>
              <a:gd name="connsiteY10" fmla="*/ 7778 h 10000"/>
              <a:gd name="connsiteX11" fmla="*/ 270 w 9739"/>
              <a:gd name="connsiteY11" fmla="*/ 7780 h 10000"/>
              <a:gd name="connsiteX12" fmla="*/ 301 w 9739"/>
              <a:gd name="connsiteY12" fmla="*/ 7796 h 10000"/>
              <a:gd name="connsiteX13" fmla="*/ 217 w 9739"/>
              <a:gd name="connsiteY13" fmla="*/ 7818 h 10000"/>
              <a:gd name="connsiteX14" fmla="*/ 84 w 9739"/>
              <a:gd name="connsiteY14" fmla="*/ 7886 h 10000"/>
              <a:gd name="connsiteX15" fmla="*/ 320 w 9739"/>
              <a:gd name="connsiteY15" fmla="*/ 7938 h 10000"/>
              <a:gd name="connsiteX16" fmla="*/ 350 w 9739"/>
              <a:gd name="connsiteY16" fmla="*/ 8014 h 10000"/>
              <a:gd name="connsiteX17" fmla="*/ 270 w 9739"/>
              <a:gd name="connsiteY17" fmla="*/ 8126 h 10000"/>
              <a:gd name="connsiteX18" fmla="*/ 444 w 9739"/>
              <a:gd name="connsiteY18" fmla="*/ 8118 h 10000"/>
              <a:gd name="connsiteX19" fmla="*/ 457 w 9739"/>
              <a:gd name="connsiteY19" fmla="*/ 8203 h 10000"/>
              <a:gd name="connsiteX20" fmla="*/ 341 w 9739"/>
              <a:gd name="connsiteY20" fmla="*/ 8260 h 10000"/>
              <a:gd name="connsiteX21" fmla="*/ 359 w 9739"/>
              <a:gd name="connsiteY21" fmla="*/ 8370 h 10000"/>
              <a:gd name="connsiteX22" fmla="*/ 315 w 9739"/>
              <a:gd name="connsiteY22" fmla="*/ 8456 h 10000"/>
              <a:gd name="connsiteX23" fmla="*/ 452 w 9739"/>
              <a:gd name="connsiteY23" fmla="*/ 8464 h 10000"/>
              <a:gd name="connsiteX24" fmla="*/ 585 w 9739"/>
              <a:gd name="connsiteY24" fmla="*/ 8792 h 10000"/>
              <a:gd name="connsiteX25" fmla="*/ 740 w 9739"/>
              <a:gd name="connsiteY25" fmla="*/ 8876 h 10000"/>
              <a:gd name="connsiteX26" fmla="*/ 806 w 9739"/>
              <a:gd name="connsiteY26" fmla="*/ 8965 h 10000"/>
              <a:gd name="connsiteX27" fmla="*/ 975 w 9739"/>
              <a:gd name="connsiteY27" fmla="*/ 9030 h 10000"/>
              <a:gd name="connsiteX28" fmla="*/ 1082 w 9739"/>
              <a:gd name="connsiteY28" fmla="*/ 9112 h 10000"/>
              <a:gd name="connsiteX29" fmla="*/ 1068 w 9739"/>
              <a:gd name="connsiteY29" fmla="*/ 9171 h 10000"/>
              <a:gd name="connsiteX30" fmla="*/ 962 w 9739"/>
              <a:gd name="connsiteY30" fmla="*/ 9193 h 10000"/>
              <a:gd name="connsiteX31" fmla="*/ 846 w 9739"/>
              <a:gd name="connsiteY31" fmla="*/ 9179 h 10000"/>
              <a:gd name="connsiteX32" fmla="*/ 810 w 9739"/>
              <a:gd name="connsiteY32" fmla="*/ 9204 h 10000"/>
              <a:gd name="connsiteX33" fmla="*/ 899 w 9739"/>
              <a:gd name="connsiteY33" fmla="*/ 9332 h 10000"/>
              <a:gd name="connsiteX34" fmla="*/ 775 w 9739"/>
              <a:gd name="connsiteY34" fmla="*/ 9322 h 10000"/>
              <a:gd name="connsiteX35" fmla="*/ 669 w 9739"/>
              <a:gd name="connsiteY35" fmla="*/ 9291 h 10000"/>
              <a:gd name="connsiteX36" fmla="*/ 651 w 9739"/>
              <a:gd name="connsiteY36" fmla="*/ 9338 h 10000"/>
              <a:gd name="connsiteX37" fmla="*/ 1001 w 9739"/>
              <a:gd name="connsiteY37" fmla="*/ 9776 h 10000"/>
              <a:gd name="connsiteX38" fmla="*/ 945 w 9739"/>
              <a:gd name="connsiteY38" fmla="*/ 9817 h 10000"/>
              <a:gd name="connsiteX39" fmla="*/ 905 w 9739"/>
              <a:gd name="connsiteY39" fmla="*/ 9902 h 10000"/>
              <a:gd name="connsiteX40" fmla="*/ 855 w 9739"/>
              <a:gd name="connsiteY40" fmla="*/ 9908 h 10000"/>
              <a:gd name="connsiteX41" fmla="*/ 824 w 9739"/>
              <a:gd name="connsiteY41" fmla="*/ 9945 h 10000"/>
              <a:gd name="connsiteX42" fmla="*/ 1036 w 9739"/>
              <a:gd name="connsiteY42" fmla="*/ 9949 h 10000"/>
              <a:gd name="connsiteX43" fmla="*/ 1223 w 9739"/>
              <a:gd name="connsiteY43" fmla="*/ 9986 h 10000"/>
              <a:gd name="connsiteX44" fmla="*/ 1533 w 9739"/>
              <a:gd name="connsiteY44" fmla="*/ 9947 h 10000"/>
              <a:gd name="connsiteX45" fmla="*/ 1811 w 9739"/>
              <a:gd name="connsiteY45" fmla="*/ 9953 h 10000"/>
              <a:gd name="connsiteX46" fmla="*/ 1977 w 9739"/>
              <a:gd name="connsiteY46" fmla="*/ 10000 h 10000"/>
              <a:gd name="connsiteX47" fmla="*/ 2066 w 9739"/>
              <a:gd name="connsiteY47" fmla="*/ 9969 h 10000"/>
              <a:gd name="connsiteX48" fmla="*/ 2153 w 9739"/>
              <a:gd name="connsiteY48" fmla="*/ 9868 h 10000"/>
              <a:gd name="connsiteX49" fmla="*/ 2131 w 9739"/>
              <a:gd name="connsiteY49" fmla="*/ 9703 h 10000"/>
              <a:gd name="connsiteX50" fmla="*/ 2344 w 9739"/>
              <a:gd name="connsiteY50" fmla="*/ 9517 h 10000"/>
              <a:gd name="connsiteX51" fmla="*/ 2499 w 9739"/>
              <a:gd name="connsiteY51" fmla="*/ 9546 h 10000"/>
              <a:gd name="connsiteX52" fmla="*/ 2588 w 9739"/>
              <a:gd name="connsiteY52" fmla="*/ 9472 h 10000"/>
              <a:gd name="connsiteX53" fmla="*/ 2760 w 9739"/>
              <a:gd name="connsiteY53" fmla="*/ 9430 h 10000"/>
              <a:gd name="connsiteX54" fmla="*/ 2995 w 9739"/>
              <a:gd name="connsiteY54" fmla="*/ 9440 h 10000"/>
              <a:gd name="connsiteX55" fmla="*/ 3137 w 9739"/>
              <a:gd name="connsiteY55" fmla="*/ 9470 h 10000"/>
              <a:gd name="connsiteX56" fmla="*/ 3324 w 9739"/>
              <a:gd name="connsiteY56" fmla="*/ 9456 h 10000"/>
              <a:gd name="connsiteX57" fmla="*/ 3514 w 9739"/>
              <a:gd name="connsiteY57" fmla="*/ 9489 h 10000"/>
              <a:gd name="connsiteX58" fmla="*/ 3704 w 9739"/>
              <a:gd name="connsiteY58" fmla="*/ 9493 h 10000"/>
              <a:gd name="connsiteX59" fmla="*/ 4129 w 9739"/>
              <a:gd name="connsiteY59" fmla="*/ 9061 h 10000"/>
              <a:gd name="connsiteX60" fmla="*/ 4236 w 9739"/>
              <a:gd name="connsiteY60" fmla="*/ 8711 h 10000"/>
              <a:gd name="connsiteX61" fmla="*/ 4409 w 9739"/>
              <a:gd name="connsiteY61" fmla="*/ 8554 h 10000"/>
              <a:gd name="connsiteX62" fmla="*/ 4409 w 9739"/>
              <a:gd name="connsiteY62" fmla="*/ 8472 h 10000"/>
              <a:gd name="connsiteX63" fmla="*/ 4347 w 9739"/>
              <a:gd name="connsiteY63" fmla="*/ 8425 h 10000"/>
              <a:gd name="connsiteX64" fmla="*/ 4449 w 9739"/>
              <a:gd name="connsiteY64" fmla="*/ 8352 h 10000"/>
              <a:gd name="connsiteX65" fmla="*/ 4430 w 9739"/>
              <a:gd name="connsiteY65" fmla="*/ 8289 h 10000"/>
              <a:gd name="connsiteX66" fmla="*/ 4360 w 9739"/>
              <a:gd name="connsiteY66" fmla="*/ 8236 h 10000"/>
              <a:gd name="connsiteX67" fmla="*/ 4347 w 9739"/>
              <a:gd name="connsiteY67" fmla="*/ 8199 h 10000"/>
              <a:gd name="connsiteX68" fmla="*/ 4364 w 9739"/>
              <a:gd name="connsiteY68" fmla="*/ 8169 h 10000"/>
              <a:gd name="connsiteX69" fmla="*/ 4458 w 9739"/>
              <a:gd name="connsiteY69" fmla="*/ 8193 h 10000"/>
              <a:gd name="connsiteX70" fmla="*/ 4533 w 9739"/>
              <a:gd name="connsiteY70" fmla="*/ 8191 h 10000"/>
              <a:gd name="connsiteX71" fmla="*/ 4492 w 9739"/>
              <a:gd name="connsiteY71" fmla="*/ 8140 h 10000"/>
              <a:gd name="connsiteX72" fmla="*/ 4505 w 9739"/>
              <a:gd name="connsiteY72" fmla="*/ 8112 h 10000"/>
              <a:gd name="connsiteX73" fmla="*/ 4559 w 9739"/>
              <a:gd name="connsiteY73" fmla="*/ 8069 h 10000"/>
              <a:gd name="connsiteX74" fmla="*/ 4550 w 9739"/>
              <a:gd name="connsiteY74" fmla="*/ 8034 h 10000"/>
              <a:gd name="connsiteX75" fmla="*/ 4600 w 9739"/>
              <a:gd name="connsiteY75" fmla="*/ 7916 h 10000"/>
              <a:gd name="connsiteX76" fmla="*/ 4587 w 9739"/>
              <a:gd name="connsiteY76" fmla="*/ 7881 h 10000"/>
              <a:gd name="connsiteX77" fmla="*/ 4329 w 9739"/>
              <a:gd name="connsiteY77" fmla="*/ 7792 h 10000"/>
              <a:gd name="connsiteX78" fmla="*/ 4364 w 9739"/>
              <a:gd name="connsiteY78" fmla="*/ 7788 h 10000"/>
              <a:gd name="connsiteX79" fmla="*/ 4501 w 9739"/>
              <a:gd name="connsiteY79" fmla="*/ 7812 h 10000"/>
              <a:gd name="connsiteX80" fmla="*/ 4648 w 9739"/>
              <a:gd name="connsiteY80" fmla="*/ 7804 h 10000"/>
              <a:gd name="connsiteX81" fmla="*/ 4692 w 9739"/>
              <a:gd name="connsiteY81" fmla="*/ 7771 h 10000"/>
              <a:gd name="connsiteX82" fmla="*/ 4550 w 9739"/>
              <a:gd name="connsiteY82" fmla="*/ 7710 h 10000"/>
              <a:gd name="connsiteX83" fmla="*/ 4125 w 9739"/>
              <a:gd name="connsiteY83" fmla="*/ 7670 h 10000"/>
              <a:gd name="connsiteX84" fmla="*/ 4155 w 9739"/>
              <a:gd name="connsiteY84" fmla="*/ 7651 h 10000"/>
              <a:gd name="connsiteX85" fmla="*/ 4501 w 9739"/>
              <a:gd name="connsiteY85" fmla="*/ 7639 h 10000"/>
              <a:gd name="connsiteX86" fmla="*/ 4692 w 9739"/>
              <a:gd name="connsiteY86" fmla="*/ 7676 h 10000"/>
              <a:gd name="connsiteX87" fmla="*/ 4803 w 9739"/>
              <a:gd name="connsiteY87" fmla="*/ 7651 h 10000"/>
              <a:gd name="connsiteX88" fmla="*/ 4843 w 9739"/>
              <a:gd name="connsiteY88" fmla="*/ 7588 h 10000"/>
              <a:gd name="connsiteX89" fmla="*/ 5042 w 9739"/>
              <a:gd name="connsiteY89" fmla="*/ 7588 h 10000"/>
              <a:gd name="connsiteX90" fmla="*/ 5313 w 9739"/>
              <a:gd name="connsiteY90" fmla="*/ 7462 h 10000"/>
              <a:gd name="connsiteX91" fmla="*/ 5322 w 9739"/>
              <a:gd name="connsiteY91" fmla="*/ 7378 h 10000"/>
              <a:gd name="connsiteX92" fmla="*/ 5436 w 9739"/>
              <a:gd name="connsiteY92" fmla="*/ 7397 h 10000"/>
              <a:gd name="connsiteX93" fmla="*/ 5432 w 9739"/>
              <a:gd name="connsiteY93" fmla="*/ 7482 h 10000"/>
              <a:gd name="connsiteX94" fmla="*/ 5614 w 9739"/>
              <a:gd name="connsiteY94" fmla="*/ 7476 h 10000"/>
              <a:gd name="connsiteX95" fmla="*/ 5733 w 9739"/>
              <a:gd name="connsiteY95" fmla="*/ 7388 h 10000"/>
              <a:gd name="connsiteX96" fmla="*/ 5956 w 9739"/>
              <a:gd name="connsiteY96" fmla="*/ 7309 h 10000"/>
              <a:gd name="connsiteX97" fmla="*/ 5919 w 9739"/>
              <a:gd name="connsiteY97" fmla="*/ 7219 h 10000"/>
              <a:gd name="connsiteX98" fmla="*/ 5986 w 9739"/>
              <a:gd name="connsiteY98" fmla="*/ 7254 h 10000"/>
              <a:gd name="connsiteX99" fmla="*/ 6088 w 9739"/>
              <a:gd name="connsiteY99" fmla="*/ 7254 h 10000"/>
              <a:gd name="connsiteX100" fmla="*/ 6088 w 9739"/>
              <a:gd name="connsiteY100" fmla="*/ 7213 h 10000"/>
              <a:gd name="connsiteX101" fmla="*/ 6181 w 9739"/>
              <a:gd name="connsiteY101" fmla="*/ 7181 h 10000"/>
              <a:gd name="connsiteX102" fmla="*/ 6168 w 9739"/>
              <a:gd name="connsiteY102" fmla="*/ 7148 h 10000"/>
              <a:gd name="connsiteX103" fmla="*/ 5371 w 9739"/>
              <a:gd name="connsiteY103" fmla="*/ 7215 h 10000"/>
              <a:gd name="connsiteX104" fmla="*/ 5184 w 9739"/>
              <a:gd name="connsiteY104" fmla="*/ 7195 h 10000"/>
              <a:gd name="connsiteX105" fmla="*/ 5109 w 9739"/>
              <a:gd name="connsiteY105" fmla="*/ 7219 h 10000"/>
              <a:gd name="connsiteX106" fmla="*/ 5083 w 9739"/>
              <a:gd name="connsiteY106" fmla="*/ 7173 h 10000"/>
              <a:gd name="connsiteX107" fmla="*/ 4994 w 9739"/>
              <a:gd name="connsiteY107" fmla="*/ 7132 h 10000"/>
              <a:gd name="connsiteX108" fmla="*/ 4639 w 9739"/>
              <a:gd name="connsiteY108" fmla="*/ 7052 h 10000"/>
              <a:gd name="connsiteX109" fmla="*/ 4430 w 9739"/>
              <a:gd name="connsiteY109" fmla="*/ 7065 h 10000"/>
              <a:gd name="connsiteX110" fmla="*/ 4347 w 9739"/>
              <a:gd name="connsiteY110" fmla="*/ 7042 h 10000"/>
              <a:gd name="connsiteX111" fmla="*/ 4435 w 9739"/>
              <a:gd name="connsiteY111" fmla="*/ 7022 h 10000"/>
              <a:gd name="connsiteX112" fmla="*/ 4501 w 9739"/>
              <a:gd name="connsiteY112" fmla="*/ 6979 h 10000"/>
              <a:gd name="connsiteX113" fmla="*/ 4600 w 9739"/>
              <a:gd name="connsiteY113" fmla="*/ 6993 h 10000"/>
              <a:gd name="connsiteX114" fmla="*/ 4719 w 9739"/>
              <a:gd name="connsiteY114" fmla="*/ 6981 h 10000"/>
              <a:gd name="connsiteX115" fmla="*/ 4896 w 9739"/>
              <a:gd name="connsiteY115" fmla="*/ 6995 h 10000"/>
              <a:gd name="connsiteX116" fmla="*/ 4917 w 9739"/>
              <a:gd name="connsiteY116" fmla="*/ 6989 h 10000"/>
              <a:gd name="connsiteX117" fmla="*/ 5056 w 9739"/>
              <a:gd name="connsiteY117" fmla="*/ 7056 h 10000"/>
              <a:gd name="connsiteX118" fmla="*/ 5158 w 9739"/>
              <a:gd name="connsiteY118" fmla="*/ 7032 h 10000"/>
              <a:gd name="connsiteX119" fmla="*/ 5166 w 9739"/>
              <a:gd name="connsiteY119" fmla="*/ 7010 h 10000"/>
              <a:gd name="connsiteX120" fmla="*/ 5259 w 9739"/>
              <a:gd name="connsiteY120" fmla="*/ 7048 h 10000"/>
              <a:gd name="connsiteX121" fmla="*/ 5384 w 9739"/>
              <a:gd name="connsiteY121" fmla="*/ 7069 h 10000"/>
              <a:gd name="connsiteX122" fmla="*/ 5432 w 9739"/>
              <a:gd name="connsiteY122" fmla="*/ 7030 h 10000"/>
              <a:gd name="connsiteX123" fmla="*/ 5472 w 9739"/>
              <a:gd name="connsiteY123" fmla="*/ 7052 h 10000"/>
              <a:gd name="connsiteX124" fmla="*/ 5529 w 9739"/>
              <a:gd name="connsiteY124" fmla="*/ 7126 h 10000"/>
              <a:gd name="connsiteX125" fmla="*/ 5649 w 9739"/>
              <a:gd name="connsiteY125" fmla="*/ 7144 h 10000"/>
              <a:gd name="connsiteX126" fmla="*/ 6137 w 9739"/>
              <a:gd name="connsiteY126" fmla="*/ 7034 h 10000"/>
              <a:gd name="connsiteX127" fmla="*/ 6376 w 9739"/>
              <a:gd name="connsiteY127" fmla="*/ 6879 h 10000"/>
              <a:gd name="connsiteX128" fmla="*/ 6433 w 9739"/>
              <a:gd name="connsiteY128" fmla="*/ 6765 h 10000"/>
              <a:gd name="connsiteX129" fmla="*/ 6346 w 9739"/>
              <a:gd name="connsiteY129" fmla="*/ 6663 h 10000"/>
              <a:gd name="connsiteX130" fmla="*/ 6163 w 9739"/>
              <a:gd name="connsiteY130" fmla="*/ 6602 h 10000"/>
              <a:gd name="connsiteX131" fmla="*/ 6034 w 9739"/>
              <a:gd name="connsiteY131" fmla="*/ 6502 h 10000"/>
              <a:gd name="connsiteX132" fmla="*/ 6155 w 9739"/>
              <a:gd name="connsiteY132" fmla="*/ 6498 h 10000"/>
              <a:gd name="connsiteX133" fmla="*/ 6146 w 9739"/>
              <a:gd name="connsiteY133" fmla="*/ 6474 h 10000"/>
              <a:gd name="connsiteX134" fmla="*/ 5832 w 9739"/>
              <a:gd name="connsiteY134" fmla="*/ 6403 h 10000"/>
              <a:gd name="connsiteX135" fmla="*/ 5819 w 9739"/>
              <a:gd name="connsiteY135" fmla="*/ 6339 h 10000"/>
              <a:gd name="connsiteX136" fmla="*/ 5760 w 9739"/>
              <a:gd name="connsiteY136" fmla="*/ 6272 h 10000"/>
              <a:gd name="connsiteX137" fmla="*/ 5511 w 9739"/>
              <a:gd name="connsiteY137" fmla="*/ 6284 h 10000"/>
              <a:gd name="connsiteX138" fmla="*/ 5423 w 9739"/>
              <a:gd name="connsiteY138" fmla="*/ 6213 h 10000"/>
              <a:gd name="connsiteX139" fmla="*/ 5371 w 9739"/>
              <a:gd name="connsiteY139" fmla="*/ 6209 h 10000"/>
              <a:gd name="connsiteX140" fmla="*/ 5371 w 9739"/>
              <a:gd name="connsiteY140" fmla="*/ 6238 h 10000"/>
              <a:gd name="connsiteX141" fmla="*/ 5259 w 9739"/>
              <a:gd name="connsiteY141" fmla="*/ 6358 h 10000"/>
              <a:gd name="connsiteX142" fmla="*/ 5139 w 9739"/>
              <a:gd name="connsiteY142" fmla="*/ 6429 h 10000"/>
              <a:gd name="connsiteX143" fmla="*/ 4762 w 9739"/>
              <a:gd name="connsiteY143" fmla="*/ 6551 h 10000"/>
              <a:gd name="connsiteX144" fmla="*/ 4630 w 9739"/>
              <a:gd name="connsiteY144" fmla="*/ 6547 h 10000"/>
              <a:gd name="connsiteX145" fmla="*/ 4449 w 9739"/>
              <a:gd name="connsiteY145" fmla="*/ 6565 h 10000"/>
              <a:gd name="connsiteX146" fmla="*/ 4347 w 9739"/>
              <a:gd name="connsiteY146" fmla="*/ 6547 h 10000"/>
              <a:gd name="connsiteX147" fmla="*/ 4479 w 9739"/>
              <a:gd name="connsiteY147" fmla="*/ 6513 h 10000"/>
              <a:gd name="connsiteX148" fmla="*/ 4652 w 9739"/>
              <a:gd name="connsiteY148" fmla="*/ 6498 h 10000"/>
              <a:gd name="connsiteX149" fmla="*/ 4795 w 9739"/>
              <a:gd name="connsiteY149" fmla="*/ 6441 h 10000"/>
              <a:gd name="connsiteX150" fmla="*/ 4935 w 9739"/>
              <a:gd name="connsiteY150" fmla="*/ 6415 h 10000"/>
              <a:gd name="connsiteX151" fmla="*/ 5198 w 9739"/>
              <a:gd name="connsiteY151" fmla="*/ 6317 h 10000"/>
              <a:gd name="connsiteX152" fmla="*/ 5246 w 9739"/>
              <a:gd name="connsiteY152" fmla="*/ 6252 h 10000"/>
              <a:gd name="connsiteX153" fmla="*/ 5250 w 9739"/>
              <a:gd name="connsiteY153" fmla="*/ 6168 h 10000"/>
              <a:gd name="connsiteX154" fmla="*/ 5131 w 9739"/>
              <a:gd name="connsiteY154" fmla="*/ 6154 h 10000"/>
              <a:gd name="connsiteX155" fmla="*/ 5184 w 9739"/>
              <a:gd name="connsiteY155" fmla="*/ 6103 h 10000"/>
              <a:gd name="connsiteX156" fmla="*/ 5202 w 9739"/>
              <a:gd name="connsiteY156" fmla="*/ 6038 h 10000"/>
              <a:gd name="connsiteX157" fmla="*/ 5152 w 9739"/>
              <a:gd name="connsiteY157" fmla="*/ 5977 h 10000"/>
              <a:gd name="connsiteX158" fmla="*/ 5122 w 9739"/>
              <a:gd name="connsiteY158" fmla="*/ 5533 h 10000"/>
              <a:gd name="connsiteX159" fmla="*/ 5194 w 9739"/>
              <a:gd name="connsiteY159" fmla="*/ 5437 h 10000"/>
              <a:gd name="connsiteX160" fmla="*/ 5175 w 9739"/>
              <a:gd name="connsiteY160" fmla="*/ 5398 h 10000"/>
              <a:gd name="connsiteX161" fmla="*/ 5384 w 9739"/>
              <a:gd name="connsiteY161" fmla="*/ 5455 h 10000"/>
              <a:gd name="connsiteX162" fmla="*/ 5397 w 9739"/>
              <a:gd name="connsiteY162" fmla="*/ 5402 h 10000"/>
              <a:gd name="connsiteX163" fmla="*/ 5353 w 9739"/>
              <a:gd name="connsiteY163" fmla="*/ 5264 h 10000"/>
              <a:gd name="connsiteX164" fmla="*/ 5502 w 9739"/>
              <a:gd name="connsiteY164" fmla="*/ 5019 h 10000"/>
              <a:gd name="connsiteX165" fmla="*/ 5410 w 9739"/>
              <a:gd name="connsiteY165" fmla="*/ 4960 h 10000"/>
              <a:gd name="connsiteX166" fmla="*/ 5375 w 9739"/>
              <a:gd name="connsiteY166" fmla="*/ 4905 h 10000"/>
              <a:gd name="connsiteX167" fmla="*/ 5388 w 9739"/>
              <a:gd name="connsiteY167" fmla="*/ 4816 h 10000"/>
              <a:gd name="connsiteX168" fmla="*/ 5606 w 9739"/>
              <a:gd name="connsiteY168" fmla="*/ 4875 h 10000"/>
              <a:gd name="connsiteX169" fmla="*/ 5614 w 9739"/>
              <a:gd name="connsiteY169" fmla="*/ 4858 h 10000"/>
              <a:gd name="connsiteX170" fmla="*/ 5675 w 9739"/>
              <a:gd name="connsiteY170" fmla="*/ 4842 h 10000"/>
              <a:gd name="connsiteX171" fmla="*/ 5760 w 9739"/>
              <a:gd name="connsiteY171" fmla="*/ 4785 h 10000"/>
              <a:gd name="connsiteX172" fmla="*/ 5773 w 9739"/>
              <a:gd name="connsiteY172" fmla="*/ 4769 h 10000"/>
              <a:gd name="connsiteX173" fmla="*/ 5756 w 9739"/>
              <a:gd name="connsiteY173" fmla="*/ 4748 h 10000"/>
              <a:gd name="connsiteX174" fmla="*/ 5799 w 9739"/>
              <a:gd name="connsiteY174" fmla="*/ 4647 h 10000"/>
              <a:gd name="connsiteX175" fmla="*/ 5747 w 9739"/>
              <a:gd name="connsiteY175" fmla="*/ 4581 h 10000"/>
              <a:gd name="connsiteX176" fmla="*/ 5756 w 9739"/>
              <a:gd name="connsiteY176" fmla="*/ 4528 h 10000"/>
              <a:gd name="connsiteX177" fmla="*/ 5786 w 9739"/>
              <a:gd name="connsiteY177" fmla="*/ 4590 h 10000"/>
              <a:gd name="connsiteX178" fmla="*/ 5906 w 9739"/>
              <a:gd name="connsiteY178" fmla="*/ 4636 h 10000"/>
              <a:gd name="connsiteX179" fmla="*/ 5956 w 9739"/>
              <a:gd name="connsiteY179" fmla="*/ 4630 h 10000"/>
              <a:gd name="connsiteX180" fmla="*/ 6034 w 9739"/>
              <a:gd name="connsiteY180" fmla="*/ 4569 h 10000"/>
              <a:gd name="connsiteX181" fmla="*/ 6119 w 9739"/>
              <a:gd name="connsiteY181" fmla="*/ 4594 h 10000"/>
              <a:gd name="connsiteX182" fmla="*/ 6142 w 9739"/>
              <a:gd name="connsiteY182" fmla="*/ 4545 h 10000"/>
              <a:gd name="connsiteX183" fmla="*/ 6199 w 9739"/>
              <a:gd name="connsiteY183" fmla="*/ 4512 h 10000"/>
              <a:gd name="connsiteX184" fmla="*/ 6043 w 9739"/>
              <a:gd name="connsiteY184" fmla="*/ 4477 h 10000"/>
              <a:gd name="connsiteX185" fmla="*/ 6155 w 9739"/>
              <a:gd name="connsiteY185" fmla="*/ 4484 h 10000"/>
              <a:gd name="connsiteX186" fmla="*/ 6269 w 9739"/>
              <a:gd name="connsiteY186" fmla="*/ 4447 h 10000"/>
              <a:gd name="connsiteX187" fmla="*/ 6265 w 9739"/>
              <a:gd name="connsiteY187" fmla="*/ 4422 h 10000"/>
              <a:gd name="connsiteX188" fmla="*/ 6372 w 9739"/>
              <a:gd name="connsiteY188" fmla="*/ 4398 h 10000"/>
              <a:gd name="connsiteX189" fmla="*/ 6381 w 9739"/>
              <a:gd name="connsiteY189" fmla="*/ 4337 h 10000"/>
              <a:gd name="connsiteX190" fmla="*/ 6465 w 9739"/>
              <a:gd name="connsiteY190" fmla="*/ 4325 h 10000"/>
              <a:gd name="connsiteX191" fmla="*/ 6473 w 9739"/>
              <a:gd name="connsiteY191" fmla="*/ 4253 h 10000"/>
              <a:gd name="connsiteX192" fmla="*/ 6561 w 9739"/>
              <a:gd name="connsiteY192" fmla="*/ 4245 h 10000"/>
              <a:gd name="connsiteX193" fmla="*/ 6699 w 9739"/>
              <a:gd name="connsiteY193" fmla="*/ 4260 h 10000"/>
              <a:gd name="connsiteX194" fmla="*/ 6849 w 9739"/>
              <a:gd name="connsiteY194" fmla="*/ 4202 h 10000"/>
              <a:gd name="connsiteX195" fmla="*/ 6903 w 9739"/>
              <a:gd name="connsiteY195" fmla="*/ 4137 h 10000"/>
              <a:gd name="connsiteX196" fmla="*/ 7089 w 9739"/>
              <a:gd name="connsiteY196" fmla="*/ 4070 h 10000"/>
              <a:gd name="connsiteX197" fmla="*/ 7182 w 9739"/>
              <a:gd name="connsiteY197" fmla="*/ 4111 h 10000"/>
              <a:gd name="connsiteX198" fmla="*/ 7324 w 9739"/>
              <a:gd name="connsiteY198" fmla="*/ 4066 h 10000"/>
              <a:gd name="connsiteX199" fmla="*/ 7359 w 9739"/>
              <a:gd name="connsiteY199" fmla="*/ 4009 h 10000"/>
              <a:gd name="connsiteX200" fmla="*/ 7466 w 9739"/>
              <a:gd name="connsiteY200" fmla="*/ 3970 h 10000"/>
              <a:gd name="connsiteX201" fmla="*/ 7558 w 9739"/>
              <a:gd name="connsiteY201" fmla="*/ 3987 h 10000"/>
              <a:gd name="connsiteX202" fmla="*/ 7616 w 9739"/>
              <a:gd name="connsiteY202" fmla="*/ 3958 h 10000"/>
              <a:gd name="connsiteX203" fmla="*/ 7776 w 9739"/>
              <a:gd name="connsiteY203" fmla="*/ 3917 h 10000"/>
              <a:gd name="connsiteX204" fmla="*/ 7842 w 9739"/>
              <a:gd name="connsiteY204" fmla="*/ 3864 h 10000"/>
              <a:gd name="connsiteX205" fmla="*/ 7931 w 9739"/>
              <a:gd name="connsiteY205" fmla="*/ 3842 h 10000"/>
              <a:gd name="connsiteX206" fmla="*/ 8423 w 9739"/>
              <a:gd name="connsiteY206" fmla="*/ 3522 h 10000"/>
              <a:gd name="connsiteX207" fmla="*/ 9722 w 9739"/>
              <a:gd name="connsiteY207" fmla="*/ 1465 h 10000"/>
              <a:gd name="connsiteX208" fmla="*/ 9676 w 9739"/>
              <a:gd name="connsiteY208" fmla="*/ 1379 h 10000"/>
              <a:gd name="connsiteX209" fmla="*/ 9739 w 9739"/>
              <a:gd name="connsiteY209" fmla="*/ 1271 h 10000"/>
              <a:gd name="connsiteX210" fmla="*/ 9709 w 9739"/>
              <a:gd name="connsiteY210" fmla="*/ 1194 h 10000"/>
              <a:gd name="connsiteX211" fmla="*/ 9650 w 9739"/>
              <a:gd name="connsiteY211" fmla="*/ 1159 h 10000"/>
              <a:gd name="connsiteX212" fmla="*/ 9601 w 9739"/>
              <a:gd name="connsiteY212" fmla="*/ 978 h 10000"/>
              <a:gd name="connsiteX213" fmla="*/ 9659 w 9739"/>
              <a:gd name="connsiteY213" fmla="*/ 831 h 10000"/>
              <a:gd name="connsiteX214" fmla="*/ 9234 w 9739"/>
              <a:gd name="connsiteY214" fmla="*/ 517 h 10000"/>
              <a:gd name="connsiteX215" fmla="*/ 9025 w 9739"/>
              <a:gd name="connsiteY215" fmla="*/ 440 h 10000"/>
              <a:gd name="connsiteX216" fmla="*/ 8639 w 9739"/>
              <a:gd name="connsiteY216" fmla="*/ 389 h 10000"/>
              <a:gd name="connsiteX217" fmla="*/ 7842 w 9739"/>
              <a:gd name="connsiteY217" fmla="*/ 26 h 10000"/>
              <a:gd name="connsiteX218" fmla="*/ 7816 w 9739"/>
              <a:gd name="connsiteY218" fmla="*/ 2 h 10000"/>
              <a:gd name="connsiteX219" fmla="*/ 7545 w 9739"/>
              <a:gd name="connsiteY219" fmla="*/ 0 h 10000"/>
              <a:gd name="connsiteX220" fmla="*/ 7483 w 9739"/>
              <a:gd name="connsiteY220" fmla="*/ 14 h 10000"/>
              <a:gd name="connsiteX221" fmla="*/ 7497 w 9739"/>
              <a:gd name="connsiteY221" fmla="*/ 61 h 10000"/>
              <a:gd name="connsiteX222" fmla="*/ 7550 w 9739"/>
              <a:gd name="connsiteY222" fmla="*/ 86 h 10000"/>
              <a:gd name="connsiteX223" fmla="*/ 7564 w 9739"/>
              <a:gd name="connsiteY223" fmla="*/ 139 h 10000"/>
              <a:gd name="connsiteX224" fmla="*/ 7545 w 9739"/>
              <a:gd name="connsiteY224" fmla="*/ 181 h 10000"/>
              <a:gd name="connsiteX225" fmla="*/ 7497 w 9739"/>
              <a:gd name="connsiteY225" fmla="*/ 208 h 10000"/>
              <a:gd name="connsiteX226" fmla="*/ 7461 w 9739"/>
              <a:gd name="connsiteY226" fmla="*/ 283 h 10000"/>
              <a:gd name="connsiteX227" fmla="*/ 7395 w 9739"/>
              <a:gd name="connsiteY227" fmla="*/ 336 h 10000"/>
              <a:gd name="connsiteX228" fmla="*/ 7408 w 9739"/>
              <a:gd name="connsiteY228" fmla="*/ 387 h 10000"/>
              <a:gd name="connsiteX229" fmla="*/ 7510 w 9739"/>
              <a:gd name="connsiteY229" fmla="*/ 434 h 10000"/>
              <a:gd name="connsiteX230" fmla="*/ 7444 w 9739"/>
              <a:gd name="connsiteY230" fmla="*/ 475 h 10000"/>
              <a:gd name="connsiteX231" fmla="*/ 7346 w 9739"/>
              <a:gd name="connsiteY231" fmla="*/ 485 h 10000"/>
              <a:gd name="connsiteX232" fmla="*/ 6531 w 9739"/>
              <a:gd name="connsiteY232" fmla="*/ 387 h 10000"/>
              <a:gd name="connsiteX233" fmla="*/ 6433 w 9739"/>
              <a:gd name="connsiteY233" fmla="*/ 395 h 10000"/>
              <a:gd name="connsiteX234" fmla="*/ 6376 w 9739"/>
              <a:gd name="connsiteY234" fmla="*/ 414 h 10000"/>
              <a:gd name="connsiteX235" fmla="*/ 6318 w 9739"/>
              <a:gd name="connsiteY235" fmla="*/ 462 h 10000"/>
              <a:gd name="connsiteX236" fmla="*/ 6328 w 9739"/>
              <a:gd name="connsiteY236" fmla="*/ 581 h 10000"/>
              <a:gd name="connsiteX237" fmla="*/ 6238 w 9739"/>
              <a:gd name="connsiteY237" fmla="*/ 735 h 10000"/>
              <a:gd name="connsiteX238" fmla="*/ 6128 w 9739"/>
              <a:gd name="connsiteY238" fmla="*/ 815 h 10000"/>
              <a:gd name="connsiteX239" fmla="*/ 6084 w 9739"/>
              <a:gd name="connsiteY239" fmla="*/ 805 h 10000"/>
              <a:gd name="connsiteX240" fmla="*/ 5982 w 9739"/>
              <a:gd name="connsiteY240" fmla="*/ 739 h 10000"/>
              <a:gd name="connsiteX241" fmla="*/ 5853 w 9739"/>
              <a:gd name="connsiteY241" fmla="*/ 705 h 10000"/>
              <a:gd name="connsiteX242" fmla="*/ 5715 w 9739"/>
              <a:gd name="connsiteY242" fmla="*/ 715 h 10000"/>
              <a:gd name="connsiteX243" fmla="*/ 5393 w 9739"/>
              <a:gd name="connsiteY243" fmla="*/ 866 h 10000"/>
              <a:gd name="connsiteX244" fmla="*/ 5308 w 9739"/>
              <a:gd name="connsiteY244" fmla="*/ 1017 h 10000"/>
              <a:gd name="connsiteX245" fmla="*/ 5065 w 9739"/>
              <a:gd name="connsiteY245" fmla="*/ 1153 h 10000"/>
              <a:gd name="connsiteX246" fmla="*/ 5020 w 9739"/>
              <a:gd name="connsiteY246" fmla="*/ 1222 h 10000"/>
              <a:gd name="connsiteX247" fmla="*/ 5148 w 9739"/>
              <a:gd name="connsiteY247" fmla="*/ 1344 h 10000"/>
              <a:gd name="connsiteX248" fmla="*/ 5162 w 9739"/>
              <a:gd name="connsiteY248" fmla="*/ 1412 h 10000"/>
              <a:gd name="connsiteX249" fmla="*/ 4497 w 9739"/>
              <a:gd name="connsiteY249" fmla="*/ 1813 h 10000"/>
              <a:gd name="connsiteX250" fmla="*/ 4293 w 9739"/>
              <a:gd name="connsiteY250" fmla="*/ 2070 h 10000"/>
              <a:gd name="connsiteX251" fmla="*/ 4073 w 9739"/>
              <a:gd name="connsiteY251" fmla="*/ 2135 h 10000"/>
              <a:gd name="connsiteX252" fmla="*/ 3934 w 9739"/>
              <a:gd name="connsiteY252" fmla="*/ 2131 h 10000"/>
              <a:gd name="connsiteX253" fmla="*/ 3851 w 9739"/>
              <a:gd name="connsiteY253" fmla="*/ 2153 h 10000"/>
              <a:gd name="connsiteX254" fmla="*/ 3620 w 9739"/>
              <a:gd name="connsiteY254" fmla="*/ 2793 h 10000"/>
              <a:gd name="connsiteX255" fmla="*/ 3089 w 9739"/>
              <a:gd name="connsiteY255" fmla="*/ 3166 h 10000"/>
              <a:gd name="connsiteX256" fmla="*/ 3093 w 9739"/>
              <a:gd name="connsiteY256" fmla="*/ 3225 h 10000"/>
              <a:gd name="connsiteX257" fmla="*/ 3328 w 9739"/>
              <a:gd name="connsiteY257" fmla="*/ 3392 h 10000"/>
              <a:gd name="connsiteX258" fmla="*/ 3253 w 9739"/>
              <a:gd name="connsiteY258" fmla="*/ 3573 h 10000"/>
              <a:gd name="connsiteX259" fmla="*/ 3115 w 9739"/>
              <a:gd name="connsiteY259" fmla="*/ 3640 h 10000"/>
              <a:gd name="connsiteX260" fmla="*/ 2703 w 9739"/>
              <a:gd name="connsiteY260" fmla="*/ 3595 h 10000"/>
              <a:gd name="connsiteX261" fmla="*/ 2418 w 9739"/>
              <a:gd name="connsiteY261" fmla="*/ 3620 h 10000"/>
              <a:gd name="connsiteX262" fmla="*/ 2189 w 9739"/>
              <a:gd name="connsiteY262" fmla="*/ 3673 h 10000"/>
              <a:gd name="connsiteX263" fmla="*/ 1821 w 9739"/>
              <a:gd name="connsiteY263" fmla="*/ 3840 h 10000"/>
              <a:gd name="connsiteX264" fmla="*/ 1625 w 9739"/>
              <a:gd name="connsiteY264" fmla="*/ 4042 h 10000"/>
              <a:gd name="connsiteX265" fmla="*/ 1643 w 9739"/>
              <a:gd name="connsiteY265" fmla="*/ 4154 h 10000"/>
              <a:gd name="connsiteX266" fmla="*/ 1711 w 9739"/>
              <a:gd name="connsiteY266" fmla="*/ 4241 h 10000"/>
              <a:gd name="connsiteX267" fmla="*/ 1763 w 9739"/>
              <a:gd name="connsiteY267" fmla="*/ 4276 h 10000"/>
              <a:gd name="connsiteX268" fmla="*/ 1666 w 9739"/>
              <a:gd name="connsiteY268" fmla="*/ 4331 h 10000"/>
              <a:gd name="connsiteX269" fmla="*/ 1458 w 9739"/>
              <a:gd name="connsiteY269" fmla="*/ 4710 h 10000"/>
              <a:gd name="connsiteX270" fmla="*/ 1498 w 9739"/>
              <a:gd name="connsiteY270" fmla="*/ 4732 h 10000"/>
              <a:gd name="connsiteX271" fmla="*/ 1529 w 9739"/>
              <a:gd name="connsiteY271" fmla="*/ 4828 h 10000"/>
              <a:gd name="connsiteX272" fmla="*/ 1431 w 9739"/>
              <a:gd name="connsiteY272" fmla="*/ 5227 h 10000"/>
              <a:gd name="connsiteX273" fmla="*/ 1529 w 9739"/>
              <a:gd name="connsiteY273" fmla="*/ 5329 h 10000"/>
              <a:gd name="connsiteX274" fmla="*/ 1794 w 9739"/>
              <a:gd name="connsiteY274" fmla="*/ 5441 h 10000"/>
              <a:gd name="connsiteX275" fmla="*/ 1807 w 9739"/>
              <a:gd name="connsiteY275" fmla="*/ 5578 h 10000"/>
              <a:gd name="connsiteX276" fmla="*/ 1694 w 9739"/>
              <a:gd name="connsiteY276" fmla="*/ 5690 h 10000"/>
              <a:gd name="connsiteX277" fmla="*/ 1529 w 9739"/>
              <a:gd name="connsiteY277" fmla="*/ 5759 h 10000"/>
              <a:gd name="connsiteX278" fmla="*/ 1311 w 9739"/>
              <a:gd name="connsiteY278" fmla="*/ 5787 h 10000"/>
              <a:gd name="connsiteX279" fmla="*/ 1254 w 9739"/>
              <a:gd name="connsiteY279" fmla="*/ 5826 h 10000"/>
              <a:gd name="connsiteX280" fmla="*/ 1382 w 9739"/>
              <a:gd name="connsiteY280" fmla="*/ 5920 h 10000"/>
              <a:gd name="connsiteX281" fmla="*/ 1454 w 9739"/>
              <a:gd name="connsiteY281" fmla="*/ 6142 h 10000"/>
              <a:gd name="connsiteX282" fmla="*/ 1289 w 9739"/>
              <a:gd name="connsiteY282" fmla="*/ 6333 h 10000"/>
              <a:gd name="connsiteX283" fmla="*/ 1347 w 9739"/>
              <a:gd name="connsiteY283" fmla="*/ 6392 h 10000"/>
              <a:gd name="connsiteX284" fmla="*/ 1294 w 9739"/>
              <a:gd name="connsiteY284" fmla="*/ 6492 h 10000"/>
              <a:gd name="connsiteX285" fmla="*/ 1188 w 9739"/>
              <a:gd name="connsiteY285" fmla="*/ 6561 h 10000"/>
              <a:gd name="connsiteX286" fmla="*/ 771 w 9739"/>
              <a:gd name="connsiteY286" fmla="*/ 6614 h 10000"/>
              <a:gd name="connsiteX287" fmla="*/ 745 w 9739"/>
              <a:gd name="connsiteY287" fmla="*/ 6706 h 10000"/>
              <a:gd name="connsiteX288" fmla="*/ 519 w 9739"/>
              <a:gd name="connsiteY288" fmla="*/ 6843 h 10000"/>
              <a:gd name="connsiteX289" fmla="*/ 549 w 9739"/>
              <a:gd name="connsiteY289" fmla="*/ 7040 h 10000"/>
              <a:gd name="connsiteX290" fmla="*/ 359 w 9739"/>
              <a:gd name="connsiteY290" fmla="*/ 7293 h 10000"/>
              <a:gd name="connsiteX291" fmla="*/ 230 w 9739"/>
              <a:gd name="connsiteY291" fmla="*/ 7323 h 10000"/>
              <a:gd name="connsiteX292" fmla="*/ 177 w 9739"/>
              <a:gd name="connsiteY292" fmla="*/ 7262 h 10000"/>
              <a:gd name="connsiteX293" fmla="*/ 111 w 9739"/>
              <a:gd name="connsiteY293" fmla="*/ 7354 h 10000"/>
              <a:gd name="connsiteX294" fmla="*/ 155 w 9739"/>
              <a:gd name="connsiteY294" fmla="*/ 7197 h 10000"/>
              <a:gd name="connsiteX295" fmla="*/ 128 w 9739"/>
              <a:gd name="connsiteY295" fmla="*/ 7166 h 10000"/>
              <a:gd name="connsiteX0" fmla="*/ 131 w 10088"/>
              <a:gd name="connsiteY0" fmla="*/ 7166 h 10000"/>
              <a:gd name="connsiteX1" fmla="*/ 0 w 10088"/>
              <a:gd name="connsiteY1" fmla="*/ 7248 h 10000"/>
              <a:gd name="connsiteX2" fmla="*/ 0 w 10088"/>
              <a:gd name="connsiteY2" fmla="*/ 7651 h 10000"/>
              <a:gd name="connsiteX3" fmla="*/ 73 w 10088"/>
              <a:gd name="connsiteY3" fmla="*/ 7663 h 10000"/>
              <a:gd name="connsiteX4" fmla="*/ 90 w 10088"/>
              <a:gd name="connsiteY4" fmla="*/ 7694 h 10000"/>
              <a:gd name="connsiteX5" fmla="*/ 86 w 10088"/>
              <a:gd name="connsiteY5" fmla="*/ 7749 h 10000"/>
              <a:gd name="connsiteX6" fmla="*/ 59 w 10088"/>
              <a:gd name="connsiteY6" fmla="*/ 7773 h 10000"/>
              <a:gd name="connsiteX7" fmla="*/ 168 w 10088"/>
              <a:gd name="connsiteY7" fmla="*/ 7727 h 10000"/>
              <a:gd name="connsiteX8" fmla="*/ 215 w 10088"/>
              <a:gd name="connsiteY8" fmla="*/ 7680 h 10000"/>
              <a:gd name="connsiteX9" fmla="*/ 272 w 10088"/>
              <a:gd name="connsiteY9" fmla="*/ 7712 h 10000"/>
              <a:gd name="connsiteX10" fmla="*/ 209 w 10088"/>
              <a:gd name="connsiteY10" fmla="*/ 7778 h 10000"/>
              <a:gd name="connsiteX11" fmla="*/ 277 w 10088"/>
              <a:gd name="connsiteY11" fmla="*/ 7780 h 10000"/>
              <a:gd name="connsiteX12" fmla="*/ 309 w 10088"/>
              <a:gd name="connsiteY12" fmla="*/ 7796 h 10000"/>
              <a:gd name="connsiteX13" fmla="*/ 223 w 10088"/>
              <a:gd name="connsiteY13" fmla="*/ 7818 h 10000"/>
              <a:gd name="connsiteX14" fmla="*/ 86 w 10088"/>
              <a:gd name="connsiteY14" fmla="*/ 7886 h 10000"/>
              <a:gd name="connsiteX15" fmla="*/ 329 w 10088"/>
              <a:gd name="connsiteY15" fmla="*/ 7938 h 10000"/>
              <a:gd name="connsiteX16" fmla="*/ 359 w 10088"/>
              <a:gd name="connsiteY16" fmla="*/ 8014 h 10000"/>
              <a:gd name="connsiteX17" fmla="*/ 277 w 10088"/>
              <a:gd name="connsiteY17" fmla="*/ 8126 h 10000"/>
              <a:gd name="connsiteX18" fmla="*/ 456 w 10088"/>
              <a:gd name="connsiteY18" fmla="*/ 8118 h 10000"/>
              <a:gd name="connsiteX19" fmla="*/ 469 w 10088"/>
              <a:gd name="connsiteY19" fmla="*/ 8203 h 10000"/>
              <a:gd name="connsiteX20" fmla="*/ 350 w 10088"/>
              <a:gd name="connsiteY20" fmla="*/ 8260 h 10000"/>
              <a:gd name="connsiteX21" fmla="*/ 369 w 10088"/>
              <a:gd name="connsiteY21" fmla="*/ 8370 h 10000"/>
              <a:gd name="connsiteX22" fmla="*/ 323 w 10088"/>
              <a:gd name="connsiteY22" fmla="*/ 8456 h 10000"/>
              <a:gd name="connsiteX23" fmla="*/ 464 w 10088"/>
              <a:gd name="connsiteY23" fmla="*/ 8464 h 10000"/>
              <a:gd name="connsiteX24" fmla="*/ 601 w 10088"/>
              <a:gd name="connsiteY24" fmla="*/ 8792 h 10000"/>
              <a:gd name="connsiteX25" fmla="*/ 760 w 10088"/>
              <a:gd name="connsiteY25" fmla="*/ 8876 h 10000"/>
              <a:gd name="connsiteX26" fmla="*/ 828 w 10088"/>
              <a:gd name="connsiteY26" fmla="*/ 8965 h 10000"/>
              <a:gd name="connsiteX27" fmla="*/ 1001 w 10088"/>
              <a:gd name="connsiteY27" fmla="*/ 9030 h 10000"/>
              <a:gd name="connsiteX28" fmla="*/ 1111 w 10088"/>
              <a:gd name="connsiteY28" fmla="*/ 9112 h 10000"/>
              <a:gd name="connsiteX29" fmla="*/ 1097 w 10088"/>
              <a:gd name="connsiteY29" fmla="*/ 9171 h 10000"/>
              <a:gd name="connsiteX30" fmla="*/ 988 w 10088"/>
              <a:gd name="connsiteY30" fmla="*/ 9193 h 10000"/>
              <a:gd name="connsiteX31" fmla="*/ 869 w 10088"/>
              <a:gd name="connsiteY31" fmla="*/ 9179 h 10000"/>
              <a:gd name="connsiteX32" fmla="*/ 832 w 10088"/>
              <a:gd name="connsiteY32" fmla="*/ 9204 h 10000"/>
              <a:gd name="connsiteX33" fmla="*/ 923 w 10088"/>
              <a:gd name="connsiteY33" fmla="*/ 9332 h 10000"/>
              <a:gd name="connsiteX34" fmla="*/ 796 w 10088"/>
              <a:gd name="connsiteY34" fmla="*/ 9322 h 10000"/>
              <a:gd name="connsiteX35" fmla="*/ 687 w 10088"/>
              <a:gd name="connsiteY35" fmla="*/ 9291 h 10000"/>
              <a:gd name="connsiteX36" fmla="*/ 668 w 10088"/>
              <a:gd name="connsiteY36" fmla="*/ 9338 h 10000"/>
              <a:gd name="connsiteX37" fmla="*/ 1028 w 10088"/>
              <a:gd name="connsiteY37" fmla="*/ 9776 h 10000"/>
              <a:gd name="connsiteX38" fmla="*/ 970 w 10088"/>
              <a:gd name="connsiteY38" fmla="*/ 9817 h 10000"/>
              <a:gd name="connsiteX39" fmla="*/ 929 w 10088"/>
              <a:gd name="connsiteY39" fmla="*/ 9902 h 10000"/>
              <a:gd name="connsiteX40" fmla="*/ 878 w 10088"/>
              <a:gd name="connsiteY40" fmla="*/ 9908 h 10000"/>
              <a:gd name="connsiteX41" fmla="*/ 846 w 10088"/>
              <a:gd name="connsiteY41" fmla="*/ 9945 h 10000"/>
              <a:gd name="connsiteX42" fmla="*/ 1064 w 10088"/>
              <a:gd name="connsiteY42" fmla="*/ 9949 h 10000"/>
              <a:gd name="connsiteX43" fmla="*/ 1256 w 10088"/>
              <a:gd name="connsiteY43" fmla="*/ 9986 h 10000"/>
              <a:gd name="connsiteX44" fmla="*/ 1574 w 10088"/>
              <a:gd name="connsiteY44" fmla="*/ 9947 h 10000"/>
              <a:gd name="connsiteX45" fmla="*/ 1860 w 10088"/>
              <a:gd name="connsiteY45" fmla="*/ 9953 h 10000"/>
              <a:gd name="connsiteX46" fmla="*/ 2030 w 10088"/>
              <a:gd name="connsiteY46" fmla="*/ 10000 h 10000"/>
              <a:gd name="connsiteX47" fmla="*/ 2121 w 10088"/>
              <a:gd name="connsiteY47" fmla="*/ 9969 h 10000"/>
              <a:gd name="connsiteX48" fmla="*/ 2211 w 10088"/>
              <a:gd name="connsiteY48" fmla="*/ 9868 h 10000"/>
              <a:gd name="connsiteX49" fmla="*/ 2188 w 10088"/>
              <a:gd name="connsiteY49" fmla="*/ 9703 h 10000"/>
              <a:gd name="connsiteX50" fmla="*/ 2407 w 10088"/>
              <a:gd name="connsiteY50" fmla="*/ 9517 h 10000"/>
              <a:gd name="connsiteX51" fmla="*/ 2566 w 10088"/>
              <a:gd name="connsiteY51" fmla="*/ 9546 h 10000"/>
              <a:gd name="connsiteX52" fmla="*/ 2657 w 10088"/>
              <a:gd name="connsiteY52" fmla="*/ 9472 h 10000"/>
              <a:gd name="connsiteX53" fmla="*/ 2834 w 10088"/>
              <a:gd name="connsiteY53" fmla="*/ 9430 h 10000"/>
              <a:gd name="connsiteX54" fmla="*/ 3075 w 10088"/>
              <a:gd name="connsiteY54" fmla="*/ 9440 h 10000"/>
              <a:gd name="connsiteX55" fmla="*/ 3221 w 10088"/>
              <a:gd name="connsiteY55" fmla="*/ 9470 h 10000"/>
              <a:gd name="connsiteX56" fmla="*/ 3413 w 10088"/>
              <a:gd name="connsiteY56" fmla="*/ 9456 h 10000"/>
              <a:gd name="connsiteX57" fmla="*/ 3608 w 10088"/>
              <a:gd name="connsiteY57" fmla="*/ 9489 h 10000"/>
              <a:gd name="connsiteX58" fmla="*/ 3803 w 10088"/>
              <a:gd name="connsiteY58" fmla="*/ 9493 h 10000"/>
              <a:gd name="connsiteX59" fmla="*/ 4240 w 10088"/>
              <a:gd name="connsiteY59" fmla="*/ 9061 h 10000"/>
              <a:gd name="connsiteX60" fmla="*/ 4350 w 10088"/>
              <a:gd name="connsiteY60" fmla="*/ 8711 h 10000"/>
              <a:gd name="connsiteX61" fmla="*/ 4527 w 10088"/>
              <a:gd name="connsiteY61" fmla="*/ 8554 h 10000"/>
              <a:gd name="connsiteX62" fmla="*/ 4527 w 10088"/>
              <a:gd name="connsiteY62" fmla="*/ 8472 h 10000"/>
              <a:gd name="connsiteX63" fmla="*/ 4463 w 10088"/>
              <a:gd name="connsiteY63" fmla="*/ 8425 h 10000"/>
              <a:gd name="connsiteX64" fmla="*/ 4568 w 10088"/>
              <a:gd name="connsiteY64" fmla="*/ 8352 h 10000"/>
              <a:gd name="connsiteX65" fmla="*/ 4549 w 10088"/>
              <a:gd name="connsiteY65" fmla="*/ 8289 h 10000"/>
              <a:gd name="connsiteX66" fmla="*/ 4477 w 10088"/>
              <a:gd name="connsiteY66" fmla="*/ 8236 h 10000"/>
              <a:gd name="connsiteX67" fmla="*/ 4463 w 10088"/>
              <a:gd name="connsiteY67" fmla="*/ 8199 h 10000"/>
              <a:gd name="connsiteX68" fmla="*/ 4481 w 10088"/>
              <a:gd name="connsiteY68" fmla="*/ 8169 h 10000"/>
              <a:gd name="connsiteX69" fmla="*/ 4577 w 10088"/>
              <a:gd name="connsiteY69" fmla="*/ 8193 h 10000"/>
              <a:gd name="connsiteX70" fmla="*/ 4654 w 10088"/>
              <a:gd name="connsiteY70" fmla="*/ 8191 h 10000"/>
              <a:gd name="connsiteX71" fmla="*/ 4612 w 10088"/>
              <a:gd name="connsiteY71" fmla="*/ 8140 h 10000"/>
              <a:gd name="connsiteX72" fmla="*/ 4626 w 10088"/>
              <a:gd name="connsiteY72" fmla="*/ 8112 h 10000"/>
              <a:gd name="connsiteX73" fmla="*/ 4681 w 10088"/>
              <a:gd name="connsiteY73" fmla="*/ 8069 h 10000"/>
              <a:gd name="connsiteX74" fmla="*/ 4672 w 10088"/>
              <a:gd name="connsiteY74" fmla="*/ 8034 h 10000"/>
              <a:gd name="connsiteX75" fmla="*/ 4723 w 10088"/>
              <a:gd name="connsiteY75" fmla="*/ 7916 h 10000"/>
              <a:gd name="connsiteX76" fmla="*/ 4710 w 10088"/>
              <a:gd name="connsiteY76" fmla="*/ 7881 h 10000"/>
              <a:gd name="connsiteX77" fmla="*/ 4445 w 10088"/>
              <a:gd name="connsiteY77" fmla="*/ 7792 h 10000"/>
              <a:gd name="connsiteX78" fmla="*/ 4481 w 10088"/>
              <a:gd name="connsiteY78" fmla="*/ 7788 h 10000"/>
              <a:gd name="connsiteX79" fmla="*/ 4622 w 10088"/>
              <a:gd name="connsiteY79" fmla="*/ 7812 h 10000"/>
              <a:gd name="connsiteX80" fmla="*/ 4773 w 10088"/>
              <a:gd name="connsiteY80" fmla="*/ 7804 h 10000"/>
              <a:gd name="connsiteX81" fmla="*/ 4818 w 10088"/>
              <a:gd name="connsiteY81" fmla="*/ 7771 h 10000"/>
              <a:gd name="connsiteX82" fmla="*/ 4672 w 10088"/>
              <a:gd name="connsiteY82" fmla="*/ 7710 h 10000"/>
              <a:gd name="connsiteX83" fmla="*/ 4236 w 10088"/>
              <a:gd name="connsiteY83" fmla="*/ 7670 h 10000"/>
              <a:gd name="connsiteX84" fmla="*/ 4266 w 10088"/>
              <a:gd name="connsiteY84" fmla="*/ 7651 h 10000"/>
              <a:gd name="connsiteX85" fmla="*/ 4622 w 10088"/>
              <a:gd name="connsiteY85" fmla="*/ 7639 h 10000"/>
              <a:gd name="connsiteX86" fmla="*/ 4818 w 10088"/>
              <a:gd name="connsiteY86" fmla="*/ 7676 h 10000"/>
              <a:gd name="connsiteX87" fmla="*/ 4932 w 10088"/>
              <a:gd name="connsiteY87" fmla="*/ 7651 h 10000"/>
              <a:gd name="connsiteX88" fmla="*/ 4973 w 10088"/>
              <a:gd name="connsiteY88" fmla="*/ 7588 h 10000"/>
              <a:gd name="connsiteX89" fmla="*/ 5177 w 10088"/>
              <a:gd name="connsiteY89" fmla="*/ 7588 h 10000"/>
              <a:gd name="connsiteX90" fmla="*/ 5455 w 10088"/>
              <a:gd name="connsiteY90" fmla="*/ 7462 h 10000"/>
              <a:gd name="connsiteX91" fmla="*/ 5465 w 10088"/>
              <a:gd name="connsiteY91" fmla="*/ 7378 h 10000"/>
              <a:gd name="connsiteX92" fmla="*/ 5582 w 10088"/>
              <a:gd name="connsiteY92" fmla="*/ 7397 h 10000"/>
              <a:gd name="connsiteX93" fmla="*/ 5578 w 10088"/>
              <a:gd name="connsiteY93" fmla="*/ 7482 h 10000"/>
              <a:gd name="connsiteX94" fmla="*/ 5764 w 10088"/>
              <a:gd name="connsiteY94" fmla="*/ 7476 h 10000"/>
              <a:gd name="connsiteX95" fmla="*/ 5887 w 10088"/>
              <a:gd name="connsiteY95" fmla="*/ 7388 h 10000"/>
              <a:gd name="connsiteX96" fmla="*/ 6116 w 10088"/>
              <a:gd name="connsiteY96" fmla="*/ 7309 h 10000"/>
              <a:gd name="connsiteX97" fmla="*/ 6078 w 10088"/>
              <a:gd name="connsiteY97" fmla="*/ 7219 h 10000"/>
              <a:gd name="connsiteX98" fmla="*/ 6146 w 10088"/>
              <a:gd name="connsiteY98" fmla="*/ 7254 h 10000"/>
              <a:gd name="connsiteX99" fmla="*/ 6251 w 10088"/>
              <a:gd name="connsiteY99" fmla="*/ 7254 h 10000"/>
              <a:gd name="connsiteX100" fmla="*/ 6251 w 10088"/>
              <a:gd name="connsiteY100" fmla="*/ 7213 h 10000"/>
              <a:gd name="connsiteX101" fmla="*/ 6347 w 10088"/>
              <a:gd name="connsiteY101" fmla="*/ 7181 h 10000"/>
              <a:gd name="connsiteX102" fmla="*/ 6333 w 10088"/>
              <a:gd name="connsiteY102" fmla="*/ 7148 h 10000"/>
              <a:gd name="connsiteX103" fmla="*/ 5515 w 10088"/>
              <a:gd name="connsiteY103" fmla="*/ 7215 h 10000"/>
              <a:gd name="connsiteX104" fmla="*/ 5323 w 10088"/>
              <a:gd name="connsiteY104" fmla="*/ 7195 h 10000"/>
              <a:gd name="connsiteX105" fmla="*/ 5246 w 10088"/>
              <a:gd name="connsiteY105" fmla="*/ 7219 h 10000"/>
              <a:gd name="connsiteX106" fmla="*/ 5219 w 10088"/>
              <a:gd name="connsiteY106" fmla="*/ 7173 h 10000"/>
              <a:gd name="connsiteX107" fmla="*/ 5128 w 10088"/>
              <a:gd name="connsiteY107" fmla="*/ 7132 h 10000"/>
              <a:gd name="connsiteX108" fmla="*/ 4763 w 10088"/>
              <a:gd name="connsiteY108" fmla="*/ 7052 h 10000"/>
              <a:gd name="connsiteX109" fmla="*/ 4549 w 10088"/>
              <a:gd name="connsiteY109" fmla="*/ 7065 h 10000"/>
              <a:gd name="connsiteX110" fmla="*/ 4463 w 10088"/>
              <a:gd name="connsiteY110" fmla="*/ 7042 h 10000"/>
              <a:gd name="connsiteX111" fmla="*/ 4554 w 10088"/>
              <a:gd name="connsiteY111" fmla="*/ 7022 h 10000"/>
              <a:gd name="connsiteX112" fmla="*/ 4622 w 10088"/>
              <a:gd name="connsiteY112" fmla="*/ 6979 h 10000"/>
              <a:gd name="connsiteX113" fmla="*/ 4723 w 10088"/>
              <a:gd name="connsiteY113" fmla="*/ 6993 h 10000"/>
              <a:gd name="connsiteX114" fmla="*/ 4845 w 10088"/>
              <a:gd name="connsiteY114" fmla="*/ 6981 h 10000"/>
              <a:gd name="connsiteX115" fmla="*/ 5027 w 10088"/>
              <a:gd name="connsiteY115" fmla="*/ 6995 h 10000"/>
              <a:gd name="connsiteX116" fmla="*/ 5049 w 10088"/>
              <a:gd name="connsiteY116" fmla="*/ 6989 h 10000"/>
              <a:gd name="connsiteX117" fmla="*/ 5191 w 10088"/>
              <a:gd name="connsiteY117" fmla="*/ 7056 h 10000"/>
              <a:gd name="connsiteX118" fmla="*/ 5296 w 10088"/>
              <a:gd name="connsiteY118" fmla="*/ 7032 h 10000"/>
              <a:gd name="connsiteX119" fmla="*/ 5304 w 10088"/>
              <a:gd name="connsiteY119" fmla="*/ 7010 h 10000"/>
              <a:gd name="connsiteX120" fmla="*/ 5400 w 10088"/>
              <a:gd name="connsiteY120" fmla="*/ 7048 h 10000"/>
              <a:gd name="connsiteX121" fmla="*/ 5528 w 10088"/>
              <a:gd name="connsiteY121" fmla="*/ 7069 h 10000"/>
              <a:gd name="connsiteX122" fmla="*/ 5578 w 10088"/>
              <a:gd name="connsiteY122" fmla="*/ 7030 h 10000"/>
              <a:gd name="connsiteX123" fmla="*/ 5619 w 10088"/>
              <a:gd name="connsiteY123" fmla="*/ 7052 h 10000"/>
              <a:gd name="connsiteX124" fmla="*/ 5677 w 10088"/>
              <a:gd name="connsiteY124" fmla="*/ 7126 h 10000"/>
              <a:gd name="connsiteX125" fmla="*/ 5800 w 10088"/>
              <a:gd name="connsiteY125" fmla="*/ 7144 h 10000"/>
              <a:gd name="connsiteX126" fmla="*/ 6301 w 10088"/>
              <a:gd name="connsiteY126" fmla="*/ 7034 h 10000"/>
              <a:gd name="connsiteX127" fmla="*/ 6547 w 10088"/>
              <a:gd name="connsiteY127" fmla="*/ 6879 h 10000"/>
              <a:gd name="connsiteX128" fmla="*/ 6605 w 10088"/>
              <a:gd name="connsiteY128" fmla="*/ 6765 h 10000"/>
              <a:gd name="connsiteX129" fmla="*/ 6516 w 10088"/>
              <a:gd name="connsiteY129" fmla="*/ 6663 h 10000"/>
              <a:gd name="connsiteX130" fmla="*/ 6328 w 10088"/>
              <a:gd name="connsiteY130" fmla="*/ 6602 h 10000"/>
              <a:gd name="connsiteX131" fmla="*/ 6196 w 10088"/>
              <a:gd name="connsiteY131" fmla="*/ 6502 h 10000"/>
              <a:gd name="connsiteX132" fmla="*/ 6320 w 10088"/>
              <a:gd name="connsiteY132" fmla="*/ 6498 h 10000"/>
              <a:gd name="connsiteX133" fmla="*/ 6311 w 10088"/>
              <a:gd name="connsiteY133" fmla="*/ 6474 h 10000"/>
              <a:gd name="connsiteX134" fmla="*/ 5988 w 10088"/>
              <a:gd name="connsiteY134" fmla="*/ 6403 h 10000"/>
              <a:gd name="connsiteX135" fmla="*/ 5975 w 10088"/>
              <a:gd name="connsiteY135" fmla="*/ 6339 h 10000"/>
              <a:gd name="connsiteX136" fmla="*/ 5914 w 10088"/>
              <a:gd name="connsiteY136" fmla="*/ 6272 h 10000"/>
              <a:gd name="connsiteX137" fmla="*/ 5659 w 10088"/>
              <a:gd name="connsiteY137" fmla="*/ 6284 h 10000"/>
              <a:gd name="connsiteX138" fmla="*/ 5568 w 10088"/>
              <a:gd name="connsiteY138" fmla="*/ 6213 h 10000"/>
              <a:gd name="connsiteX139" fmla="*/ 5515 w 10088"/>
              <a:gd name="connsiteY139" fmla="*/ 6209 h 10000"/>
              <a:gd name="connsiteX140" fmla="*/ 5515 w 10088"/>
              <a:gd name="connsiteY140" fmla="*/ 6238 h 10000"/>
              <a:gd name="connsiteX141" fmla="*/ 5400 w 10088"/>
              <a:gd name="connsiteY141" fmla="*/ 6358 h 10000"/>
              <a:gd name="connsiteX142" fmla="*/ 5277 w 10088"/>
              <a:gd name="connsiteY142" fmla="*/ 6429 h 10000"/>
              <a:gd name="connsiteX143" fmla="*/ 4890 w 10088"/>
              <a:gd name="connsiteY143" fmla="*/ 6551 h 10000"/>
              <a:gd name="connsiteX144" fmla="*/ 4754 w 10088"/>
              <a:gd name="connsiteY144" fmla="*/ 6547 h 10000"/>
              <a:gd name="connsiteX145" fmla="*/ 4568 w 10088"/>
              <a:gd name="connsiteY145" fmla="*/ 6565 h 10000"/>
              <a:gd name="connsiteX146" fmla="*/ 4463 w 10088"/>
              <a:gd name="connsiteY146" fmla="*/ 6547 h 10000"/>
              <a:gd name="connsiteX147" fmla="*/ 4599 w 10088"/>
              <a:gd name="connsiteY147" fmla="*/ 6513 h 10000"/>
              <a:gd name="connsiteX148" fmla="*/ 4777 w 10088"/>
              <a:gd name="connsiteY148" fmla="*/ 6498 h 10000"/>
              <a:gd name="connsiteX149" fmla="*/ 4924 w 10088"/>
              <a:gd name="connsiteY149" fmla="*/ 6441 h 10000"/>
              <a:gd name="connsiteX150" fmla="*/ 5067 w 10088"/>
              <a:gd name="connsiteY150" fmla="*/ 6415 h 10000"/>
              <a:gd name="connsiteX151" fmla="*/ 5337 w 10088"/>
              <a:gd name="connsiteY151" fmla="*/ 6317 h 10000"/>
              <a:gd name="connsiteX152" fmla="*/ 5387 w 10088"/>
              <a:gd name="connsiteY152" fmla="*/ 6252 h 10000"/>
              <a:gd name="connsiteX153" fmla="*/ 5391 w 10088"/>
              <a:gd name="connsiteY153" fmla="*/ 6168 h 10000"/>
              <a:gd name="connsiteX154" fmla="*/ 5269 w 10088"/>
              <a:gd name="connsiteY154" fmla="*/ 6154 h 10000"/>
              <a:gd name="connsiteX155" fmla="*/ 5323 w 10088"/>
              <a:gd name="connsiteY155" fmla="*/ 6103 h 10000"/>
              <a:gd name="connsiteX156" fmla="*/ 5341 w 10088"/>
              <a:gd name="connsiteY156" fmla="*/ 6038 h 10000"/>
              <a:gd name="connsiteX157" fmla="*/ 5290 w 10088"/>
              <a:gd name="connsiteY157" fmla="*/ 5977 h 10000"/>
              <a:gd name="connsiteX158" fmla="*/ 5259 w 10088"/>
              <a:gd name="connsiteY158" fmla="*/ 5533 h 10000"/>
              <a:gd name="connsiteX159" fmla="*/ 5333 w 10088"/>
              <a:gd name="connsiteY159" fmla="*/ 5437 h 10000"/>
              <a:gd name="connsiteX160" fmla="*/ 5314 w 10088"/>
              <a:gd name="connsiteY160" fmla="*/ 5398 h 10000"/>
              <a:gd name="connsiteX161" fmla="*/ 5528 w 10088"/>
              <a:gd name="connsiteY161" fmla="*/ 5455 h 10000"/>
              <a:gd name="connsiteX162" fmla="*/ 5542 w 10088"/>
              <a:gd name="connsiteY162" fmla="*/ 5402 h 10000"/>
              <a:gd name="connsiteX163" fmla="*/ 5496 w 10088"/>
              <a:gd name="connsiteY163" fmla="*/ 5264 h 10000"/>
              <a:gd name="connsiteX164" fmla="*/ 5649 w 10088"/>
              <a:gd name="connsiteY164" fmla="*/ 5019 h 10000"/>
              <a:gd name="connsiteX165" fmla="*/ 5555 w 10088"/>
              <a:gd name="connsiteY165" fmla="*/ 4960 h 10000"/>
              <a:gd name="connsiteX166" fmla="*/ 5519 w 10088"/>
              <a:gd name="connsiteY166" fmla="*/ 4905 h 10000"/>
              <a:gd name="connsiteX167" fmla="*/ 5532 w 10088"/>
              <a:gd name="connsiteY167" fmla="*/ 4816 h 10000"/>
              <a:gd name="connsiteX168" fmla="*/ 5756 w 10088"/>
              <a:gd name="connsiteY168" fmla="*/ 4875 h 10000"/>
              <a:gd name="connsiteX169" fmla="*/ 5764 w 10088"/>
              <a:gd name="connsiteY169" fmla="*/ 4858 h 10000"/>
              <a:gd name="connsiteX170" fmla="*/ 5827 w 10088"/>
              <a:gd name="connsiteY170" fmla="*/ 4842 h 10000"/>
              <a:gd name="connsiteX171" fmla="*/ 5914 w 10088"/>
              <a:gd name="connsiteY171" fmla="*/ 4785 h 10000"/>
              <a:gd name="connsiteX172" fmla="*/ 5928 w 10088"/>
              <a:gd name="connsiteY172" fmla="*/ 4769 h 10000"/>
              <a:gd name="connsiteX173" fmla="*/ 5910 w 10088"/>
              <a:gd name="connsiteY173" fmla="*/ 4748 h 10000"/>
              <a:gd name="connsiteX174" fmla="*/ 5954 w 10088"/>
              <a:gd name="connsiteY174" fmla="*/ 4647 h 10000"/>
              <a:gd name="connsiteX175" fmla="*/ 5901 w 10088"/>
              <a:gd name="connsiteY175" fmla="*/ 4581 h 10000"/>
              <a:gd name="connsiteX176" fmla="*/ 5910 w 10088"/>
              <a:gd name="connsiteY176" fmla="*/ 4528 h 10000"/>
              <a:gd name="connsiteX177" fmla="*/ 5941 w 10088"/>
              <a:gd name="connsiteY177" fmla="*/ 4590 h 10000"/>
              <a:gd name="connsiteX178" fmla="*/ 6064 w 10088"/>
              <a:gd name="connsiteY178" fmla="*/ 4636 h 10000"/>
              <a:gd name="connsiteX179" fmla="*/ 6116 w 10088"/>
              <a:gd name="connsiteY179" fmla="*/ 4630 h 10000"/>
              <a:gd name="connsiteX180" fmla="*/ 6196 w 10088"/>
              <a:gd name="connsiteY180" fmla="*/ 4569 h 10000"/>
              <a:gd name="connsiteX181" fmla="*/ 6283 w 10088"/>
              <a:gd name="connsiteY181" fmla="*/ 4594 h 10000"/>
              <a:gd name="connsiteX182" fmla="*/ 6307 w 10088"/>
              <a:gd name="connsiteY182" fmla="*/ 4545 h 10000"/>
              <a:gd name="connsiteX183" fmla="*/ 6365 w 10088"/>
              <a:gd name="connsiteY183" fmla="*/ 4512 h 10000"/>
              <a:gd name="connsiteX184" fmla="*/ 6205 w 10088"/>
              <a:gd name="connsiteY184" fmla="*/ 4477 h 10000"/>
              <a:gd name="connsiteX185" fmla="*/ 6320 w 10088"/>
              <a:gd name="connsiteY185" fmla="*/ 4484 h 10000"/>
              <a:gd name="connsiteX186" fmla="*/ 6437 w 10088"/>
              <a:gd name="connsiteY186" fmla="*/ 4447 h 10000"/>
              <a:gd name="connsiteX187" fmla="*/ 6433 w 10088"/>
              <a:gd name="connsiteY187" fmla="*/ 4422 h 10000"/>
              <a:gd name="connsiteX188" fmla="*/ 6543 w 10088"/>
              <a:gd name="connsiteY188" fmla="*/ 4398 h 10000"/>
              <a:gd name="connsiteX189" fmla="*/ 6552 w 10088"/>
              <a:gd name="connsiteY189" fmla="*/ 4337 h 10000"/>
              <a:gd name="connsiteX190" fmla="*/ 6638 w 10088"/>
              <a:gd name="connsiteY190" fmla="*/ 4325 h 10000"/>
              <a:gd name="connsiteX191" fmla="*/ 6646 w 10088"/>
              <a:gd name="connsiteY191" fmla="*/ 4253 h 10000"/>
              <a:gd name="connsiteX192" fmla="*/ 6737 w 10088"/>
              <a:gd name="connsiteY192" fmla="*/ 4245 h 10000"/>
              <a:gd name="connsiteX193" fmla="*/ 6879 w 10088"/>
              <a:gd name="connsiteY193" fmla="*/ 4260 h 10000"/>
              <a:gd name="connsiteX194" fmla="*/ 7033 w 10088"/>
              <a:gd name="connsiteY194" fmla="*/ 4202 h 10000"/>
              <a:gd name="connsiteX195" fmla="*/ 7088 w 10088"/>
              <a:gd name="connsiteY195" fmla="*/ 4137 h 10000"/>
              <a:gd name="connsiteX196" fmla="*/ 7279 w 10088"/>
              <a:gd name="connsiteY196" fmla="*/ 4070 h 10000"/>
              <a:gd name="connsiteX197" fmla="*/ 7374 w 10088"/>
              <a:gd name="connsiteY197" fmla="*/ 4111 h 10000"/>
              <a:gd name="connsiteX198" fmla="*/ 7520 w 10088"/>
              <a:gd name="connsiteY198" fmla="*/ 4066 h 10000"/>
              <a:gd name="connsiteX199" fmla="*/ 7556 w 10088"/>
              <a:gd name="connsiteY199" fmla="*/ 4009 h 10000"/>
              <a:gd name="connsiteX200" fmla="*/ 7666 w 10088"/>
              <a:gd name="connsiteY200" fmla="*/ 3970 h 10000"/>
              <a:gd name="connsiteX201" fmla="*/ 7761 w 10088"/>
              <a:gd name="connsiteY201" fmla="*/ 3987 h 10000"/>
              <a:gd name="connsiteX202" fmla="*/ 7820 w 10088"/>
              <a:gd name="connsiteY202" fmla="*/ 3958 h 10000"/>
              <a:gd name="connsiteX203" fmla="*/ 7984 w 10088"/>
              <a:gd name="connsiteY203" fmla="*/ 3917 h 10000"/>
              <a:gd name="connsiteX204" fmla="*/ 8052 w 10088"/>
              <a:gd name="connsiteY204" fmla="*/ 3864 h 10000"/>
              <a:gd name="connsiteX205" fmla="*/ 8144 w 10088"/>
              <a:gd name="connsiteY205" fmla="*/ 3842 h 10000"/>
              <a:gd name="connsiteX206" fmla="*/ 8649 w 10088"/>
              <a:gd name="connsiteY206" fmla="*/ 3522 h 10000"/>
              <a:gd name="connsiteX207" fmla="*/ 9983 w 10088"/>
              <a:gd name="connsiteY207" fmla="*/ 1465 h 10000"/>
              <a:gd name="connsiteX208" fmla="*/ 10000 w 10088"/>
              <a:gd name="connsiteY208" fmla="*/ 1271 h 10000"/>
              <a:gd name="connsiteX209" fmla="*/ 9969 w 10088"/>
              <a:gd name="connsiteY209" fmla="*/ 1194 h 10000"/>
              <a:gd name="connsiteX210" fmla="*/ 9909 w 10088"/>
              <a:gd name="connsiteY210" fmla="*/ 1159 h 10000"/>
              <a:gd name="connsiteX211" fmla="*/ 9858 w 10088"/>
              <a:gd name="connsiteY211" fmla="*/ 978 h 10000"/>
              <a:gd name="connsiteX212" fmla="*/ 9918 w 10088"/>
              <a:gd name="connsiteY212" fmla="*/ 831 h 10000"/>
              <a:gd name="connsiteX213" fmla="*/ 9481 w 10088"/>
              <a:gd name="connsiteY213" fmla="*/ 517 h 10000"/>
              <a:gd name="connsiteX214" fmla="*/ 9267 w 10088"/>
              <a:gd name="connsiteY214" fmla="*/ 440 h 10000"/>
              <a:gd name="connsiteX215" fmla="*/ 8871 w 10088"/>
              <a:gd name="connsiteY215" fmla="*/ 389 h 10000"/>
              <a:gd name="connsiteX216" fmla="*/ 8052 w 10088"/>
              <a:gd name="connsiteY216" fmla="*/ 26 h 10000"/>
              <a:gd name="connsiteX217" fmla="*/ 8025 w 10088"/>
              <a:gd name="connsiteY217" fmla="*/ 2 h 10000"/>
              <a:gd name="connsiteX218" fmla="*/ 7747 w 10088"/>
              <a:gd name="connsiteY218" fmla="*/ 0 h 10000"/>
              <a:gd name="connsiteX219" fmla="*/ 7684 w 10088"/>
              <a:gd name="connsiteY219" fmla="*/ 14 h 10000"/>
              <a:gd name="connsiteX220" fmla="*/ 7698 w 10088"/>
              <a:gd name="connsiteY220" fmla="*/ 61 h 10000"/>
              <a:gd name="connsiteX221" fmla="*/ 7752 w 10088"/>
              <a:gd name="connsiteY221" fmla="*/ 86 h 10000"/>
              <a:gd name="connsiteX222" fmla="*/ 7767 w 10088"/>
              <a:gd name="connsiteY222" fmla="*/ 139 h 10000"/>
              <a:gd name="connsiteX223" fmla="*/ 7747 w 10088"/>
              <a:gd name="connsiteY223" fmla="*/ 181 h 10000"/>
              <a:gd name="connsiteX224" fmla="*/ 7698 w 10088"/>
              <a:gd name="connsiteY224" fmla="*/ 208 h 10000"/>
              <a:gd name="connsiteX225" fmla="*/ 7661 w 10088"/>
              <a:gd name="connsiteY225" fmla="*/ 283 h 10000"/>
              <a:gd name="connsiteX226" fmla="*/ 7593 w 10088"/>
              <a:gd name="connsiteY226" fmla="*/ 336 h 10000"/>
              <a:gd name="connsiteX227" fmla="*/ 7607 w 10088"/>
              <a:gd name="connsiteY227" fmla="*/ 387 h 10000"/>
              <a:gd name="connsiteX228" fmla="*/ 7711 w 10088"/>
              <a:gd name="connsiteY228" fmla="*/ 434 h 10000"/>
              <a:gd name="connsiteX229" fmla="*/ 7643 w 10088"/>
              <a:gd name="connsiteY229" fmla="*/ 475 h 10000"/>
              <a:gd name="connsiteX230" fmla="*/ 7543 w 10088"/>
              <a:gd name="connsiteY230" fmla="*/ 485 h 10000"/>
              <a:gd name="connsiteX231" fmla="*/ 6706 w 10088"/>
              <a:gd name="connsiteY231" fmla="*/ 387 h 10000"/>
              <a:gd name="connsiteX232" fmla="*/ 6605 w 10088"/>
              <a:gd name="connsiteY232" fmla="*/ 395 h 10000"/>
              <a:gd name="connsiteX233" fmla="*/ 6547 w 10088"/>
              <a:gd name="connsiteY233" fmla="*/ 414 h 10000"/>
              <a:gd name="connsiteX234" fmla="*/ 6487 w 10088"/>
              <a:gd name="connsiteY234" fmla="*/ 462 h 10000"/>
              <a:gd name="connsiteX235" fmla="*/ 6498 w 10088"/>
              <a:gd name="connsiteY235" fmla="*/ 581 h 10000"/>
              <a:gd name="connsiteX236" fmla="*/ 6405 w 10088"/>
              <a:gd name="connsiteY236" fmla="*/ 735 h 10000"/>
              <a:gd name="connsiteX237" fmla="*/ 6292 w 10088"/>
              <a:gd name="connsiteY237" fmla="*/ 815 h 10000"/>
              <a:gd name="connsiteX238" fmla="*/ 6247 w 10088"/>
              <a:gd name="connsiteY238" fmla="*/ 805 h 10000"/>
              <a:gd name="connsiteX239" fmla="*/ 6142 w 10088"/>
              <a:gd name="connsiteY239" fmla="*/ 739 h 10000"/>
              <a:gd name="connsiteX240" fmla="*/ 6010 w 10088"/>
              <a:gd name="connsiteY240" fmla="*/ 705 h 10000"/>
              <a:gd name="connsiteX241" fmla="*/ 5868 w 10088"/>
              <a:gd name="connsiteY241" fmla="*/ 715 h 10000"/>
              <a:gd name="connsiteX242" fmla="*/ 5538 w 10088"/>
              <a:gd name="connsiteY242" fmla="*/ 866 h 10000"/>
              <a:gd name="connsiteX243" fmla="*/ 5450 w 10088"/>
              <a:gd name="connsiteY243" fmla="*/ 1017 h 10000"/>
              <a:gd name="connsiteX244" fmla="*/ 5201 w 10088"/>
              <a:gd name="connsiteY244" fmla="*/ 1153 h 10000"/>
              <a:gd name="connsiteX245" fmla="*/ 5155 w 10088"/>
              <a:gd name="connsiteY245" fmla="*/ 1222 h 10000"/>
              <a:gd name="connsiteX246" fmla="*/ 5286 w 10088"/>
              <a:gd name="connsiteY246" fmla="*/ 1344 h 10000"/>
              <a:gd name="connsiteX247" fmla="*/ 5300 w 10088"/>
              <a:gd name="connsiteY247" fmla="*/ 1412 h 10000"/>
              <a:gd name="connsiteX248" fmla="*/ 4618 w 10088"/>
              <a:gd name="connsiteY248" fmla="*/ 1813 h 10000"/>
              <a:gd name="connsiteX249" fmla="*/ 4408 w 10088"/>
              <a:gd name="connsiteY249" fmla="*/ 2070 h 10000"/>
              <a:gd name="connsiteX250" fmla="*/ 4182 w 10088"/>
              <a:gd name="connsiteY250" fmla="*/ 2135 h 10000"/>
              <a:gd name="connsiteX251" fmla="*/ 4039 w 10088"/>
              <a:gd name="connsiteY251" fmla="*/ 2131 h 10000"/>
              <a:gd name="connsiteX252" fmla="*/ 3954 w 10088"/>
              <a:gd name="connsiteY252" fmla="*/ 2153 h 10000"/>
              <a:gd name="connsiteX253" fmla="*/ 3717 w 10088"/>
              <a:gd name="connsiteY253" fmla="*/ 2793 h 10000"/>
              <a:gd name="connsiteX254" fmla="*/ 3172 w 10088"/>
              <a:gd name="connsiteY254" fmla="*/ 3166 h 10000"/>
              <a:gd name="connsiteX255" fmla="*/ 3176 w 10088"/>
              <a:gd name="connsiteY255" fmla="*/ 3225 h 10000"/>
              <a:gd name="connsiteX256" fmla="*/ 3417 w 10088"/>
              <a:gd name="connsiteY256" fmla="*/ 3392 h 10000"/>
              <a:gd name="connsiteX257" fmla="*/ 3340 w 10088"/>
              <a:gd name="connsiteY257" fmla="*/ 3573 h 10000"/>
              <a:gd name="connsiteX258" fmla="*/ 3198 w 10088"/>
              <a:gd name="connsiteY258" fmla="*/ 3640 h 10000"/>
              <a:gd name="connsiteX259" fmla="*/ 2775 w 10088"/>
              <a:gd name="connsiteY259" fmla="*/ 3595 h 10000"/>
              <a:gd name="connsiteX260" fmla="*/ 2483 w 10088"/>
              <a:gd name="connsiteY260" fmla="*/ 3620 h 10000"/>
              <a:gd name="connsiteX261" fmla="*/ 2248 w 10088"/>
              <a:gd name="connsiteY261" fmla="*/ 3673 h 10000"/>
              <a:gd name="connsiteX262" fmla="*/ 1870 w 10088"/>
              <a:gd name="connsiteY262" fmla="*/ 3840 h 10000"/>
              <a:gd name="connsiteX263" fmla="*/ 1669 w 10088"/>
              <a:gd name="connsiteY263" fmla="*/ 4042 h 10000"/>
              <a:gd name="connsiteX264" fmla="*/ 1687 w 10088"/>
              <a:gd name="connsiteY264" fmla="*/ 4154 h 10000"/>
              <a:gd name="connsiteX265" fmla="*/ 1757 w 10088"/>
              <a:gd name="connsiteY265" fmla="*/ 4241 h 10000"/>
              <a:gd name="connsiteX266" fmla="*/ 1810 w 10088"/>
              <a:gd name="connsiteY266" fmla="*/ 4276 h 10000"/>
              <a:gd name="connsiteX267" fmla="*/ 1711 w 10088"/>
              <a:gd name="connsiteY267" fmla="*/ 4331 h 10000"/>
              <a:gd name="connsiteX268" fmla="*/ 1497 w 10088"/>
              <a:gd name="connsiteY268" fmla="*/ 4710 h 10000"/>
              <a:gd name="connsiteX269" fmla="*/ 1538 w 10088"/>
              <a:gd name="connsiteY269" fmla="*/ 4732 h 10000"/>
              <a:gd name="connsiteX270" fmla="*/ 1570 w 10088"/>
              <a:gd name="connsiteY270" fmla="*/ 4828 h 10000"/>
              <a:gd name="connsiteX271" fmla="*/ 1469 w 10088"/>
              <a:gd name="connsiteY271" fmla="*/ 5227 h 10000"/>
              <a:gd name="connsiteX272" fmla="*/ 1570 w 10088"/>
              <a:gd name="connsiteY272" fmla="*/ 5329 h 10000"/>
              <a:gd name="connsiteX273" fmla="*/ 1842 w 10088"/>
              <a:gd name="connsiteY273" fmla="*/ 5441 h 10000"/>
              <a:gd name="connsiteX274" fmla="*/ 1855 w 10088"/>
              <a:gd name="connsiteY274" fmla="*/ 5578 h 10000"/>
              <a:gd name="connsiteX275" fmla="*/ 1739 w 10088"/>
              <a:gd name="connsiteY275" fmla="*/ 5690 h 10000"/>
              <a:gd name="connsiteX276" fmla="*/ 1570 w 10088"/>
              <a:gd name="connsiteY276" fmla="*/ 5759 h 10000"/>
              <a:gd name="connsiteX277" fmla="*/ 1346 w 10088"/>
              <a:gd name="connsiteY277" fmla="*/ 5787 h 10000"/>
              <a:gd name="connsiteX278" fmla="*/ 1288 w 10088"/>
              <a:gd name="connsiteY278" fmla="*/ 5826 h 10000"/>
              <a:gd name="connsiteX279" fmla="*/ 1419 w 10088"/>
              <a:gd name="connsiteY279" fmla="*/ 5920 h 10000"/>
              <a:gd name="connsiteX280" fmla="*/ 1493 w 10088"/>
              <a:gd name="connsiteY280" fmla="*/ 6142 h 10000"/>
              <a:gd name="connsiteX281" fmla="*/ 1324 w 10088"/>
              <a:gd name="connsiteY281" fmla="*/ 6333 h 10000"/>
              <a:gd name="connsiteX282" fmla="*/ 1383 w 10088"/>
              <a:gd name="connsiteY282" fmla="*/ 6392 h 10000"/>
              <a:gd name="connsiteX283" fmla="*/ 1329 w 10088"/>
              <a:gd name="connsiteY283" fmla="*/ 6492 h 10000"/>
              <a:gd name="connsiteX284" fmla="*/ 1220 w 10088"/>
              <a:gd name="connsiteY284" fmla="*/ 6561 h 10000"/>
              <a:gd name="connsiteX285" fmla="*/ 792 w 10088"/>
              <a:gd name="connsiteY285" fmla="*/ 6614 h 10000"/>
              <a:gd name="connsiteX286" fmla="*/ 765 w 10088"/>
              <a:gd name="connsiteY286" fmla="*/ 6706 h 10000"/>
              <a:gd name="connsiteX287" fmla="*/ 533 w 10088"/>
              <a:gd name="connsiteY287" fmla="*/ 6843 h 10000"/>
              <a:gd name="connsiteX288" fmla="*/ 564 w 10088"/>
              <a:gd name="connsiteY288" fmla="*/ 7040 h 10000"/>
              <a:gd name="connsiteX289" fmla="*/ 369 w 10088"/>
              <a:gd name="connsiteY289" fmla="*/ 7293 h 10000"/>
              <a:gd name="connsiteX290" fmla="*/ 236 w 10088"/>
              <a:gd name="connsiteY290" fmla="*/ 7323 h 10000"/>
              <a:gd name="connsiteX291" fmla="*/ 182 w 10088"/>
              <a:gd name="connsiteY291" fmla="*/ 7262 h 10000"/>
              <a:gd name="connsiteX292" fmla="*/ 114 w 10088"/>
              <a:gd name="connsiteY292" fmla="*/ 7354 h 10000"/>
              <a:gd name="connsiteX293" fmla="*/ 159 w 10088"/>
              <a:gd name="connsiteY293" fmla="*/ 7197 h 10000"/>
              <a:gd name="connsiteX294" fmla="*/ 131 w 10088"/>
              <a:gd name="connsiteY294" fmla="*/ 7166 h 10000"/>
              <a:gd name="connsiteX0" fmla="*/ 131 w 10000"/>
              <a:gd name="connsiteY0" fmla="*/ 7166 h 10000"/>
              <a:gd name="connsiteX1" fmla="*/ 0 w 10000"/>
              <a:gd name="connsiteY1" fmla="*/ 7248 h 10000"/>
              <a:gd name="connsiteX2" fmla="*/ 0 w 10000"/>
              <a:gd name="connsiteY2" fmla="*/ 7651 h 10000"/>
              <a:gd name="connsiteX3" fmla="*/ 73 w 10000"/>
              <a:gd name="connsiteY3" fmla="*/ 7663 h 10000"/>
              <a:gd name="connsiteX4" fmla="*/ 90 w 10000"/>
              <a:gd name="connsiteY4" fmla="*/ 7694 h 10000"/>
              <a:gd name="connsiteX5" fmla="*/ 86 w 10000"/>
              <a:gd name="connsiteY5" fmla="*/ 7749 h 10000"/>
              <a:gd name="connsiteX6" fmla="*/ 59 w 10000"/>
              <a:gd name="connsiteY6" fmla="*/ 7773 h 10000"/>
              <a:gd name="connsiteX7" fmla="*/ 168 w 10000"/>
              <a:gd name="connsiteY7" fmla="*/ 7727 h 10000"/>
              <a:gd name="connsiteX8" fmla="*/ 215 w 10000"/>
              <a:gd name="connsiteY8" fmla="*/ 7680 h 10000"/>
              <a:gd name="connsiteX9" fmla="*/ 272 w 10000"/>
              <a:gd name="connsiteY9" fmla="*/ 7712 h 10000"/>
              <a:gd name="connsiteX10" fmla="*/ 209 w 10000"/>
              <a:gd name="connsiteY10" fmla="*/ 7778 h 10000"/>
              <a:gd name="connsiteX11" fmla="*/ 277 w 10000"/>
              <a:gd name="connsiteY11" fmla="*/ 7780 h 10000"/>
              <a:gd name="connsiteX12" fmla="*/ 309 w 10000"/>
              <a:gd name="connsiteY12" fmla="*/ 7796 h 10000"/>
              <a:gd name="connsiteX13" fmla="*/ 223 w 10000"/>
              <a:gd name="connsiteY13" fmla="*/ 7818 h 10000"/>
              <a:gd name="connsiteX14" fmla="*/ 86 w 10000"/>
              <a:gd name="connsiteY14" fmla="*/ 7886 h 10000"/>
              <a:gd name="connsiteX15" fmla="*/ 329 w 10000"/>
              <a:gd name="connsiteY15" fmla="*/ 7938 h 10000"/>
              <a:gd name="connsiteX16" fmla="*/ 359 w 10000"/>
              <a:gd name="connsiteY16" fmla="*/ 8014 h 10000"/>
              <a:gd name="connsiteX17" fmla="*/ 277 w 10000"/>
              <a:gd name="connsiteY17" fmla="*/ 8126 h 10000"/>
              <a:gd name="connsiteX18" fmla="*/ 456 w 10000"/>
              <a:gd name="connsiteY18" fmla="*/ 8118 h 10000"/>
              <a:gd name="connsiteX19" fmla="*/ 469 w 10000"/>
              <a:gd name="connsiteY19" fmla="*/ 8203 h 10000"/>
              <a:gd name="connsiteX20" fmla="*/ 350 w 10000"/>
              <a:gd name="connsiteY20" fmla="*/ 8260 h 10000"/>
              <a:gd name="connsiteX21" fmla="*/ 369 w 10000"/>
              <a:gd name="connsiteY21" fmla="*/ 8370 h 10000"/>
              <a:gd name="connsiteX22" fmla="*/ 323 w 10000"/>
              <a:gd name="connsiteY22" fmla="*/ 8456 h 10000"/>
              <a:gd name="connsiteX23" fmla="*/ 464 w 10000"/>
              <a:gd name="connsiteY23" fmla="*/ 8464 h 10000"/>
              <a:gd name="connsiteX24" fmla="*/ 601 w 10000"/>
              <a:gd name="connsiteY24" fmla="*/ 8792 h 10000"/>
              <a:gd name="connsiteX25" fmla="*/ 760 w 10000"/>
              <a:gd name="connsiteY25" fmla="*/ 8876 h 10000"/>
              <a:gd name="connsiteX26" fmla="*/ 828 w 10000"/>
              <a:gd name="connsiteY26" fmla="*/ 8965 h 10000"/>
              <a:gd name="connsiteX27" fmla="*/ 1001 w 10000"/>
              <a:gd name="connsiteY27" fmla="*/ 9030 h 10000"/>
              <a:gd name="connsiteX28" fmla="*/ 1111 w 10000"/>
              <a:gd name="connsiteY28" fmla="*/ 9112 h 10000"/>
              <a:gd name="connsiteX29" fmla="*/ 1097 w 10000"/>
              <a:gd name="connsiteY29" fmla="*/ 9171 h 10000"/>
              <a:gd name="connsiteX30" fmla="*/ 988 w 10000"/>
              <a:gd name="connsiteY30" fmla="*/ 9193 h 10000"/>
              <a:gd name="connsiteX31" fmla="*/ 869 w 10000"/>
              <a:gd name="connsiteY31" fmla="*/ 9179 h 10000"/>
              <a:gd name="connsiteX32" fmla="*/ 832 w 10000"/>
              <a:gd name="connsiteY32" fmla="*/ 9204 h 10000"/>
              <a:gd name="connsiteX33" fmla="*/ 923 w 10000"/>
              <a:gd name="connsiteY33" fmla="*/ 9332 h 10000"/>
              <a:gd name="connsiteX34" fmla="*/ 796 w 10000"/>
              <a:gd name="connsiteY34" fmla="*/ 9322 h 10000"/>
              <a:gd name="connsiteX35" fmla="*/ 687 w 10000"/>
              <a:gd name="connsiteY35" fmla="*/ 9291 h 10000"/>
              <a:gd name="connsiteX36" fmla="*/ 668 w 10000"/>
              <a:gd name="connsiteY36" fmla="*/ 9338 h 10000"/>
              <a:gd name="connsiteX37" fmla="*/ 1028 w 10000"/>
              <a:gd name="connsiteY37" fmla="*/ 9776 h 10000"/>
              <a:gd name="connsiteX38" fmla="*/ 970 w 10000"/>
              <a:gd name="connsiteY38" fmla="*/ 9817 h 10000"/>
              <a:gd name="connsiteX39" fmla="*/ 929 w 10000"/>
              <a:gd name="connsiteY39" fmla="*/ 9902 h 10000"/>
              <a:gd name="connsiteX40" fmla="*/ 878 w 10000"/>
              <a:gd name="connsiteY40" fmla="*/ 9908 h 10000"/>
              <a:gd name="connsiteX41" fmla="*/ 846 w 10000"/>
              <a:gd name="connsiteY41" fmla="*/ 9945 h 10000"/>
              <a:gd name="connsiteX42" fmla="*/ 1064 w 10000"/>
              <a:gd name="connsiteY42" fmla="*/ 9949 h 10000"/>
              <a:gd name="connsiteX43" fmla="*/ 1256 w 10000"/>
              <a:gd name="connsiteY43" fmla="*/ 9986 h 10000"/>
              <a:gd name="connsiteX44" fmla="*/ 1574 w 10000"/>
              <a:gd name="connsiteY44" fmla="*/ 9947 h 10000"/>
              <a:gd name="connsiteX45" fmla="*/ 1860 w 10000"/>
              <a:gd name="connsiteY45" fmla="*/ 9953 h 10000"/>
              <a:gd name="connsiteX46" fmla="*/ 2030 w 10000"/>
              <a:gd name="connsiteY46" fmla="*/ 10000 h 10000"/>
              <a:gd name="connsiteX47" fmla="*/ 2121 w 10000"/>
              <a:gd name="connsiteY47" fmla="*/ 9969 h 10000"/>
              <a:gd name="connsiteX48" fmla="*/ 2211 w 10000"/>
              <a:gd name="connsiteY48" fmla="*/ 9868 h 10000"/>
              <a:gd name="connsiteX49" fmla="*/ 2188 w 10000"/>
              <a:gd name="connsiteY49" fmla="*/ 9703 h 10000"/>
              <a:gd name="connsiteX50" fmla="*/ 2407 w 10000"/>
              <a:gd name="connsiteY50" fmla="*/ 9517 h 10000"/>
              <a:gd name="connsiteX51" fmla="*/ 2566 w 10000"/>
              <a:gd name="connsiteY51" fmla="*/ 9546 h 10000"/>
              <a:gd name="connsiteX52" fmla="*/ 2657 w 10000"/>
              <a:gd name="connsiteY52" fmla="*/ 9472 h 10000"/>
              <a:gd name="connsiteX53" fmla="*/ 2834 w 10000"/>
              <a:gd name="connsiteY53" fmla="*/ 9430 h 10000"/>
              <a:gd name="connsiteX54" fmla="*/ 3075 w 10000"/>
              <a:gd name="connsiteY54" fmla="*/ 9440 h 10000"/>
              <a:gd name="connsiteX55" fmla="*/ 3221 w 10000"/>
              <a:gd name="connsiteY55" fmla="*/ 9470 h 10000"/>
              <a:gd name="connsiteX56" fmla="*/ 3413 w 10000"/>
              <a:gd name="connsiteY56" fmla="*/ 9456 h 10000"/>
              <a:gd name="connsiteX57" fmla="*/ 3608 w 10000"/>
              <a:gd name="connsiteY57" fmla="*/ 9489 h 10000"/>
              <a:gd name="connsiteX58" fmla="*/ 3803 w 10000"/>
              <a:gd name="connsiteY58" fmla="*/ 9493 h 10000"/>
              <a:gd name="connsiteX59" fmla="*/ 4240 w 10000"/>
              <a:gd name="connsiteY59" fmla="*/ 9061 h 10000"/>
              <a:gd name="connsiteX60" fmla="*/ 4350 w 10000"/>
              <a:gd name="connsiteY60" fmla="*/ 8711 h 10000"/>
              <a:gd name="connsiteX61" fmla="*/ 4527 w 10000"/>
              <a:gd name="connsiteY61" fmla="*/ 8554 h 10000"/>
              <a:gd name="connsiteX62" fmla="*/ 4527 w 10000"/>
              <a:gd name="connsiteY62" fmla="*/ 8472 h 10000"/>
              <a:gd name="connsiteX63" fmla="*/ 4463 w 10000"/>
              <a:gd name="connsiteY63" fmla="*/ 8425 h 10000"/>
              <a:gd name="connsiteX64" fmla="*/ 4568 w 10000"/>
              <a:gd name="connsiteY64" fmla="*/ 8352 h 10000"/>
              <a:gd name="connsiteX65" fmla="*/ 4549 w 10000"/>
              <a:gd name="connsiteY65" fmla="*/ 8289 h 10000"/>
              <a:gd name="connsiteX66" fmla="*/ 4477 w 10000"/>
              <a:gd name="connsiteY66" fmla="*/ 8236 h 10000"/>
              <a:gd name="connsiteX67" fmla="*/ 4463 w 10000"/>
              <a:gd name="connsiteY67" fmla="*/ 8199 h 10000"/>
              <a:gd name="connsiteX68" fmla="*/ 4481 w 10000"/>
              <a:gd name="connsiteY68" fmla="*/ 8169 h 10000"/>
              <a:gd name="connsiteX69" fmla="*/ 4577 w 10000"/>
              <a:gd name="connsiteY69" fmla="*/ 8193 h 10000"/>
              <a:gd name="connsiteX70" fmla="*/ 4654 w 10000"/>
              <a:gd name="connsiteY70" fmla="*/ 8191 h 10000"/>
              <a:gd name="connsiteX71" fmla="*/ 4612 w 10000"/>
              <a:gd name="connsiteY71" fmla="*/ 8140 h 10000"/>
              <a:gd name="connsiteX72" fmla="*/ 4626 w 10000"/>
              <a:gd name="connsiteY72" fmla="*/ 8112 h 10000"/>
              <a:gd name="connsiteX73" fmla="*/ 4681 w 10000"/>
              <a:gd name="connsiteY73" fmla="*/ 8069 h 10000"/>
              <a:gd name="connsiteX74" fmla="*/ 4672 w 10000"/>
              <a:gd name="connsiteY74" fmla="*/ 8034 h 10000"/>
              <a:gd name="connsiteX75" fmla="*/ 4723 w 10000"/>
              <a:gd name="connsiteY75" fmla="*/ 7916 h 10000"/>
              <a:gd name="connsiteX76" fmla="*/ 4710 w 10000"/>
              <a:gd name="connsiteY76" fmla="*/ 7881 h 10000"/>
              <a:gd name="connsiteX77" fmla="*/ 4445 w 10000"/>
              <a:gd name="connsiteY77" fmla="*/ 7792 h 10000"/>
              <a:gd name="connsiteX78" fmla="*/ 4481 w 10000"/>
              <a:gd name="connsiteY78" fmla="*/ 7788 h 10000"/>
              <a:gd name="connsiteX79" fmla="*/ 4622 w 10000"/>
              <a:gd name="connsiteY79" fmla="*/ 7812 h 10000"/>
              <a:gd name="connsiteX80" fmla="*/ 4773 w 10000"/>
              <a:gd name="connsiteY80" fmla="*/ 7804 h 10000"/>
              <a:gd name="connsiteX81" fmla="*/ 4818 w 10000"/>
              <a:gd name="connsiteY81" fmla="*/ 7771 h 10000"/>
              <a:gd name="connsiteX82" fmla="*/ 4672 w 10000"/>
              <a:gd name="connsiteY82" fmla="*/ 7710 h 10000"/>
              <a:gd name="connsiteX83" fmla="*/ 4236 w 10000"/>
              <a:gd name="connsiteY83" fmla="*/ 7670 h 10000"/>
              <a:gd name="connsiteX84" fmla="*/ 4266 w 10000"/>
              <a:gd name="connsiteY84" fmla="*/ 7651 h 10000"/>
              <a:gd name="connsiteX85" fmla="*/ 4622 w 10000"/>
              <a:gd name="connsiteY85" fmla="*/ 7639 h 10000"/>
              <a:gd name="connsiteX86" fmla="*/ 4818 w 10000"/>
              <a:gd name="connsiteY86" fmla="*/ 7676 h 10000"/>
              <a:gd name="connsiteX87" fmla="*/ 4932 w 10000"/>
              <a:gd name="connsiteY87" fmla="*/ 7651 h 10000"/>
              <a:gd name="connsiteX88" fmla="*/ 4973 w 10000"/>
              <a:gd name="connsiteY88" fmla="*/ 7588 h 10000"/>
              <a:gd name="connsiteX89" fmla="*/ 5177 w 10000"/>
              <a:gd name="connsiteY89" fmla="*/ 7588 h 10000"/>
              <a:gd name="connsiteX90" fmla="*/ 5455 w 10000"/>
              <a:gd name="connsiteY90" fmla="*/ 7462 h 10000"/>
              <a:gd name="connsiteX91" fmla="*/ 5465 w 10000"/>
              <a:gd name="connsiteY91" fmla="*/ 7378 h 10000"/>
              <a:gd name="connsiteX92" fmla="*/ 5582 w 10000"/>
              <a:gd name="connsiteY92" fmla="*/ 7397 h 10000"/>
              <a:gd name="connsiteX93" fmla="*/ 5578 w 10000"/>
              <a:gd name="connsiteY93" fmla="*/ 7482 h 10000"/>
              <a:gd name="connsiteX94" fmla="*/ 5764 w 10000"/>
              <a:gd name="connsiteY94" fmla="*/ 7476 h 10000"/>
              <a:gd name="connsiteX95" fmla="*/ 5887 w 10000"/>
              <a:gd name="connsiteY95" fmla="*/ 7388 h 10000"/>
              <a:gd name="connsiteX96" fmla="*/ 6116 w 10000"/>
              <a:gd name="connsiteY96" fmla="*/ 7309 h 10000"/>
              <a:gd name="connsiteX97" fmla="*/ 6078 w 10000"/>
              <a:gd name="connsiteY97" fmla="*/ 7219 h 10000"/>
              <a:gd name="connsiteX98" fmla="*/ 6146 w 10000"/>
              <a:gd name="connsiteY98" fmla="*/ 7254 h 10000"/>
              <a:gd name="connsiteX99" fmla="*/ 6251 w 10000"/>
              <a:gd name="connsiteY99" fmla="*/ 7254 h 10000"/>
              <a:gd name="connsiteX100" fmla="*/ 6251 w 10000"/>
              <a:gd name="connsiteY100" fmla="*/ 7213 h 10000"/>
              <a:gd name="connsiteX101" fmla="*/ 6347 w 10000"/>
              <a:gd name="connsiteY101" fmla="*/ 7181 h 10000"/>
              <a:gd name="connsiteX102" fmla="*/ 6333 w 10000"/>
              <a:gd name="connsiteY102" fmla="*/ 7148 h 10000"/>
              <a:gd name="connsiteX103" fmla="*/ 5515 w 10000"/>
              <a:gd name="connsiteY103" fmla="*/ 7215 h 10000"/>
              <a:gd name="connsiteX104" fmla="*/ 5323 w 10000"/>
              <a:gd name="connsiteY104" fmla="*/ 7195 h 10000"/>
              <a:gd name="connsiteX105" fmla="*/ 5246 w 10000"/>
              <a:gd name="connsiteY105" fmla="*/ 7219 h 10000"/>
              <a:gd name="connsiteX106" fmla="*/ 5219 w 10000"/>
              <a:gd name="connsiteY106" fmla="*/ 7173 h 10000"/>
              <a:gd name="connsiteX107" fmla="*/ 5128 w 10000"/>
              <a:gd name="connsiteY107" fmla="*/ 7132 h 10000"/>
              <a:gd name="connsiteX108" fmla="*/ 4763 w 10000"/>
              <a:gd name="connsiteY108" fmla="*/ 7052 h 10000"/>
              <a:gd name="connsiteX109" fmla="*/ 4549 w 10000"/>
              <a:gd name="connsiteY109" fmla="*/ 7065 h 10000"/>
              <a:gd name="connsiteX110" fmla="*/ 4463 w 10000"/>
              <a:gd name="connsiteY110" fmla="*/ 7042 h 10000"/>
              <a:gd name="connsiteX111" fmla="*/ 4554 w 10000"/>
              <a:gd name="connsiteY111" fmla="*/ 7022 h 10000"/>
              <a:gd name="connsiteX112" fmla="*/ 4622 w 10000"/>
              <a:gd name="connsiteY112" fmla="*/ 6979 h 10000"/>
              <a:gd name="connsiteX113" fmla="*/ 4723 w 10000"/>
              <a:gd name="connsiteY113" fmla="*/ 6993 h 10000"/>
              <a:gd name="connsiteX114" fmla="*/ 4845 w 10000"/>
              <a:gd name="connsiteY114" fmla="*/ 6981 h 10000"/>
              <a:gd name="connsiteX115" fmla="*/ 5027 w 10000"/>
              <a:gd name="connsiteY115" fmla="*/ 6995 h 10000"/>
              <a:gd name="connsiteX116" fmla="*/ 5049 w 10000"/>
              <a:gd name="connsiteY116" fmla="*/ 6989 h 10000"/>
              <a:gd name="connsiteX117" fmla="*/ 5191 w 10000"/>
              <a:gd name="connsiteY117" fmla="*/ 7056 h 10000"/>
              <a:gd name="connsiteX118" fmla="*/ 5296 w 10000"/>
              <a:gd name="connsiteY118" fmla="*/ 7032 h 10000"/>
              <a:gd name="connsiteX119" fmla="*/ 5304 w 10000"/>
              <a:gd name="connsiteY119" fmla="*/ 7010 h 10000"/>
              <a:gd name="connsiteX120" fmla="*/ 5400 w 10000"/>
              <a:gd name="connsiteY120" fmla="*/ 7048 h 10000"/>
              <a:gd name="connsiteX121" fmla="*/ 5528 w 10000"/>
              <a:gd name="connsiteY121" fmla="*/ 7069 h 10000"/>
              <a:gd name="connsiteX122" fmla="*/ 5578 w 10000"/>
              <a:gd name="connsiteY122" fmla="*/ 7030 h 10000"/>
              <a:gd name="connsiteX123" fmla="*/ 5619 w 10000"/>
              <a:gd name="connsiteY123" fmla="*/ 7052 h 10000"/>
              <a:gd name="connsiteX124" fmla="*/ 5677 w 10000"/>
              <a:gd name="connsiteY124" fmla="*/ 7126 h 10000"/>
              <a:gd name="connsiteX125" fmla="*/ 5800 w 10000"/>
              <a:gd name="connsiteY125" fmla="*/ 7144 h 10000"/>
              <a:gd name="connsiteX126" fmla="*/ 6301 w 10000"/>
              <a:gd name="connsiteY126" fmla="*/ 7034 h 10000"/>
              <a:gd name="connsiteX127" fmla="*/ 6547 w 10000"/>
              <a:gd name="connsiteY127" fmla="*/ 6879 h 10000"/>
              <a:gd name="connsiteX128" fmla="*/ 6605 w 10000"/>
              <a:gd name="connsiteY128" fmla="*/ 6765 h 10000"/>
              <a:gd name="connsiteX129" fmla="*/ 6516 w 10000"/>
              <a:gd name="connsiteY129" fmla="*/ 6663 h 10000"/>
              <a:gd name="connsiteX130" fmla="*/ 6328 w 10000"/>
              <a:gd name="connsiteY130" fmla="*/ 6602 h 10000"/>
              <a:gd name="connsiteX131" fmla="*/ 6196 w 10000"/>
              <a:gd name="connsiteY131" fmla="*/ 6502 h 10000"/>
              <a:gd name="connsiteX132" fmla="*/ 6320 w 10000"/>
              <a:gd name="connsiteY132" fmla="*/ 6498 h 10000"/>
              <a:gd name="connsiteX133" fmla="*/ 6311 w 10000"/>
              <a:gd name="connsiteY133" fmla="*/ 6474 h 10000"/>
              <a:gd name="connsiteX134" fmla="*/ 5988 w 10000"/>
              <a:gd name="connsiteY134" fmla="*/ 6403 h 10000"/>
              <a:gd name="connsiteX135" fmla="*/ 5975 w 10000"/>
              <a:gd name="connsiteY135" fmla="*/ 6339 h 10000"/>
              <a:gd name="connsiteX136" fmla="*/ 5914 w 10000"/>
              <a:gd name="connsiteY136" fmla="*/ 6272 h 10000"/>
              <a:gd name="connsiteX137" fmla="*/ 5659 w 10000"/>
              <a:gd name="connsiteY137" fmla="*/ 6284 h 10000"/>
              <a:gd name="connsiteX138" fmla="*/ 5568 w 10000"/>
              <a:gd name="connsiteY138" fmla="*/ 6213 h 10000"/>
              <a:gd name="connsiteX139" fmla="*/ 5515 w 10000"/>
              <a:gd name="connsiteY139" fmla="*/ 6209 h 10000"/>
              <a:gd name="connsiteX140" fmla="*/ 5515 w 10000"/>
              <a:gd name="connsiteY140" fmla="*/ 6238 h 10000"/>
              <a:gd name="connsiteX141" fmla="*/ 5400 w 10000"/>
              <a:gd name="connsiteY141" fmla="*/ 6358 h 10000"/>
              <a:gd name="connsiteX142" fmla="*/ 5277 w 10000"/>
              <a:gd name="connsiteY142" fmla="*/ 6429 h 10000"/>
              <a:gd name="connsiteX143" fmla="*/ 4890 w 10000"/>
              <a:gd name="connsiteY143" fmla="*/ 6551 h 10000"/>
              <a:gd name="connsiteX144" fmla="*/ 4754 w 10000"/>
              <a:gd name="connsiteY144" fmla="*/ 6547 h 10000"/>
              <a:gd name="connsiteX145" fmla="*/ 4568 w 10000"/>
              <a:gd name="connsiteY145" fmla="*/ 6565 h 10000"/>
              <a:gd name="connsiteX146" fmla="*/ 4463 w 10000"/>
              <a:gd name="connsiteY146" fmla="*/ 6547 h 10000"/>
              <a:gd name="connsiteX147" fmla="*/ 4599 w 10000"/>
              <a:gd name="connsiteY147" fmla="*/ 6513 h 10000"/>
              <a:gd name="connsiteX148" fmla="*/ 4777 w 10000"/>
              <a:gd name="connsiteY148" fmla="*/ 6498 h 10000"/>
              <a:gd name="connsiteX149" fmla="*/ 4924 w 10000"/>
              <a:gd name="connsiteY149" fmla="*/ 6441 h 10000"/>
              <a:gd name="connsiteX150" fmla="*/ 5067 w 10000"/>
              <a:gd name="connsiteY150" fmla="*/ 6415 h 10000"/>
              <a:gd name="connsiteX151" fmla="*/ 5337 w 10000"/>
              <a:gd name="connsiteY151" fmla="*/ 6317 h 10000"/>
              <a:gd name="connsiteX152" fmla="*/ 5387 w 10000"/>
              <a:gd name="connsiteY152" fmla="*/ 6252 h 10000"/>
              <a:gd name="connsiteX153" fmla="*/ 5391 w 10000"/>
              <a:gd name="connsiteY153" fmla="*/ 6168 h 10000"/>
              <a:gd name="connsiteX154" fmla="*/ 5269 w 10000"/>
              <a:gd name="connsiteY154" fmla="*/ 6154 h 10000"/>
              <a:gd name="connsiteX155" fmla="*/ 5323 w 10000"/>
              <a:gd name="connsiteY155" fmla="*/ 6103 h 10000"/>
              <a:gd name="connsiteX156" fmla="*/ 5341 w 10000"/>
              <a:gd name="connsiteY156" fmla="*/ 6038 h 10000"/>
              <a:gd name="connsiteX157" fmla="*/ 5290 w 10000"/>
              <a:gd name="connsiteY157" fmla="*/ 5977 h 10000"/>
              <a:gd name="connsiteX158" fmla="*/ 5259 w 10000"/>
              <a:gd name="connsiteY158" fmla="*/ 5533 h 10000"/>
              <a:gd name="connsiteX159" fmla="*/ 5333 w 10000"/>
              <a:gd name="connsiteY159" fmla="*/ 5437 h 10000"/>
              <a:gd name="connsiteX160" fmla="*/ 5314 w 10000"/>
              <a:gd name="connsiteY160" fmla="*/ 5398 h 10000"/>
              <a:gd name="connsiteX161" fmla="*/ 5528 w 10000"/>
              <a:gd name="connsiteY161" fmla="*/ 5455 h 10000"/>
              <a:gd name="connsiteX162" fmla="*/ 5542 w 10000"/>
              <a:gd name="connsiteY162" fmla="*/ 5402 h 10000"/>
              <a:gd name="connsiteX163" fmla="*/ 5496 w 10000"/>
              <a:gd name="connsiteY163" fmla="*/ 5264 h 10000"/>
              <a:gd name="connsiteX164" fmla="*/ 5649 w 10000"/>
              <a:gd name="connsiteY164" fmla="*/ 5019 h 10000"/>
              <a:gd name="connsiteX165" fmla="*/ 5555 w 10000"/>
              <a:gd name="connsiteY165" fmla="*/ 4960 h 10000"/>
              <a:gd name="connsiteX166" fmla="*/ 5519 w 10000"/>
              <a:gd name="connsiteY166" fmla="*/ 4905 h 10000"/>
              <a:gd name="connsiteX167" fmla="*/ 5532 w 10000"/>
              <a:gd name="connsiteY167" fmla="*/ 4816 h 10000"/>
              <a:gd name="connsiteX168" fmla="*/ 5756 w 10000"/>
              <a:gd name="connsiteY168" fmla="*/ 4875 h 10000"/>
              <a:gd name="connsiteX169" fmla="*/ 5764 w 10000"/>
              <a:gd name="connsiteY169" fmla="*/ 4858 h 10000"/>
              <a:gd name="connsiteX170" fmla="*/ 5827 w 10000"/>
              <a:gd name="connsiteY170" fmla="*/ 4842 h 10000"/>
              <a:gd name="connsiteX171" fmla="*/ 5914 w 10000"/>
              <a:gd name="connsiteY171" fmla="*/ 4785 h 10000"/>
              <a:gd name="connsiteX172" fmla="*/ 5928 w 10000"/>
              <a:gd name="connsiteY172" fmla="*/ 4769 h 10000"/>
              <a:gd name="connsiteX173" fmla="*/ 5910 w 10000"/>
              <a:gd name="connsiteY173" fmla="*/ 4748 h 10000"/>
              <a:gd name="connsiteX174" fmla="*/ 5954 w 10000"/>
              <a:gd name="connsiteY174" fmla="*/ 4647 h 10000"/>
              <a:gd name="connsiteX175" fmla="*/ 5901 w 10000"/>
              <a:gd name="connsiteY175" fmla="*/ 4581 h 10000"/>
              <a:gd name="connsiteX176" fmla="*/ 5910 w 10000"/>
              <a:gd name="connsiteY176" fmla="*/ 4528 h 10000"/>
              <a:gd name="connsiteX177" fmla="*/ 5941 w 10000"/>
              <a:gd name="connsiteY177" fmla="*/ 4590 h 10000"/>
              <a:gd name="connsiteX178" fmla="*/ 6064 w 10000"/>
              <a:gd name="connsiteY178" fmla="*/ 4636 h 10000"/>
              <a:gd name="connsiteX179" fmla="*/ 6116 w 10000"/>
              <a:gd name="connsiteY179" fmla="*/ 4630 h 10000"/>
              <a:gd name="connsiteX180" fmla="*/ 6196 w 10000"/>
              <a:gd name="connsiteY180" fmla="*/ 4569 h 10000"/>
              <a:gd name="connsiteX181" fmla="*/ 6283 w 10000"/>
              <a:gd name="connsiteY181" fmla="*/ 4594 h 10000"/>
              <a:gd name="connsiteX182" fmla="*/ 6307 w 10000"/>
              <a:gd name="connsiteY182" fmla="*/ 4545 h 10000"/>
              <a:gd name="connsiteX183" fmla="*/ 6365 w 10000"/>
              <a:gd name="connsiteY183" fmla="*/ 4512 h 10000"/>
              <a:gd name="connsiteX184" fmla="*/ 6205 w 10000"/>
              <a:gd name="connsiteY184" fmla="*/ 4477 h 10000"/>
              <a:gd name="connsiteX185" fmla="*/ 6320 w 10000"/>
              <a:gd name="connsiteY185" fmla="*/ 4484 h 10000"/>
              <a:gd name="connsiteX186" fmla="*/ 6437 w 10000"/>
              <a:gd name="connsiteY186" fmla="*/ 4447 h 10000"/>
              <a:gd name="connsiteX187" fmla="*/ 6433 w 10000"/>
              <a:gd name="connsiteY187" fmla="*/ 4422 h 10000"/>
              <a:gd name="connsiteX188" fmla="*/ 6543 w 10000"/>
              <a:gd name="connsiteY188" fmla="*/ 4398 h 10000"/>
              <a:gd name="connsiteX189" fmla="*/ 6552 w 10000"/>
              <a:gd name="connsiteY189" fmla="*/ 4337 h 10000"/>
              <a:gd name="connsiteX190" fmla="*/ 6638 w 10000"/>
              <a:gd name="connsiteY190" fmla="*/ 4325 h 10000"/>
              <a:gd name="connsiteX191" fmla="*/ 6646 w 10000"/>
              <a:gd name="connsiteY191" fmla="*/ 4253 h 10000"/>
              <a:gd name="connsiteX192" fmla="*/ 6737 w 10000"/>
              <a:gd name="connsiteY192" fmla="*/ 4245 h 10000"/>
              <a:gd name="connsiteX193" fmla="*/ 6879 w 10000"/>
              <a:gd name="connsiteY193" fmla="*/ 4260 h 10000"/>
              <a:gd name="connsiteX194" fmla="*/ 7033 w 10000"/>
              <a:gd name="connsiteY194" fmla="*/ 4202 h 10000"/>
              <a:gd name="connsiteX195" fmla="*/ 7088 w 10000"/>
              <a:gd name="connsiteY195" fmla="*/ 4137 h 10000"/>
              <a:gd name="connsiteX196" fmla="*/ 7279 w 10000"/>
              <a:gd name="connsiteY196" fmla="*/ 4070 h 10000"/>
              <a:gd name="connsiteX197" fmla="*/ 7374 w 10000"/>
              <a:gd name="connsiteY197" fmla="*/ 4111 h 10000"/>
              <a:gd name="connsiteX198" fmla="*/ 7520 w 10000"/>
              <a:gd name="connsiteY198" fmla="*/ 4066 h 10000"/>
              <a:gd name="connsiteX199" fmla="*/ 7556 w 10000"/>
              <a:gd name="connsiteY199" fmla="*/ 4009 h 10000"/>
              <a:gd name="connsiteX200" fmla="*/ 7666 w 10000"/>
              <a:gd name="connsiteY200" fmla="*/ 3970 h 10000"/>
              <a:gd name="connsiteX201" fmla="*/ 7761 w 10000"/>
              <a:gd name="connsiteY201" fmla="*/ 3987 h 10000"/>
              <a:gd name="connsiteX202" fmla="*/ 7820 w 10000"/>
              <a:gd name="connsiteY202" fmla="*/ 3958 h 10000"/>
              <a:gd name="connsiteX203" fmla="*/ 7984 w 10000"/>
              <a:gd name="connsiteY203" fmla="*/ 3917 h 10000"/>
              <a:gd name="connsiteX204" fmla="*/ 8052 w 10000"/>
              <a:gd name="connsiteY204" fmla="*/ 3864 h 10000"/>
              <a:gd name="connsiteX205" fmla="*/ 8144 w 10000"/>
              <a:gd name="connsiteY205" fmla="*/ 3842 h 10000"/>
              <a:gd name="connsiteX206" fmla="*/ 8649 w 10000"/>
              <a:gd name="connsiteY206" fmla="*/ 3522 h 10000"/>
              <a:gd name="connsiteX207" fmla="*/ 10000 w 10000"/>
              <a:gd name="connsiteY207" fmla="*/ 1271 h 10000"/>
              <a:gd name="connsiteX208" fmla="*/ 9969 w 10000"/>
              <a:gd name="connsiteY208" fmla="*/ 1194 h 10000"/>
              <a:gd name="connsiteX209" fmla="*/ 9909 w 10000"/>
              <a:gd name="connsiteY209" fmla="*/ 1159 h 10000"/>
              <a:gd name="connsiteX210" fmla="*/ 9858 w 10000"/>
              <a:gd name="connsiteY210" fmla="*/ 978 h 10000"/>
              <a:gd name="connsiteX211" fmla="*/ 9918 w 10000"/>
              <a:gd name="connsiteY211" fmla="*/ 831 h 10000"/>
              <a:gd name="connsiteX212" fmla="*/ 9481 w 10000"/>
              <a:gd name="connsiteY212" fmla="*/ 517 h 10000"/>
              <a:gd name="connsiteX213" fmla="*/ 9267 w 10000"/>
              <a:gd name="connsiteY213" fmla="*/ 440 h 10000"/>
              <a:gd name="connsiteX214" fmla="*/ 8871 w 10000"/>
              <a:gd name="connsiteY214" fmla="*/ 389 h 10000"/>
              <a:gd name="connsiteX215" fmla="*/ 8052 w 10000"/>
              <a:gd name="connsiteY215" fmla="*/ 26 h 10000"/>
              <a:gd name="connsiteX216" fmla="*/ 8025 w 10000"/>
              <a:gd name="connsiteY216" fmla="*/ 2 h 10000"/>
              <a:gd name="connsiteX217" fmla="*/ 7747 w 10000"/>
              <a:gd name="connsiteY217" fmla="*/ 0 h 10000"/>
              <a:gd name="connsiteX218" fmla="*/ 7684 w 10000"/>
              <a:gd name="connsiteY218" fmla="*/ 14 h 10000"/>
              <a:gd name="connsiteX219" fmla="*/ 7698 w 10000"/>
              <a:gd name="connsiteY219" fmla="*/ 61 h 10000"/>
              <a:gd name="connsiteX220" fmla="*/ 7752 w 10000"/>
              <a:gd name="connsiteY220" fmla="*/ 86 h 10000"/>
              <a:gd name="connsiteX221" fmla="*/ 7767 w 10000"/>
              <a:gd name="connsiteY221" fmla="*/ 139 h 10000"/>
              <a:gd name="connsiteX222" fmla="*/ 7747 w 10000"/>
              <a:gd name="connsiteY222" fmla="*/ 181 h 10000"/>
              <a:gd name="connsiteX223" fmla="*/ 7698 w 10000"/>
              <a:gd name="connsiteY223" fmla="*/ 208 h 10000"/>
              <a:gd name="connsiteX224" fmla="*/ 7661 w 10000"/>
              <a:gd name="connsiteY224" fmla="*/ 283 h 10000"/>
              <a:gd name="connsiteX225" fmla="*/ 7593 w 10000"/>
              <a:gd name="connsiteY225" fmla="*/ 336 h 10000"/>
              <a:gd name="connsiteX226" fmla="*/ 7607 w 10000"/>
              <a:gd name="connsiteY226" fmla="*/ 387 h 10000"/>
              <a:gd name="connsiteX227" fmla="*/ 7711 w 10000"/>
              <a:gd name="connsiteY227" fmla="*/ 434 h 10000"/>
              <a:gd name="connsiteX228" fmla="*/ 7643 w 10000"/>
              <a:gd name="connsiteY228" fmla="*/ 475 h 10000"/>
              <a:gd name="connsiteX229" fmla="*/ 7543 w 10000"/>
              <a:gd name="connsiteY229" fmla="*/ 485 h 10000"/>
              <a:gd name="connsiteX230" fmla="*/ 6706 w 10000"/>
              <a:gd name="connsiteY230" fmla="*/ 387 h 10000"/>
              <a:gd name="connsiteX231" fmla="*/ 6605 w 10000"/>
              <a:gd name="connsiteY231" fmla="*/ 395 h 10000"/>
              <a:gd name="connsiteX232" fmla="*/ 6547 w 10000"/>
              <a:gd name="connsiteY232" fmla="*/ 414 h 10000"/>
              <a:gd name="connsiteX233" fmla="*/ 6487 w 10000"/>
              <a:gd name="connsiteY233" fmla="*/ 462 h 10000"/>
              <a:gd name="connsiteX234" fmla="*/ 6498 w 10000"/>
              <a:gd name="connsiteY234" fmla="*/ 581 h 10000"/>
              <a:gd name="connsiteX235" fmla="*/ 6405 w 10000"/>
              <a:gd name="connsiteY235" fmla="*/ 735 h 10000"/>
              <a:gd name="connsiteX236" fmla="*/ 6292 w 10000"/>
              <a:gd name="connsiteY236" fmla="*/ 815 h 10000"/>
              <a:gd name="connsiteX237" fmla="*/ 6247 w 10000"/>
              <a:gd name="connsiteY237" fmla="*/ 805 h 10000"/>
              <a:gd name="connsiteX238" fmla="*/ 6142 w 10000"/>
              <a:gd name="connsiteY238" fmla="*/ 739 h 10000"/>
              <a:gd name="connsiteX239" fmla="*/ 6010 w 10000"/>
              <a:gd name="connsiteY239" fmla="*/ 705 h 10000"/>
              <a:gd name="connsiteX240" fmla="*/ 5868 w 10000"/>
              <a:gd name="connsiteY240" fmla="*/ 715 h 10000"/>
              <a:gd name="connsiteX241" fmla="*/ 5538 w 10000"/>
              <a:gd name="connsiteY241" fmla="*/ 866 h 10000"/>
              <a:gd name="connsiteX242" fmla="*/ 5450 w 10000"/>
              <a:gd name="connsiteY242" fmla="*/ 1017 h 10000"/>
              <a:gd name="connsiteX243" fmla="*/ 5201 w 10000"/>
              <a:gd name="connsiteY243" fmla="*/ 1153 h 10000"/>
              <a:gd name="connsiteX244" fmla="*/ 5155 w 10000"/>
              <a:gd name="connsiteY244" fmla="*/ 1222 h 10000"/>
              <a:gd name="connsiteX245" fmla="*/ 5286 w 10000"/>
              <a:gd name="connsiteY245" fmla="*/ 1344 h 10000"/>
              <a:gd name="connsiteX246" fmla="*/ 5300 w 10000"/>
              <a:gd name="connsiteY246" fmla="*/ 1412 h 10000"/>
              <a:gd name="connsiteX247" fmla="*/ 4618 w 10000"/>
              <a:gd name="connsiteY247" fmla="*/ 1813 h 10000"/>
              <a:gd name="connsiteX248" fmla="*/ 4408 w 10000"/>
              <a:gd name="connsiteY248" fmla="*/ 2070 h 10000"/>
              <a:gd name="connsiteX249" fmla="*/ 4182 w 10000"/>
              <a:gd name="connsiteY249" fmla="*/ 2135 h 10000"/>
              <a:gd name="connsiteX250" fmla="*/ 4039 w 10000"/>
              <a:gd name="connsiteY250" fmla="*/ 2131 h 10000"/>
              <a:gd name="connsiteX251" fmla="*/ 3954 w 10000"/>
              <a:gd name="connsiteY251" fmla="*/ 2153 h 10000"/>
              <a:gd name="connsiteX252" fmla="*/ 3717 w 10000"/>
              <a:gd name="connsiteY252" fmla="*/ 2793 h 10000"/>
              <a:gd name="connsiteX253" fmla="*/ 3172 w 10000"/>
              <a:gd name="connsiteY253" fmla="*/ 3166 h 10000"/>
              <a:gd name="connsiteX254" fmla="*/ 3176 w 10000"/>
              <a:gd name="connsiteY254" fmla="*/ 3225 h 10000"/>
              <a:gd name="connsiteX255" fmla="*/ 3417 w 10000"/>
              <a:gd name="connsiteY255" fmla="*/ 3392 h 10000"/>
              <a:gd name="connsiteX256" fmla="*/ 3340 w 10000"/>
              <a:gd name="connsiteY256" fmla="*/ 3573 h 10000"/>
              <a:gd name="connsiteX257" fmla="*/ 3198 w 10000"/>
              <a:gd name="connsiteY257" fmla="*/ 3640 h 10000"/>
              <a:gd name="connsiteX258" fmla="*/ 2775 w 10000"/>
              <a:gd name="connsiteY258" fmla="*/ 3595 h 10000"/>
              <a:gd name="connsiteX259" fmla="*/ 2483 w 10000"/>
              <a:gd name="connsiteY259" fmla="*/ 3620 h 10000"/>
              <a:gd name="connsiteX260" fmla="*/ 2248 w 10000"/>
              <a:gd name="connsiteY260" fmla="*/ 3673 h 10000"/>
              <a:gd name="connsiteX261" fmla="*/ 1870 w 10000"/>
              <a:gd name="connsiteY261" fmla="*/ 3840 h 10000"/>
              <a:gd name="connsiteX262" fmla="*/ 1669 w 10000"/>
              <a:gd name="connsiteY262" fmla="*/ 4042 h 10000"/>
              <a:gd name="connsiteX263" fmla="*/ 1687 w 10000"/>
              <a:gd name="connsiteY263" fmla="*/ 4154 h 10000"/>
              <a:gd name="connsiteX264" fmla="*/ 1757 w 10000"/>
              <a:gd name="connsiteY264" fmla="*/ 4241 h 10000"/>
              <a:gd name="connsiteX265" fmla="*/ 1810 w 10000"/>
              <a:gd name="connsiteY265" fmla="*/ 4276 h 10000"/>
              <a:gd name="connsiteX266" fmla="*/ 1711 w 10000"/>
              <a:gd name="connsiteY266" fmla="*/ 4331 h 10000"/>
              <a:gd name="connsiteX267" fmla="*/ 1497 w 10000"/>
              <a:gd name="connsiteY267" fmla="*/ 4710 h 10000"/>
              <a:gd name="connsiteX268" fmla="*/ 1538 w 10000"/>
              <a:gd name="connsiteY268" fmla="*/ 4732 h 10000"/>
              <a:gd name="connsiteX269" fmla="*/ 1570 w 10000"/>
              <a:gd name="connsiteY269" fmla="*/ 4828 h 10000"/>
              <a:gd name="connsiteX270" fmla="*/ 1469 w 10000"/>
              <a:gd name="connsiteY270" fmla="*/ 5227 h 10000"/>
              <a:gd name="connsiteX271" fmla="*/ 1570 w 10000"/>
              <a:gd name="connsiteY271" fmla="*/ 5329 h 10000"/>
              <a:gd name="connsiteX272" fmla="*/ 1842 w 10000"/>
              <a:gd name="connsiteY272" fmla="*/ 5441 h 10000"/>
              <a:gd name="connsiteX273" fmla="*/ 1855 w 10000"/>
              <a:gd name="connsiteY273" fmla="*/ 5578 h 10000"/>
              <a:gd name="connsiteX274" fmla="*/ 1739 w 10000"/>
              <a:gd name="connsiteY274" fmla="*/ 5690 h 10000"/>
              <a:gd name="connsiteX275" fmla="*/ 1570 w 10000"/>
              <a:gd name="connsiteY275" fmla="*/ 5759 h 10000"/>
              <a:gd name="connsiteX276" fmla="*/ 1346 w 10000"/>
              <a:gd name="connsiteY276" fmla="*/ 5787 h 10000"/>
              <a:gd name="connsiteX277" fmla="*/ 1288 w 10000"/>
              <a:gd name="connsiteY277" fmla="*/ 5826 h 10000"/>
              <a:gd name="connsiteX278" fmla="*/ 1419 w 10000"/>
              <a:gd name="connsiteY278" fmla="*/ 5920 h 10000"/>
              <a:gd name="connsiteX279" fmla="*/ 1493 w 10000"/>
              <a:gd name="connsiteY279" fmla="*/ 6142 h 10000"/>
              <a:gd name="connsiteX280" fmla="*/ 1324 w 10000"/>
              <a:gd name="connsiteY280" fmla="*/ 6333 h 10000"/>
              <a:gd name="connsiteX281" fmla="*/ 1383 w 10000"/>
              <a:gd name="connsiteY281" fmla="*/ 6392 h 10000"/>
              <a:gd name="connsiteX282" fmla="*/ 1329 w 10000"/>
              <a:gd name="connsiteY282" fmla="*/ 6492 h 10000"/>
              <a:gd name="connsiteX283" fmla="*/ 1220 w 10000"/>
              <a:gd name="connsiteY283" fmla="*/ 6561 h 10000"/>
              <a:gd name="connsiteX284" fmla="*/ 792 w 10000"/>
              <a:gd name="connsiteY284" fmla="*/ 6614 h 10000"/>
              <a:gd name="connsiteX285" fmla="*/ 765 w 10000"/>
              <a:gd name="connsiteY285" fmla="*/ 6706 h 10000"/>
              <a:gd name="connsiteX286" fmla="*/ 533 w 10000"/>
              <a:gd name="connsiteY286" fmla="*/ 6843 h 10000"/>
              <a:gd name="connsiteX287" fmla="*/ 564 w 10000"/>
              <a:gd name="connsiteY287" fmla="*/ 7040 h 10000"/>
              <a:gd name="connsiteX288" fmla="*/ 369 w 10000"/>
              <a:gd name="connsiteY288" fmla="*/ 7293 h 10000"/>
              <a:gd name="connsiteX289" fmla="*/ 236 w 10000"/>
              <a:gd name="connsiteY289" fmla="*/ 7323 h 10000"/>
              <a:gd name="connsiteX290" fmla="*/ 182 w 10000"/>
              <a:gd name="connsiteY290" fmla="*/ 7262 h 10000"/>
              <a:gd name="connsiteX291" fmla="*/ 114 w 10000"/>
              <a:gd name="connsiteY291" fmla="*/ 7354 h 10000"/>
              <a:gd name="connsiteX292" fmla="*/ 159 w 10000"/>
              <a:gd name="connsiteY292" fmla="*/ 7197 h 10000"/>
              <a:gd name="connsiteX293" fmla="*/ 131 w 10000"/>
              <a:gd name="connsiteY293" fmla="*/ 7166 h 10000"/>
              <a:gd name="connsiteX0" fmla="*/ 131 w 9969"/>
              <a:gd name="connsiteY0" fmla="*/ 7166 h 10000"/>
              <a:gd name="connsiteX1" fmla="*/ 0 w 9969"/>
              <a:gd name="connsiteY1" fmla="*/ 7248 h 10000"/>
              <a:gd name="connsiteX2" fmla="*/ 0 w 9969"/>
              <a:gd name="connsiteY2" fmla="*/ 7651 h 10000"/>
              <a:gd name="connsiteX3" fmla="*/ 73 w 9969"/>
              <a:gd name="connsiteY3" fmla="*/ 7663 h 10000"/>
              <a:gd name="connsiteX4" fmla="*/ 90 w 9969"/>
              <a:gd name="connsiteY4" fmla="*/ 7694 h 10000"/>
              <a:gd name="connsiteX5" fmla="*/ 86 w 9969"/>
              <a:gd name="connsiteY5" fmla="*/ 7749 h 10000"/>
              <a:gd name="connsiteX6" fmla="*/ 59 w 9969"/>
              <a:gd name="connsiteY6" fmla="*/ 7773 h 10000"/>
              <a:gd name="connsiteX7" fmla="*/ 168 w 9969"/>
              <a:gd name="connsiteY7" fmla="*/ 7727 h 10000"/>
              <a:gd name="connsiteX8" fmla="*/ 215 w 9969"/>
              <a:gd name="connsiteY8" fmla="*/ 7680 h 10000"/>
              <a:gd name="connsiteX9" fmla="*/ 272 w 9969"/>
              <a:gd name="connsiteY9" fmla="*/ 7712 h 10000"/>
              <a:gd name="connsiteX10" fmla="*/ 209 w 9969"/>
              <a:gd name="connsiteY10" fmla="*/ 7778 h 10000"/>
              <a:gd name="connsiteX11" fmla="*/ 277 w 9969"/>
              <a:gd name="connsiteY11" fmla="*/ 7780 h 10000"/>
              <a:gd name="connsiteX12" fmla="*/ 309 w 9969"/>
              <a:gd name="connsiteY12" fmla="*/ 7796 h 10000"/>
              <a:gd name="connsiteX13" fmla="*/ 223 w 9969"/>
              <a:gd name="connsiteY13" fmla="*/ 7818 h 10000"/>
              <a:gd name="connsiteX14" fmla="*/ 86 w 9969"/>
              <a:gd name="connsiteY14" fmla="*/ 7886 h 10000"/>
              <a:gd name="connsiteX15" fmla="*/ 329 w 9969"/>
              <a:gd name="connsiteY15" fmla="*/ 7938 h 10000"/>
              <a:gd name="connsiteX16" fmla="*/ 359 w 9969"/>
              <a:gd name="connsiteY16" fmla="*/ 8014 h 10000"/>
              <a:gd name="connsiteX17" fmla="*/ 277 w 9969"/>
              <a:gd name="connsiteY17" fmla="*/ 8126 h 10000"/>
              <a:gd name="connsiteX18" fmla="*/ 456 w 9969"/>
              <a:gd name="connsiteY18" fmla="*/ 8118 h 10000"/>
              <a:gd name="connsiteX19" fmla="*/ 469 w 9969"/>
              <a:gd name="connsiteY19" fmla="*/ 8203 h 10000"/>
              <a:gd name="connsiteX20" fmla="*/ 350 w 9969"/>
              <a:gd name="connsiteY20" fmla="*/ 8260 h 10000"/>
              <a:gd name="connsiteX21" fmla="*/ 369 w 9969"/>
              <a:gd name="connsiteY21" fmla="*/ 8370 h 10000"/>
              <a:gd name="connsiteX22" fmla="*/ 323 w 9969"/>
              <a:gd name="connsiteY22" fmla="*/ 8456 h 10000"/>
              <a:gd name="connsiteX23" fmla="*/ 464 w 9969"/>
              <a:gd name="connsiteY23" fmla="*/ 8464 h 10000"/>
              <a:gd name="connsiteX24" fmla="*/ 601 w 9969"/>
              <a:gd name="connsiteY24" fmla="*/ 8792 h 10000"/>
              <a:gd name="connsiteX25" fmla="*/ 760 w 9969"/>
              <a:gd name="connsiteY25" fmla="*/ 8876 h 10000"/>
              <a:gd name="connsiteX26" fmla="*/ 828 w 9969"/>
              <a:gd name="connsiteY26" fmla="*/ 8965 h 10000"/>
              <a:gd name="connsiteX27" fmla="*/ 1001 w 9969"/>
              <a:gd name="connsiteY27" fmla="*/ 9030 h 10000"/>
              <a:gd name="connsiteX28" fmla="*/ 1111 w 9969"/>
              <a:gd name="connsiteY28" fmla="*/ 9112 h 10000"/>
              <a:gd name="connsiteX29" fmla="*/ 1097 w 9969"/>
              <a:gd name="connsiteY29" fmla="*/ 9171 h 10000"/>
              <a:gd name="connsiteX30" fmla="*/ 988 w 9969"/>
              <a:gd name="connsiteY30" fmla="*/ 9193 h 10000"/>
              <a:gd name="connsiteX31" fmla="*/ 869 w 9969"/>
              <a:gd name="connsiteY31" fmla="*/ 9179 h 10000"/>
              <a:gd name="connsiteX32" fmla="*/ 832 w 9969"/>
              <a:gd name="connsiteY32" fmla="*/ 9204 h 10000"/>
              <a:gd name="connsiteX33" fmla="*/ 923 w 9969"/>
              <a:gd name="connsiteY33" fmla="*/ 9332 h 10000"/>
              <a:gd name="connsiteX34" fmla="*/ 796 w 9969"/>
              <a:gd name="connsiteY34" fmla="*/ 9322 h 10000"/>
              <a:gd name="connsiteX35" fmla="*/ 687 w 9969"/>
              <a:gd name="connsiteY35" fmla="*/ 9291 h 10000"/>
              <a:gd name="connsiteX36" fmla="*/ 668 w 9969"/>
              <a:gd name="connsiteY36" fmla="*/ 9338 h 10000"/>
              <a:gd name="connsiteX37" fmla="*/ 1028 w 9969"/>
              <a:gd name="connsiteY37" fmla="*/ 9776 h 10000"/>
              <a:gd name="connsiteX38" fmla="*/ 970 w 9969"/>
              <a:gd name="connsiteY38" fmla="*/ 9817 h 10000"/>
              <a:gd name="connsiteX39" fmla="*/ 929 w 9969"/>
              <a:gd name="connsiteY39" fmla="*/ 9902 h 10000"/>
              <a:gd name="connsiteX40" fmla="*/ 878 w 9969"/>
              <a:gd name="connsiteY40" fmla="*/ 9908 h 10000"/>
              <a:gd name="connsiteX41" fmla="*/ 846 w 9969"/>
              <a:gd name="connsiteY41" fmla="*/ 9945 h 10000"/>
              <a:gd name="connsiteX42" fmla="*/ 1064 w 9969"/>
              <a:gd name="connsiteY42" fmla="*/ 9949 h 10000"/>
              <a:gd name="connsiteX43" fmla="*/ 1256 w 9969"/>
              <a:gd name="connsiteY43" fmla="*/ 9986 h 10000"/>
              <a:gd name="connsiteX44" fmla="*/ 1574 w 9969"/>
              <a:gd name="connsiteY44" fmla="*/ 9947 h 10000"/>
              <a:gd name="connsiteX45" fmla="*/ 1860 w 9969"/>
              <a:gd name="connsiteY45" fmla="*/ 9953 h 10000"/>
              <a:gd name="connsiteX46" fmla="*/ 2030 w 9969"/>
              <a:gd name="connsiteY46" fmla="*/ 10000 h 10000"/>
              <a:gd name="connsiteX47" fmla="*/ 2121 w 9969"/>
              <a:gd name="connsiteY47" fmla="*/ 9969 h 10000"/>
              <a:gd name="connsiteX48" fmla="*/ 2211 w 9969"/>
              <a:gd name="connsiteY48" fmla="*/ 9868 h 10000"/>
              <a:gd name="connsiteX49" fmla="*/ 2188 w 9969"/>
              <a:gd name="connsiteY49" fmla="*/ 9703 h 10000"/>
              <a:gd name="connsiteX50" fmla="*/ 2407 w 9969"/>
              <a:gd name="connsiteY50" fmla="*/ 9517 h 10000"/>
              <a:gd name="connsiteX51" fmla="*/ 2566 w 9969"/>
              <a:gd name="connsiteY51" fmla="*/ 9546 h 10000"/>
              <a:gd name="connsiteX52" fmla="*/ 2657 w 9969"/>
              <a:gd name="connsiteY52" fmla="*/ 9472 h 10000"/>
              <a:gd name="connsiteX53" fmla="*/ 2834 w 9969"/>
              <a:gd name="connsiteY53" fmla="*/ 9430 h 10000"/>
              <a:gd name="connsiteX54" fmla="*/ 3075 w 9969"/>
              <a:gd name="connsiteY54" fmla="*/ 9440 h 10000"/>
              <a:gd name="connsiteX55" fmla="*/ 3221 w 9969"/>
              <a:gd name="connsiteY55" fmla="*/ 9470 h 10000"/>
              <a:gd name="connsiteX56" fmla="*/ 3413 w 9969"/>
              <a:gd name="connsiteY56" fmla="*/ 9456 h 10000"/>
              <a:gd name="connsiteX57" fmla="*/ 3608 w 9969"/>
              <a:gd name="connsiteY57" fmla="*/ 9489 h 10000"/>
              <a:gd name="connsiteX58" fmla="*/ 3803 w 9969"/>
              <a:gd name="connsiteY58" fmla="*/ 9493 h 10000"/>
              <a:gd name="connsiteX59" fmla="*/ 4240 w 9969"/>
              <a:gd name="connsiteY59" fmla="*/ 9061 h 10000"/>
              <a:gd name="connsiteX60" fmla="*/ 4350 w 9969"/>
              <a:gd name="connsiteY60" fmla="*/ 8711 h 10000"/>
              <a:gd name="connsiteX61" fmla="*/ 4527 w 9969"/>
              <a:gd name="connsiteY61" fmla="*/ 8554 h 10000"/>
              <a:gd name="connsiteX62" fmla="*/ 4527 w 9969"/>
              <a:gd name="connsiteY62" fmla="*/ 8472 h 10000"/>
              <a:gd name="connsiteX63" fmla="*/ 4463 w 9969"/>
              <a:gd name="connsiteY63" fmla="*/ 8425 h 10000"/>
              <a:gd name="connsiteX64" fmla="*/ 4568 w 9969"/>
              <a:gd name="connsiteY64" fmla="*/ 8352 h 10000"/>
              <a:gd name="connsiteX65" fmla="*/ 4549 w 9969"/>
              <a:gd name="connsiteY65" fmla="*/ 8289 h 10000"/>
              <a:gd name="connsiteX66" fmla="*/ 4477 w 9969"/>
              <a:gd name="connsiteY66" fmla="*/ 8236 h 10000"/>
              <a:gd name="connsiteX67" fmla="*/ 4463 w 9969"/>
              <a:gd name="connsiteY67" fmla="*/ 8199 h 10000"/>
              <a:gd name="connsiteX68" fmla="*/ 4481 w 9969"/>
              <a:gd name="connsiteY68" fmla="*/ 8169 h 10000"/>
              <a:gd name="connsiteX69" fmla="*/ 4577 w 9969"/>
              <a:gd name="connsiteY69" fmla="*/ 8193 h 10000"/>
              <a:gd name="connsiteX70" fmla="*/ 4654 w 9969"/>
              <a:gd name="connsiteY70" fmla="*/ 8191 h 10000"/>
              <a:gd name="connsiteX71" fmla="*/ 4612 w 9969"/>
              <a:gd name="connsiteY71" fmla="*/ 8140 h 10000"/>
              <a:gd name="connsiteX72" fmla="*/ 4626 w 9969"/>
              <a:gd name="connsiteY72" fmla="*/ 8112 h 10000"/>
              <a:gd name="connsiteX73" fmla="*/ 4681 w 9969"/>
              <a:gd name="connsiteY73" fmla="*/ 8069 h 10000"/>
              <a:gd name="connsiteX74" fmla="*/ 4672 w 9969"/>
              <a:gd name="connsiteY74" fmla="*/ 8034 h 10000"/>
              <a:gd name="connsiteX75" fmla="*/ 4723 w 9969"/>
              <a:gd name="connsiteY75" fmla="*/ 7916 h 10000"/>
              <a:gd name="connsiteX76" fmla="*/ 4710 w 9969"/>
              <a:gd name="connsiteY76" fmla="*/ 7881 h 10000"/>
              <a:gd name="connsiteX77" fmla="*/ 4445 w 9969"/>
              <a:gd name="connsiteY77" fmla="*/ 7792 h 10000"/>
              <a:gd name="connsiteX78" fmla="*/ 4481 w 9969"/>
              <a:gd name="connsiteY78" fmla="*/ 7788 h 10000"/>
              <a:gd name="connsiteX79" fmla="*/ 4622 w 9969"/>
              <a:gd name="connsiteY79" fmla="*/ 7812 h 10000"/>
              <a:gd name="connsiteX80" fmla="*/ 4773 w 9969"/>
              <a:gd name="connsiteY80" fmla="*/ 7804 h 10000"/>
              <a:gd name="connsiteX81" fmla="*/ 4818 w 9969"/>
              <a:gd name="connsiteY81" fmla="*/ 7771 h 10000"/>
              <a:gd name="connsiteX82" fmla="*/ 4672 w 9969"/>
              <a:gd name="connsiteY82" fmla="*/ 7710 h 10000"/>
              <a:gd name="connsiteX83" fmla="*/ 4236 w 9969"/>
              <a:gd name="connsiteY83" fmla="*/ 7670 h 10000"/>
              <a:gd name="connsiteX84" fmla="*/ 4266 w 9969"/>
              <a:gd name="connsiteY84" fmla="*/ 7651 h 10000"/>
              <a:gd name="connsiteX85" fmla="*/ 4622 w 9969"/>
              <a:gd name="connsiteY85" fmla="*/ 7639 h 10000"/>
              <a:gd name="connsiteX86" fmla="*/ 4818 w 9969"/>
              <a:gd name="connsiteY86" fmla="*/ 7676 h 10000"/>
              <a:gd name="connsiteX87" fmla="*/ 4932 w 9969"/>
              <a:gd name="connsiteY87" fmla="*/ 7651 h 10000"/>
              <a:gd name="connsiteX88" fmla="*/ 4973 w 9969"/>
              <a:gd name="connsiteY88" fmla="*/ 7588 h 10000"/>
              <a:gd name="connsiteX89" fmla="*/ 5177 w 9969"/>
              <a:gd name="connsiteY89" fmla="*/ 7588 h 10000"/>
              <a:gd name="connsiteX90" fmla="*/ 5455 w 9969"/>
              <a:gd name="connsiteY90" fmla="*/ 7462 h 10000"/>
              <a:gd name="connsiteX91" fmla="*/ 5465 w 9969"/>
              <a:gd name="connsiteY91" fmla="*/ 7378 h 10000"/>
              <a:gd name="connsiteX92" fmla="*/ 5582 w 9969"/>
              <a:gd name="connsiteY92" fmla="*/ 7397 h 10000"/>
              <a:gd name="connsiteX93" fmla="*/ 5578 w 9969"/>
              <a:gd name="connsiteY93" fmla="*/ 7482 h 10000"/>
              <a:gd name="connsiteX94" fmla="*/ 5764 w 9969"/>
              <a:gd name="connsiteY94" fmla="*/ 7476 h 10000"/>
              <a:gd name="connsiteX95" fmla="*/ 5887 w 9969"/>
              <a:gd name="connsiteY95" fmla="*/ 7388 h 10000"/>
              <a:gd name="connsiteX96" fmla="*/ 6116 w 9969"/>
              <a:gd name="connsiteY96" fmla="*/ 7309 h 10000"/>
              <a:gd name="connsiteX97" fmla="*/ 6078 w 9969"/>
              <a:gd name="connsiteY97" fmla="*/ 7219 h 10000"/>
              <a:gd name="connsiteX98" fmla="*/ 6146 w 9969"/>
              <a:gd name="connsiteY98" fmla="*/ 7254 h 10000"/>
              <a:gd name="connsiteX99" fmla="*/ 6251 w 9969"/>
              <a:gd name="connsiteY99" fmla="*/ 7254 h 10000"/>
              <a:gd name="connsiteX100" fmla="*/ 6251 w 9969"/>
              <a:gd name="connsiteY100" fmla="*/ 7213 h 10000"/>
              <a:gd name="connsiteX101" fmla="*/ 6347 w 9969"/>
              <a:gd name="connsiteY101" fmla="*/ 7181 h 10000"/>
              <a:gd name="connsiteX102" fmla="*/ 6333 w 9969"/>
              <a:gd name="connsiteY102" fmla="*/ 7148 h 10000"/>
              <a:gd name="connsiteX103" fmla="*/ 5515 w 9969"/>
              <a:gd name="connsiteY103" fmla="*/ 7215 h 10000"/>
              <a:gd name="connsiteX104" fmla="*/ 5323 w 9969"/>
              <a:gd name="connsiteY104" fmla="*/ 7195 h 10000"/>
              <a:gd name="connsiteX105" fmla="*/ 5246 w 9969"/>
              <a:gd name="connsiteY105" fmla="*/ 7219 h 10000"/>
              <a:gd name="connsiteX106" fmla="*/ 5219 w 9969"/>
              <a:gd name="connsiteY106" fmla="*/ 7173 h 10000"/>
              <a:gd name="connsiteX107" fmla="*/ 5128 w 9969"/>
              <a:gd name="connsiteY107" fmla="*/ 7132 h 10000"/>
              <a:gd name="connsiteX108" fmla="*/ 4763 w 9969"/>
              <a:gd name="connsiteY108" fmla="*/ 7052 h 10000"/>
              <a:gd name="connsiteX109" fmla="*/ 4549 w 9969"/>
              <a:gd name="connsiteY109" fmla="*/ 7065 h 10000"/>
              <a:gd name="connsiteX110" fmla="*/ 4463 w 9969"/>
              <a:gd name="connsiteY110" fmla="*/ 7042 h 10000"/>
              <a:gd name="connsiteX111" fmla="*/ 4554 w 9969"/>
              <a:gd name="connsiteY111" fmla="*/ 7022 h 10000"/>
              <a:gd name="connsiteX112" fmla="*/ 4622 w 9969"/>
              <a:gd name="connsiteY112" fmla="*/ 6979 h 10000"/>
              <a:gd name="connsiteX113" fmla="*/ 4723 w 9969"/>
              <a:gd name="connsiteY113" fmla="*/ 6993 h 10000"/>
              <a:gd name="connsiteX114" fmla="*/ 4845 w 9969"/>
              <a:gd name="connsiteY114" fmla="*/ 6981 h 10000"/>
              <a:gd name="connsiteX115" fmla="*/ 5027 w 9969"/>
              <a:gd name="connsiteY115" fmla="*/ 6995 h 10000"/>
              <a:gd name="connsiteX116" fmla="*/ 5049 w 9969"/>
              <a:gd name="connsiteY116" fmla="*/ 6989 h 10000"/>
              <a:gd name="connsiteX117" fmla="*/ 5191 w 9969"/>
              <a:gd name="connsiteY117" fmla="*/ 7056 h 10000"/>
              <a:gd name="connsiteX118" fmla="*/ 5296 w 9969"/>
              <a:gd name="connsiteY118" fmla="*/ 7032 h 10000"/>
              <a:gd name="connsiteX119" fmla="*/ 5304 w 9969"/>
              <a:gd name="connsiteY119" fmla="*/ 7010 h 10000"/>
              <a:gd name="connsiteX120" fmla="*/ 5400 w 9969"/>
              <a:gd name="connsiteY120" fmla="*/ 7048 h 10000"/>
              <a:gd name="connsiteX121" fmla="*/ 5528 w 9969"/>
              <a:gd name="connsiteY121" fmla="*/ 7069 h 10000"/>
              <a:gd name="connsiteX122" fmla="*/ 5578 w 9969"/>
              <a:gd name="connsiteY122" fmla="*/ 7030 h 10000"/>
              <a:gd name="connsiteX123" fmla="*/ 5619 w 9969"/>
              <a:gd name="connsiteY123" fmla="*/ 7052 h 10000"/>
              <a:gd name="connsiteX124" fmla="*/ 5677 w 9969"/>
              <a:gd name="connsiteY124" fmla="*/ 7126 h 10000"/>
              <a:gd name="connsiteX125" fmla="*/ 5800 w 9969"/>
              <a:gd name="connsiteY125" fmla="*/ 7144 h 10000"/>
              <a:gd name="connsiteX126" fmla="*/ 6301 w 9969"/>
              <a:gd name="connsiteY126" fmla="*/ 7034 h 10000"/>
              <a:gd name="connsiteX127" fmla="*/ 6547 w 9969"/>
              <a:gd name="connsiteY127" fmla="*/ 6879 h 10000"/>
              <a:gd name="connsiteX128" fmla="*/ 6605 w 9969"/>
              <a:gd name="connsiteY128" fmla="*/ 6765 h 10000"/>
              <a:gd name="connsiteX129" fmla="*/ 6516 w 9969"/>
              <a:gd name="connsiteY129" fmla="*/ 6663 h 10000"/>
              <a:gd name="connsiteX130" fmla="*/ 6328 w 9969"/>
              <a:gd name="connsiteY130" fmla="*/ 6602 h 10000"/>
              <a:gd name="connsiteX131" fmla="*/ 6196 w 9969"/>
              <a:gd name="connsiteY131" fmla="*/ 6502 h 10000"/>
              <a:gd name="connsiteX132" fmla="*/ 6320 w 9969"/>
              <a:gd name="connsiteY132" fmla="*/ 6498 h 10000"/>
              <a:gd name="connsiteX133" fmla="*/ 6311 w 9969"/>
              <a:gd name="connsiteY133" fmla="*/ 6474 h 10000"/>
              <a:gd name="connsiteX134" fmla="*/ 5988 w 9969"/>
              <a:gd name="connsiteY134" fmla="*/ 6403 h 10000"/>
              <a:gd name="connsiteX135" fmla="*/ 5975 w 9969"/>
              <a:gd name="connsiteY135" fmla="*/ 6339 h 10000"/>
              <a:gd name="connsiteX136" fmla="*/ 5914 w 9969"/>
              <a:gd name="connsiteY136" fmla="*/ 6272 h 10000"/>
              <a:gd name="connsiteX137" fmla="*/ 5659 w 9969"/>
              <a:gd name="connsiteY137" fmla="*/ 6284 h 10000"/>
              <a:gd name="connsiteX138" fmla="*/ 5568 w 9969"/>
              <a:gd name="connsiteY138" fmla="*/ 6213 h 10000"/>
              <a:gd name="connsiteX139" fmla="*/ 5515 w 9969"/>
              <a:gd name="connsiteY139" fmla="*/ 6209 h 10000"/>
              <a:gd name="connsiteX140" fmla="*/ 5515 w 9969"/>
              <a:gd name="connsiteY140" fmla="*/ 6238 h 10000"/>
              <a:gd name="connsiteX141" fmla="*/ 5400 w 9969"/>
              <a:gd name="connsiteY141" fmla="*/ 6358 h 10000"/>
              <a:gd name="connsiteX142" fmla="*/ 5277 w 9969"/>
              <a:gd name="connsiteY142" fmla="*/ 6429 h 10000"/>
              <a:gd name="connsiteX143" fmla="*/ 4890 w 9969"/>
              <a:gd name="connsiteY143" fmla="*/ 6551 h 10000"/>
              <a:gd name="connsiteX144" fmla="*/ 4754 w 9969"/>
              <a:gd name="connsiteY144" fmla="*/ 6547 h 10000"/>
              <a:gd name="connsiteX145" fmla="*/ 4568 w 9969"/>
              <a:gd name="connsiteY145" fmla="*/ 6565 h 10000"/>
              <a:gd name="connsiteX146" fmla="*/ 4463 w 9969"/>
              <a:gd name="connsiteY146" fmla="*/ 6547 h 10000"/>
              <a:gd name="connsiteX147" fmla="*/ 4599 w 9969"/>
              <a:gd name="connsiteY147" fmla="*/ 6513 h 10000"/>
              <a:gd name="connsiteX148" fmla="*/ 4777 w 9969"/>
              <a:gd name="connsiteY148" fmla="*/ 6498 h 10000"/>
              <a:gd name="connsiteX149" fmla="*/ 4924 w 9969"/>
              <a:gd name="connsiteY149" fmla="*/ 6441 h 10000"/>
              <a:gd name="connsiteX150" fmla="*/ 5067 w 9969"/>
              <a:gd name="connsiteY150" fmla="*/ 6415 h 10000"/>
              <a:gd name="connsiteX151" fmla="*/ 5337 w 9969"/>
              <a:gd name="connsiteY151" fmla="*/ 6317 h 10000"/>
              <a:gd name="connsiteX152" fmla="*/ 5387 w 9969"/>
              <a:gd name="connsiteY152" fmla="*/ 6252 h 10000"/>
              <a:gd name="connsiteX153" fmla="*/ 5391 w 9969"/>
              <a:gd name="connsiteY153" fmla="*/ 6168 h 10000"/>
              <a:gd name="connsiteX154" fmla="*/ 5269 w 9969"/>
              <a:gd name="connsiteY154" fmla="*/ 6154 h 10000"/>
              <a:gd name="connsiteX155" fmla="*/ 5323 w 9969"/>
              <a:gd name="connsiteY155" fmla="*/ 6103 h 10000"/>
              <a:gd name="connsiteX156" fmla="*/ 5341 w 9969"/>
              <a:gd name="connsiteY156" fmla="*/ 6038 h 10000"/>
              <a:gd name="connsiteX157" fmla="*/ 5290 w 9969"/>
              <a:gd name="connsiteY157" fmla="*/ 5977 h 10000"/>
              <a:gd name="connsiteX158" fmla="*/ 5259 w 9969"/>
              <a:gd name="connsiteY158" fmla="*/ 5533 h 10000"/>
              <a:gd name="connsiteX159" fmla="*/ 5333 w 9969"/>
              <a:gd name="connsiteY159" fmla="*/ 5437 h 10000"/>
              <a:gd name="connsiteX160" fmla="*/ 5314 w 9969"/>
              <a:gd name="connsiteY160" fmla="*/ 5398 h 10000"/>
              <a:gd name="connsiteX161" fmla="*/ 5528 w 9969"/>
              <a:gd name="connsiteY161" fmla="*/ 5455 h 10000"/>
              <a:gd name="connsiteX162" fmla="*/ 5542 w 9969"/>
              <a:gd name="connsiteY162" fmla="*/ 5402 h 10000"/>
              <a:gd name="connsiteX163" fmla="*/ 5496 w 9969"/>
              <a:gd name="connsiteY163" fmla="*/ 5264 h 10000"/>
              <a:gd name="connsiteX164" fmla="*/ 5649 w 9969"/>
              <a:gd name="connsiteY164" fmla="*/ 5019 h 10000"/>
              <a:gd name="connsiteX165" fmla="*/ 5555 w 9969"/>
              <a:gd name="connsiteY165" fmla="*/ 4960 h 10000"/>
              <a:gd name="connsiteX166" fmla="*/ 5519 w 9969"/>
              <a:gd name="connsiteY166" fmla="*/ 4905 h 10000"/>
              <a:gd name="connsiteX167" fmla="*/ 5532 w 9969"/>
              <a:gd name="connsiteY167" fmla="*/ 4816 h 10000"/>
              <a:gd name="connsiteX168" fmla="*/ 5756 w 9969"/>
              <a:gd name="connsiteY168" fmla="*/ 4875 h 10000"/>
              <a:gd name="connsiteX169" fmla="*/ 5764 w 9969"/>
              <a:gd name="connsiteY169" fmla="*/ 4858 h 10000"/>
              <a:gd name="connsiteX170" fmla="*/ 5827 w 9969"/>
              <a:gd name="connsiteY170" fmla="*/ 4842 h 10000"/>
              <a:gd name="connsiteX171" fmla="*/ 5914 w 9969"/>
              <a:gd name="connsiteY171" fmla="*/ 4785 h 10000"/>
              <a:gd name="connsiteX172" fmla="*/ 5928 w 9969"/>
              <a:gd name="connsiteY172" fmla="*/ 4769 h 10000"/>
              <a:gd name="connsiteX173" fmla="*/ 5910 w 9969"/>
              <a:gd name="connsiteY173" fmla="*/ 4748 h 10000"/>
              <a:gd name="connsiteX174" fmla="*/ 5954 w 9969"/>
              <a:gd name="connsiteY174" fmla="*/ 4647 h 10000"/>
              <a:gd name="connsiteX175" fmla="*/ 5901 w 9969"/>
              <a:gd name="connsiteY175" fmla="*/ 4581 h 10000"/>
              <a:gd name="connsiteX176" fmla="*/ 5910 w 9969"/>
              <a:gd name="connsiteY176" fmla="*/ 4528 h 10000"/>
              <a:gd name="connsiteX177" fmla="*/ 5941 w 9969"/>
              <a:gd name="connsiteY177" fmla="*/ 4590 h 10000"/>
              <a:gd name="connsiteX178" fmla="*/ 6064 w 9969"/>
              <a:gd name="connsiteY178" fmla="*/ 4636 h 10000"/>
              <a:gd name="connsiteX179" fmla="*/ 6116 w 9969"/>
              <a:gd name="connsiteY179" fmla="*/ 4630 h 10000"/>
              <a:gd name="connsiteX180" fmla="*/ 6196 w 9969"/>
              <a:gd name="connsiteY180" fmla="*/ 4569 h 10000"/>
              <a:gd name="connsiteX181" fmla="*/ 6283 w 9969"/>
              <a:gd name="connsiteY181" fmla="*/ 4594 h 10000"/>
              <a:gd name="connsiteX182" fmla="*/ 6307 w 9969"/>
              <a:gd name="connsiteY182" fmla="*/ 4545 h 10000"/>
              <a:gd name="connsiteX183" fmla="*/ 6365 w 9969"/>
              <a:gd name="connsiteY183" fmla="*/ 4512 h 10000"/>
              <a:gd name="connsiteX184" fmla="*/ 6205 w 9969"/>
              <a:gd name="connsiteY184" fmla="*/ 4477 h 10000"/>
              <a:gd name="connsiteX185" fmla="*/ 6320 w 9969"/>
              <a:gd name="connsiteY185" fmla="*/ 4484 h 10000"/>
              <a:gd name="connsiteX186" fmla="*/ 6437 w 9969"/>
              <a:gd name="connsiteY186" fmla="*/ 4447 h 10000"/>
              <a:gd name="connsiteX187" fmla="*/ 6433 w 9969"/>
              <a:gd name="connsiteY187" fmla="*/ 4422 h 10000"/>
              <a:gd name="connsiteX188" fmla="*/ 6543 w 9969"/>
              <a:gd name="connsiteY188" fmla="*/ 4398 h 10000"/>
              <a:gd name="connsiteX189" fmla="*/ 6552 w 9969"/>
              <a:gd name="connsiteY189" fmla="*/ 4337 h 10000"/>
              <a:gd name="connsiteX190" fmla="*/ 6638 w 9969"/>
              <a:gd name="connsiteY190" fmla="*/ 4325 h 10000"/>
              <a:gd name="connsiteX191" fmla="*/ 6646 w 9969"/>
              <a:gd name="connsiteY191" fmla="*/ 4253 h 10000"/>
              <a:gd name="connsiteX192" fmla="*/ 6737 w 9969"/>
              <a:gd name="connsiteY192" fmla="*/ 4245 h 10000"/>
              <a:gd name="connsiteX193" fmla="*/ 6879 w 9969"/>
              <a:gd name="connsiteY193" fmla="*/ 4260 h 10000"/>
              <a:gd name="connsiteX194" fmla="*/ 7033 w 9969"/>
              <a:gd name="connsiteY194" fmla="*/ 4202 h 10000"/>
              <a:gd name="connsiteX195" fmla="*/ 7088 w 9969"/>
              <a:gd name="connsiteY195" fmla="*/ 4137 h 10000"/>
              <a:gd name="connsiteX196" fmla="*/ 7279 w 9969"/>
              <a:gd name="connsiteY196" fmla="*/ 4070 h 10000"/>
              <a:gd name="connsiteX197" fmla="*/ 7374 w 9969"/>
              <a:gd name="connsiteY197" fmla="*/ 4111 h 10000"/>
              <a:gd name="connsiteX198" fmla="*/ 7520 w 9969"/>
              <a:gd name="connsiteY198" fmla="*/ 4066 h 10000"/>
              <a:gd name="connsiteX199" fmla="*/ 7556 w 9969"/>
              <a:gd name="connsiteY199" fmla="*/ 4009 h 10000"/>
              <a:gd name="connsiteX200" fmla="*/ 7666 w 9969"/>
              <a:gd name="connsiteY200" fmla="*/ 3970 h 10000"/>
              <a:gd name="connsiteX201" fmla="*/ 7761 w 9969"/>
              <a:gd name="connsiteY201" fmla="*/ 3987 h 10000"/>
              <a:gd name="connsiteX202" fmla="*/ 7820 w 9969"/>
              <a:gd name="connsiteY202" fmla="*/ 3958 h 10000"/>
              <a:gd name="connsiteX203" fmla="*/ 7984 w 9969"/>
              <a:gd name="connsiteY203" fmla="*/ 3917 h 10000"/>
              <a:gd name="connsiteX204" fmla="*/ 8052 w 9969"/>
              <a:gd name="connsiteY204" fmla="*/ 3864 h 10000"/>
              <a:gd name="connsiteX205" fmla="*/ 8144 w 9969"/>
              <a:gd name="connsiteY205" fmla="*/ 3842 h 10000"/>
              <a:gd name="connsiteX206" fmla="*/ 8649 w 9969"/>
              <a:gd name="connsiteY206" fmla="*/ 3522 h 10000"/>
              <a:gd name="connsiteX207" fmla="*/ 9969 w 9969"/>
              <a:gd name="connsiteY207" fmla="*/ 1194 h 10000"/>
              <a:gd name="connsiteX208" fmla="*/ 9909 w 9969"/>
              <a:gd name="connsiteY208" fmla="*/ 1159 h 10000"/>
              <a:gd name="connsiteX209" fmla="*/ 9858 w 9969"/>
              <a:gd name="connsiteY209" fmla="*/ 978 h 10000"/>
              <a:gd name="connsiteX210" fmla="*/ 9918 w 9969"/>
              <a:gd name="connsiteY210" fmla="*/ 831 h 10000"/>
              <a:gd name="connsiteX211" fmla="*/ 9481 w 9969"/>
              <a:gd name="connsiteY211" fmla="*/ 517 h 10000"/>
              <a:gd name="connsiteX212" fmla="*/ 9267 w 9969"/>
              <a:gd name="connsiteY212" fmla="*/ 440 h 10000"/>
              <a:gd name="connsiteX213" fmla="*/ 8871 w 9969"/>
              <a:gd name="connsiteY213" fmla="*/ 389 h 10000"/>
              <a:gd name="connsiteX214" fmla="*/ 8052 w 9969"/>
              <a:gd name="connsiteY214" fmla="*/ 26 h 10000"/>
              <a:gd name="connsiteX215" fmla="*/ 8025 w 9969"/>
              <a:gd name="connsiteY215" fmla="*/ 2 h 10000"/>
              <a:gd name="connsiteX216" fmla="*/ 7747 w 9969"/>
              <a:gd name="connsiteY216" fmla="*/ 0 h 10000"/>
              <a:gd name="connsiteX217" fmla="*/ 7684 w 9969"/>
              <a:gd name="connsiteY217" fmla="*/ 14 h 10000"/>
              <a:gd name="connsiteX218" fmla="*/ 7698 w 9969"/>
              <a:gd name="connsiteY218" fmla="*/ 61 h 10000"/>
              <a:gd name="connsiteX219" fmla="*/ 7752 w 9969"/>
              <a:gd name="connsiteY219" fmla="*/ 86 h 10000"/>
              <a:gd name="connsiteX220" fmla="*/ 7767 w 9969"/>
              <a:gd name="connsiteY220" fmla="*/ 139 h 10000"/>
              <a:gd name="connsiteX221" fmla="*/ 7747 w 9969"/>
              <a:gd name="connsiteY221" fmla="*/ 181 h 10000"/>
              <a:gd name="connsiteX222" fmla="*/ 7698 w 9969"/>
              <a:gd name="connsiteY222" fmla="*/ 208 h 10000"/>
              <a:gd name="connsiteX223" fmla="*/ 7661 w 9969"/>
              <a:gd name="connsiteY223" fmla="*/ 283 h 10000"/>
              <a:gd name="connsiteX224" fmla="*/ 7593 w 9969"/>
              <a:gd name="connsiteY224" fmla="*/ 336 h 10000"/>
              <a:gd name="connsiteX225" fmla="*/ 7607 w 9969"/>
              <a:gd name="connsiteY225" fmla="*/ 387 h 10000"/>
              <a:gd name="connsiteX226" fmla="*/ 7711 w 9969"/>
              <a:gd name="connsiteY226" fmla="*/ 434 h 10000"/>
              <a:gd name="connsiteX227" fmla="*/ 7643 w 9969"/>
              <a:gd name="connsiteY227" fmla="*/ 475 h 10000"/>
              <a:gd name="connsiteX228" fmla="*/ 7543 w 9969"/>
              <a:gd name="connsiteY228" fmla="*/ 485 h 10000"/>
              <a:gd name="connsiteX229" fmla="*/ 6706 w 9969"/>
              <a:gd name="connsiteY229" fmla="*/ 387 h 10000"/>
              <a:gd name="connsiteX230" fmla="*/ 6605 w 9969"/>
              <a:gd name="connsiteY230" fmla="*/ 395 h 10000"/>
              <a:gd name="connsiteX231" fmla="*/ 6547 w 9969"/>
              <a:gd name="connsiteY231" fmla="*/ 414 h 10000"/>
              <a:gd name="connsiteX232" fmla="*/ 6487 w 9969"/>
              <a:gd name="connsiteY232" fmla="*/ 462 h 10000"/>
              <a:gd name="connsiteX233" fmla="*/ 6498 w 9969"/>
              <a:gd name="connsiteY233" fmla="*/ 581 h 10000"/>
              <a:gd name="connsiteX234" fmla="*/ 6405 w 9969"/>
              <a:gd name="connsiteY234" fmla="*/ 735 h 10000"/>
              <a:gd name="connsiteX235" fmla="*/ 6292 w 9969"/>
              <a:gd name="connsiteY235" fmla="*/ 815 h 10000"/>
              <a:gd name="connsiteX236" fmla="*/ 6247 w 9969"/>
              <a:gd name="connsiteY236" fmla="*/ 805 h 10000"/>
              <a:gd name="connsiteX237" fmla="*/ 6142 w 9969"/>
              <a:gd name="connsiteY237" fmla="*/ 739 h 10000"/>
              <a:gd name="connsiteX238" fmla="*/ 6010 w 9969"/>
              <a:gd name="connsiteY238" fmla="*/ 705 h 10000"/>
              <a:gd name="connsiteX239" fmla="*/ 5868 w 9969"/>
              <a:gd name="connsiteY239" fmla="*/ 715 h 10000"/>
              <a:gd name="connsiteX240" fmla="*/ 5538 w 9969"/>
              <a:gd name="connsiteY240" fmla="*/ 866 h 10000"/>
              <a:gd name="connsiteX241" fmla="*/ 5450 w 9969"/>
              <a:gd name="connsiteY241" fmla="*/ 1017 h 10000"/>
              <a:gd name="connsiteX242" fmla="*/ 5201 w 9969"/>
              <a:gd name="connsiteY242" fmla="*/ 1153 h 10000"/>
              <a:gd name="connsiteX243" fmla="*/ 5155 w 9969"/>
              <a:gd name="connsiteY243" fmla="*/ 1222 h 10000"/>
              <a:gd name="connsiteX244" fmla="*/ 5286 w 9969"/>
              <a:gd name="connsiteY244" fmla="*/ 1344 h 10000"/>
              <a:gd name="connsiteX245" fmla="*/ 5300 w 9969"/>
              <a:gd name="connsiteY245" fmla="*/ 1412 h 10000"/>
              <a:gd name="connsiteX246" fmla="*/ 4618 w 9969"/>
              <a:gd name="connsiteY246" fmla="*/ 1813 h 10000"/>
              <a:gd name="connsiteX247" fmla="*/ 4408 w 9969"/>
              <a:gd name="connsiteY247" fmla="*/ 2070 h 10000"/>
              <a:gd name="connsiteX248" fmla="*/ 4182 w 9969"/>
              <a:gd name="connsiteY248" fmla="*/ 2135 h 10000"/>
              <a:gd name="connsiteX249" fmla="*/ 4039 w 9969"/>
              <a:gd name="connsiteY249" fmla="*/ 2131 h 10000"/>
              <a:gd name="connsiteX250" fmla="*/ 3954 w 9969"/>
              <a:gd name="connsiteY250" fmla="*/ 2153 h 10000"/>
              <a:gd name="connsiteX251" fmla="*/ 3717 w 9969"/>
              <a:gd name="connsiteY251" fmla="*/ 2793 h 10000"/>
              <a:gd name="connsiteX252" fmla="*/ 3172 w 9969"/>
              <a:gd name="connsiteY252" fmla="*/ 3166 h 10000"/>
              <a:gd name="connsiteX253" fmla="*/ 3176 w 9969"/>
              <a:gd name="connsiteY253" fmla="*/ 3225 h 10000"/>
              <a:gd name="connsiteX254" fmla="*/ 3417 w 9969"/>
              <a:gd name="connsiteY254" fmla="*/ 3392 h 10000"/>
              <a:gd name="connsiteX255" fmla="*/ 3340 w 9969"/>
              <a:gd name="connsiteY255" fmla="*/ 3573 h 10000"/>
              <a:gd name="connsiteX256" fmla="*/ 3198 w 9969"/>
              <a:gd name="connsiteY256" fmla="*/ 3640 h 10000"/>
              <a:gd name="connsiteX257" fmla="*/ 2775 w 9969"/>
              <a:gd name="connsiteY257" fmla="*/ 3595 h 10000"/>
              <a:gd name="connsiteX258" fmla="*/ 2483 w 9969"/>
              <a:gd name="connsiteY258" fmla="*/ 3620 h 10000"/>
              <a:gd name="connsiteX259" fmla="*/ 2248 w 9969"/>
              <a:gd name="connsiteY259" fmla="*/ 3673 h 10000"/>
              <a:gd name="connsiteX260" fmla="*/ 1870 w 9969"/>
              <a:gd name="connsiteY260" fmla="*/ 3840 h 10000"/>
              <a:gd name="connsiteX261" fmla="*/ 1669 w 9969"/>
              <a:gd name="connsiteY261" fmla="*/ 4042 h 10000"/>
              <a:gd name="connsiteX262" fmla="*/ 1687 w 9969"/>
              <a:gd name="connsiteY262" fmla="*/ 4154 h 10000"/>
              <a:gd name="connsiteX263" fmla="*/ 1757 w 9969"/>
              <a:gd name="connsiteY263" fmla="*/ 4241 h 10000"/>
              <a:gd name="connsiteX264" fmla="*/ 1810 w 9969"/>
              <a:gd name="connsiteY264" fmla="*/ 4276 h 10000"/>
              <a:gd name="connsiteX265" fmla="*/ 1711 w 9969"/>
              <a:gd name="connsiteY265" fmla="*/ 4331 h 10000"/>
              <a:gd name="connsiteX266" fmla="*/ 1497 w 9969"/>
              <a:gd name="connsiteY266" fmla="*/ 4710 h 10000"/>
              <a:gd name="connsiteX267" fmla="*/ 1538 w 9969"/>
              <a:gd name="connsiteY267" fmla="*/ 4732 h 10000"/>
              <a:gd name="connsiteX268" fmla="*/ 1570 w 9969"/>
              <a:gd name="connsiteY268" fmla="*/ 4828 h 10000"/>
              <a:gd name="connsiteX269" fmla="*/ 1469 w 9969"/>
              <a:gd name="connsiteY269" fmla="*/ 5227 h 10000"/>
              <a:gd name="connsiteX270" fmla="*/ 1570 w 9969"/>
              <a:gd name="connsiteY270" fmla="*/ 5329 h 10000"/>
              <a:gd name="connsiteX271" fmla="*/ 1842 w 9969"/>
              <a:gd name="connsiteY271" fmla="*/ 5441 h 10000"/>
              <a:gd name="connsiteX272" fmla="*/ 1855 w 9969"/>
              <a:gd name="connsiteY272" fmla="*/ 5578 h 10000"/>
              <a:gd name="connsiteX273" fmla="*/ 1739 w 9969"/>
              <a:gd name="connsiteY273" fmla="*/ 5690 h 10000"/>
              <a:gd name="connsiteX274" fmla="*/ 1570 w 9969"/>
              <a:gd name="connsiteY274" fmla="*/ 5759 h 10000"/>
              <a:gd name="connsiteX275" fmla="*/ 1346 w 9969"/>
              <a:gd name="connsiteY275" fmla="*/ 5787 h 10000"/>
              <a:gd name="connsiteX276" fmla="*/ 1288 w 9969"/>
              <a:gd name="connsiteY276" fmla="*/ 5826 h 10000"/>
              <a:gd name="connsiteX277" fmla="*/ 1419 w 9969"/>
              <a:gd name="connsiteY277" fmla="*/ 5920 h 10000"/>
              <a:gd name="connsiteX278" fmla="*/ 1493 w 9969"/>
              <a:gd name="connsiteY278" fmla="*/ 6142 h 10000"/>
              <a:gd name="connsiteX279" fmla="*/ 1324 w 9969"/>
              <a:gd name="connsiteY279" fmla="*/ 6333 h 10000"/>
              <a:gd name="connsiteX280" fmla="*/ 1383 w 9969"/>
              <a:gd name="connsiteY280" fmla="*/ 6392 h 10000"/>
              <a:gd name="connsiteX281" fmla="*/ 1329 w 9969"/>
              <a:gd name="connsiteY281" fmla="*/ 6492 h 10000"/>
              <a:gd name="connsiteX282" fmla="*/ 1220 w 9969"/>
              <a:gd name="connsiteY282" fmla="*/ 6561 h 10000"/>
              <a:gd name="connsiteX283" fmla="*/ 792 w 9969"/>
              <a:gd name="connsiteY283" fmla="*/ 6614 h 10000"/>
              <a:gd name="connsiteX284" fmla="*/ 765 w 9969"/>
              <a:gd name="connsiteY284" fmla="*/ 6706 h 10000"/>
              <a:gd name="connsiteX285" fmla="*/ 533 w 9969"/>
              <a:gd name="connsiteY285" fmla="*/ 6843 h 10000"/>
              <a:gd name="connsiteX286" fmla="*/ 564 w 9969"/>
              <a:gd name="connsiteY286" fmla="*/ 7040 h 10000"/>
              <a:gd name="connsiteX287" fmla="*/ 369 w 9969"/>
              <a:gd name="connsiteY287" fmla="*/ 7293 h 10000"/>
              <a:gd name="connsiteX288" fmla="*/ 236 w 9969"/>
              <a:gd name="connsiteY288" fmla="*/ 7323 h 10000"/>
              <a:gd name="connsiteX289" fmla="*/ 182 w 9969"/>
              <a:gd name="connsiteY289" fmla="*/ 7262 h 10000"/>
              <a:gd name="connsiteX290" fmla="*/ 114 w 9969"/>
              <a:gd name="connsiteY290" fmla="*/ 7354 h 10000"/>
              <a:gd name="connsiteX291" fmla="*/ 159 w 9969"/>
              <a:gd name="connsiteY291" fmla="*/ 7197 h 10000"/>
              <a:gd name="connsiteX292" fmla="*/ 131 w 9969"/>
              <a:gd name="connsiteY292" fmla="*/ 7166 h 10000"/>
              <a:gd name="connsiteX0" fmla="*/ 131 w 10069"/>
              <a:gd name="connsiteY0" fmla="*/ 7166 h 10000"/>
              <a:gd name="connsiteX1" fmla="*/ 0 w 10069"/>
              <a:gd name="connsiteY1" fmla="*/ 7248 h 10000"/>
              <a:gd name="connsiteX2" fmla="*/ 0 w 10069"/>
              <a:gd name="connsiteY2" fmla="*/ 7651 h 10000"/>
              <a:gd name="connsiteX3" fmla="*/ 73 w 10069"/>
              <a:gd name="connsiteY3" fmla="*/ 7663 h 10000"/>
              <a:gd name="connsiteX4" fmla="*/ 90 w 10069"/>
              <a:gd name="connsiteY4" fmla="*/ 7694 h 10000"/>
              <a:gd name="connsiteX5" fmla="*/ 86 w 10069"/>
              <a:gd name="connsiteY5" fmla="*/ 7749 h 10000"/>
              <a:gd name="connsiteX6" fmla="*/ 59 w 10069"/>
              <a:gd name="connsiteY6" fmla="*/ 7773 h 10000"/>
              <a:gd name="connsiteX7" fmla="*/ 169 w 10069"/>
              <a:gd name="connsiteY7" fmla="*/ 7727 h 10000"/>
              <a:gd name="connsiteX8" fmla="*/ 216 w 10069"/>
              <a:gd name="connsiteY8" fmla="*/ 7680 h 10000"/>
              <a:gd name="connsiteX9" fmla="*/ 273 w 10069"/>
              <a:gd name="connsiteY9" fmla="*/ 7712 h 10000"/>
              <a:gd name="connsiteX10" fmla="*/ 210 w 10069"/>
              <a:gd name="connsiteY10" fmla="*/ 7778 h 10000"/>
              <a:gd name="connsiteX11" fmla="*/ 278 w 10069"/>
              <a:gd name="connsiteY11" fmla="*/ 7780 h 10000"/>
              <a:gd name="connsiteX12" fmla="*/ 310 w 10069"/>
              <a:gd name="connsiteY12" fmla="*/ 7796 h 10000"/>
              <a:gd name="connsiteX13" fmla="*/ 224 w 10069"/>
              <a:gd name="connsiteY13" fmla="*/ 7818 h 10000"/>
              <a:gd name="connsiteX14" fmla="*/ 86 w 10069"/>
              <a:gd name="connsiteY14" fmla="*/ 7886 h 10000"/>
              <a:gd name="connsiteX15" fmla="*/ 330 w 10069"/>
              <a:gd name="connsiteY15" fmla="*/ 7938 h 10000"/>
              <a:gd name="connsiteX16" fmla="*/ 360 w 10069"/>
              <a:gd name="connsiteY16" fmla="*/ 8014 h 10000"/>
              <a:gd name="connsiteX17" fmla="*/ 278 w 10069"/>
              <a:gd name="connsiteY17" fmla="*/ 8126 h 10000"/>
              <a:gd name="connsiteX18" fmla="*/ 457 w 10069"/>
              <a:gd name="connsiteY18" fmla="*/ 8118 h 10000"/>
              <a:gd name="connsiteX19" fmla="*/ 470 w 10069"/>
              <a:gd name="connsiteY19" fmla="*/ 8203 h 10000"/>
              <a:gd name="connsiteX20" fmla="*/ 351 w 10069"/>
              <a:gd name="connsiteY20" fmla="*/ 8260 h 10000"/>
              <a:gd name="connsiteX21" fmla="*/ 370 w 10069"/>
              <a:gd name="connsiteY21" fmla="*/ 8370 h 10000"/>
              <a:gd name="connsiteX22" fmla="*/ 324 w 10069"/>
              <a:gd name="connsiteY22" fmla="*/ 8456 h 10000"/>
              <a:gd name="connsiteX23" fmla="*/ 465 w 10069"/>
              <a:gd name="connsiteY23" fmla="*/ 8464 h 10000"/>
              <a:gd name="connsiteX24" fmla="*/ 603 w 10069"/>
              <a:gd name="connsiteY24" fmla="*/ 8792 h 10000"/>
              <a:gd name="connsiteX25" fmla="*/ 762 w 10069"/>
              <a:gd name="connsiteY25" fmla="*/ 8876 h 10000"/>
              <a:gd name="connsiteX26" fmla="*/ 831 w 10069"/>
              <a:gd name="connsiteY26" fmla="*/ 8965 h 10000"/>
              <a:gd name="connsiteX27" fmla="*/ 1004 w 10069"/>
              <a:gd name="connsiteY27" fmla="*/ 9030 h 10000"/>
              <a:gd name="connsiteX28" fmla="*/ 1114 w 10069"/>
              <a:gd name="connsiteY28" fmla="*/ 9112 h 10000"/>
              <a:gd name="connsiteX29" fmla="*/ 1100 w 10069"/>
              <a:gd name="connsiteY29" fmla="*/ 9171 h 10000"/>
              <a:gd name="connsiteX30" fmla="*/ 991 w 10069"/>
              <a:gd name="connsiteY30" fmla="*/ 9193 h 10000"/>
              <a:gd name="connsiteX31" fmla="*/ 872 w 10069"/>
              <a:gd name="connsiteY31" fmla="*/ 9179 h 10000"/>
              <a:gd name="connsiteX32" fmla="*/ 835 w 10069"/>
              <a:gd name="connsiteY32" fmla="*/ 9204 h 10000"/>
              <a:gd name="connsiteX33" fmla="*/ 926 w 10069"/>
              <a:gd name="connsiteY33" fmla="*/ 9332 h 10000"/>
              <a:gd name="connsiteX34" fmla="*/ 798 w 10069"/>
              <a:gd name="connsiteY34" fmla="*/ 9322 h 10000"/>
              <a:gd name="connsiteX35" fmla="*/ 689 w 10069"/>
              <a:gd name="connsiteY35" fmla="*/ 9291 h 10000"/>
              <a:gd name="connsiteX36" fmla="*/ 670 w 10069"/>
              <a:gd name="connsiteY36" fmla="*/ 9338 h 10000"/>
              <a:gd name="connsiteX37" fmla="*/ 1031 w 10069"/>
              <a:gd name="connsiteY37" fmla="*/ 9776 h 10000"/>
              <a:gd name="connsiteX38" fmla="*/ 973 w 10069"/>
              <a:gd name="connsiteY38" fmla="*/ 9817 h 10000"/>
              <a:gd name="connsiteX39" fmla="*/ 932 w 10069"/>
              <a:gd name="connsiteY39" fmla="*/ 9902 h 10000"/>
              <a:gd name="connsiteX40" fmla="*/ 881 w 10069"/>
              <a:gd name="connsiteY40" fmla="*/ 9908 h 10000"/>
              <a:gd name="connsiteX41" fmla="*/ 849 w 10069"/>
              <a:gd name="connsiteY41" fmla="*/ 9945 h 10000"/>
              <a:gd name="connsiteX42" fmla="*/ 1067 w 10069"/>
              <a:gd name="connsiteY42" fmla="*/ 9949 h 10000"/>
              <a:gd name="connsiteX43" fmla="*/ 1260 w 10069"/>
              <a:gd name="connsiteY43" fmla="*/ 9986 h 10000"/>
              <a:gd name="connsiteX44" fmla="*/ 1579 w 10069"/>
              <a:gd name="connsiteY44" fmla="*/ 9947 h 10000"/>
              <a:gd name="connsiteX45" fmla="*/ 1866 w 10069"/>
              <a:gd name="connsiteY45" fmla="*/ 9953 h 10000"/>
              <a:gd name="connsiteX46" fmla="*/ 2036 w 10069"/>
              <a:gd name="connsiteY46" fmla="*/ 10000 h 10000"/>
              <a:gd name="connsiteX47" fmla="*/ 2128 w 10069"/>
              <a:gd name="connsiteY47" fmla="*/ 9969 h 10000"/>
              <a:gd name="connsiteX48" fmla="*/ 2218 w 10069"/>
              <a:gd name="connsiteY48" fmla="*/ 9868 h 10000"/>
              <a:gd name="connsiteX49" fmla="*/ 2195 w 10069"/>
              <a:gd name="connsiteY49" fmla="*/ 9703 h 10000"/>
              <a:gd name="connsiteX50" fmla="*/ 2414 w 10069"/>
              <a:gd name="connsiteY50" fmla="*/ 9517 h 10000"/>
              <a:gd name="connsiteX51" fmla="*/ 2574 w 10069"/>
              <a:gd name="connsiteY51" fmla="*/ 9546 h 10000"/>
              <a:gd name="connsiteX52" fmla="*/ 2665 w 10069"/>
              <a:gd name="connsiteY52" fmla="*/ 9472 h 10000"/>
              <a:gd name="connsiteX53" fmla="*/ 2843 w 10069"/>
              <a:gd name="connsiteY53" fmla="*/ 9430 h 10000"/>
              <a:gd name="connsiteX54" fmla="*/ 3085 w 10069"/>
              <a:gd name="connsiteY54" fmla="*/ 9440 h 10000"/>
              <a:gd name="connsiteX55" fmla="*/ 3231 w 10069"/>
              <a:gd name="connsiteY55" fmla="*/ 9470 h 10000"/>
              <a:gd name="connsiteX56" fmla="*/ 3424 w 10069"/>
              <a:gd name="connsiteY56" fmla="*/ 9456 h 10000"/>
              <a:gd name="connsiteX57" fmla="*/ 3619 w 10069"/>
              <a:gd name="connsiteY57" fmla="*/ 9489 h 10000"/>
              <a:gd name="connsiteX58" fmla="*/ 3815 w 10069"/>
              <a:gd name="connsiteY58" fmla="*/ 9493 h 10000"/>
              <a:gd name="connsiteX59" fmla="*/ 4253 w 10069"/>
              <a:gd name="connsiteY59" fmla="*/ 9061 h 10000"/>
              <a:gd name="connsiteX60" fmla="*/ 4364 w 10069"/>
              <a:gd name="connsiteY60" fmla="*/ 8711 h 10000"/>
              <a:gd name="connsiteX61" fmla="*/ 4541 w 10069"/>
              <a:gd name="connsiteY61" fmla="*/ 8554 h 10000"/>
              <a:gd name="connsiteX62" fmla="*/ 4541 w 10069"/>
              <a:gd name="connsiteY62" fmla="*/ 8472 h 10000"/>
              <a:gd name="connsiteX63" fmla="*/ 4477 w 10069"/>
              <a:gd name="connsiteY63" fmla="*/ 8425 h 10000"/>
              <a:gd name="connsiteX64" fmla="*/ 4582 w 10069"/>
              <a:gd name="connsiteY64" fmla="*/ 8352 h 10000"/>
              <a:gd name="connsiteX65" fmla="*/ 4563 w 10069"/>
              <a:gd name="connsiteY65" fmla="*/ 8289 h 10000"/>
              <a:gd name="connsiteX66" fmla="*/ 4491 w 10069"/>
              <a:gd name="connsiteY66" fmla="*/ 8236 h 10000"/>
              <a:gd name="connsiteX67" fmla="*/ 4477 w 10069"/>
              <a:gd name="connsiteY67" fmla="*/ 8199 h 10000"/>
              <a:gd name="connsiteX68" fmla="*/ 4495 w 10069"/>
              <a:gd name="connsiteY68" fmla="*/ 8169 h 10000"/>
              <a:gd name="connsiteX69" fmla="*/ 4591 w 10069"/>
              <a:gd name="connsiteY69" fmla="*/ 8193 h 10000"/>
              <a:gd name="connsiteX70" fmla="*/ 4668 w 10069"/>
              <a:gd name="connsiteY70" fmla="*/ 8191 h 10000"/>
              <a:gd name="connsiteX71" fmla="*/ 4626 w 10069"/>
              <a:gd name="connsiteY71" fmla="*/ 8140 h 10000"/>
              <a:gd name="connsiteX72" fmla="*/ 4640 w 10069"/>
              <a:gd name="connsiteY72" fmla="*/ 8112 h 10000"/>
              <a:gd name="connsiteX73" fmla="*/ 4696 w 10069"/>
              <a:gd name="connsiteY73" fmla="*/ 8069 h 10000"/>
              <a:gd name="connsiteX74" fmla="*/ 4687 w 10069"/>
              <a:gd name="connsiteY74" fmla="*/ 8034 h 10000"/>
              <a:gd name="connsiteX75" fmla="*/ 4738 w 10069"/>
              <a:gd name="connsiteY75" fmla="*/ 7916 h 10000"/>
              <a:gd name="connsiteX76" fmla="*/ 4725 w 10069"/>
              <a:gd name="connsiteY76" fmla="*/ 7881 h 10000"/>
              <a:gd name="connsiteX77" fmla="*/ 4459 w 10069"/>
              <a:gd name="connsiteY77" fmla="*/ 7792 h 10000"/>
              <a:gd name="connsiteX78" fmla="*/ 4495 w 10069"/>
              <a:gd name="connsiteY78" fmla="*/ 7788 h 10000"/>
              <a:gd name="connsiteX79" fmla="*/ 4636 w 10069"/>
              <a:gd name="connsiteY79" fmla="*/ 7812 h 10000"/>
              <a:gd name="connsiteX80" fmla="*/ 4788 w 10069"/>
              <a:gd name="connsiteY80" fmla="*/ 7804 h 10000"/>
              <a:gd name="connsiteX81" fmla="*/ 4833 w 10069"/>
              <a:gd name="connsiteY81" fmla="*/ 7771 h 10000"/>
              <a:gd name="connsiteX82" fmla="*/ 4687 w 10069"/>
              <a:gd name="connsiteY82" fmla="*/ 7710 h 10000"/>
              <a:gd name="connsiteX83" fmla="*/ 4249 w 10069"/>
              <a:gd name="connsiteY83" fmla="*/ 7670 h 10000"/>
              <a:gd name="connsiteX84" fmla="*/ 4279 w 10069"/>
              <a:gd name="connsiteY84" fmla="*/ 7651 h 10000"/>
              <a:gd name="connsiteX85" fmla="*/ 4636 w 10069"/>
              <a:gd name="connsiteY85" fmla="*/ 7639 h 10000"/>
              <a:gd name="connsiteX86" fmla="*/ 4833 w 10069"/>
              <a:gd name="connsiteY86" fmla="*/ 7676 h 10000"/>
              <a:gd name="connsiteX87" fmla="*/ 4947 w 10069"/>
              <a:gd name="connsiteY87" fmla="*/ 7651 h 10000"/>
              <a:gd name="connsiteX88" fmla="*/ 4988 w 10069"/>
              <a:gd name="connsiteY88" fmla="*/ 7588 h 10000"/>
              <a:gd name="connsiteX89" fmla="*/ 5193 w 10069"/>
              <a:gd name="connsiteY89" fmla="*/ 7588 h 10000"/>
              <a:gd name="connsiteX90" fmla="*/ 5472 w 10069"/>
              <a:gd name="connsiteY90" fmla="*/ 7462 h 10000"/>
              <a:gd name="connsiteX91" fmla="*/ 5482 w 10069"/>
              <a:gd name="connsiteY91" fmla="*/ 7378 h 10000"/>
              <a:gd name="connsiteX92" fmla="*/ 5599 w 10069"/>
              <a:gd name="connsiteY92" fmla="*/ 7397 h 10000"/>
              <a:gd name="connsiteX93" fmla="*/ 5595 w 10069"/>
              <a:gd name="connsiteY93" fmla="*/ 7482 h 10000"/>
              <a:gd name="connsiteX94" fmla="*/ 5782 w 10069"/>
              <a:gd name="connsiteY94" fmla="*/ 7476 h 10000"/>
              <a:gd name="connsiteX95" fmla="*/ 5905 w 10069"/>
              <a:gd name="connsiteY95" fmla="*/ 7388 h 10000"/>
              <a:gd name="connsiteX96" fmla="*/ 6135 w 10069"/>
              <a:gd name="connsiteY96" fmla="*/ 7309 h 10000"/>
              <a:gd name="connsiteX97" fmla="*/ 6097 w 10069"/>
              <a:gd name="connsiteY97" fmla="*/ 7219 h 10000"/>
              <a:gd name="connsiteX98" fmla="*/ 6165 w 10069"/>
              <a:gd name="connsiteY98" fmla="*/ 7254 h 10000"/>
              <a:gd name="connsiteX99" fmla="*/ 6270 w 10069"/>
              <a:gd name="connsiteY99" fmla="*/ 7254 h 10000"/>
              <a:gd name="connsiteX100" fmla="*/ 6270 w 10069"/>
              <a:gd name="connsiteY100" fmla="*/ 7213 h 10000"/>
              <a:gd name="connsiteX101" fmla="*/ 6367 w 10069"/>
              <a:gd name="connsiteY101" fmla="*/ 7181 h 10000"/>
              <a:gd name="connsiteX102" fmla="*/ 6353 w 10069"/>
              <a:gd name="connsiteY102" fmla="*/ 7148 h 10000"/>
              <a:gd name="connsiteX103" fmla="*/ 5532 w 10069"/>
              <a:gd name="connsiteY103" fmla="*/ 7215 h 10000"/>
              <a:gd name="connsiteX104" fmla="*/ 5340 w 10069"/>
              <a:gd name="connsiteY104" fmla="*/ 7195 h 10000"/>
              <a:gd name="connsiteX105" fmla="*/ 5262 w 10069"/>
              <a:gd name="connsiteY105" fmla="*/ 7219 h 10000"/>
              <a:gd name="connsiteX106" fmla="*/ 5235 w 10069"/>
              <a:gd name="connsiteY106" fmla="*/ 7173 h 10000"/>
              <a:gd name="connsiteX107" fmla="*/ 5144 w 10069"/>
              <a:gd name="connsiteY107" fmla="*/ 7132 h 10000"/>
              <a:gd name="connsiteX108" fmla="*/ 4778 w 10069"/>
              <a:gd name="connsiteY108" fmla="*/ 7052 h 10000"/>
              <a:gd name="connsiteX109" fmla="*/ 4563 w 10069"/>
              <a:gd name="connsiteY109" fmla="*/ 7065 h 10000"/>
              <a:gd name="connsiteX110" fmla="*/ 4477 w 10069"/>
              <a:gd name="connsiteY110" fmla="*/ 7042 h 10000"/>
              <a:gd name="connsiteX111" fmla="*/ 4568 w 10069"/>
              <a:gd name="connsiteY111" fmla="*/ 7022 h 10000"/>
              <a:gd name="connsiteX112" fmla="*/ 4636 w 10069"/>
              <a:gd name="connsiteY112" fmla="*/ 6979 h 10000"/>
              <a:gd name="connsiteX113" fmla="*/ 4738 w 10069"/>
              <a:gd name="connsiteY113" fmla="*/ 6993 h 10000"/>
              <a:gd name="connsiteX114" fmla="*/ 4860 w 10069"/>
              <a:gd name="connsiteY114" fmla="*/ 6981 h 10000"/>
              <a:gd name="connsiteX115" fmla="*/ 5043 w 10069"/>
              <a:gd name="connsiteY115" fmla="*/ 6995 h 10000"/>
              <a:gd name="connsiteX116" fmla="*/ 5065 w 10069"/>
              <a:gd name="connsiteY116" fmla="*/ 6989 h 10000"/>
              <a:gd name="connsiteX117" fmla="*/ 5207 w 10069"/>
              <a:gd name="connsiteY117" fmla="*/ 7056 h 10000"/>
              <a:gd name="connsiteX118" fmla="*/ 5312 w 10069"/>
              <a:gd name="connsiteY118" fmla="*/ 7032 h 10000"/>
              <a:gd name="connsiteX119" fmla="*/ 5320 w 10069"/>
              <a:gd name="connsiteY119" fmla="*/ 7010 h 10000"/>
              <a:gd name="connsiteX120" fmla="*/ 5417 w 10069"/>
              <a:gd name="connsiteY120" fmla="*/ 7048 h 10000"/>
              <a:gd name="connsiteX121" fmla="*/ 5545 w 10069"/>
              <a:gd name="connsiteY121" fmla="*/ 7069 h 10000"/>
              <a:gd name="connsiteX122" fmla="*/ 5595 w 10069"/>
              <a:gd name="connsiteY122" fmla="*/ 7030 h 10000"/>
              <a:gd name="connsiteX123" fmla="*/ 5636 w 10069"/>
              <a:gd name="connsiteY123" fmla="*/ 7052 h 10000"/>
              <a:gd name="connsiteX124" fmla="*/ 5695 w 10069"/>
              <a:gd name="connsiteY124" fmla="*/ 7126 h 10000"/>
              <a:gd name="connsiteX125" fmla="*/ 5818 w 10069"/>
              <a:gd name="connsiteY125" fmla="*/ 7144 h 10000"/>
              <a:gd name="connsiteX126" fmla="*/ 6321 w 10069"/>
              <a:gd name="connsiteY126" fmla="*/ 7034 h 10000"/>
              <a:gd name="connsiteX127" fmla="*/ 6567 w 10069"/>
              <a:gd name="connsiteY127" fmla="*/ 6879 h 10000"/>
              <a:gd name="connsiteX128" fmla="*/ 6626 w 10069"/>
              <a:gd name="connsiteY128" fmla="*/ 6765 h 10000"/>
              <a:gd name="connsiteX129" fmla="*/ 6536 w 10069"/>
              <a:gd name="connsiteY129" fmla="*/ 6663 h 10000"/>
              <a:gd name="connsiteX130" fmla="*/ 6348 w 10069"/>
              <a:gd name="connsiteY130" fmla="*/ 6602 h 10000"/>
              <a:gd name="connsiteX131" fmla="*/ 6215 w 10069"/>
              <a:gd name="connsiteY131" fmla="*/ 6502 h 10000"/>
              <a:gd name="connsiteX132" fmla="*/ 6340 w 10069"/>
              <a:gd name="connsiteY132" fmla="*/ 6498 h 10000"/>
              <a:gd name="connsiteX133" fmla="*/ 6331 w 10069"/>
              <a:gd name="connsiteY133" fmla="*/ 6474 h 10000"/>
              <a:gd name="connsiteX134" fmla="*/ 6007 w 10069"/>
              <a:gd name="connsiteY134" fmla="*/ 6403 h 10000"/>
              <a:gd name="connsiteX135" fmla="*/ 5994 w 10069"/>
              <a:gd name="connsiteY135" fmla="*/ 6339 h 10000"/>
              <a:gd name="connsiteX136" fmla="*/ 5932 w 10069"/>
              <a:gd name="connsiteY136" fmla="*/ 6272 h 10000"/>
              <a:gd name="connsiteX137" fmla="*/ 5677 w 10069"/>
              <a:gd name="connsiteY137" fmla="*/ 6284 h 10000"/>
              <a:gd name="connsiteX138" fmla="*/ 5585 w 10069"/>
              <a:gd name="connsiteY138" fmla="*/ 6213 h 10000"/>
              <a:gd name="connsiteX139" fmla="*/ 5532 w 10069"/>
              <a:gd name="connsiteY139" fmla="*/ 6209 h 10000"/>
              <a:gd name="connsiteX140" fmla="*/ 5532 w 10069"/>
              <a:gd name="connsiteY140" fmla="*/ 6238 h 10000"/>
              <a:gd name="connsiteX141" fmla="*/ 5417 w 10069"/>
              <a:gd name="connsiteY141" fmla="*/ 6358 h 10000"/>
              <a:gd name="connsiteX142" fmla="*/ 5293 w 10069"/>
              <a:gd name="connsiteY142" fmla="*/ 6429 h 10000"/>
              <a:gd name="connsiteX143" fmla="*/ 4905 w 10069"/>
              <a:gd name="connsiteY143" fmla="*/ 6551 h 10000"/>
              <a:gd name="connsiteX144" fmla="*/ 4769 w 10069"/>
              <a:gd name="connsiteY144" fmla="*/ 6547 h 10000"/>
              <a:gd name="connsiteX145" fmla="*/ 4582 w 10069"/>
              <a:gd name="connsiteY145" fmla="*/ 6565 h 10000"/>
              <a:gd name="connsiteX146" fmla="*/ 4477 w 10069"/>
              <a:gd name="connsiteY146" fmla="*/ 6547 h 10000"/>
              <a:gd name="connsiteX147" fmla="*/ 4613 w 10069"/>
              <a:gd name="connsiteY147" fmla="*/ 6513 h 10000"/>
              <a:gd name="connsiteX148" fmla="*/ 4792 w 10069"/>
              <a:gd name="connsiteY148" fmla="*/ 6498 h 10000"/>
              <a:gd name="connsiteX149" fmla="*/ 4939 w 10069"/>
              <a:gd name="connsiteY149" fmla="*/ 6441 h 10000"/>
              <a:gd name="connsiteX150" fmla="*/ 5083 w 10069"/>
              <a:gd name="connsiteY150" fmla="*/ 6415 h 10000"/>
              <a:gd name="connsiteX151" fmla="*/ 5354 w 10069"/>
              <a:gd name="connsiteY151" fmla="*/ 6317 h 10000"/>
              <a:gd name="connsiteX152" fmla="*/ 5404 w 10069"/>
              <a:gd name="connsiteY152" fmla="*/ 6252 h 10000"/>
              <a:gd name="connsiteX153" fmla="*/ 5408 w 10069"/>
              <a:gd name="connsiteY153" fmla="*/ 6168 h 10000"/>
              <a:gd name="connsiteX154" fmla="*/ 5285 w 10069"/>
              <a:gd name="connsiteY154" fmla="*/ 6154 h 10000"/>
              <a:gd name="connsiteX155" fmla="*/ 5340 w 10069"/>
              <a:gd name="connsiteY155" fmla="*/ 6103 h 10000"/>
              <a:gd name="connsiteX156" fmla="*/ 5358 w 10069"/>
              <a:gd name="connsiteY156" fmla="*/ 6038 h 10000"/>
              <a:gd name="connsiteX157" fmla="*/ 5306 w 10069"/>
              <a:gd name="connsiteY157" fmla="*/ 5977 h 10000"/>
              <a:gd name="connsiteX158" fmla="*/ 5275 w 10069"/>
              <a:gd name="connsiteY158" fmla="*/ 5533 h 10000"/>
              <a:gd name="connsiteX159" fmla="*/ 5350 w 10069"/>
              <a:gd name="connsiteY159" fmla="*/ 5437 h 10000"/>
              <a:gd name="connsiteX160" fmla="*/ 5331 w 10069"/>
              <a:gd name="connsiteY160" fmla="*/ 5398 h 10000"/>
              <a:gd name="connsiteX161" fmla="*/ 5545 w 10069"/>
              <a:gd name="connsiteY161" fmla="*/ 5455 h 10000"/>
              <a:gd name="connsiteX162" fmla="*/ 5559 w 10069"/>
              <a:gd name="connsiteY162" fmla="*/ 5402 h 10000"/>
              <a:gd name="connsiteX163" fmla="*/ 5513 w 10069"/>
              <a:gd name="connsiteY163" fmla="*/ 5264 h 10000"/>
              <a:gd name="connsiteX164" fmla="*/ 5667 w 10069"/>
              <a:gd name="connsiteY164" fmla="*/ 5019 h 10000"/>
              <a:gd name="connsiteX165" fmla="*/ 5572 w 10069"/>
              <a:gd name="connsiteY165" fmla="*/ 4960 h 10000"/>
              <a:gd name="connsiteX166" fmla="*/ 5536 w 10069"/>
              <a:gd name="connsiteY166" fmla="*/ 4905 h 10000"/>
              <a:gd name="connsiteX167" fmla="*/ 5549 w 10069"/>
              <a:gd name="connsiteY167" fmla="*/ 4816 h 10000"/>
              <a:gd name="connsiteX168" fmla="*/ 5774 w 10069"/>
              <a:gd name="connsiteY168" fmla="*/ 4875 h 10000"/>
              <a:gd name="connsiteX169" fmla="*/ 5782 w 10069"/>
              <a:gd name="connsiteY169" fmla="*/ 4858 h 10000"/>
              <a:gd name="connsiteX170" fmla="*/ 5845 w 10069"/>
              <a:gd name="connsiteY170" fmla="*/ 4842 h 10000"/>
              <a:gd name="connsiteX171" fmla="*/ 5932 w 10069"/>
              <a:gd name="connsiteY171" fmla="*/ 4785 h 10000"/>
              <a:gd name="connsiteX172" fmla="*/ 5946 w 10069"/>
              <a:gd name="connsiteY172" fmla="*/ 4769 h 10000"/>
              <a:gd name="connsiteX173" fmla="*/ 5928 w 10069"/>
              <a:gd name="connsiteY173" fmla="*/ 4748 h 10000"/>
              <a:gd name="connsiteX174" fmla="*/ 5973 w 10069"/>
              <a:gd name="connsiteY174" fmla="*/ 4647 h 10000"/>
              <a:gd name="connsiteX175" fmla="*/ 5919 w 10069"/>
              <a:gd name="connsiteY175" fmla="*/ 4581 h 10000"/>
              <a:gd name="connsiteX176" fmla="*/ 5928 w 10069"/>
              <a:gd name="connsiteY176" fmla="*/ 4528 h 10000"/>
              <a:gd name="connsiteX177" fmla="*/ 5959 w 10069"/>
              <a:gd name="connsiteY177" fmla="*/ 4590 h 10000"/>
              <a:gd name="connsiteX178" fmla="*/ 6083 w 10069"/>
              <a:gd name="connsiteY178" fmla="*/ 4636 h 10000"/>
              <a:gd name="connsiteX179" fmla="*/ 6135 w 10069"/>
              <a:gd name="connsiteY179" fmla="*/ 4630 h 10000"/>
              <a:gd name="connsiteX180" fmla="*/ 6215 w 10069"/>
              <a:gd name="connsiteY180" fmla="*/ 4569 h 10000"/>
              <a:gd name="connsiteX181" fmla="*/ 6303 w 10069"/>
              <a:gd name="connsiteY181" fmla="*/ 4594 h 10000"/>
              <a:gd name="connsiteX182" fmla="*/ 6327 w 10069"/>
              <a:gd name="connsiteY182" fmla="*/ 4545 h 10000"/>
              <a:gd name="connsiteX183" fmla="*/ 6385 w 10069"/>
              <a:gd name="connsiteY183" fmla="*/ 4512 h 10000"/>
              <a:gd name="connsiteX184" fmla="*/ 6224 w 10069"/>
              <a:gd name="connsiteY184" fmla="*/ 4477 h 10000"/>
              <a:gd name="connsiteX185" fmla="*/ 6340 w 10069"/>
              <a:gd name="connsiteY185" fmla="*/ 4484 h 10000"/>
              <a:gd name="connsiteX186" fmla="*/ 6457 w 10069"/>
              <a:gd name="connsiteY186" fmla="*/ 4447 h 10000"/>
              <a:gd name="connsiteX187" fmla="*/ 6453 w 10069"/>
              <a:gd name="connsiteY187" fmla="*/ 4422 h 10000"/>
              <a:gd name="connsiteX188" fmla="*/ 6563 w 10069"/>
              <a:gd name="connsiteY188" fmla="*/ 4398 h 10000"/>
              <a:gd name="connsiteX189" fmla="*/ 6572 w 10069"/>
              <a:gd name="connsiteY189" fmla="*/ 4337 h 10000"/>
              <a:gd name="connsiteX190" fmla="*/ 6659 w 10069"/>
              <a:gd name="connsiteY190" fmla="*/ 4325 h 10000"/>
              <a:gd name="connsiteX191" fmla="*/ 6667 w 10069"/>
              <a:gd name="connsiteY191" fmla="*/ 4253 h 10000"/>
              <a:gd name="connsiteX192" fmla="*/ 6758 w 10069"/>
              <a:gd name="connsiteY192" fmla="*/ 4245 h 10000"/>
              <a:gd name="connsiteX193" fmla="*/ 6900 w 10069"/>
              <a:gd name="connsiteY193" fmla="*/ 4260 h 10000"/>
              <a:gd name="connsiteX194" fmla="*/ 7055 w 10069"/>
              <a:gd name="connsiteY194" fmla="*/ 4202 h 10000"/>
              <a:gd name="connsiteX195" fmla="*/ 7110 w 10069"/>
              <a:gd name="connsiteY195" fmla="*/ 4137 h 10000"/>
              <a:gd name="connsiteX196" fmla="*/ 7302 w 10069"/>
              <a:gd name="connsiteY196" fmla="*/ 4070 h 10000"/>
              <a:gd name="connsiteX197" fmla="*/ 7397 w 10069"/>
              <a:gd name="connsiteY197" fmla="*/ 4111 h 10000"/>
              <a:gd name="connsiteX198" fmla="*/ 7543 w 10069"/>
              <a:gd name="connsiteY198" fmla="*/ 4066 h 10000"/>
              <a:gd name="connsiteX199" fmla="*/ 7579 w 10069"/>
              <a:gd name="connsiteY199" fmla="*/ 4009 h 10000"/>
              <a:gd name="connsiteX200" fmla="*/ 7690 w 10069"/>
              <a:gd name="connsiteY200" fmla="*/ 3970 h 10000"/>
              <a:gd name="connsiteX201" fmla="*/ 7785 w 10069"/>
              <a:gd name="connsiteY201" fmla="*/ 3987 h 10000"/>
              <a:gd name="connsiteX202" fmla="*/ 7844 w 10069"/>
              <a:gd name="connsiteY202" fmla="*/ 3958 h 10000"/>
              <a:gd name="connsiteX203" fmla="*/ 8009 w 10069"/>
              <a:gd name="connsiteY203" fmla="*/ 3917 h 10000"/>
              <a:gd name="connsiteX204" fmla="*/ 8077 w 10069"/>
              <a:gd name="connsiteY204" fmla="*/ 3864 h 10000"/>
              <a:gd name="connsiteX205" fmla="*/ 8169 w 10069"/>
              <a:gd name="connsiteY205" fmla="*/ 3842 h 10000"/>
              <a:gd name="connsiteX206" fmla="*/ 8676 w 10069"/>
              <a:gd name="connsiteY206" fmla="*/ 3522 h 10000"/>
              <a:gd name="connsiteX207" fmla="*/ 10000 w 10069"/>
              <a:gd name="connsiteY207" fmla="*/ 1194 h 10000"/>
              <a:gd name="connsiteX208" fmla="*/ 9889 w 10069"/>
              <a:gd name="connsiteY208" fmla="*/ 978 h 10000"/>
              <a:gd name="connsiteX209" fmla="*/ 9949 w 10069"/>
              <a:gd name="connsiteY209" fmla="*/ 831 h 10000"/>
              <a:gd name="connsiteX210" fmla="*/ 9510 w 10069"/>
              <a:gd name="connsiteY210" fmla="*/ 517 h 10000"/>
              <a:gd name="connsiteX211" fmla="*/ 9296 w 10069"/>
              <a:gd name="connsiteY211" fmla="*/ 440 h 10000"/>
              <a:gd name="connsiteX212" fmla="*/ 8899 w 10069"/>
              <a:gd name="connsiteY212" fmla="*/ 389 h 10000"/>
              <a:gd name="connsiteX213" fmla="*/ 8077 w 10069"/>
              <a:gd name="connsiteY213" fmla="*/ 26 h 10000"/>
              <a:gd name="connsiteX214" fmla="*/ 8050 w 10069"/>
              <a:gd name="connsiteY214" fmla="*/ 2 h 10000"/>
              <a:gd name="connsiteX215" fmla="*/ 7771 w 10069"/>
              <a:gd name="connsiteY215" fmla="*/ 0 h 10000"/>
              <a:gd name="connsiteX216" fmla="*/ 7708 w 10069"/>
              <a:gd name="connsiteY216" fmla="*/ 14 h 10000"/>
              <a:gd name="connsiteX217" fmla="*/ 7722 w 10069"/>
              <a:gd name="connsiteY217" fmla="*/ 61 h 10000"/>
              <a:gd name="connsiteX218" fmla="*/ 7776 w 10069"/>
              <a:gd name="connsiteY218" fmla="*/ 86 h 10000"/>
              <a:gd name="connsiteX219" fmla="*/ 7791 w 10069"/>
              <a:gd name="connsiteY219" fmla="*/ 139 h 10000"/>
              <a:gd name="connsiteX220" fmla="*/ 7771 w 10069"/>
              <a:gd name="connsiteY220" fmla="*/ 181 h 10000"/>
              <a:gd name="connsiteX221" fmla="*/ 7722 w 10069"/>
              <a:gd name="connsiteY221" fmla="*/ 208 h 10000"/>
              <a:gd name="connsiteX222" fmla="*/ 7685 w 10069"/>
              <a:gd name="connsiteY222" fmla="*/ 283 h 10000"/>
              <a:gd name="connsiteX223" fmla="*/ 7617 w 10069"/>
              <a:gd name="connsiteY223" fmla="*/ 336 h 10000"/>
              <a:gd name="connsiteX224" fmla="*/ 7631 w 10069"/>
              <a:gd name="connsiteY224" fmla="*/ 387 h 10000"/>
              <a:gd name="connsiteX225" fmla="*/ 7735 w 10069"/>
              <a:gd name="connsiteY225" fmla="*/ 434 h 10000"/>
              <a:gd name="connsiteX226" fmla="*/ 7667 w 10069"/>
              <a:gd name="connsiteY226" fmla="*/ 475 h 10000"/>
              <a:gd name="connsiteX227" fmla="*/ 7566 w 10069"/>
              <a:gd name="connsiteY227" fmla="*/ 485 h 10000"/>
              <a:gd name="connsiteX228" fmla="*/ 6727 w 10069"/>
              <a:gd name="connsiteY228" fmla="*/ 387 h 10000"/>
              <a:gd name="connsiteX229" fmla="*/ 6626 w 10069"/>
              <a:gd name="connsiteY229" fmla="*/ 395 h 10000"/>
              <a:gd name="connsiteX230" fmla="*/ 6567 w 10069"/>
              <a:gd name="connsiteY230" fmla="*/ 414 h 10000"/>
              <a:gd name="connsiteX231" fmla="*/ 6507 w 10069"/>
              <a:gd name="connsiteY231" fmla="*/ 462 h 10000"/>
              <a:gd name="connsiteX232" fmla="*/ 6518 w 10069"/>
              <a:gd name="connsiteY232" fmla="*/ 581 h 10000"/>
              <a:gd name="connsiteX233" fmla="*/ 6425 w 10069"/>
              <a:gd name="connsiteY233" fmla="*/ 735 h 10000"/>
              <a:gd name="connsiteX234" fmla="*/ 6312 w 10069"/>
              <a:gd name="connsiteY234" fmla="*/ 815 h 10000"/>
              <a:gd name="connsiteX235" fmla="*/ 6266 w 10069"/>
              <a:gd name="connsiteY235" fmla="*/ 805 h 10000"/>
              <a:gd name="connsiteX236" fmla="*/ 6161 w 10069"/>
              <a:gd name="connsiteY236" fmla="*/ 739 h 10000"/>
              <a:gd name="connsiteX237" fmla="*/ 6029 w 10069"/>
              <a:gd name="connsiteY237" fmla="*/ 705 h 10000"/>
              <a:gd name="connsiteX238" fmla="*/ 5886 w 10069"/>
              <a:gd name="connsiteY238" fmla="*/ 715 h 10000"/>
              <a:gd name="connsiteX239" fmla="*/ 5555 w 10069"/>
              <a:gd name="connsiteY239" fmla="*/ 866 h 10000"/>
              <a:gd name="connsiteX240" fmla="*/ 5467 w 10069"/>
              <a:gd name="connsiteY240" fmla="*/ 1017 h 10000"/>
              <a:gd name="connsiteX241" fmla="*/ 5217 w 10069"/>
              <a:gd name="connsiteY241" fmla="*/ 1153 h 10000"/>
              <a:gd name="connsiteX242" fmla="*/ 5171 w 10069"/>
              <a:gd name="connsiteY242" fmla="*/ 1222 h 10000"/>
              <a:gd name="connsiteX243" fmla="*/ 5302 w 10069"/>
              <a:gd name="connsiteY243" fmla="*/ 1344 h 10000"/>
              <a:gd name="connsiteX244" fmla="*/ 5316 w 10069"/>
              <a:gd name="connsiteY244" fmla="*/ 1412 h 10000"/>
              <a:gd name="connsiteX245" fmla="*/ 4632 w 10069"/>
              <a:gd name="connsiteY245" fmla="*/ 1813 h 10000"/>
              <a:gd name="connsiteX246" fmla="*/ 4422 w 10069"/>
              <a:gd name="connsiteY246" fmla="*/ 2070 h 10000"/>
              <a:gd name="connsiteX247" fmla="*/ 4195 w 10069"/>
              <a:gd name="connsiteY247" fmla="*/ 2135 h 10000"/>
              <a:gd name="connsiteX248" fmla="*/ 4052 w 10069"/>
              <a:gd name="connsiteY248" fmla="*/ 2131 h 10000"/>
              <a:gd name="connsiteX249" fmla="*/ 3966 w 10069"/>
              <a:gd name="connsiteY249" fmla="*/ 2153 h 10000"/>
              <a:gd name="connsiteX250" fmla="*/ 3729 w 10069"/>
              <a:gd name="connsiteY250" fmla="*/ 2793 h 10000"/>
              <a:gd name="connsiteX251" fmla="*/ 3182 w 10069"/>
              <a:gd name="connsiteY251" fmla="*/ 3166 h 10000"/>
              <a:gd name="connsiteX252" fmla="*/ 3186 w 10069"/>
              <a:gd name="connsiteY252" fmla="*/ 3225 h 10000"/>
              <a:gd name="connsiteX253" fmla="*/ 3428 w 10069"/>
              <a:gd name="connsiteY253" fmla="*/ 3392 h 10000"/>
              <a:gd name="connsiteX254" fmla="*/ 3350 w 10069"/>
              <a:gd name="connsiteY254" fmla="*/ 3573 h 10000"/>
              <a:gd name="connsiteX255" fmla="*/ 3208 w 10069"/>
              <a:gd name="connsiteY255" fmla="*/ 3640 h 10000"/>
              <a:gd name="connsiteX256" fmla="*/ 2784 w 10069"/>
              <a:gd name="connsiteY256" fmla="*/ 3595 h 10000"/>
              <a:gd name="connsiteX257" fmla="*/ 2491 w 10069"/>
              <a:gd name="connsiteY257" fmla="*/ 3620 h 10000"/>
              <a:gd name="connsiteX258" fmla="*/ 2255 w 10069"/>
              <a:gd name="connsiteY258" fmla="*/ 3673 h 10000"/>
              <a:gd name="connsiteX259" fmla="*/ 1876 w 10069"/>
              <a:gd name="connsiteY259" fmla="*/ 3840 h 10000"/>
              <a:gd name="connsiteX260" fmla="*/ 1674 w 10069"/>
              <a:gd name="connsiteY260" fmla="*/ 4042 h 10000"/>
              <a:gd name="connsiteX261" fmla="*/ 1692 w 10069"/>
              <a:gd name="connsiteY261" fmla="*/ 4154 h 10000"/>
              <a:gd name="connsiteX262" fmla="*/ 1762 w 10069"/>
              <a:gd name="connsiteY262" fmla="*/ 4241 h 10000"/>
              <a:gd name="connsiteX263" fmla="*/ 1816 w 10069"/>
              <a:gd name="connsiteY263" fmla="*/ 4276 h 10000"/>
              <a:gd name="connsiteX264" fmla="*/ 1716 w 10069"/>
              <a:gd name="connsiteY264" fmla="*/ 4331 h 10000"/>
              <a:gd name="connsiteX265" fmla="*/ 1502 w 10069"/>
              <a:gd name="connsiteY265" fmla="*/ 4710 h 10000"/>
              <a:gd name="connsiteX266" fmla="*/ 1543 w 10069"/>
              <a:gd name="connsiteY266" fmla="*/ 4732 h 10000"/>
              <a:gd name="connsiteX267" fmla="*/ 1575 w 10069"/>
              <a:gd name="connsiteY267" fmla="*/ 4828 h 10000"/>
              <a:gd name="connsiteX268" fmla="*/ 1474 w 10069"/>
              <a:gd name="connsiteY268" fmla="*/ 5227 h 10000"/>
              <a:gd name="connsiteX269" fmla="*/ 1575 w 10069"/>
              <a:gd name="connsiteY269" fmla="*/ 5329 h 10000"/>
              <a:gd name="connsiteX270" fmla="*/ 1848 w 10069"/>
              <a:gd name="connsiteY270" fmla="*/ 5441 h 10000"/>
              <a:gd name="connsiteX271" fmla="*/ 1861 w 10069"/>
              <a:gd name="connsiteY271" fmla="*/ 5578 h 10000"/>
              <a:gd name="connsiteX272" fmla="*/ 1744 w 10069"/>
              <a:gd name="connsiteY272" fmla="*/ 5690 h 10000"/>
              <a:gd name="connsiteX273" fmla="*/ 1575 w 10069"/>
              <a:gd name="connsiteY273" fmla="*/ 5759 h 10000"/>
              <a:gd name="connsiteX274" fmla="*/ 1350 w 10069"/>
              <a:gd name="connsiteY274" fmla="*/ 5787 h 10000"/>
              <a:gd name="connsiteX275" fmla="*/ 1292 w 10069"/>
              <a:gd name="connsiteY275" fmla="*/ 5826 h 10000"/>
              <a:gd name="connsiteX276" fmla="*/ 1423 w 10069"/>
              <a:gd name="connsiteY276" fmla="*/ 5920 h 10000"/>
              <a:gd name="connsiteX277" fmla="*/ 1498 w 10069"/>
              <a:gd name="connsiteY277" fmla="*/ 6142 h 10000"/>
              <a:gd name="connsiteX278" fmla="*/ 1328 w 10069"/>
              <a:gd name="connsiteY278" fmla="*/ 6333 h 10000"/>
              <a:gd name="connsiteX279" fmla="*/ 1387 w 10069"/>
              <a:gd name="connsiteY279" fmla="*/ 6392 h 10000"/>
              <a:gd name="connsiteX280" fmla="*/ 1333 w 10069"/>
              <a:gd name="connsiteY280" fmla="*/ 6492 h 10000"/>
              <a:gd name="connsiteX281" fmla="*/ 1224 w 10069"/>
              <a:gd name="connsiteY281" fmla="*/ 6561 h 10000"/>
              <a:gd name="connsiteX282" fmla="*/ 794 w 10069"/>
              <a:gd name="connsiteY282" fmla="*/ 6614 h 10000"/>
              <a:gd name="connsiteX283" fmla="*/ 767 w 10069"/>
              <a:gd name="connsiteY283" fmla="*/ 6706 h 10000"/>
              <a:gd name="connsiteX284" fmla="*/ 535 w 10069"/>
              <a:gd name="connsiteY284" fmla="*/ 6843 h 10000"/>
              <a:gd name="connsiteX285" fmla="*/ 566 w 10069"/>
              <a:gd name="connsiteY285" fmla="*/ 7040 h 10000"/>
              <a:gd name="connsiteX286" fmla="*/ 370 w 10069"/>
              <a:gd name="connsiteY286" fmla="*/ 7293 h 10000"/>
              <a:gd name="connsiteX287" fmla="*/ 237 w 10069"/>
              <a:gd name="connsiteY287" fmla="*/ 7323 h 10000"/>
              <a:gd name="connsiteX288" fmla="*/ 183 w 10069"/>
              <a:gd name="connsiteY288" fmla="*/ 7262 h 10000"/>
              <a:gd name="connsiteX289" fmla="*/ 114 w 10069"/>
              <a:gd name="connsiteY289" fmla="*/ 7354 h 10000"/>
              <a:gd name="connsiteX290" fmla="*/ 159 w 10069"/>
              <a:gd name="connsiteY290" fmla="*/ 7197 h 10000"/>
              <a:gd name="connsiteX291" fmla="*/ 131 w 10069"/>
              <a:gd name="connsiteY291" fmla="*/ 7166 h 10000"/>
              <a:gd name="connsiteX0" fmla="*/ 131 w 9949"/>
              <a:gd name="connsiteY0" fmla="*/ 7166 h 10000"/>
              <a:gd name="connsiteX1" fmla="*/ 0 w 9949"/>
              <a:gd name="connsiteY1" fmla="*/ 7248 h 10000"/>
              <a:gd name="connsiteX2" fmla="*/ 0 w 9949"/>
              <a:gd name="connsiteY2" fmla="*/ 7651 h 10000"/>
              <a:gd name="connsiteX3" fmla="*/ 73 w 9949"/>
              <a:gd name="connsiteY3" fmla="*/ 7663 h 10000"/>
              <a:gd name="connsiteX4" fmla="*/ 90 w 9949"/>
              <a:gd name="connsiteY4" fmla="*/ 7694 h 10000"/>
              <a:gd name="connsiteX5" fmla="*/ 86 w 9949"/>
              <a:gd name="connsiteY5" fmla="*/ 7749 h 10000"/>
              <a:gd name="connsiteX6" fmla="*/ 59 w 9949"/>
              <a:gd name="connsiteY6" fmla="*/ 7773 h 10000"/>
              <a:gd name="connsiteX7" fmla="*/ 169 w 9949"/>
              <a:gd name="connsiteY7" fmla="*/ 7727 h 10000"/>
              <a:gd name="connsiteX8" fmla="*/ 216 w 9949"/>
              <a:gd name="connsiteY8" fmla="*/ 7680 h 10000"/>
              <a:gd name="connsiteX9" fmla="*/ 273 w 9949"/>
              <a:gd name="connsiteY9" fmla="*/ 7712 h 10000"/>
              <a:gd name="connsiteX10" fmla="*/ 210 w 9949"/>
              <a:gd name="connsiteY10" fmla="*/ 7778 h 10000"/>
              <a:gd name="connsiteX11" fmla="*/ 278 w 9949"/>
              <a:gd name="connsiteY11" fmla="*/ 7780 h 10000"/>
              <a:gd name="connsiteX12" fmla="*/ 310 w 9949"/>
              <a:gd name="connsiteY12" fmla="*/ 7796 h 10000"/>
              <a:gd name="connsiteX13" fmla="*/ 224 w 9949"/>
              <a:gd name="connsiteY13" fmla="*/ 7818 h 10000"/>
              <a:gd name="connsiteX14" fmla="*/ 86 w 9949"/>
              <a:gd name="connsiteY14" fmla="*/ 7886 h 10000"/>
              <a:gd name="connsiteX15" fmla="*/ 330 w 9949"/>
              <a:gd name="connsiteY15" fmla="*/ 7938 h 10000"/>
              <a:gd name="connsiteX16" fmla="*/ 360 w 9949"/>
              <a:gd name="connsiteY16" fmla="*/ 8014 h 10000"/>
              <a:gd name="connsiteX17" fmla="*/ 278 w 9949"/>
              <a:gd name="connsiteY17" fmla="*/ 8126 h 10000"/>
              <a:gd name="connsiteX18" fmla="*/ 457 w 9949"/>
              <a:gd name="connsiteY18" fmla="*/ 8118 h 10000"/>
              <a:gd name="connsiteX19" fmla="*/ 470 w 9949"/>
              <a:gd name="connsiteY19" fmla="*/ 8203 h 10000"/>
              <a:gd name="connsiteX20" fmla="*/ 351 w 9949"/>
              <a:gd name="connsiteY20" fmla="*/ 8260 h 10000"/>
              <a:gd name="connsiteX21" fmla="*/ 370 w 9949"/>
              <a:gd name="connsiteY21" fmla="*/ 8370 h 10000"/>
              <a:gd name="connsiteX22" fmla="*/ 324 w 9949"/>
              <a:gd name="connsiteY22" fmla="*/ 8456 h 10000"/>
              <a:gd name="connsiteX23" fmla="*/ 465 w 9949"/>
              <a:gd name="connsiteY23" fmla="*/ 8464 h 10000"/>
              <a:gd name="connsiteX24" fmla="*/ 603 w 9949"/>
              <a:gd name="connsiteY24" fmla="*/ 8792 h 10000"/>
              <a:gd name="connsiteX25" fmla="*/ 762 w 9949"/>
              <a:gd name="connsiteY25" fmla="*/ 8876 h 10000"/>
              <a:gd name="connsiteX26" fmla="*/ 831 w 9949"/>
              <a:gd name="connsiteY26" fmla="*/ 8965 h 10000"/>
              <a:gd name="connsiteX27" fmla="*/ 1004 w 9949"/>
              <a:gd name="connsiteY27" fmla="*/ 9030 h 10000"/>
              <a:gd name="connsiteX28" fmla="*/ 1114 w 9949"/>
              <a:gd name="connsiteY28" fmla="*/ 9112 h 10000"/>
              <a:gd name="connsiteX29" fmla="*/ 1100 w 9949"/>
              <a:gd name="connsiteY29" fmla="*/ 9171 h 10000"/>
              <a:gd name="connsiteX30" fmla="*/ 991 w 9949"/>
              <a:gd name="connsiteY30" fmla="*/ 9193 h 10000"/>
              <a:gd name="connsiteX31" fmla="*/ 872 w 9949"/>
              <a:gd name="connsiteY31" fmla="*/ 9179 h 10000"/>
              <a:gd name="connsiteX32" fmla="*/ 835 w 9949"/>
              <a:gd name="connsiteY32" fmla="*/ 9204 h 10000"/>
              <a:gd name="connsiteX33" fmla="*/ 926 w 9949"/>
              <a:gd name="connsiteY33" fmla="*/ 9332 h 10000"/>
              <a:gd name="connsiteX34" fmla="*/ 798 w 9949"/>
              <a:gd name="connsiteY34" fmla="*/ 9322 h 10000"/>
              <a:gd name="connsiteX35" fmla="*/ 689 w 9949"/>
              <a:gd name="connsiteY35" fmla="*/ 9291 h 10000"/>
              <a:gd name="connsiteX36" fmla="*/ 670 w 9949"/>
              <a:gd name="connsiteY36" fmla="*/ 9338 h 10000"/>
              <a:gd name="connsiteX37" fmla="*/ 1031 w 9949"/>
              <a:gd name="connsiteY37" fmla="*/ 9776 h 10000"/>
              <a:gd name="connsiteX38" fmla="*/ 973 w 9949"/>
              <a:gd name="connsiteY38" fmla="*/ 9817 h 10000"/>
              <a:gd name="connsiteX39" fmla="*/ 932 w 9949"/>
              <a:gd name="connsiteY39" fmla="*/ 9902 h 10000"/>
              <a:gd name="connsiteX40" fmla="*/ 881 w 9949"/>
              <a:gd name="connsiteY40" fmla="*/ 9908 h 10000"/>
              <a:gd name="connsiteX41" fmla="*/ 849 w 9949"/>
              <a:gd name="connsiteY41" fmla="*/ 9945 h 10000"/>
              <a:gd name="connsiteX42" fmla="*/ 1067 w 9949"/>
              <a:gd name="connsiteY42" fmla="*/ 9949 h 10000"/>
              <a:gd name="connsiteX43" fmla="*/ 1260 w 9949"/>
              <a:gd name="connsiteY43" fmla="*/ 9986 h 10000"/>
              <a:gd name="connsiteX44" fmla="*/ 1579 w 9949"/>
              <a:gd name="connsiteY44" fmla="*/ 9947 h 10000"/>
              <a:gd name="connsiteX45" fmla="*/ 1866 w 9949"/>
              <a:gd name="connsiteY45" fmla="*/ 9953 h 10000"/>
              <a:gd name="connsiteX46" fmla="*/ 2036 w 9949"/>
              <a:gd name="connsiteY46" fmla="*/ 10000 h 10000"/>
              <a:gd name="connsiteX47" fmla="*/ 2128 w 9949"/>
              <a:gd name="connsiteY47" fmla="*/ 9969 h 10000"/>
              <a:gd name="connsiteX48" fmla="*/ 2218 w 9949"/>
              <a:gd name="connsiteY48" fmla="*/ 9868 h 10000"/>
              <a:gd name="connsiteX49" fmla="*/ 2195 w 9949"/>
              <a:gd name="connsiteY49" fmla="*/ 9703 h 10000"/>
              <a:gd name="connsiteX50" fmla="*/ 2414 w 9949"/>
              <a:gd name="connsiteY50" fmla="*/ 9517 h 10000"/>
              <a:gd name="connsiteX51" fmla="*/ 2574 w 9949"/>
              <a:gd name="connsiteY51" fmla="*/ 9546 h 10000"/>
              <a:gd name="connsiteX52" fmla="*/ 2665 w 9949"/>
              <a:gd name="connsiteY52" fmla="*/ 9472 h 10000"/>
              <a:gd name="connsiteX53" fmla="*/ 2843 w 9949"/>
              <a:gd name="connsiteY53" fmla="*/ 9430 h 10000"/>
              <a:gd name="connsiteX54" fmla="*/ 3085 w 9949"/>
              <a:gd name="connsiteY54" fmla="*/ 9440 h 10000"/>
              <a:gd name="connsiteX55" fmla="*/ 3231 w 9949"/>
              <a:gd name="connsiteY55" fmla="*/ 9470 h 10000"/>
              <a:gd name="connsiteX56" fmla="*/ 3424 w 9949"/>
              <a:gd name="connsiteY56" fmla="*/ 9456 h 10000"/>
              <a:gd name="connsiteX57" fmla="*/ 3619 w 9949"/>
              <a:gd name="connsiteY57" fmla="*/ 9489 h 10000"/>
              <a:gd name="connsiteX58" fmla="*/ 3815 w 9949"/>
              <a:gd name="connsiteY58" fmla="*/ 9493 h 10000"/>
              <a:gd name="connsiteX59" fmla="*/ 4253 w 9949"/>
              <a:gd name="connsiteY59" fmla="*/ 9061 h 10000"/>
              <a:gd name="connsiteX60" fmla="*/ 4364 w 9949"/>
              <a:gd name="connsiteY60" fmla="*/ 8711 h 10000"/>
              <a:gd name="connsiteX61" fmla="*/ 4541 w 9949"/>
              <a:gd name="connsiteY61" fmla="*/ 8554 h 10000"/>
              <a:gd name="connsiteX62" fmla="*/ 4541 w 9949"/>
              <a:gd name="connsiteY62" fmla="*/ 8472 h 10000"/>
              <a:gd name="connsiteX63" fmla="*/ 4477 w 9949"/>
              <a:gd name="connsiteY63" fmla="*/ 8425 h 10000"/>
              <a:gd name="connsiteX64" fmla="*/ 4582 w 9949"/>
              <a:gd name="connsiteY64" fmla="*/ 8352 h 10000"/>
              <a:gd name="connsiteX65" fmla="*/ 4563 w 9949"/>
              <a:gd name="connsiteY65" fmla="*/ 8289 h 10000"/>
              <a:gd name="connsiteX66" fmla="*/ 4491 w 9949"/>
              <a:gd name="connsiteY66" fmla="*/ 8236 h 10000"/>
              <a:gd name="connsiteX67" fmla="*/ 4477 w 9949"/>
              <a:gd name="connsiteY67" fmla="*/ 8199 h 10000"/>
              <a:gd name="connsiteX68" fmla="*/ 4495 w 9949"/>
              <a:gd name="connsiteY68" fmla="*/ 8169 h 10000"/>
              <a:gd name="connsiteX69" fmla="*/ 4591 w 9949"/>
              <a:gd name="connsiteY69" fmla="*/ 8193 h 10000"/>
              <a:gd name="connsiteX70" fmla="*/ 4668 w 9949"/>
              <a:gd name="connsiteY70" fmla="*/ 8191 h 10000"/>
              <a:gd name="connsiteX71" fmla="*/ 4626 w 9949"/>
              <a:gd name="connsiteY71" fmla="*/ 8140 h 10000"/>
              <a:gd name="connsiteX72" fmla="*/ 4640 w 9949"/>
              <a:gd name="connsiteY72" fmla="*/ 8112 h 10000"/>
              <a:gd name="connsiteX73" fmla="*/ 4696 w 9949"/>
              <a:gd name="connsiteY73" fmla="*/ 8069 h 10000"/>
              <a:gd name="connsiteX74" fmla="*/ 4687 w 9949"/>
              <a:gd name="connsiteY74" fmla="*/ 8034 h 10000"/>
              <a:gd name="connsiteX75" fmla="*/ 4738 w 9949"/>
              <a:gd name="connsiteY75" fmla="*/ 7916 h 10000"/>
              <a:gd name="connsiteX76" fmla="*/ 4725 w 9949"/>
              <a:gd name="connsiteY76" fmla="*/ 7881 h 10000"/>
              <a:gd name="connsiteX77" fmla="*/ 4459 w 9949"/>
              <a:gd name="connsiteY77" fmla="*/ 7792 h 10000"/>
              <a:gd name="connsiteX78" fmla="*/ 4495 w 9949"/>
              <a:gd name="connsiteY78" fmla="*/ 7788 h 10000"/>
              <a:gd name="connsiteX79" fmla="*/ 4636 w 9949"/>
              <a:gd name="connsiteY79" fmla="*/ 7812 h 10000"/>
              <a:gd name="connsiteX80" fmla="*/ 4788 w 9949"/>
              <a:gd name="connsiteY80" fmla="*/ 7804 h 10000"/>
              <a:gd name="connsiteX81" fmla="*/ 4833 w 9949"/>
              <a:gd name="connsiteY81" fmla="*/ 7771 h 10000"/>
              <a:gd name="connsiteX82" fmla="*/ 4687 w 9949"/>
              <a:gd name="connsiteY82" fmla="*/ 7710 h 10000"/>
              <a:gd name="connsiteX83" fmla="*/ 4249 w 9949"/>
              <a:gd name="connsiteY83" fmla="*/ 7670 h 10000"/>
              <a:gd name="connsiteX84" fmla="*/ 4279 w 9949"/>
              <a:gd name="connsiteY84" fmla="*/ 7651 h 10000"/>
              <a:gd name="connsiteX85" fmla="*/ 4636 w 9949"/>
              <a:gd name="connsiteY85" fmla="*/ 7639 h 10000"/>
              <a:gd name="connsiteX86" fmla="*/ 4833 w 9949"/>
              <a:gd name="connsiteY86" fmla="*/ 7676 h 10000"/>
              <a:gd name="connsiteX87" fmla="*/ 4947 w 9949"/>
              <a:gd name="connsiteY87" fmla="*/ 7651 h 10000"/>
              <a:gd name="connsiteX88" fmla="*/ 4988 w 9949"/>
              <a:gd name="connsiteY88" fmla="*/ 7588 h 10000"/>
              <a:gd name="connsiteX89" fmla="*/ 5193 w 9949"/>
              <a:gd name="connsiteY89" fmla="*/ 7588 h 10000"/>
              <a:gd name="connsiteX90" fmla="*/ 5472 w 9949"/>
              <a:gd name="connsiteY90" fmla="*/ 7462 h 10000"/>
              <a:gd name="connsiteX91" fmla="*/ 5482 w 9949"/>
              <a:gd name="connsiteY91" fmla="*/ 7378 h 10000"/>
              <a:gd name="connsiteX92" fmla="*/ 5599 w 9949"/>
              <a:gd name="connsiteY92" fmla="*/ 7397 h 10000"/>
              <a:gd name="connsiteX93" fmla="*/ 5595 w 9949"/>
              <a:gd name="connsiteY93" fmla="*/ 7482 h 10000"/>
              <a:gd name="connsiteX94" fmla="*/ 5782 w 9949"/>
              <a:gd name="connsiteY94" fmla="*/ 7476 h 10000"/>
              <a:gd name="connsiteX95" fmla="*/ 5905 w 9949"/>
              <a:gd name="connsiteY95" fmla="*/ 7388 h 10000"/>
              <a:gd name="connsiteX96" fmla="*/ 6135 w 9949"/>
              <a:gd name="connsiteY96" fmla="*/ 7309 h 10000"/>
              <a:gd name="connsiteX97" fmla="*/ 6097 w 9949"/>
              <a:gd name="connsiteY97" fmla="*/ 7219 h 10000"/>
              <a:gd name="connsiteX98" fmla="*/ 6165 w 9949"/>
              <a:gd name="connsiteY98" fmla="*/ 7254 h 10000"/>
              <a:gd name="connsiteX99" fmla="*/ 6270 w 9949"/>
              <a:gd name="connsiteY99" fmla="*/ 7254 h 10000"/>
              <a:gd name="connsiteX100" fmla="*/ 6270 w 9949"/>
              <a:gd name="connsiteY100" fmla="*/ 7213 h 10000"/>
              <a:gd name="connsiteX101" fmla="*/ 6367 w 9949"/>
              <a:gd name="connsiteY101" fmla="*/ 7181 h 10000"/>
              <a:gd name="connsiteX102" fmla="*/ 6353 w 9949"/>
              <a:gd name="connsiteY102" fmla="*/ 7148 h 10000"/>
              <a:gd name="connsiteX103" fmla="*/ 5532 w 9949"/>
              <a:gd name="connsiteY103" fmla="*/ 7215 h 10000"/>
              <a:gd name="connsiteX104" fmla="*/ 5340 w 9949"/>
              <a:gd name="connsiteY104" fmla="*/ 7195 h 10000"/>
              <a:gd name="connsiteX105" fmla="*/ 5262 w 9949"/>
              <a:gd name="connsiteY105" fmla="*/ 7219 h 10000"/>
              <a:gd name="connsiteX106" fmla="*/ 5235 w 9949"/>
              <a:gd name="connsiteY106" fmla="*/ 7173 h 10000"/>
              <a:gd name="connsiteX107" fmla="*/ 5144 w 9949"/>
              <a:gd name="connsiteY107" fmla="*/ 7132 h 10000"/>
              <a:gd name="connsiteX108" fmla="*/ 4778 w 9949"/>
              <a:gd name="connsiteY108" fmla="*/ 7052 h 10000"/>
              <a:gd name="connsiteX109" fmla="*/ 4563 w 9949"/>
              <a:gd name="connsiteY109" fmla="*/ 7065 h 10000"/>
              <a:gd name="connsiteX110" fmla="*/ 4477 w 9949"/>
              <a:gd name="connsiteY110" fmla="*/ 7042 h 10000"/>
              <a:gd name="connsiteX111" fmla="*/ 4568 w 9949"/>
              <a:gd name="connsiteY111" fmla="*/ 7022 h 10000"/>
              <a:gd name="connsiteX112" fmla="*/ 4636 w 9949"/>
              <a:gd name="connsiteY112" fmla="*/ 6979 h 10000"/>
              <a:gd name="connsiteX113" fmla="*/ 4738 w 9949"/>
              <a:gd name="connsiteY113" fmla="*/ 6993 h 10000"/>
              <a:gd name="connsiteX114" fmla="*/ 4860 w 9949"/>
              <a:gd name="connsiteY114" fmla="*/ 6981 h 10000"/>
              <a:gd name="connsiteX115" fmla="*/ 5043 w 9949"/>
              <a:gd name="connsiteY115" fmla="*/ 6995 h 10000"/>
              <a:gd name="connsiteX116" fmla="*/ 5065 w 9949"/>
              <a:gd name="connsiteY116" fmla="*/ 6989 h 10000"/>
              <a:gd name="connsiteX117" fmla="*/ 5207 w 9949"/>
              <a:gd name="connsiteY117" fmla="*/ 7056 h 10000"/>
              <a:gd name="connsiteX118" fmla="*/ 5312 w 9949"/>
              <a:gd name="connsiteY118" fmla="*/ 7032 h 10000"/>
              <a:gd name="connsiteX119" fmla="*/ 5320 w 9949"/>
              <a:gd name="connsiteY119" fmla="*/ 7010 h 10000"/>
              <a:gd name="connsiteX120" fmla="*/ 5417 w 9949"/>
              <a:gd name="connsiteY120" fmla="*/ 7048 h 10000"/>
              <a:gd name="connsiteX121" fmla="*/ 5545 w 9949"/>
              <a:gd name="connsiteY121" fmla="*/ 7069 h 10000"/>
              <a:gd name="connsiteX122" fmla="*/ 5595 w 9949"/>
              <a:gd name="connsiteY122" fmla="*/ 7030 h 10000"/>
              <a:gd name="connsiteX123" fmla="*/ 5636 w 9949"/>
              <a:gd name="connsiteY123" fmla="*/ 7052 h 10000"/>
              <a:gd name="connsiteX124" fmla="*/ 5695 w 9949"/>
              <a:gd name="connsiteY124" fmla="*/ 7126 h 10000"/>
              <a:gd name="connsiteX125" fmla="*/ 5818 w 9949"/>
              <a:gd name="connsiteY125" fmla="*/ 7144 h 10000"/>
              <a:gd name="connsiteX126" fmla="*/ 6321 w 9949"/>
              <a:gd name="connsiteY126" fmla="*/ 7034 h 10000"/>
              <a:gd name="connsiteX127" fmla="*/ 6567 w 9949"/>
              <a:gd name="connsiteY127" fmla="*/ 6879 h 10000"/>
              <a:gd name="connsiteX128" fmla="*/ 6626 w 9949"/>
              <a:gd name="connsiteY128" fmla="*/ 6765 h 10000"/>
              <a:gd name="connsiteX129" fmla="*/ 6536 w 9949"/>
              <a:gd name="connsiteY129" fmla="*/ 6663 h 10000"/>
              <a:gd name="connsiteX130" fmla="*/ 6348 w 9949"/>
              <a:gd name="connsiteY130" fmla="*/ 6602 h 10000"/>
              <a:gd name="connsiteX131" fmla="*/ 6215 w 9949"/>
              <a:gd name="connsiteY131" fmla="*/ 6502 h 10000"/>
              <a:gd name="connsiteX132" fmla="*/ 6340 w 9949"/>
              <a:gd name="connsiteY132" fmla="*/ 6498 h 10000"/>
              <a:gd name="connsiteX133" fmla="*/ 6331 w 9949"/>
              <a:gd name="connsiteY133" fmla="*/ 6474 h 10000"/>
              <a:gd name="connsiteX134" fmla="*/ 6007 w 9949"/>
              <a:gd name="connsiteY134" fmla="*/ 6403 h 10000"/>
              <a:gd name="connsiteX135" fmla="*/ 5994 w 9949"/>
              <a:gd name="connsiteY135" fmla="*/ 6339 h 10000"/>
              <a:gd name="connsiteX136" fmla="*/ 5932 w 9949"/>
              <a:gd name="connsiteY136" fmla="*/ 6272 h 10000"/>
              <a:gd name="connsiteX137" fmla="*/ 5677 w 9949"/>
              <a:gd name="connsiteY137" fmla="*/ 6284 h 10000"/>
              <a:gd name="connsiteX138" fmla="*/ 5585 w 9949"/>
              <a:gd name="connsiteY138" fmla="*/ 6213 h 10000"/>
              <a:gd name="connsiteX139" fmla="*/ 5532 w 9949"/>
              <a:gd name="connsiteY139" fmla="*/ 6209 h 10000"/>
              <a:gd name="connsiteX140" fmla="*/ 5532 w 9949"/>
              <a:gd name="connsiteY140" fmla="*/ 6238 h 10000"/>
              <a:gd name="connsiteX141" fmla="*/ 5417 w 9949"/>
              <a:gd name="connsiteY141" fmla="*/ 6358 h 10000"/>
              <a:gd name="connsiteX142" fmla="*/ 5293 w 9949"/>
              <a:gd name="connsiteY142" fmla="*/ 6429 h 10000"/>
              <a:gd name="connsiteX143" fmla="*/ 4905 w 9949"/>
              <a:gd name="connsiteY143" fmla="*/ 6551 h 10000"/>
              <a:gd name="connsiteX144" fmla="*/ 4769 w 9949"/>
              <a:gd name="connsiteY144" fmla="*/ 6547 h 10000"/>
              <a:gd name="connsiteX145" fmla="*/ 4582 w 9949"/>
              <a:gd name="connsiteY145" fmla="*/ 6565 h 10000"/>
              <a:gd name="connsiteX146" fmla="*/ 4477 w 9949"/>
              <a:gd name="connsiteY146" fmla="*/ 6547 h 10000"/>
              <a:gd name="connsiteX147" fmla="*/ 4613 w 9949"/>
              <a:gd name="connsiteY147" fmla="*/ 6513 h 10000"/>
              <a:gd name="connsiteX148" fmla="*/ 4792 w 9949"/>
              <a:gd name="connsiteY148" fmla="*/ 6498 h 10000"/>
              <a:gd name="connsiteX149" fmla="*/ 4939 w 9949"/>
              <a:gd name="connsiteY149" fmla="*/ 6441 h 10000"/>
              <a:gd name="connsiteX150" fmla="*/ 5083 w 9949"/>
              <a:gd name="connsiteY150" fmla="*/ 6415 h 10000"/>
              <a:gd name="connsiteX151" fmla="*/ 5354 w 9949"/>
              <a:gd name="connsiteY151" fmla="*/ 6317 h 10000"/>
              <a:gd name="connsiteX152" fmla="*/ 5404 w 9949"/>
              <a:gd name="connsiteY152" fmla="*/ 6252 h 10000"/>
              <a:gd name="connsiteX153" fmla="*/ 5408 w 9949"/>
              <a:gd name="connsiteY153" fmla="*/ 6168 h 10000"/>
              <a:gd name="connsiteX154" fmla="*/ 5285 w 9949"/>
              <a:gd name="connsiteY154" fmla="*/ 6154 h 10000"/>
              <a:gd name="connsiteX155" fmla="*/ 5340 w 9949"/>
              <a:gd name="connsiteY155" fmla="*/ 6103 h 10000"/>
              <a:gd name="connsiteX156" fmla="*/ 5358 w 9949"/>
              <a:gd name="connsiteY156" fmla="*/ 6038 h 10000"/>
              <a:gd name="connsiteX157" fmla="*/ 5306 w 9949"/>
              <a:gd name="connsiteY157" fmla="*/ 5977 h 10000"/>
              <a:gd name="connsiteX158" fmla="*/ 5275 w 9949"/>
              <a:gd name="connsiteY158" fmla="*/ 5533 h 10000"/>
              <a:gd name="connsiteX159" fmla="*/ 5350 w 9949"/>
              <a:gd name="connsiteY159" fmla="*/ 5437 h 10000"/>
              <a:gd name="connsiteX160" fmla="*/ 5331 w 9949"/>
              <a:gd name="connsiteY160" fmla="*/ 5398 h 10000"/>
              <a:gd name="connsiteX161" fmla="*/ 5545 w 9949"/>
              <a:gd name="connsiteY161" fmla="*/ 5455 h 10000"/>
              <a:gd name="connsiteX162" fmla="*/ 5559 w 9949"/>
              <a:gd name="connsiteY162" fmla="*/ 5402 h 10000"/>
              <a:gd name="connsiteX163" fmla="*/ 5513 w 9949"/>
              <a:gd name="connsiteY163" fmla="*/ 5264 h 10000"/>
              <a:gd name="connsiteX164" fmla="*/ 5667 w 9949"/>
              <a:gd name="connsiteY164" fmla="*/ 5019 h 10000"/>
              <a:gd name="connsiteX165" fmla="*/ 5572 w 9949"/>
              <a:gd name="connsiteY165" fmla="*/ 4960 h 10000"/>
              <a:gd name="connsiteX166" fmla="*/ 5536 w 9949"/>
              <a:gd name="connsiteY166" fmla="*/ 4905 h 10000"/>
              <a:gd name="connsiteX167" fmla="*/ 5549 w 9949"/>
              <a:gd name="connsiteY167" fmla="*/ 4816 h 10000"/>
              <a:gd name="connsiteX168" fmla="*/ 5774 w 9949"/>
              <a:gd name="connsiteY168" fmla="*/ 4875 h 10000"/>
              <a:gd name="connsiteX169" fmla="*/ 5782 w 9949"/>
              <a:gd name="connsiteY169" fmla="*/ 4858 h 10000"/>
              <a:gd name="connsiteX170" fmla="*/ 5845 w 9949"/>
              <a:gd name="connsiteY170" fmla="*/ 4842 h 10000"/>
              <a:gd name="connsiteX171" fmla="*/ 5932 w 9949"/>
              <a:gd name="connsiteY171" fmla="*/ 4785 h 10000"/>
              <a:gd name="connsiteX172" fmla="*/ 5946 w 9949"/>
              <a:gd name="connsiteY172" fmla="*/ 4769 h 10000"/>
              <a:gd name="connsiteX173" fmla="*/ 5928 w 9949"/>
              <a:gd name="connsiteY173" fmla="*/ 4748 h 10000"/>
              <a:gd name="connsiteX174" fmla="*/ 5973 w 9949"/>
              <a:gd name="connsiteY174" fmla="*/ 4647 h 10000"/>
              <a:gd name="connsiteX175" fmla="*/ 5919 w 9949"/>
              <a:gd name="connsiteY175" fmla="*/ 4581 h 10000"/>
              <a:gd name="connsiteX176" fmla="*/ 5928 w 9949"/>
              <a:gd name="connsiteY176" fmla="*/ 4528 h 10000"/>
              <a:gd name="connsiteX177" fmla="*/ 5959 w 9949"/>
              <a:gd name="connsiteY177" fmla="*/ 4590 h 10000"/>
              <a:gd name="connsiteX178" fmla="*/ 6083 w 9949"/>
              <a:gd name="connsiteY178" fmla="*/ 4636 h 10000"/>
              <a:gd name="connsiteX179" fmla="*/ 6135 w 9949"/>
              <a:gd name="connsiteY179" fmla="*/ 4630 h 10000"/>
              <a:gd name="connsiteX180" fmla="*/ 6215 w 9949"/>
              <a:gd name="connsiteY180" fmla="*/ 4569 h 10000"/>
              <a:gd name="connsiteX181" fmla="*/ 6303 w 9949"/>
              <a:gd name="connsiteY181" fmla="*/ 4594 h 10000"/>
              <a:gd name="connsiteX182" fmla="*/ 6327 w 9949"/>
              <a:gd name="connsiteY182" fmla="*/ 4545 h 10000"/>
              <a:gd name="connsiteX183" fmla="*/ 6385 w 9949"/>
              <a:gd name="connsiteY183" fmla="*/ 4512 h 10000"/>
              <a:gd name="connsiteX184" fmla="*/ 6224 w 9949"/>
              <a:gd name="connsiteY184" fmla="*/ 4477 h 10000"/>
              <a:gd name="connsiteX185" fmla="*/ 6340 w 9949"/>
              <a:gd name="connsiteY185" fmla="*/ 4484 h 10000"/>
              <a:gd name="connsiteX186" fmla="*/ 6457 w 9949"/>
              <a:gd name="connsiteY186" fmla="*/ 4447 h 10000"/>
              <a:gd name="connsiteX187" fmla="*/ 6453 w 9949"/>
              <a:gd name="connsiteY187" fmla="*/ 4422 h 10000"/>
              <a:gd name="connsiteX188" fmla="*/ 6563 w 9949"/>
              <a:gd name="connsiteY188" fmla="*/ 4398 h 10000"/>
              <a:gd name="connsiteX189" fmla="*/ 6572 w 9949"/>
              <a:gd name="connsiteY189" fmla="*/ 4337 h 10000"/>
              <a:gd name="connsiteX190" fmla="*/ 6659 w 9949"/>
              <a:gd name="connsiteY190" fmla="*/ 4325 h 10000"/>
              <a:gd name="connsiteX191" fmla="*/ 6667 w 9949"/>
              <a:gd name="connsiteY191" fmla="*/ 4253 h 10000"/>
              <a:gd name="connsiteX192" fmla="*/ 6758 w 9949"/>
              <a:gd name="connsiteY192" fmla="*/ 4245 h 10000"/>
              <a:gd name="connsiteX193" fmla="*/ 6900 w 9949"/>
              <a:gd name="connsiteY193" fmla="*/ 4260 h 10000"/>
              <a:gd name="connsiteX194" fmla="*/ 7055 w 9949"/>
              <a:gd name="connsiteY194" fmla="*/ 4202 h 10000"/>
              <a:gd name="connsiteX195" fmla="*/ 7110 w 9949"/>
              <a:gd name="connsiteY195" fmla="*/ 4137 h 10000"/>
              <a:gd name="connsiteX196" fmla="*/ 7302 w 9949"/>
              <a:gd name="connsiteY196" fmla="*/ 4070 h 10000"/>
              <a:gd name="connsiteX197" fmla="*/ 7397 w 9949"/>
              <a:gd name="connsiteY197" fmla="*/ 4111 h 10000"/>
              <a:gd name="connsiteX198" fmla="*/ 7543 w 9949"/>
              <a:gd name="connsiteY198" fmla="*/ 4066 h 10000"/>
              <a:gd name="connsiteX199" fmla="*/ 7579 w 9949"/>
              <a:gd name="connsiteY199" fmla="*/ 4009 h 10000"/>
              <a:gd name="connsiteX200" fmla="*/ 7690 w 9949"/>
              <a:gd name="connsiteY200" fmla="*/ 3970 h 10000"/>
              <a:gd name="connsiteX201" fmla="*/ 7785 w 9949"/>
              <a:gd name="connsiteY201" fmla="*/ 3987 h 10000"/>
              <a:gd name="connsiteX202" fmla="*/ 7844 w 9949"/>
              <a:gd name="connsiteY202" fmla="*/ 3958 h 10000"/>
              <a:gd name="connsiteX203" fmla="*/ 8009 w 9949"/>
              <a:gd name="connsiteY203" fmla="*/ 3917 h 10000"/>
              <a:gd name="connsiteX204" fmla="*/ 8077 w 9949"/>
              <a:gd name="connsiteY204" fmla="*/ 3864 h 10000"/>
              <a:gd name="connsiteX205" fmla="*/ 8169 w 9949"/>
              <a:gd name="connsiteY205" fmla="*/ 3842 h 10000"/>
              <a:gd name="connsiteX206" fmla="*/ 8676 w 9949"/>
              <a:gd name="connsiteY206" fmla="*/ 3522 h 10000"/>
              <a:gd name="connsiteX207" fmla="*/ 9889 w 9949"/>
              <a:gd name="connsiteY207" fmla="*/ 978 h 10000"/>
              <a:gd name="connsiteX208" fmla="*/ 9949 w 9949"/>
              <a:gd name="connsiteY208" fmla="*/ 831 h 10000"/>
              <a:gd name="connsiteX209" fmla="*/ 9510 w 9949"/>
              <a:gd name="connsiteY209" fmla="*/ 517 h 10000"/>
              <a:gd name="connsiteX210" fmla="*/ 9296 w 9949"/>
              <a:gd name="connsiteY210" fmla="*/ 440 h 10000"/>
              <a:gd name="connsiteX211" fmla="*/ 8899 w 9949"/>
              <a:gd name="connsiteY211" fmla="*/ 389 h 10000"/>
              <a:gd name="connsiteX212" fmla="*/ 8077 w 9949"/>
              <a:gd name="connsiteY212" fmla="*/ 26 h 10000"/>
              <a:gd name="connsiteX213" fmla="*/ 8050 w 9949"/>
              <a:gd name="connsiteY213" fmla="*/ 2 h 10000"/>
              <a:gd name="connsiteX214" fmla="*/ 7771 w 9949"/>
              <a:gd name="connsiteY214" fmla="*/ 0 h 10000"/>
              <a:gd name="connsiteX215" fmla="*/ 7708 w 9949"/>
              <a:gd name="connsiteY215" fmla="*/ 14 h 10000"/>
              <a:gd name="connsiteX216" fmla="*/ 7722 w 9949"/>
              <a:gd name="connsiteY216" fmla="*/ 61 h 10000"/>
              <a:gd name="connsiteX217" fmla="*/ 7776 w 9949"/>
              <a:gd name="connsiteY217" fmla="*/ 86 h 10000"/>
              <a:gd name="connsiteX218" fmla="*/ 7791 w 9949"/>
              <a:gd name="connsiteY218" fmla="*/ 139 h 10000"/>
              <a:gd name="connsiteX219" fmla="*/ 7771 w 9949"/>
              <a:gd name="connsiteY219" fmla="*/ 181 h 10000"/>
              <a:gd name="connsiteX220" fmla="*/ 7722 w 9949"/>
              <a:gd name="connsiteY220" fmla="*/ 208 h 10000"/>
              <a:gd name="connsiteX221" fmla="*/ 7685 w 9949"/>
              <a:gd name="connsiteY221" fmla="*/ 283 h 10000"/>
              <a:gd name="connsiteX222" fmla="*/ 7617 w 9949"/>
              <a:gd name="connsiteY222" fmla="*/ 336 h 10000"/>
              <a:gd name="connsiteX223" fmla="*/ 7631 w 9949"/>
              <a:gd name="connsiteY223" fmla="*/ 387 h 10000"/>
              <a:gd name="connsiteX224" fmla="*/ 7735 w 9949"/>
              <a:gd name="connsiteY224" fmla="*/ 434 h 10000"/>
              <a:gd name="connsiteX225" fmla="*/ 7667 w 9949"/>
              <a:gd name="connsiteY225" fmla="*/ 475 h 10000"/>
              <a:gd name="connsiteX226" fmla="*/ 7566 w 9949"/>
              <a:gd name="connsiteY226" fmla="*/ 485 h 10000"/>
              <a:gd name="connsiteX227" fmla="*/ 6727 w 9949"/>
              <a:gd name="connsiteY227" fmla="*/ 387 h 10000"/>
              <a:gd name="connsiteX228" fmla="*/ 6626 w 9949"/>
              <a:gd name="connsiteY228" fmla="*/ 395 h 10000"/>
              <a:gd name="connsiteX229" fmla="*/ 6567 w 9949"/>
              <a:gd name="connsiteY229" fmla="*/ 414 h 10000"/>
              <a:gd name="connsiteX230" fmla="*/ 6507 w 9949"/>
              <a:gd name="connsiteY230" fmla="*/ 462 h 10000"/>
              <a:gd name="connsiteX231" fmla="*/ 6518 w 9949"/>
              <a:gd name="connsiteY231" fmla="*/ 581 h 10000"/>
              <a:gd name="connsiteX232" fmla="*/ 6425 w 9949"/>
              <a:gd name="connsiteY232" fmla="*/ 735 h 10000"/>
              <a:gd name="connsiteX233" fmla="*/ 6312 w 9949"/>
              <a:gd name="connsiteY233" fmla="*/ 815 h 10000"/>
              <a:gd name="connsiteX234" fmla="*/ 6266 w 9949"/>
              <a:gd name="connsiteY234" fmla="*/ 805 h 10000"/>
              <a:gd name="connsiteX235" fmla="*/ 6161 w 9949"/>
              <a:gd name="connsiteY235" fmla="*/ 739 h 10000"/>
              <a:gd name="connsiteX236" fmla="*/ 6029 w 9949"/>
              <a:gd name="connsiteY236" fmla="*/ 705 h 10000"/>
              <a:gd name="connsiteX237" fmla="*/ 5886 w 9949"/>
              <a:gd name="connsiteY237" fmla="*/ 715 h 10000"/>
              <a:gd name="connsiteX238" fmla="*/ 5555 w 9949"/>
              <a:gd name="connsiteY238" fmla="*/ 866 h 10000"/>
              <a:gd name="connsiteX239" fmla="*/ 5467 w 9949"/>
              <a:gd name="connsiteY239" fmla="*/ 1017 h 10000"/>
              <a:gd name="connsiteX240" fmla="*/ 5217 w 9949"/>
              <a:gd name="connsiteY240" fmla="*/ 1153 h 10000"/>
              <a:gd name="connsiteX241" fmla="*/ 5171 w 9949"/>
              <a:gd name="connsiteY241" fmla="*/ 1222 h 10000"/>
              <a:gd name="connsiteX242" fmla="*/ 5302 w 9949"/>
              <a:gd name="connsiteY242" fmla="*/ 1344 h 10000"/>
              <a:gd name="connsiteX243" fmla="*/ 5316 w 9949"/>
              <a:gd name="connsiteY243" fmla="*/ 1412 h 10000"/>
              <a:gd name="connsiteX244" fmla="*/ 4632 w 9949"/>
              <a:gd name="connsiteY244" fmla="*/ 1813 h 10000"/>
              <a:gd name="connsiteX245" fmla="*/ 4422 w 9949"/>
              <a:gd name="connsiteY245" fmla="*/ 2070 h 10000"/>
              <a:gd name="connsiteX246" fmla="*/ 4195 w 9949"/>
              <a:gd name="connsiteY246" fmla="*/ 2135 h 10000"/>
              <a:gd name="connsiteX247" fmla="*/ 4052 w 9949"/>
              <a:gd name="connsiteY247" fmla="*/ 2131 h 10000"/>
              <a:gd name="connsiteX248" fmla="*/ 3966 w 9949"/>
              <a:gd name="connsiteY248" fmla="*/ 2153 h 10000"/>
              <a:gd name="connsiteX249" fmla="*/ 3729 w 9949"/>
              <a:gd name="connsiteY249" fmla="*/ 2793 h 10000"/>
              <a:gd name="connsiteX250" fmla="*/ 3182 w 9949"/>
              <a:gd name="connsiteY250" fmla="*/ 3166 h 10000"/>
              <a:gd name="connsiteX251" fmla="*/ 3186 w 9949"/>
              <a:gd name="connsiteY251" fmla="*/ 3225 h 10000"/>
              <a:gd name="connsiteX252" fmla="*/ 3428 w 9949"/>
              <a:gd name="connsiteY252" fmla="*/ 3392 h 10000"/>
              <a:gd name="connsiteX253" fmla="*/ 3350 w 9949"/>
              <a:gd name="connsiteY253" fmla="*/ 3573 h 10000"/>
              <a:gd name="connsiteX254" fmla="*/ 3208 w 9949"/>
              <a:gd name="connsiteY254" fmla="*/ 3640 h 10000"/>
              <a:gd name="connsiteX255" fmla="*/ 2784 w 9949"/>
              <a:gd name="connsiteY255" fmla="*/ 3595 h 10000"/>
              <a:gd name="connsiteX256" fmla="*/ 2491 w 9949"/>
              <a:gd name="connsiteY256" fmla="*/ 3620 h 10000"/>
              <a:gd name="connsiteX257" fmla="*/ 2255 w 9949"/>
              <a:gd name="connsiteY257" fmla="*/ 3673 h 10000"/>
              <a:gd name="connsiteX258" fmla="*/ 1876 w 9949"/>
              <a:gd name="connsiteY258" fmla="*/ 3840 h 10000"/>
              <a:gd name="connsiteX259" fmla="*/ 1674 w 9949"/>
              <a:gd name="connsiteY259" fmla="*/ 4042 h 10000"/>
              <a:gd name="connsiteX260" fmla="*/ 1692 w 9949"/>
              <a:gd name="connsiteY260" fmla="*/ 4154 h 10000"/>
              <a:gd name="connsiteX261" fmla="*/ 1762 w 9949"/>
              <a:gd name="connsiteY261" fmla="*/ 4241 h 10000"/>
              <a:gd name="connsiteX262" fmla="*/ 1816 w 9949"/>
              <a:gd name="connsiteY262" fmla="*/ 4276 h 10000"/>
              <a:gd name="connsiteX263" fmla="*/ 1716 w 9949"/>
              <a:gd name="connsiteY263" fmla="*/ 4331 h 10000"/>
              <a:gd name="connsiteX264" fmla="*/ 1502 w 9949"/>
              <a:gd name="connsiteY264" fmla="*/ 4710 h 10000"/>
              <a:gd name="connsiteX265" fmla="*/ 1543 w 9949"/>
              <a:gd name="connsiteY265" fmla="*/ 4732 h 10000"/>
              <a:gd name="connsiteX266" fmla="*/ 1575 w 9949"/>
              <a:gd name="connsiteY266" fmla="*/ 4828 h 10000"/>
              <a:gd name="connsiteX267" fmla="*/ 1474 w 9949"/>
              <a:gd name="connsiteY267" fmla="*/ 5227 h 10000"/>
              <a:gd name="connsiteX268" fmla="*/ 1575 w 9949"/>
              <a:gd name="connsiteY268" fmla="*/ 5329 h 10000"/>
              <a:gd name="connsiteX269" fmla="*/ 1848 w 9949"/>
              <a:gd name="connsiteY269" fmla="*/ 5441 h 10000"/>
              <a:gd name="connsiteX270" fmla="*/ 1861 w 9949"/>
              <a:gd name="connsiteY270" fmla="*/ 5578 h 10000"/>
              <a:gd name="connsiteX271" fmla="*/ 1744 w 9949"/>
              <a:gd name="connsiteY271" fmla="*/ 5690 h 10000"/>
              <a:gd name="connsiteX272" fmla="*/ 1575 w 9949"/>
              <a:gd name="connsiteY272" fmla="*/ 5759 h 10000"/>
              <a:gd name="connsiteX273" fmla="*/ 1350 w 9949"/>
              <a:gd name="connsiteY273" fmla="*/ 5787 h 10000"/>
              <a:gd name="connsiteX274" fmla="*/ 1292 w 9949"/>
              <a:gd name="connsiteY274" fmla="*/ 5826 h 10000"/>
              <a:gd name="connsiteX275" fmla="*/ 1423 w 9949"/>
              <a:gd name="connsiteY275" fmla="*/ 5920 h 10000"/>
              <a:gd name="connsiteX276" fmla="*/ 1498 w 9949"/>
              <a:gd name="connsiteY276" fmla="*/ 6142 h 10000"/>
              <a:gd name="connsiteX277" fmla="*/ 1328 w 9949"/>
              <a:gd name="connsiteY277" fmla="*/ 6333 h 10000"/>
              <a:gd name="connsiteX278" fmla="*/ 1387 w 9949"/>
              <a:gd name="connsiteY278" fmla="*/ 6392 h 10000"/>
              <a:gd name="connsiteX279" fmla="*/ 1333 w 9949"/>
              <a:gd name="connsiteY279" fmla="*/ 6492 h 10000"/>
              <a:gd name="connsiteX280" fmla="*/ 1224 w 9949"/>
              <a:gd name="connsiteY280" fmla="*/ 6561 h 10000"/>
              <a:gd name="connsiteX281" fmla="*/ 794 w 9949"/>
              <a:gd name="connsiteY281" fmla="*/ 6614 h 10000"/>
              <a:gd name="connsiteX282" fmla="*/ 767 w 9949"/>
              <a:gd name="connsiteY282" fmla="*/ 6706 h 10000"/>
              <a:gd name="connsiteX283" fmla="*/ 535 w 9949"/>
              <a:gd name="connsiteY283" fmla="*/ 6843 h 10000"/>
              <a:gd name="connsiteX284" fmla="*/ 566 w 9949"/>
              <a:gd name="connsiteY284" fmla="*/ 7040 h 10000"/>
              <a:gd name="connsiteX285" fmla="*/ 370 w 9949"/>
              <a:gd name="connsiteY285" fmla="*/ 7293 h 10000"/>
              <a:gd name="connsiteX286" fmla="*/ 237 w 9949"/>
              <a:gd name="connsiteY286" fmla="*/ 7323 h 10000"/>
              <a:gd name="connsiteX287" fmla="*/ 183 w 9949"/>
              <a:gd name="connsiteY287" fmla="*/ 7262 h 10000"/>
              <a:gd name="connsiteX288" fmla="*/ 114 w 9949"/>
              <a:gd name="connsiteY288" fmla="*/ 7354 h 10000"/>
              <a:gd name="connsiteX289" fmla="*/ 159 w 9949"/>
              <a:gd name="connsiteY289" fmla="*/ 7197 h 10000"/>
              <a:gd name="connsiteX290" fmla="*/ 131 w 9949"/>
              <a:gd name="connsiteY290" fmla="*/ 7166 h 10000"/>
              <a:gd name="connsiteX0" fmla="*/ 132 w 10000"/>
              <a:gd name="connsiteY0" fmla="*/ 7166 h 10000"/>
              <a:gd name="connsiteX1" fmla="*/ 0 w 10000"/>
              <a:gd name="connsiteY1" fmla="*/ 7248 h 10000"/>
              <a:gd name="connsiteX2" fmla="*/ 0 w 10000"/>
              <a:gd name="connsiteY2" fmla="*/ 7651 h 10000"/>
              <a:gd name="connsiteX3" fmla="*/ 73 w 10000"/>
              <a:gd name="connsiteY3" fmla="*/ 7663 h 10000"/>
              <a:gd name="connsiteX4" fmla="*/ 90 w 10000"/>
              <a:gd name="connsiteY4" fmla="*/ 7694 h 10000"/>
              <a:gd name="connsiteX5" fmla="*/ 86 w 10000"/>
              <a:gd name="connsiteY5" fmla="*/ 7749 h 10000"/>
              <a:gd name="connsiteX6" fmla="*/ 59 w 10000"/>
              <a:gd name="connsiteY6" fmla="*/ 7773 h 10000"/>
              <a:gd name="connsiteX7" fmla="*/ 170 w 10000"/>
              <a:gd name="connsiteY7" fmla="*/ 7727 h 10000"/>
              <a:gd name="connsiteX8" fmla="*/ 217 w 10000"/>
              <a:gd name="connsiteY8" fmla="*/ 7680 h 10000"/>
              <a:gd name="connsiteX9" fmla="*/ 274 w 10000"/>
              <a:gd name="connsiteY9" fmla="*/ 7712 h 10000"/>
              <a:gd name="connsiteX10" fmla="*/ 211 w 10000"/>
              <a:gd name="connsiteY10" fmla="*/ 7778 h 10000"/>
              <a:gd name="connsiteX11" fmla="*/ 279 w 10000"/>
              <a:gd name="connsiteY11" fmla="*/ 7780 h 10000"/>
              <a:gd name="connsiteX12" fmla="*/ 312 w 10000"/>
              <a:gd name="connsiteY12" fmla="*/ 7796 h 10000"/>
              <a:gd name="connsiteX13" fmla="*/ 225 w 10000"/>
              <a:gd name="connsiteY13" fmla="*/ 7818 h 10000"/>
              <a:gd name="connsiteX14" fmla="*/ 86 w 10000"/>
              <a:gd name="connsiteY14" fmla="*/ 7886 h 10000"/>
              <a:gd name="connsiteX15" fmla="*/ 332 w 10000"/>
              <a:gd name="connsiteY15" fmla="*/ 7938 h 10000"/>
              <a:gd name="connsiteX16" fmla="*/ 362 w 10000"/>
              <a:gd name="connsiteY16" fmla="*/ 8014 h 10000"/>
              <a:gd name="connsiteX17" fmla="*/ 279 w 10000"/>
              <a:gd name="connsiteY17" fmla="*/ 8126 h 10000"/>
              <a:gd name="connsiteX18" fmla="*/ 459 w 10000"/>
              <a:gd name="connsiteY18" fmla="*/ 8118 h 10000"/>
              <a:gd name="connsiteX19" fmla="*/ 472 w 10000"/>
              <a:gd name="connsiteY19" fmla="*/ 8203 h 10000"/>
              <a:gd name="connsiteX20" fmla="*/ 353 w 10000"/>
              <a:gd name="connsiteY20" fmla="*/ 8260 h 10000"/>
              <a:gd name="connsiteX21" fmla="*/ 372 w 10000"/>
              <a:gd name="connsiteY21" fmla="*/ 8370 h 10000"/>
              <a:gd name="connsiteX22" fmla="*/ 326 w 10000"/>
              <a:gd name="connsiteY22" fmla="*/ 8456 h 10000"/>
              <a:gd name="connsiteX23" fmla="*/ 467 w 10000"/>
              <a:gd name="connsiteY23" fmla="*/ 8464 h 10000"/>
              <a:gd name="connsiteX24" fmla="*/ 606 w 10000"/>
              <a:gd name="connsiteY24" fmla="*/ 8792 h 10000"/>
              <a:gd name="connsiteX25" fmla="*/ 766 w 10000"/>
              <a:gd name="connsiteY25" fmla="*/ 8876 h 10000"/>
              <a:gd name="connsiteX26" fmla="*/ 835 w 10000"/>
              <a:gd name="connsiteY26" fmla="*/ 8965 h 10000"/>
              <a:gd name="connsiteX27" fmla="*/ 1009 w 10000"/>
              <a:gd name="connsiteY27" fmla="*/ 9030 h 10000"/>
              <a:gd name="connsiteX28" fmla="*/ 1120 w 10000"/>
              <a:gd name="connsiteY28" fmla="*/ 9112 h 10000"/>
              <a:gd name="connsiteX29" fmla="*/ 1106 w 10000"/>
              <a:gd name="connsiteY29" fmla="*/ 9171 h 10000"/>
              <a:gd name="connsiteX30" fmla="*/ 996 w 10000"/>
              <a:gd name="connsiteY30" fmla="*/ 9193 h 10000"/>
              <a:gd name="connsiteX31" fmla="*/ 876 w 10000"/>
              <a:gd name="connsiteY31" fmla="*/ 9179 h 10000"/>
              <a:gd name="connsiteX32" fmla="*/ 839 w 10000"/>
              <a:gd name="connsiteY32" fmla="*/ 9204 h 10000"/>
              <a:gd name="connsiteX33" fmla="*/ 931 w 10000"/>
              <a:gd name="connsiteY33" fmla="*/ 9332 h 10000"/>
              <a:gd name="connsiteX34" fmla="*/ 802 w 10000"/>
              <a:gd name="connsiteY34" fmla="*/ 9322 h 10000"/>
              <a:gd name="connsiteX35" fmla="*/ 693 w 10000"/>
              <a:gd name="connsiteY35" fmla="*/ 9291 h 10000"/>
              <a:gd name="connsiteX36" fmla="*/ 673 w 10000"/>
              <a:gd name="connsiteY36" fmla="*/ 9338 h 10000"/>
              <a:gd name="connsiteX37" fmla="*/ 1036 w 10000"/>
              <a:gd name="connsiteY37" fmla="*/ 9776 h 10000"/>
              <a:gd name="connsiteX38" fmla="*/ 978 w 10000"/>
              <a:gd name="connsiteY38" fmla="*/ 9817 h 10000"/>
              <a:gd name="connsiteX39" fmla="*/ 937 w 10000"/>
              <a:gd name="connsiteY39" fmla="*/ 9902 h 10000"/>
              <a:gd name="connsiteX40" fmla="*/ 886 w 10000"/>
              <a:gd name="connsiteY40" fmla="*/ 9908 h 10000"/>
              <a:gd name="connsiteX41" fmla="*/ 853 w 10000"/>
              <a:gd name="connsiteY41" fmla="*/ 9945 h 10000"/>
              <a:gd name="connsiteX42" fmla="*/ 1072 w 10000"/>
              <a:gd name="connsiteY42" fmla="*/ 9949 h 10000"/>
              <a:gd name="connsiteX43" fmla="*/ 1266 w 10000"/>
              <a:gd name="connsiteY43" fmla="*/ 9986 h 10000"/>
              <a:gd name="connsiteX44" fmla="*/ 1587 w 10000"/>
              <a:gd name="connsiteY44" fmla="*/ 9947 h 10000"/>
              <a:gd name="connsiteX45" fmla="*/ 1876 w 10000"/>
              <a:gd name="connsiteY45" fmla="*/ 9953 h 10000"/>
              <a:gd name="connsiteX46" fmla="*/ 2046 w 10000"/>
              <a:gd name="connsiteY46" fmla="*/ 10000 h 10000"/>
              <a:gd name="connsiteX47" fmla="*/ 2139 w 10000"/>
              <a:gd name="connsiteY47" fmla="*/ 9969 h 10000"/>
              <a:gd name="connsiteX48" fmla="*/ 2229 w 10000"/>
              <a:gd name="connsiteY48" fmla="*/ 9868 h 10000"/>
              <a:gd name="connsiteX49" fmla="*/ 2206 w 10000"/>
              <a:gd name="connsiteY49" fmla="*/ 9703 h 10000"/>
              <a:gd name="connsiteX50" fmla="*/ 2426 w 10000"/>
              <a:gd name="connsiteY50" fmla="*/ 9517 h 10000"/>
              <a:gd name="connsiteX51" fmla="*/ 2587 w 10000"/>
              <a:gd name="connsiteY51" fmla="*/ 9546 h 10000"/>
              <a:gd name="connsiteX52" fmla="*/ 2679 w 10000"/>
              <a:gd name="connsiteY52" fmla="*/ 9472 h 10000"/>
              <a:gd name="connsiteX53" fmla="*/ 2858 w 10000"/>
              <a:gd name="connsiteY53" fmla="*/ 9430 h 10000"/>
              <a:gd name="connsiteX54" fmla="*/ 3101 w 10000"/>
              <a:gd name="connsiteY54" fmla="*/ 9440 h 10000"/>
              <a:gd name="connsiteX55" fmla="*/ 3248 w 10000"/>
              <a:gd name="connsiteY55" fmla="*/ 9470 h 10000"/>
              <a:gd name="connsiteX56" fmla="*/ 3442 w 10000"/>
              <a:gd name="connsiteY56" fmla="*/ 9456 h 10000"/>
              <a:gd name="connsiteX57" fmla="*/ 3638 w 10000"/>
              <a:gd name="connsiteY57" fmla="*/ 9489 h 10000"/>
              <a:gd name="connsiteX58" fmla="*/ 3835 w 10000"/>
              <a:gd name="connsiteY58" fmla="*/ 9493 h 10000"/>
              <a:gd name="connsiteX59" fmla="*/ 4275 w 10000"/>
              <a:gd name="connsiteY59" fmla="*/ 9061 h 10000"/>
              <a:gd name="connsiteX60" fmla="*/ 4386 w 10000"/>
              <a:gd name="connsiteY60" fmla="*/ 8711 h 10000"/>
              <a:gd name="connsiteX61" fmla="*/ 4564 w 10000"/>
              <a:gd name="connsiteY61" fmla="*/ 8554 h 10000"/>
              <a:gd name="connsiteX62" fmla="*/ 4564 w 10000"/>
              <a:gd name="connsiteY62" fmla="*/ 8472 h 10000"/>
              <a:gd name="connsiteX63" fmla="*/ 4500 w 10000"/>
              <a:gd name="connsiteY63" fmla="*/ 8425 h 10000"/>
              <a:gd name="connsiteX64" fmla="*/ 4605 w 10000"/>
              <a:gd name="connsiteY64" fmla="*/ 8352 h 10000"/>
              <a:gd name="connsiteX65" fmla="*/ 4586 w 10000"/>
              <a:gd name="connsiteY65" fmla="*/ 8289 h 10000"/>
              <a:gd name="connsiteX66" fmla="*/ 4514 w 10000"/>
              <a:gd name="connsiteY66" fmla="*/ 8236 h 10000"/>
              <a:gd name="connsiteX67" fmla="*/ 4500 w 10000"/>
              <a:gd name="connsiteY67" fmla="*/ 8199 h 10000"/>
              <a:gd name="connsiteX68" fmla="*/ 4518 w 10000"/>
              <a:gd name="connsiteY68" fmla="*/ 8169 h 10000"/>
              <a:gd name="connsiteX69" fmla="*/ 4615 w 10000"/>
              <a:gd name="connsiteY69" fmla="*/ 8193 h 10000"/>
              <a:gd name="connsiteX70" fmla="*/ 4692 w 10000"/>
              <a:gd name="connsiteY70" fmla="*/ 8191 h 10000"/>
              <a:gd name="connsiteX71" fmla="*/ 4650 w 10000"/>
              <a:gd name="connsiteY71" fmla="*/ 8140 h 10000"/>
              <a:gd name="connsiteX72" fmla="*/ 4664 w 10000"/>
              <a:gd name="connsiteY72" fmla="*/ 8112 h 10000"/>
              <a:gd name="connsiteX73" fmla="*/ 4720 w 10000"/>
              <a:gd name="connsiteY73" fmla="*/ 8069 h 10000"/>
              <a:gd name="connsiteX74" fmla="*/ 4711 w 10000"/>
              <a:gd name="connsiteY74" fmla="*/ 8034 h 10000"/>
              <a:gd name="connsiteX75" fmla="*/ 4762 w 10000"/>
              <a:gd name="connsiteY75" fmla="*/ 7916 h 10000"/>
              <a:gd name="connsiteX76" fmla="*/ 4749 w 10000"/>
              <a:gd name="connsiteY76" fmla="*/ 7881 h 10000"/>
              <a:gd name="connsiteX77" fmla="*/ 4482 w 10000"/>
              <a:gd name="connsiteY77" fmla="*/ 7792 h 10000"/>
              <a:gd name="connsiteX78" fmla="*/ 4518 w 10000"/>
              <a:gd name="connsiteY78" fmla="*/ 7788 h 10000"/>
              <a:gd name="connsiteX79" fmla="*/ 4660 w 10000"/>
              <a:gd name="connsiteY79" fmla="*/ 7812 h 10000"/>
              <a:gd name="connsiteX80" fmla="*/ 4813 w 10000"/>
              <a:gd name="connsiteY80" fmla="*/ 7804 h 10000"/>
              <a:gd name="connsiteX81" fmla="*/ 4858 w 10000"/>
              <a:gd name="connsiteY81" fmla="*/ 7771 h 10000"/>
              <a:gd name="connsiteX82" fmla="*/ 4711 w 10000"/>
              <a:gd name="connsiteY82" fmla="*/ 7710 h 10000"/>
              <a:gd name="connsiteX83" fmla="*/ 4271 w 10000"/>
              <a:gd name="connsiteY83" fmla="*/ 7670 h 10000"/>
              <a:gd name="connsiteX84" fmla="*/ 4301 w 10000"/>
              <a:gd name="connsiteY84" fmla="*/ 7651 h 10000"/>
              <a:gd name="connsiteX85" fmla="*/ 4660 w 10000"/>
              <a:gd name="connsiteY85" fmla="*/ 7639 h 10000"/>
              <a:gd name="connsiteX86" fmla="*/ 4858 w 10000"/>
              <a:gd name="connsiteY86" fmla="*/ 7676 h 10000"/>
              <a:gd name="connsiteX87" fmla="*/ 4972 w 10000"/>
              <a:gd name="connsiteY87" fmla="*/ 7651 h 10000"/>
              <a:gd name="connsiteX88" fmla="*/ 5014 w 10000"/>
              <a:gd name="connsiteY88" fmla="*/ 7588 h 10000"/>
              <a:gd name="connsiteX89" fmla="*/ 5220 w 10000"/>
              <a:gd name="connsiteY89" fmla="*/ 7588 h 10000"/>
              <a:gd name="connsiteX90" fmla="*/ 5500 w 10000"/>
              <a:gd name="connsiteY90" fmla="*/ 7462 h 10000"/>
              <a:gd name="connsiteX91" fmla="*/ 5510 w 10000"/>
              <a:gd name="connsiteY91" fmla="*/ 7378 h 10000"/>
              <a:gd name="connsiteX92" fmla="*/ 5628 w 10000"/>
              <a:gd name="connsiteY92" fmla="*/ 7397 h 10000"/>
              <a:gd name="connsiteX93" fmla="*/ 5624 w 10000"/>
              <a:gd name="connsiteY93" fmla="*/ 7482 h 10000"/>
              <a:gd name="connsiteX94" fmla="*/ 5812 w 10000"/>
              <a:gd name="connsiteY94" fmla="*/ 7476 h 10000"/>
              <a:gd name="connsiteX95" fmla="*/ 5935 w 10000"/>
              <a:gd name="connsiteY95" fmla="*/ 7388 h 10000"/>
              <a:gd name="connsiteX96" fmla="*/ 6166 w 10000"/>
              <a:gd name="connsiteY96" fmla="*/ 7309 h 10000"/>
              <a:gd name="connsiteX97" fmla="*/ 6128 w 10000"/>
              <a:gd name="connsiteY97" fmla="*/ 7219 h 10000"/>
              <a:gd name="connsiteX98" fmla="*/ 6197 w 10000"/>
              <a:gd name="connsiteY98" fmla="*/ 7254 h 10000"/>
              <a:gd name="connsiteX99" fmla="*/ 6302 w 10000"/>
              <a:gd name="connsiteY99" fmla="*/ 7254 h 10000"/>
              <a:gd name="connsiteX100" fmla="*/ 6302 w 10000"/>
              <a:gd name="connsiteY100" fmla="*/ 7213 h 10000"/>
              <a:gd name="connsiteX101" fmla="*/ 6400 w 10000"/>
              <a:gd name="connsiteY101" fmla="*/ 7181 h 10000"/>
              <a:gd name="connsiteX102" fmla="*/ 6386 w 10000"/>
              <a:gd name="connsiteY102" fmla="*/ 7148 h 10000"/>
              <a:gd name="connsiteX103" fmla="*/ 5560 w 10000"/>
              <a:gd name="connsiteY103" fmla="*/ 7215 h 10000"/>
              <a:gd name="connsiteX104" fmla="*/ 5367 w 10000"/>
              <a:gd name="connsiteY104" fmla="*/ 7195 h 10000"/>
              <a:gd name="connsiteX105" fmla="*/ 5289 w 10000"/>
              <a:gd name="connsiteY105" fmla="*/ 7219 h 10000"/>
              <a:gd name="connsiteX106" fmla="*/ 5262 w 10000"/>
              <a:gd name="connsiteY106" fmla="*/ 7173 h 10000"/>
              <a:gd name="connsiteX107" fmla="*/ 5170 w 10000"/>
              <a:gd name="connsiteY107" fmla="*/ 7132 h 10000"/>
              <a:gd name="connsiteX108" fmla="*/ 4802 w 10000"/>
              <a:gd name="connsiteY108" fmla="*/ 7052 h 10000"/>
              <a:gd name="connsiteX109" fmla="*/ 4586 w 10000"/>
              <a:gd name="connsiteY109" fmla="*/ 7065 h 10000"/>
              <a:gd name="connsiteX110" fmla="*/ 4500 w 10000"/>
              <a:gd name="connsiteY110" fmla="*/ 7042 h 10000"/>
              <a:gd name="connsiteX111" fmla="*/ 4591 w 10000"/>
              <a:gd name="connsiteY111" fmla="*/ 7022 h 10000"/>
              <a:gd name="connsiteX112" fmla="*/ 4660 w 10000"/>
              <a:gd name="connsiteY112" fmla="*/ 6979 h 10000"/>
              <a:gd name="connsiteX113" fmla="*/ 4762 w 10000"/>
              <a:gd name="connsiteY113" fmla="*/ 6993 h 10000"/>
              <a:gd name="connsiteX114" fmla="*/ 4885 w 10000"/>
              <a:gd name="connsiteY114" fmla="*/ 6981 h 10000"/>
              <a:gd name="connsiteX115" fmla="*/ 5069 w 10000"/>
              <a:gd name="connsiteY115" fmla="*/ 6995 h 10000"/>
              <a:gd name="connsiteX116" fmla="*/ 5091 w 10000"/>
              <a:gd name="connsiteY116" fmla="*/ 6989 h 10000"/>
              <a:gd name="connsiteX117" fmla="*/ 5234 w 10000"/>
              <a:gd name="connsiteY117" fmla="*/ 7056 h 10000"/>
              <a:gd name="connsiteX118" fmla="*/ 5339 w 10000"/>
              <a:gd name="connsiteY118" fmla="*/ 7032 h 10000"/>
              <a:gd name="connsiteX119" fmla="*/ 5347 w 10000"/>
              <a:gd name="connsiteY119" fmla="*/ 7010 h 10000"/>
              <a:gd name="connsiteX120" fmla="*/ 5445 w 10000"/>
              <a:gd name="connsiteY120" fmla="*/ 7048 h 10000"/>
              <a:gd name="connsiteX121" fmla="*/ 5573 w 10000"/>
              <a:gd name="connsiteY121" fmla="*/ 7069 h 10000"/>
              <a:gd name="connsiteX122" fmla="*/ 5624 w 10000"/>
              <a:gd name="connsiteY122" fmla="*/ 7030 h 10000"/>
              <a:gd name="connsiteX123" fmla="*/ 5665 w 10000"/>
              <a:gd name="connsiteY123" fmla="*/ 7052 h 10000"/>
              <a:gd name="connsiteX124" fmla="*/ 5724 w 10000"/>
              <a:gd name="connsiteY124" fmla="*/ 7126 h 10000"/>
              <a:gd name="connsiteX125" fmla="*/ 5848 w 10000"/>
              <a:gd name="connsiteY125" fmla="*/ 7144 h 10000"/>
              <a:gd name="connsiteX126" fmla="*/ 6353 w 10000"/>
              <a:gd name="connsiteY126" fmla="*/ 7034 h 10000"/>
              <a:gd name="connsiteX127" fmla="*/ 6601 w 10000"/>
              <a:gd name="connsiteY127" fmla="*/ 6879 h 10000"/>
              <a:gd name="connsiteX128" fmla="*/ 6660 w 10000"/>
              <a:gd name="connsiteY128" fmla="*/ 6765 h 10000"/>
              <a:gd name="connsiteX129" fmla="*/ 6570 w 10000"/>
              <a:gd name="connsiteY129" fmla="*/ 6663 h 10000"/>
              <a:gd name="connsiteX130" fmla="*/ 6381 w 10000"/>
              <a:gd name="connsiteY130" fmla="*/ 6602 h 10000"/>
              <a:gd name="connsiteX131" fmla="*/ 6247 w 10000"/>
              <a:gd name="connsiteY131" fmla="*/ 6502 h 10000"/>
              <a:gd name="connsiteX132" fmla="*/ 6372 w 10000"/>
              <a:gd name="connsiteY132" fmla="*/ 6498 h 10000"/>
              <a:gd name="connsiteX133" fmla="*/ 6363 w 10000"/>
              <a:gd name="connsiteY133" fmla="*/ 6474 h 10000"/>
              <a:gd name="connsiteX134" fmla="*/ 6038 w 10000"/>
              <a:gd name="connsiteY134" fmla="*/ 6403 h 10000"/>
              <a:gd name="connsiteX135" fmla="*/ 6025 w 10000"/>
              <a:gd name="connsiteY135" fmla="*/ 6339 h 10000"/>
              <a:gd name="connsiteX136" fmla="*/ 5962 w 10000"/>
              <a:gd name="connsiteY136" fmla="*/ 6272 h 10000"/>
              <a:gd name="connsiteX137" fmla="*/ 5706 w 10000"/>
              <a:gd name="connsiteY137" fmla="*/ 6284 h 10000"/>
              <a:gd name="connsiteX138" fmla="*/ 5614 w 10000"/>
              <a:gd name="connsiteY138" fmla="*/ 6213 h 10000"/>
              <a:gd name="connsiteX139" fmla="*/ 5560 w 10000"/>
              <a:gd name="connsiteY139" fmla="*/ 6209 h 10000"/>
              <a:gd name="connsiteX140" fmla="*/ 5560 w 10000"/>
              <a:gd name="connsiteY140" fmla="*/ 6238 h 10000"/>
              <a:gd name="connsiteX141" fmla="*/ 5445 w 10000"/>
              <a:gd name="connsiteY141" fmla="*/ 6358 h 10000"/>
              <a:gd name="connsiteX142" fmla="*/ 5320 w 10000"/>
              <a:gd name="connsiteY142" fmla="*/ 6429 h 10000"/>
              <a:gd name="connsiteX143" fmla="*/ 4930 w 10000"/>
              <a:gd name="connsiteY143" fmla="*/ 6551 h 10000"/>
              <a:gd name="connsiteX144" fmla="*/ 4793 w 10000"/>
              <a:gd name="connsiteY144" fmla="*/ 6547 h 10000"/>
              <a:gd name="connsiteX145" fmla="*/ 4605 w 10000"/>
              <a:gd name="connsiteY145" fmla="*/ 6565 h 10000"/>
              <a:gd name="connsiteX146" fmla="*/ 4500 w 10000"/>
              <a:gd name="connsiteY146" fmla="*/ 6547 h 10000"/>
              <a:gd name="connsiteX147" fmla="*/ 4637 w 10000"/>
              <a:gd name="connsiteY147" fmla="*/ 6513 h 10000"/>
              <a:gd name="connsiteX148" fmla="*/ 4817 w 10000"/>
              <a:gd name="connsiteY148" fmla="*/ 6498 h 10000"/>
              <a:gd name="connsiteX149" fmla="*/ 4964 w 10000"/>
              <a:gd name="connsiteY149" fmla="*/ 6441 h 10000"/>
              <a:gd name="connsiteX150" fmla="*/ 5109 w 10000"/>
              <a:gd name="connsiteY150" fmla="*/ 6415 h 10000"/>
              <a:gd name="connsiteX151" fmla="*/ 5381 w 10000"/>
              <a:gd name="connsiteY151" fmla="*/ 6317 h 10000"/>
              <a:gd name="connsiteX152" fmla="*/ 5432 w 10000"/>
              <a:gd name="connsiteY152" fmla="*/ 6252 h 10000"/>
              <a:gd name="connsiteX153" fmla="*/ 5436 w 10000"/>
              <a:gd name="connsiteY153" fmla="*/ 6168 h 10000"/>
              <a:gd name="connsiteX154" fmla="*/ 5312 w 10000"/>
              <a:gd name="connsiteY154" fmla="*/ 6154 h 10000"/>
              <a:gd name="connsiteX155" fmla="*/ 5367 w 10000"/>
              <a:gd name="connsiteY155" fmla="*/ 6103 h 10000"/>
              <a:gd name="connsiteX156" fmla="*/ 5385 w 10000"/>
              <a:gd name="connsiteY156" fmla="*/ 6038 h 10000"/>
              <a:gd name="connsiteX157" fmla="*/ 5333 w 10000"/>
              <a:gd name="connsiteY157" fmla="*/ 5977 h 10000"/>
              <a:gd name="connsiteX158" fmla="*/ 5302 w 10000"/>
              <a:gd name="connsiteY158" fmla="*/ 5533 h 10000"/>
              <a:gd name="connsiteX159" fmla="*/ 5377 w 10000"/>
              <a:gd name="connsiteY159" fmla="*/ 5437 h 10000"/>
              <a:gd name="connsiteX160" fmla="*/ 5358 w 10000"/>
              <a:gd name="connsiteY160" fmla="*/ 5398 h 10000"/>
              <a:gd name="connsiteX161" fmla="*/ 5573 w 10000"/>
              <a:gd name="connsiteY161" fmla="*/ 5455 h 10000"/>
              <a:gd name="connsiteX162" fmla="*/ 5587 w 10000"/>
              <a:gd name="connsiteY162" fmla="*/ 5402 h 10000"/>
              <a:gd name="connsiteX163" fmla="*/ 5541 w 10000"/>
              <a:gd name="connsiteY163" fmla="*/ 5264 h 10000"/>
              <a:gd name="connsiteX164" fmla="*/ 5696 w 10000"/>
              <a:gd name="connsiteY164" fmla="*/ 5019 h 10000"/>
              <a:gd name="connsiteX165" fmla="*/ 5601 w 10000"/>
              <a:gd name="connsiteY165" fmla="*/ 4960 h 10000"/>
              <a:gd name="connsiteX166" fmla="*/ 5564 w 10000"/>
              <a:gd name="connsiteY166" fmla="*/ 4905 h 10000"/>
              <a:gd name="connsiteX167" fmla="*/ 5577 w 10000"/>
              <a:gd name="connsiteY167" fmla="*/ 4816 h 10000"/>
              <a:gd name="connsiteX168" fmla="*/ 5804 w 10000"/>
              <a:gd name="connsiteY168" fmla="*/ 4875 h 10000"/>
              <a:gd name="connsiteX169" fmla="*/ 5812 w 10000"/>
              <a:gd name="connsiteY169" fmla="*/ 4858 h 10000"/>
              <a:gd name="connsiteX170" fmla="*/ 5875 w 10000"/>
              <a:gd name="connsiteY170" fmla="*/ 4842 h 10000"/>
              <a:gd name="connsiteX171" fmla="*/ 5962 w 10000"/>
              <a:gd name="connsiteY171" fmla="*/ 4785 h 10000"/>
              <a:gd name="connsiteX172" fmla="*/ 5976 w 10000"/>
              <a:gd name="connsiteY172" fmla="*/ 4769 h 10000"/>
              <a:gd name="connsiteX173" fmla="*/ 5958 w 10000"/>
              <a:gd name="connsiteY173" fmla="*/ 4748 h 10000"/>
              <a:gd name="connsiteX174" fmla="*/ 6004 w 10000"/>
              <a:gd name="connsiteY174" fmla="*/ 4647 h 10000"/>
              <a:gd name="connsiteX175" fmla="*/ 5949 w 10000"/>
              <a:gd name="connsiteY175" fmla="*/ 4581 h 10000"/>
              <a:gd name="connsiteX176" fmla="*/ 5958 w 10000"/>
              <a:gd name="connsiteY176" fmla="*/ 4528 h 10000"/>
              <a:gd name="connsiteX177" fmla="*/ 5990 w 10000"/>
              <a:gd name="connsiteY177" fmla="*/ 4590 h 10000"/>
              <a:gd name="connsiteX178" fmla="*/ 6114 w 10000"/>
              <a:gd name="connsiteY178" fmla="*/ 4636 h 10000"/>
              <a:gd name="connsiteX179" fmla="*/ 6166 w 10000"/>
              <a:gd name="connsiteY179" fmla="*/ 4630 h 10000"/>
              <a:gd name="connsiteX180" fmla="*/ 6247 w 10000"/>
              <a:gd name="connsiteY180" fmla="*/ 4569 h 10000"/>
              <a:gd name="connsiteX181" fmla="*/ 6335 w 10000"/>
              <a:gd name="connsiteY181" fmla="*/ 4594 h 10000"/>
              <a:gd name="connsiteX182" fmla="*/ 6359 w 10000"/>
              <a:gd name="connsiteY182" fmla="*/ 4545 h 10000"/>
              <a:gd name="connsiteX183" fmla="*/ 6418 w 10000"/>
              <a:gd name="connsiteY183" fmla="*/ 4512 h 10000"/>
              <a:gd name="connsiteX184" fmla="*/ 6256 w 10000"/>
              <a:gd name="connsiteY184" fmla="*/ 4477 h 10000"/>
              <a:gd name="connsiteX185" fmla="*/ 6372 w 10000"/>
              <a:gd name="connsiteY185" fmla="*/ 4484 h 10000"/>
              <a:gd name="connsiteX186" fmla="*/ 6490 w 10000"/>
              <a:gd name="connsiteY186" fmla="*/ 4447 h 10000"/>
              <a:gd name="connsiteX187" fmla="*/ 6486 w 10000"/>
              <a:gd name="connsiteY187" fmla="*/ 4422 h 10000"/>
              <a:gd name="connsiteX188" fmla="*/ 6597 w 10000"/>
              <a:gd name="connsiteY188" fmla="*/ 4398 h 10000"/>
              <a:gd name="connsiteX189" fmla="*/ 6606 w 10000"/>
              <a:gd name="connsiteY189" fmla="*/ 4337 h 10000"/>
              <a:gd name="connsiteX190" fmla="*/ 6693 w 10000"/>
              <a:gd name="connsiteY190" fmla="*/ 4325 h 10000"/>
              <a:gd name="connsiteX191" fmla="*/ 6701 w 10000"/>
              <a:gd name="connsiteY191" fmla="*/ 4253 h 10000"/>
              <a:gd name="connsiteX192" fmla="*/ 6793 w 10000"/>
              <a:gd name="connsiteY192" fmla="*/ 4245 h 10000"/>
              <a:gd name="connsiteX193" fmla="*/ 6935 w 10000"/>
              <a:gd name="connsiteY193" fmla="*/ 4260 h 10000"/>
              <a:gd name="connsiteX194" fmla="*/ 7091 w 10000"/>
              <a:gd name="connsiteY194" fmla="*/ 4202 h 10000"/>
              <a:gd name="connsiteX195" fmla="*/ 7146 w 10000"/>
              <a:gd name="connsiteY195" fmla="*/ 4137 h 10000"/>
              <a:gd name="connsiteX196" fmla="*/ 7339 w 10000"/>
              <a:gd name="connsiteY196" fmla="*/ 4070 h 10000"/>
              <a:gd name="connsiteX197" fmla="*/ 7435 w 10000"/>
              <a:gd name="connsiteY197" fmla="*/ 4111 h 10000"/>
              <a:gd name="connsiteX198" fmla="*/ 7582 w 10000"/>
              <a:gd name="connsiteY198" fmla="*/ 4066 h 10000"/>
              <a:gd name="connsiteX199" fmla="*/ 7618 w 10000"/>
              <a:gd name="connsiteY199" fmla="*/ 4009 h 10000"/>
              <a:gd name="connsiteX200" fmla="*/ 7729 w 10000"/>
              <a:gd name="connsiteY200" fmla="*/ 3970 h 10000"/>
              <a:gd name="connsiteX201" fmla="*/ 7825 w 10000"/>
              <a:gd name="connsiteY201" fmla="*/ 3987 h 10000"/>
              <a:gd name="connsiteX202" fmla="*/ 7884 w 10000"/>
              <a:gd name="connsiteY202" fmla="*/ 3958 h 10000"/>
              <a:gd name="connsiteX203" fmla="*/ 8050 w 10000"/>
              <a:gd name="connsiteY203" fmla="*/ 3917 h 10000"/>
              <a:gd name="connsiteX204" fmla="*/ 8118 w 10000"/>
              <a:gd name="connsiteY204" fmla="*/ 3864 h 10000"/>
              <a:gd name="connsiteX205" fmla="*/ 8211 w 10000"/>
              <a:gd name="connsiteY205" fmla="*/ 3842 h 10000"/>
              <a:gd name="connsiteX206" fmla="*/ 8720 w 10000"/>
              <a:gd name="connsiteY206" fmla="*/ 3522 h 10000"/>
              <a:gd name="connsiteX207" fmla="*/ 10000 w 10000"/>
              <a:gd name="connsiteY207" fmla="*/ 831 h 10000"/>
              <a:gd name="connsiteX208" fmla="*/ 9559 w 10000"/>
              <a:gd name="connsiteY208" fmla="*/ 517 h 10000"/>
              <a:gd name="connsiteX209" fmla="*/ 9344 w 10000"/>
              <a:gd name="connsiteY209" fmla="*/ 440 h 10000"/>
              <a:gd name="connsiteX210" fmla="*/ 8945 w 10000"/>
              <a:gd name="connsiteY210" fmla="*/ 389 h 10000"/>
              <a:gd name="connsiteX211" fmla="*/ 8118 w 10000"/>
              <a:gd name="connsiteY211" fmla="*/ 26 h 10000"/>
              <a:gd name="connsiteX212" fmla="*/ 8091 w 10000"/>
              <a:gd name="connsiteY212" fmla="*/ 2 h 10000"/>
              <a:gd name="connsiteX213" fmla="*/ 7811 w 10000"/>
              <a:gd name="connsiteY213" fmla="*/ 0 h 10000"/>
              <a:gd name="connsiteX214" fmla="*/ 7748 w 10000"/>
              <a:gd name="connsiteY214" fmla="*/ 14 h 10000"/>
              <a:gd name="connsiteX215" fmla="*/ 7762 w 10000"/>
              <a:gd name="connsiteY215" fmla="*/ 61 h 10000"/>
              <a:gd name="connsiteX216" fmla="*/ 7816 w 10000"/>
              <a:gd name="connsiteY216" fmla="*/ 86 h 10000"/>
              <a:gd name="connsiteX217" fmla="*/ 7831 w 10000"/>
              <a:gd name="connsiteY217" fmla="*/ 139 h 10000"/>
              <a:gd name="connsiteX218" fmla="*/ 7811 w 10000"/>
              <a:gd name="connsiteY218" fmla="*/ 181 h 10000"/>
              <a:gd name="connsiteX219" fmla="*/ 7762 w 10000"/>
              <a:gd name="connsiteY219" fmla="*/ 208 h 10000"/>
              <a:gd name="connsiteX220" fmla="*/ 7724 w 10000"/>
              <a:gd name="connsiteY220" fmla="*/ 283 h 10000"/>
              <a:gd name="connsiteX221" fmla="*/ 7656 w 10000"/>
              <a:gd name="connsiteY221" fmla="*/ 336 h 10000"/>
              <a:gd name="connsiteX222" fmla="*/ 7670 w 10000"/>
              <a:gd name="connsiteY222" fmla="*/ 387 h 10000"/>
              <a:gd name="connsiteX223" fmla="*/ 7775 w 10000"/>
              <a:gd name="connsiteY223" fmla="*/ 434 h 10000"/>
              <a:gd name="connsiteX224" fmla="*/ 7706 w 10000"/>
              <a:gd name="connsiteY224" fmla="*/ 475 h 10000"/>
              <a:gd name="connsiteX225" fmla="*/ 7605 w 10000"/>
              <a:gd name="connsiteY225" fmla="*/ 485 h 10000"/>
              <a:gd name="connsiteX226" fmla="*/ 6761 w 10000"/>
              <a:gd name="connsiteY226" fmla="*/ 387 h 10000"/>
              <a:gd name="connsiteX227" fmla="*/ 6660 w 10000"/>
              <a:gd name="connsiteY227" fmla="*/ 395 h 10000"/>
              <a:gd name="connsiteX228" fmla="*/ 6601 w 10000"/>
              <a:gd name="connsiteY228" fmla="*/ 414 h 10000"/>
              <a:gd name="connsiteX229" fmla="*/ 6540 w 10000"/>
              <a:gd name="connsiteY229" fmla="*/ 462 h 10000"/>
              <a:gd name="connsiteX230" fmla="*/ 6551 w 10000"/>
              <a:gd name="connsiteY230" fmla="*/ 581 h 10000"/>
              <a:gd name="connsiteX231" fmla="*/ 6458 w 10000"/>
              <a:gd name="connsiteY231" fmla="*/ 735 h 10000"/>
              <a:gd name="connsiteX232" fmla="*/ 6344 w 10000"/>
              <a:gd name="connsiteY232" fmla="*/ 815 h 10000"/>
              <a:gd name="connsiteX233" fmla="*/ 6298 w 10000"/>
              <a:gd name="connsiteY233" fmla="*/ 805 h 10000"/>
              <a:gd name="connsiteX234" fmla="*/ 6193 w 10000"/>
              <a:gd name="connsiteY234" fmla="*/ 739 h 10000"/>
              <a:gd name="connsiteX235" fmla="*/ 6060 w 10000"/>
              <a:gd name="connsiteY235" fmla="*/ 705 h 10000"/>
              <a:gd name="connsiteX236" fmla="*/ 5916 w 10000"/>
              <a:gd name="connsiteY236" fmla="*/ 715 h 10000"/>
              <a:gd name="connsiteX237" fmla="*/ 5583 w 10000"/>
              <a:gd name="connsiteY237" fmla="*/ 866 h 10000"/>
              <a:gd name="connsiteX238" fmla="*/ 5495 w 10000"/>
              <a:gd name="connsiteY238" fmla="*/ 1017 h 10000"/>
              <a:gd name="connsiteX239" fmla="*/ 5244 w 10000"/>
              <a:gd name="connsiteY239" fmla="*/ 1153 h 10000"/>
              <a:gd name="connsiteX240" fmla="*/ 5198 w 10000"/>
              <a:gd name="connsiteY240" fmla="*/ 1222 h 10000"/>
              <a:gd name="connsiteX241" fmla="*/ 5329 w 10000"/>
              <a:gd name="connsiteY241" fmla="*/ 1344 h 10000"/>
              <a:gd name="connsiteX242" fmla="*/ 5343 w 10000"/>
              <a:gd name="connsiteY242" fmla="*/ 1412 h 10000"/>
              <a:gd name="connsiteX243" fmla="*/ 4656 w 10000"/>
              <a:gd name="connsiteY243" fmla="*/ 1813 h 10000"/>
              <a:gd name="connsiteX244" fmla="*/ 4445 w 10000"/>
              <a:gd name="connsiteY244" fmla="*/ 2070 h 10000"/>
              <a:gd name="connsiteX245" fmla="*/ 4217 w 10000"/>
              <a:gd name="connsiteY245" fmla="*/ 2135 h 10000"/>
              <a:gd name="connsiteX246" fmla="*/ 4073 w 10000"/>
              <a:gd name="connsiteY246" fmla="*/ 2131 h 10000"/>
              <a:gd name="connsiteX247" fmla="*/ 3986 w 10000"/>
              <a:gd name="connsiteY247" fmla="*/ 2153 h 10000"/>
              <a:gd name="connsiteX248" fmla="*/ 3748 w 10000"/>
              <a:gd name="connsiteY248" fmla="*/ 2793 h 10000"/>
              <a:gd name="connsiteX249" fmla="*/ 3198 w 10000"/>
              <a:gd name="connsiteY249" fmla="*/ 3166 h 10000"/>
              <a:gd name="connsiteX250" fmla="*/ 3202 w 10000"/>
              <a:gd name="connsiteY250" fmla="*/ 3225 h 10000"/>
              <a:gd name="connsiteX251" fmla="*/ 3446 w 10000"/>
              <a:gd name="connsiteY251" fmla="*/ 3392 h 10000"/>
              <a:gd name="connsiteX252" fmla="*/ 3367 w 10000"/>
              <a:gd name="connsiteY252" fmla="*/ 3573 h 10000"/>
              <a:gd name="connsiteX253" fmla="*/ 3224 w 10000"/>
              <a:gd name="connsiteY253" fmla="*/ 3640 h 10000"/>
              <a:gd name="connsiteX254" fmla="*/ 2798 w 10000"/>
              <a:gd name="connsiteY254" fmla="*/ 3595 h 10000"/>
              <a:gd name="connsiteX255" fmla="*/ 2504 w 10000"/>
              <a:gd name="connsiteY255" fmla="*/ 3620 h 10000"/>
              <a:gd name="connsiteX256" fmla="*/ 2267 w 10000"/>
              <a:gd name="connsiteY256" fmla="*/ 3673 h 10000"/>
              <a:gd name="connsiteX257" fmla="*/ 1886 w 10000"/>
              <a:gd name="connsiteY257" fmla="*/ 3840 h 10000"/>
              <a:gd name="connsiteX258" fmla="*/ 1683 w 10000"/>
              <a:gd name="connsiteY258" fmla="*/ 4042 h 10000"/>
              <a:gd name="connsiteX259" fmla="*/ 1701 w 10000"/>
              <a:gd name="connsiteY259" fmla="*/ 4154 h 10000"/>
              <a:gd name="connsiteX260" fmla="*/ 1771 w 10000"/>
              <a:gd name="connsiteY260" fmla="*/ 4241 h 10000"/>
              <a:gd name="connsiteX261" fmla="*/ 1825 w 10000"/>
              <a:gd name="connsiteY261" fmla="*/ 4276 h 10000"/>
              <a:gd name="connsiteX262" fmla="*/ 1725 w 10000"/>
              <a:gd name="connsiteY262" fmla="*/ 4331 h 10000"/>
              <a:gd name="connsiteX263" fmla="*/ 1510 w 10000"/>
              <a:gd name="connsiteY263" fmla="*/ 4710 h 10000"/>
              <a:gd name="connsiteX264" fmla="*/ 1551 w 10000"/>
              <a:gd name="connsiteY264" fmla="*/ 4732 h 10000"/>
              <a:gd name="connsiteX265" fmla="*/ 1583 w 10000"/>
              <a:gd name="connsiteY265" fmla="*/ 4828 h 10000"/>
              <a:gd name="connsiteX266" fmla="*/ 1482 w 10000"/>
              <a:gd name="connsiteY266" fmla="*/ 5227 h 10000"/>
              <a:gd name="connsiteX267" fmla="*/ 1583 w 10000"/>
              <a:gd name="connsiteY267" fmla="*/ 5329 h 10000"/>
              <a:gd name="connsiteX268" fmla="*/ 1857 w 10000"/>
              <a:gd name="connsiteY268" fmla="*/ 5441 h 10000"/>
              <a:gd name="connsiteX269" fmla="*/ 1871 w 10000"/>
              <a:gd name="connsiteY269" fmla="*/ 5578 h 10000"/>
              <a:gd name="connsiteX270" fmla="*/ 1753 w 10000"/>
              <a:gd name="connsiteY270" fmla="*/ 5690 h 10000"/>
              <a:gd name="connsiteX271" fmla="*/ 1583 w 10000"/>
              <a:gd name="connsiteY271" fmla="*/ 5759 h 10000"/>
              <a:gd name="connsiteX272" fmla="*/ 1357 w 10000"/>
              <a:gd name="connsiteY272" fmla="*/ 5787 h 10000"/>
              <a:gd name="connsiteX273" fmla="*/ 1299 w 10000"/>
              <a:gd name="connsiteY273" fmla="*/ 5826 h 10000"/>
              <a:gd name="connsiteX274" fmla="*/ 1430 w 10000"/>
              <a:gd name="connsiteY274" fmla="*/ 5920 h 10000"/>
              <a:gd name="connsiteX275" fmla="*/ 1506 w 10000"/>
              <a:gd name="connsiteY275" fmla="*/ 6142 h 10000"/>
              <a:gd name="connsiteX276" fmla="*/ 1335 w 10000"/>
              <a:gd name="connsiteY276" fmla="*/ 6333 h 10000"/>
              <a:gd name="connsiteX277" fmla="*/ 1394 w 10000"/>
              <a:gd name="connsiteY277" fmla="*/ 6392 h 10000"/>
              <a:gd name="connsiteX278" fmla="*/ 1340 w 10000"/>
              <a:gd name="connsiteY278" fmla="*/ 6492 h 10000"/>
              <a:gd name="connsiteX279" fmla="*/ 1230 w 10000"/>
              <a:gd name="connsiteY279" fmla="*/ 6561 h 10000"/>
              <a:gd name="connsiteX280" fmla="*/ 798 w 10000"/>
              <a:gd name="connsiteY280" fmla="*/ 6614 h 10000"/>
              <a:gd name="connsiteX281" fmla="*/ 771 w 10000"/>
              <a:gd name="connsiteY281" fmla="*/ 6706 h 10000"/>
              <a:gd name="connsiteX282" fmla="*/ 538 w 10000"/>
              <a:gd name="connsiteY282" fmla="*/ 6843 h 10000"/>
              <a:gd name="connsiteX283" fmla="*/ 569 w 10000"/>
              <a:gd name="connsiteY283" fmla="*/ 7040 h 10000"/>
              <a:gd name="connsiteX284" fmla="*/ 372 w 10000"/>
              <a:gd name="connsiteY284" fmla="*/ 7293 h 10000"/>
              <a:gd name="connsiteX285" fmla="*/ 238 w 10000"/>
              <a:gd name="connsiteY285" fmla="*/ 7323 h 10000"/>
              <a:gd name="connsiteX286" fmla="*/ 184 w 10000"/>
              <a:gd name="connsiteY286" fmla="*/ 7262 h 10000"/>
              <a:gd name="connsiteX287" fmla="*/ 115 w 10000"/>
              <a:gd name="connsiteY287" fmla="*/ 7354 h 10000"/>
              <a:gd name="connsiteX288" fmla="*/ 160 w 10000"/>
              <a:gd name="connsiteY288" fmla="*/ 7197 h 10000"/>
              <a:gd name="connsiteX289" fmla="*/ 132 w 10000"/>
              <a:gd name="connsiteY289" fmla="*/ 7166 h 10000"/>
              <a:gd name="connsiteX0" fmla="*/ 132 w 9559"/>
              <a:gd name="connsiteY0" fmla="*/ 7166 h 10000"/>
              <a:gd name="connsiteX1" fmla="*/ 0 w 9559"/>
              <a:gd name="connsiteY1" fmla="*/ 7248 h 10000"/>
              <a:gd name="connsiteX2" fmla="*/ 0 w 9559"/>
              <a:gd name="connsiteY2" fmla="*/ 7651 h 10000"/>
              <a:gd name="connsiteX3" fmla="*/ 73 w 9559"/>
              <a:gd name="connsiteY3" fmla="*/ 7663 h 10000"/>
              <a:gd name="connsiteX4" fmla="*/ 90 w 9559"/>
              <a:gd name="connsiteY4" fmla="*/ 7694 h 10000"/>
              <a:gd name="connsiteX5" fmla="*/ 86 w 9559"/>
              <a:gd name="connsiteY5" fmla="*/ 7749 h 10000"/>
              <a:gd name="connsiteX6" fmla="*/ 59 w 9559"/>
              <a:gd name="connsiteY6" fmla="*/ 7773 h 10000"/>
              <a:gd name="connsiteX7" fmla="*/ 170 w 9559"/>
              <a:gd name="connsiteY7" fmla="*/ 7727 h 10000"/>
              <a:gd name="connsiteX8" fmla="*/ 217 w 9559"/>
              <a:gd name="connsiteY8" fmla="*/ 7680 h 10000"/>
              <a:gd name="connsiteX9" fmla="*/ 274 w 9559"/>
              <a:gd name="connsiteY9" fmla="*/ 7712 h 10000"/>
              <a:gd name="connsiteX10" fmla="*/ 211 w 9559"/>
              <a:gd name="connsiteY10" fmla="*/ 7778 h 10000"/>
              <a:gd name="connsiteX11" fmla="*/ 279 w 9559"/>
              <a:gd name="connsiteY11" fmla="*/ 7780 h 10000"/>
              <a:gd name="connsiteX12" fmla="*/ 312 w 9559"/>
              <a:gd name="connsiteY12" fmla="*/ 7796 h 10000"/>
              <a:gd name="connsiteX13" fmla="*/ 225 w 9559"/>
              <a:gd name="connsiteY13" fmla="*/ 7818 h 10000"/>
              <a:gd name="connsiteX14" fmla="*/ 86 w 9559"/>
              <a:gd name="connsiteY14" fmla="*/ 7886 h 10000"/>
              <a:gd name="connsiteX15" fmla="*/ 332 w 9559"/>
              <a:gd name="connsiteY15" fmla="*/ 7938 h 10000"/>
              <a:gd name="connsiteX16" fmla="*/ 362 w 9559"/>
              <a:gd name="connsiteY16" fmla="*/ 8014 h 10000"/>
              <a:gd name="connsiteX17" fmla="*/ 279 w 9559"/>
              <a:gd name="connsiteY17" fmla="*/ 8126 h 10000"/>
              <a:gd name="connsiteX18" fmla="*/ 459 w 9559"/>
              <a:gd name="connsiteY18" fmla="*/ 8118 h 10000"/>
              <a:gd name="connsiteX19" fmla="*/ 472 w 9559"/>
              <a:gd name="connsiteY19" fmla="*/ 8203 h 10000"/>
              <a:gd name="connsiteX20" fmla="*/ 353 w 9559"/>
              <a:gd name="connsiteY20" fmla="*/ 8260 h 10000"/>
              <a:gd name="connsiteX21" fmla="*/ 372 w 9559"/>
              <a:gd name="connsiteY21" fmla="*/ 8370 h 10000"/>
              <a:gd name="connsiteX22" fmla="*/ 326 w 9559"/>
              <a:gd name="connsiteY22" fmla="*/ 8456 h 10000"/>
              <a:gd name="connsiteX23" fmla="*/ 467 w 9559"/>
              <a:gd name="connsiteY23" fmla="*/ 8464 h 10000"/>
              <a:gd name="connsiteX24" fmla="*/ 606 w 9559"/>
              <a:gd name="connsiteY24" fmla="*/ 8792 h 10000"/>
              <a:gd name="connsiteX25" fmla="*/ 766 w 9559"/>
              <a:gd name="connsiteY25" fmla="*/ 8876 h 10000"/>
              <a:gd name="connsiteX26" fmla="*/ 835 w 9559"/>
              <a:gd name="connsiteY26" fmla="*/ 8965 h 10000"/>
              <a:gd name="connsiteX27" fmla="*/ 1009 w 9559"/>
              <a:gd name="connsiteY27" fmla="*/ 9030 h 10000"/>
              <a:gd name="connsiteX28" fmla="*/ 1120 w 9559"/>
              <a:gd name="connsiteY28" fmla="*/ 9112 h 10000"/>
              <a:gd name="connsiteX29" fmla="*/ 1106 w 9559"/>
              <a:gd name="connsiteY29" fmla="*/ 9171 h 10000"/>
              <a:gd name="connsiteX30" fmla="*/ 996 w 9559"/>
              <a:gd name="connsiteY30" fmla="*/ 9193 h 10000"/>
              <a:gd name="connsiteX31" fmla="*/ 876 w 9559"/>
              <a:gd name="connsiteY31" fmla="*/ 9179 h 10000"/>
              <a:gd name="connsiteX32" fmla="*/ 839 w 9559"/>
              <a:gd name="connsiteY32" fmla="*/ 9204 h 10000"/>
              <a:gd name="connsiteX33" fmla="*/ 931 w 9559"/>
              <a:gd name="connsiteY33" fmla="*/ 9332 h 10000"/>
              <a:gd name="connsiteX34" fmla="*/ 802 w 9559"/>
              <a:gd name="connsiteY34" fmla="*/ 9322 h 10000"/>
              <a:gd name="connsiteX35" fmla="*/ 693 w 9559"/>
              <a:gd name="connsiteY35" fmla="*/ 9291 h 10000"/>
              <a:gd name="connsiteX36" fmla="*/ 673 w 9559"/>
              <a:gd name="connsiteY36" fmla="*/ 9338 h 10000"/>
              <a:gd name="connsiteX37" fmla="*/ 1036 w 9559"/>
              <a:gd name="connsiteY37" fmla="*/ 9776 h 10000"/>
              <a:gd name="connsiteX38" fmla="*/ 978 w 9559"/>
              <a:gd name="connsiteY38" fmla="*/ 9817 h 10000"/>
              <a:gd name="connsiteX39" fmla="*/ 937 w 9559"/>
              <a:gd name="connsiteY39" fmla="*/ 9902 h 10000"/>
              <a:gd name="connsiteX40" fmla="*/ 886 w 9559"/>
              <a:gd name="connsiteY40" fmla="*/ 9908 h 10000"/>
              <a:gd name="connsiteX41" fmla="*/ 853 w 9559"/>
              <a:gd name="connsiteY41" fmla="*/ 9945 h 10000"/>
              <a:gd name="connsiteX42" fmla="*/ 1072 w 9559"/>
              <a:gd name="connsiteY42" fmla="*/ 9949 h 10000"/>
              <a:gd name="connsiteX43" fmla="*/ 1266 w 9559"/>
              <a:gd name="connsiteY43" fmla="*/ 9986 h 10000"/>
              <a:gd name="connsiteX44" fmla="*/ 1587 w 9559"/>
              <a:gd name="connsiteY44" fmla="*/ 9947 h 10000"/>
              <a:gd name="connsiteX45" fmla="*/ 1876 w 9559"/>
              <a:gd name="connsiteY45" fmla="*/ 9953 h 10000"/>
              <a:gd name="connsiteX46" fmla="*/ 2046 w 9559"/>
              <a:gd name="connsiteY46" fmla="*/ 10000 h 10000"/>
              <a:gd name="connsiteX47" fmla="*/ 2139 w 9559"/>
              <a:gd name="connsiteY47" fmla="*/ 9969 h 10000"/>
              <a:gd name="connsiteX48" fmla="*/ 2229 w 9559"/>
              <a:gd name="connsiteY48" fmla="*/ 9868 h 10000"/>
              <a:gd name="connsiteX49" fmla="*/ 2206 w 9559"/>
              <a:gd name="connsiteY49" fmla="*/ 9703 h 10000"/>
              <a:gd name="connsiteX50" fmla="*/ 2426 w 9559"/>
              <a:gd name="connsiteY50" fmla="*/ 9517 h 10000"/>
              <a:gd name="connsiteX51" fmla="*/ 2587 w 9559"/>
              <a:gd name="connsiteY51" fmla="*/ 9546 h 10000"/>
              <a:gd name="connsiteX52" fmla="*/ 2679 w 9559"/>
              <a:gd name="connsiteY52" fmla="*/ 9472 h 10000"/>
              <a:gd name="connsiteX53" fmla="*/ 2858 w 9559"/>
              <a:gd name="connsiteY53" fmla="*/ 9430 h 10000"/>
              <a:gd name="connsiteX54" fmla="*/ 3101 w 9559"/>
              <a:gd name="connsiteY54" fmla="*/ 9440 h 10000"/>
              <a:gd name="connsiteX55" fmla="*/ 3248 w 9559"/>
              <a:gd name="connsiteY55" fmla="*/ 9470 h 10000"/>
              <a:gd name="connsiteX56" fmla="*/ 3442 w 9559"/>
              <a:gd name="connsiteY56" fmla="*/ 9456 h 10000"/>
              <a:gd name="connsiteX57" fmla="*/ 3638 w 9559"/>
              <a:gd name="connsiteY57" fmla="*/ 9489 h 10000"/>
              <a:gd name="connsiteX58" fmla="*/ 3835 w 9559"/>
              <a:gd name="connsiteY58" fmla="*/ 9493 h 10000"/>
              <a:gd name="connsiteX59" fmla="*/ 4275 w 9559"/>
              <a:gd name="connsiteY59" fmla="*/ 9061 h 10000"/>
              <a:gd name="connsiteX60" fmla="*/ 4386 w 9559"/>
              <a:gd name="connsiteY60" fmla="*/ 8711 h 10000"/>
              <a:gd name="connsiteX61" fmla="*/ 4564 w 9559"/>
              <a:gd name="connsiteY61" fmla="*/ 8554 h 10000"/>
              <a:gd name="connsiteX62" fmla="*/ 4564 w 9559"/>
              <a:gd name="connsiteY62" fmla="*/ 8472 h 10000"/>
              <a:gd name="connsiteX63" fmla="*/ 4500 w 9559"/>
              <a:gd name="connsiteY63" fmla="*/ 8425 h 10000"/>
              <a:gd name="connsiteX64" fmla="*/ 4605 w 9559"/>
              <a:gd name="connsiteY64" fmla="*/ 8352 h 10000"/>
              <a:gd name="connsiteX65" fmla="*/ 4586 w 9559"/>
              <a:gd name="connsiteY65" fmla="*/ 8289 h 10000"/>
              <a:gd name="connsiteX66" fmla="*/ 4514 w 9559"/>
              <a:gd name="connsiteY66" fmla="*/ 8236 h 10000"/>
              <a:gd name="connsiteX67" fmla="*/ 4500 w 9559"/>
              <a:gd name="connsiteY67" fmla="*/ 8199 h 10000"/>
              <a:gd name="connsiteX68" fmla="*/ 4518 w 9559"/>
              <a:gd name="connsiteY68" fmla="*/ 8169 h 10000"/>
              <a:gd name="connsiteX69" fmla="*/ 4615 w 9559"/>
              <a:gd name="connsiteY69" fmla="*/ 8193 h 10000"/>
              <a:gd name="connsiteX70" fmla="*/ 4692 w 9559"/>
              <a:gd name="connsiteY70" fmla="*/ 8191 h 10000"/>
              <a:gd name="connsiteX71" fmla="*/ 4650 w 9559"/>
              <a:gd name="connsiteY71" fmla="*/ 8140 h 10000"/>
              <a:gd name="connsiteX72" fmla="*/ 4664 w 9559"/>
              <a:gd name="connsiteY72" fmla="*/ 8112 h 10000"/>
              <a:gd name="connsiteX73" fmla="*/ 4720 w 9559"/>
              <a:gd name="connsiteY73" fmla="*/ 8069 h 10000"/>
              <a:gd name="connsiteX74" fmla="*/ 4711 w 9559"/>
              <a:gd name="connsiteY74" fmla="*/ 8034 h 10000"/>
              <a:gd name="connsiteX75" fmla="*/ 4762 w 9559"/>
              <a:gd name="connsiteY75" fmla="*/ 7916 h 10000"/>
              <a:gd name="connsiteX76" fmla="*/ 4749 w 9559"/>
              <a:gd name="connsiteY76" fmla="*/ 7881 h 10000"/>
              <a:gd name="connsiteX77" fmla="*/ 4482 w 9559"/>
              <a:gd name="connsiteY77" fmla="*/ 7792 h 10000"/>
              <a:gd name="connsiteX78" fmla="*/ 4518 w 9559"/>
              <a:gd name="connsiteY78" fmla="*/ 7788 h 10000"/>
              <a:gd name="connsiteX79" fmla="*/ 4660 w 9559"/>
              <a:gd name="connsiteY79" fmla="*/ 7812 h 10000"/>
              <a:gd name="connsiteX80" fmla="*/ 4813 w 9559"/>
              <a:gd name="connsiteY80" fmla="*/ 7804 h 10000"/>
              <a:gd name="connsiteX81" fmla="*/ 4858 w 9559"/>
              <a:gd name="connsiteY81" fmla="*/ 7771 h 10000"/>
              <a:gd name="connsiteX82" fmla="*/ 4711 w 9559"/>
              <a:gd name="connsiteY82" fmla="*/ 7710 h 10000"/>
              <a:gd name="connsiteX83" fmla="*/ 4271 w 9559"/>
              <a:gd name="connsiteY83" fmla="*/ 7670 h 10000"/>
              <a:gd name="connsiteX84" fmla="*/ 4301 w 9559"/>
              <a:gd name="connsiteY84" fmla="*/ 7651 h 10000"/>
              <a:gd name="connsiteX85" fmla="*/ 4660 w 9559"/>
              <a:gd name="connsiteY85" fmla="*/ 7639 h 10000"/>
              <a:gd name="connsiteX86" fmla="*/ 4858 w 9559"/>
              <a:gd name="connsiteY86" fmla="*/ 7676 h 10000"/>
              <a:gd name="connsiteX87" fmla="*/ 4972 w 9559"/>
              <a:gd name="connsiteY87" fmla="*/ 7651 h 10000"/>
              <a:gd name="connsiteX88" fmla="*/ 5014 w 9559"/>
              <a:gd name="connsiteY88" fmla="*/ 7588 h 10000"/>
              <a:gd name="connsiteX89" fmla="*/ 5220 w 9559"/>
              <a:gd name="connsiteY89" fmla="*/ 7588 h 10000"/>
              <a:gd name="connsiteX90" fmla="*/ 5500 w 9559"/>
              <a:gd name="connsiteY90" fmla="*/ 7462 h 10000"/>
              <a:gd name="connsiteX91" fmla="*/ 5510 w 9559"/>
              <a:gd name="connsiteY91" fmla="*/ 7378 h 10000"/>
              <a:gd name="connsiteX92" fmla="*/ 5628 w 9559"/>
              <a:gd name="connsiteY92" fmla="*/ 7397 h 10000"/>
              <a:gd name="connsiteX93" fmla="*/ 5624 w 9559"/>
              <a:gd name="connsiteY93" fmla="*/ 7482 h 10000"/>
              <a:gd name="connsiteX94" fmla="*/ 5812 w 9559"/>
              <a:gd name="connsiteY94" fmla="*/ 7476 h 10000"/>
              <a:gd name="connsiteX95" fmla="*/ 5935 w 9559"/>
              <a:gd name="connsiteY95" fmla="*/ 7388 h 10000"/>
              <a:gd name="connsiteX96" fmla="*/ 6166 w 9559"/>
              <a:gd name="connsiteY96" fmla="*/ 7309 h 10000"/>
              <a:gd name="connsiteX97" fmla="*/ 6128 w 9559"/>
              <a:gd name="connsiteY97" fmla="*/ 7219 h 10000"/>
              <a:gd name="connsiteX98" fmla="*/ 6197 w 9559"/>
              <a:gd name="connsiteY98" fmla="*/ 7254 h 10000"/>
              <a:gd name="connsiteX99" fmla="*/ 6302 w 9559"/>
              <a:gd name="connsiteY99" fmla="*/ 7254 h 10000"/>
              <a:gd name="connsiteX100" fmla="*/ 6302 w 9559"/>
              <a:gd name="connsiteY100" fmla="*/ 7213 h 10000"/>
              <a:gd name="connsiteX101" fmla="*/ 6400 w 9559"/>
              <a:gd name="connsiteY101" fmla="*/ 7181 h 10000"/>
              <a:gd name="connsiteX102" fmla="*/ 6386 w 9559"/>
              <a:gd name="connsiteY102" fmla="*/ 7148 h 10000"/>
              <a:gd name="connsiteX103" fmla="*/ 5560 w 9559"/>
              <a:gd name="connsiteY103" fmla="*/ 7215 h 10000"/>
              <a:gd name="connsiteX104" fmla="*/ 5367 w 9559"/>
              <a:gd name="connsiteY104" fmla="*/ 7195 h 10000"/>
              <a:gd name="connsiteX105" fmla="*/ 5289 w 9559"/>
              <a:gd name="connsiteY105" fmla="*/ 7219 h 10000"/>
              <a:gd name="connsiteX106" fmla="*/ 5262 w 9559"/>
              <a:gd name="connsiteY106" fmla="*/ 7173 h 10000"/>
              <a:gd name="connsiteX107" fmla="*/ 5170 w 9559"/>
              <a:gd name="connsiteY107" fmla="*/ 7132 h 10000"/>
              <a:gd name="connsiteX108" fmla="*/ 4802 w 9559"/>
              <a:gd name="connsiteY108" fmla="*/ 7052 h 10000"/>
              <a:gd name="connsiteX109" fmla="*/ 4586 w 9559"/>
              <a:gd name="connsiteY109" fmla="*/ 7065 h 10000"/>
              <a:gd name="connsiteX110" fmla="*/ 4500 w 9559"/>
              <a:gd name="connsiteY110" fmla="*/ 7042 h 10000"/>
              <a:gd name="connsiteX111" fmla="*/ 4591 w 9559"/>
              <a:gd name="connsiteY111" fmla="*/ 7022 h 10000"/>
              <a:gd name="connsiteX112" fmla="*/ 4660 w 9559"/>
              <a:gd name="connsiteY112" fmla="*/ 6979 h 10000"/>
              <a:gd name="connsiteX113" fmla="*/ 4762 w 9559"/>
              <a:gd name="connsiteY113" fmla="*/ 6993 h 10000"/>
              <a:gd name="connsiteX114" fmla="*/ 4885 w 9559"/>
              <a:gd name="connsiteY114" fmla="*/ 6981 h 10000"/>
              <a:gd name="connsiteX115" fmla="*/ 5069 w 9559"/>
              <a:gd name="connsiteY115" fmla="*/ 6995 h 10000"/>
              <a:gd name="connsiteX116" fmla="*/ 5091 w 9559"/>
              <a:gd name="connsiteY116" fmla="*/ 6989 h 10000"/>
              <a:gd name="connsiteX117" fmla="*/ 5234 w 9559"/>
              <a:gd name="connsiteY117" fmla="*/ 7056 h 10000"/>
              <a:gd name="connsiteX118" fmla="*/ 5339 w 9559"/>
              <a:gd name="connsiteY118" fmla="*/ 7032 h 10000"/>
              <a:gd name="connsiteX119" fmla="*/ 5347 w 9559"/>
              <a:gd name="connsiteY119" fmla="*/ 7010 h 10000"/>
              <a:gd name="connsiteX120" fmla="*/ 5445 w 9559"/>
              <a:gd name="connsiteY120" fmla="*/ 7048 h 10000"/>
              <a:gd name="connsiteX121" fmla="*/ 5573 w 9559"/>
              <a:gd name="connsiteY121" fmla="*/ 7069 h 10000"/>
              <a:gd name="connsiteX122" fmla="*/ 5624 w 9559"/>
              <a:gd name="connsiteY122" fmla="*/ 7030 h 10000"/>
              <a:gd name="connsiteX123" fmla="*/ 5665 w 9559"/>
              <a:gd name="connsiteY123" fmla="*/ 7052 h 10000"/>
              <a:gd name="connsiteX124" fmla="*/ 5724 w 9559"/>
              <a:gd name="connsiteY124" fmla="*/ 7126 h 10000"/>
              <a:gd name="connsiteX125" fmla="*/ 5848 w 9559"/>
              <a:gd name="connsiteY125" fmla="*/ 7144 h 10000"/>
              <a:gd name="connsiteX126" fmla="*/ 6353 w 9559"/>
              <a:gd name="connsiteY126" fmla="*/ 7034 h 10000"/>
              <a:gd name="connsiteX127" fmla="*/ 6601 w 9559"/>
              <a:gd name="connsiteY127" fmla="*/ 6879 h 10000"/>
              <a:gd name="connsiteX128" fmla="*/ 6660 w 9559"/>
              <a:gd name="connsiteY128" fmla="*/ 6765 h 10000"/>
              <a:gd name="connsiteX129" fmla="*/ 6570 w 9559"/>
              <a:gd name="connsiteY129" fmla="*/ 6663 h 10000"/>
              <a:gd name="connsiteX130" fmla="*/ 6381 w 9559"/>
              <a:gd name="connsiteY130" fmla="*/ 6602 h 10000"/>
              <a:gd name="connsiteX131" fmla="*/ 6247 w 9559"/>
              <a:gd name="connsiteY131" fmla="*/ 6502 h 10000"/>
              <a:gd name="connsiteX132" fmla="*/ 6372 w 9559"/>
              <a:gd name="connsiteY132" fmla="*/ 6498 h 10000"/>
              <a:gd name="connsiteX133" fmla="*/ 6363 w 9559"/>
              <a:gd name="connsiteY133" fmla="*/ 6474 h 10000"/>
              <a:gd name="connsiteX134" fmla="*/ 6038 w 9559"/>
              <a:gd name="connsiteY134" fmla="*/ 6403 h 10000"/>
              <a:gd name="connsiteX135" fmla="*/ 6025 w 9559"/>
              <a:gd name="connsiteY135" fmla="*/ 6339 h 10000"/>
              <a:gd name="connsiteX136" fmla="*/ 5962 w 9559"/>
              <a:gd name="connsiteY136" fmla="*/ 6272 h 10000"/>
              <a:gd name="connsiteX137" fmla="*/ 5706 w 9559"/>
              <a:gd name="connsiteY137" fmla="*/ 6284 h 10000"/>
              <a:gd name="connsiteX138" fmla="*/ 5614 w 9559"/>
              <a:gd name="connsiteY138" fmla="*/ 6213 h 10000"/>
              <a:gd name="connsiteX139" fmla="*/ 5560 w 9559"/>
              <a:gd name="connsiteY139" fmla="*/ 6209 h 10000"/>
              <a:gd name="connsiteX140" fmla="*/ 5560 w 9559"/>
              <a:gd name="connsiteY140" fmla="*/ 6238 h 10000"/>
              <a:gd name="connsiteX141" fmla="*/ 5445 w 9559"/>
              <a:gd name="connsiteY141" fmla="*/ 6358 h 10000"/>
              <a:gd name="connsiteX142" fmla="*/ 5320 w 9559"/>
              <a:gd name="connsiteY142" fmla="*/ 6429 h 10000"/>
              <a:gd name="connsiteX143" fmla="*/ 4930 w 9559"/>
              <a:gd name="connsiteY143" fmla="*/ 6551 h 10000"/>
              <a:gd name="connsiteX144" fmla="*/ 4793 w 9559"/>
              <a:gd name="connsiteY144" fmla="*/ 6547 h 10000"/>
              <a:gd name="connsiteX145" fmla="*/ 4605 w 9559"/>
              <a:gd name="connsiteY145" fmla="*/ 6565 h 10000"/>
              <a:gd name="connsiteX146" fmla="*/ 4500 w 9559"/>
              <a:gd name="connsiteY146" fmla="*/ 6547 h 10000"/>
              <a:gd name="connsiteX147" fmla="*/ 4637 w 9559"/>
              <a:gd name="connsiteY147" fmla="*/ 6513 h 10000"/>
              <a:gd name="connsiteX148" fmla="*/ 4817 w 9559"/>
              <a:gd name="connsiteY148" fmla="*/ 6498 h 10000"/>
              <a:gd name="connsiteX149" fmla="*/ 4964 w 9559"/>
              <a:gd name="connsiteY149" fmla="*/ 6441 h 10000"/>
              <a:gd name="connsiteX150" fmla="*/ 5109 w 9559"/>
              <a:gd name="connsiteY150" fmla="*/ 6415 h 10000"/>
              <a:gd name="connsiteX151" fmla="*/ 5381 w 9559"/>
              <a:gd name="connsiteY151" fmla="*/ 6317 h 10000"/>
              <a:gd name="connsiteX152" fmla="*/ 5432 w 9559"/>
              <a:gd name="connsiteY152" fmla="*/ 6252 h 10000"/>
              <a:gd name="connsiteX153" fmla="*/ 5436 w 9559"/>
              <a:gd name="connsiteY153" fmla="*/ 6168 h 10000"/>
              <a:gd name="connsiteX154" fmla="*/ 5312 w 9559"/>
              <a:gd name="connsiteY154" fmla="*/ 6154 h 10000"/>
              <a:gd name="connsiteX155" fmla="*/ 5367 w 9559"/>
              <a:gd name="connsiteY155" fmla="*/ 6103 h 10000"/>
              <a:gd name="connsiteX156" fmla="*/ 5385 w 9559"/>
              <a:gd name="connsiteY156" fmla="*/ 6038 h 10000"/>
              <a:gd name="connsiteX157" fmla="*/ 5333 w 9559"/>
              <a:gd name="connsiteY157" fmla="*/ 5977 h 10000"/>
              <a:gd name="connsiteX158" fmla="*/ 5302 w 9559"/>
              <a:gd name="connsiteY158" fmla="*/ 5533 h 10000"/>
              <a:gd name="connsiteX159" fmla="*/ 5377 w 9559"/>
              <a:gd name="connsiteY159" fmla="*/ 5437 h 10000"/>
              <a:gd name="connsiteX160" fmla="*/ 5358 w 9559"/>
              <a:gd name="connsiteY160" fmla="*/ 5398 h 10000"/>
              <a:gd name="connsiteX161" fmla="*/ 5573 w 9559"/>
              <a:gd name="connsiteY161" fmla="*/ 5455 h 10000"/>
              <a:gd name="connsiteX162" fmla="*/ 5587 w 9559"/>
              <a:gd name="connsiteY162" fmla="*/ 5402 h 10000"/>
              <a:gd name="connsiteX163" fmla="*/ 5541 w 9559"/>
              <a:gd name="connsiteY163" fmla="*/ 5264 h 10000"/>
              <a:gd name="connsiteX164" fmla="*/ 5696 w 9559"/>
              <a:gd name="connsiteY164" fmla="*/ 5019 h 10000"/>
              <a:gd name="connsiteX165" fmla="*/ 5601 w 9559"/>
              <a:gd name="connsiteY165" fmla="*/ 4960 h 10000"/>
              <a:gd name="connsiteX166" fmla="*/ 5564 w 9559"/>
              <a:gd name="connsiteY166" fmla="*/ 4905 h 10000"/>
              <a:gd name="connsiteX167" fmla="*/ 5577 w 9559"/>
              <a:gd name="connsiteY167" fmla="*/ 4816 h 10000"/>
              <a:gd name="connsiteX168" fmla="*/ 5804 w 9559"/>
              <a:gd name="connsiteY168" fmla="*/ 4875 h 10000"/>
              <a:gd name="connsiteX169" fmla="*/ 5812 w 9559"/>
              <a:gd name="connsiteY169" fmla="*/ 4858 h 10000"/>
              <a:gd name="connsiteX170" fmla="*/ 5875 w 9559"/>
              <a:gd name="connsiteY170" fmla="*/ 4842 h 10000"/>
              <a:gd name="connsiteX171" fmla="*/ 5962 w 9559"/>
              <a:gd name="connsiteY171" fmla="*/ 4785 h 10000"/>
              <a:gd name="connsiteX172" fmla="*/ 5976 w 9559"/>
              <a:gd name="connsiteY172" fmla="*/ 4769 h 10000"/>
              <a:gd name="connsiteX173" fmla="*/ 5958 w 9559"/>
              <a:gd name="connsiteY173" fmla="*/ 4748 h 10000"/>
              <a:gd name="connsiteX174" fmla="*/ 6004 w 9559"/>
              <a:gd name="connsiteY174" fmla="*/ 4647 h 10000"/>
              <a:gd name="connsiteX175" fmla="*/ 5949 w 9559"/>
              <a:gd name="connsiteY175" fmla="*/ 4581 h 10000"/>
              <a:gd name="connsiteX176" fmla="*/ 5958 w 9559"/>
              <a:gd name="connsiteY176" fmla="*/ 4528 h 10000"/>
              <a:gd name="connsiteX177" fmla="*/ 5990 w 9559"/>
              <a:gd name="connsiteY177" fmla="*/ 4590 h 10000"/>
              <a:gd name="connsiteX178" fmla="*/ 6114 w 9559"/>
              <a:gd name="connsiteY178" fmla="*/ 4636 h 10000"/>
              <a:gd name="connsiteX179" fmla="*/ 6166 w 9559"/>
              <a:gd name="connsiteY179" fmla="*/ 4630 h 10000"/>
              <a:gd name="connsiteX180" fmla="*/ 6247 w 9559"/>
              <a:gd name="connsiteY180" fmla="*/ 4569 h 10000"/>
              <a:gd name="connsiteX181" fmla="*/ 6335 w 9559"/>
              <a:gd name="connsiteY181" fmla="*/ 4594 h 10000"/>
              <a:gd name="connsiteX182" fmla="*/ 6359 w 9559"/>
              <a:gd name="connsiteY182" fmla="*/ 4545 h 10000"/>
              <a:gd name="connsiteX183" fmla="*/ 6418 w 9559"/>
              <a:gd name="connsiteY183" fmla="*/ 4512 h 10000"/>
              <a:gd name="connsiteX184" fmla="*/ 6256 w 9559"/>
              <a:gd name="connsiteY184" fmla="*/ 4477 h 10000"/>
              <a:gd name="connsiteX185" fmla="*/ 6372 w 9559"/>
              <a:gd name="connsiteY185" fmla="*/ 4484 h 10000"/>
              <a:gd name="connsiteX186" fmla="*/ 6490 w 9559"/>
              <a:gd name="connsiteY186" fmla="*/ 4447 h 10000"/>
              <a:gd name="connsiteX187" fmla="*/ 6486 w 9559"/>
              <a:gd name="connsiteY187" fmla="*/ 4422 h 10000"/>
              <a:gd name="connsiteX188" fmla="*/ 6597 w 9559"/>
              <a:gd name="connsiteY188" fmla="*/ 4398 h 10000"/>
              <a:gd name="connsiteX189" fmla="*/ 6606 w 9559"/>
              <a:gd name="connsiteY189" fmla="*/ 4337 h 10000"/>
              <a:gd name="connsiteX190" fmla="*/ 6693 w 9559"/>
              <a:gd name="connsiteY190" fmla="*/ 4325 h 10000"/>
              <a:gd name="connsiteX191" fmla="*/ 6701 w 9559"/>
              <a:gd name="connsiteY191" fmla="*/ 4253 h 10000"/>
              <a:gd name="connsiteX192" fmla="*/ 6793 w 9559"/>
              <a:gd name="connsiteY192" fmla="*/ 4245 h 10000"/>
              <a:gd name="connsiteX193" fmla="*/ 6935 w 9559"/>
              <a:gd name="connsiteY193" fmla="*/ 4260 h 10000"/>
              <a:gd name="connsiteX194" fmla="*/ 7091 w 9559"/>
              <a:gd name="connsiteY194" fmla="*/ 4202 h 10000"/>
              <a:gd name="connsiteX195" fmla="*/ 7146 w 9559"/>
              <a:gd name="connsiteY195" fmla="*/ 4137 h 10000"/>
              <a:gd name="connsiteX196" fmla="*/ 7339 w 9559"/>
              <a:gd name="connsiteY196" fmla="*/ 4070 h 10000"/>
              <a:gd name="connsiteX197" fmla="*/ 7435 w 9559"/>
              <a:gd name="connsiteY197" fmla="*/ 4111 h 10000"/>
              <a:gd name="connsiteX198" fmla="*/ 7582 w 9559"/>
              <a:gd name="connsiteY198" fmla="*/ 4066 h 10000"/>
              <a:gd name="connsiteX199" fmla="*/ 7618 w 9559"/>
              <a:gd name="connsiteY199" fmla="*/ 4009 h 10000"/>
              <a:gd name="connsiteX200" fmla="*/ 7729 w 9559"/>
              <a:gd name="connsiteY200" fmla="*/ 3970 h 10000"/>
              <a:gd name="connsiteX201" fmla="*/ 7825 w 9559"/>
              <a:gd name="connsiteY201" fmla="*/ 3987 h 10000"/>
              <a:gd name="connsiteX202" fmla="*/ 7884 w 9559"/>
              <a:gd name="connsiteY202" fmla="*/ 3958 h 10000"/>
              <a:gd name="connsiteX203" fmla="*/ 8050 w 9559"/>
              <a:gd name="connsiteY203" fmla="*/ 3917 h 10000"/>
              <a:gd name="connsiteX204" fmla="*/ 8118 w 9559"/>
              <a:gd name="connsiteY204" fmla="*/ 3864 h 10000"/>
              <a:gd name="connsiteX205" fmla="*/ 8211 w 9559"/>
              <a:gd name="connsiteY205" fmla="*/ 3842 h 10000"/>
              <a:gd name="connsiteX206" fmla="*/ 8720 w 9559"/>
              <a:gd name="connsiteY206" fmla="*/ 3522 h 10000"/>
              <a:gd name="connsiteX207" fmla="*/ 9559 w 9559"/>
              <a:gd name="connsiteY207" fmla="*/ 517 h 10000"/>
              <a:gd name="connsiteX208" fmla="*/ 9344 w 9559"/>
              <a:gd name="connsiteY208" fmla="*/ 440 h 10000"/>
              <a:gd name="connsiteX209" fmla="*/ 8945 w 9559"/>
              <a:gd name="connsiteY209" fmla="*/ 389 h 10000"/>
              <a:gd name="connsiteX210" fmla="*/ 8118 w 9559"/>
              <a:gd name="connsiteY210" fmla="*/ 26 h 10000"/>
              <a:gd name="connsiteX211" fmla="*/ 8091 w 9559"/>
              <a:gd name="connsiteY211" fmla="*/ 2 h 10000"/>
              <a:gd name="connsiteX212" fmla="*/ 7811 w 9559"/>
              <a:gd name="connsiteY212" fmla="*/ 0 h 10000"/>
              <a:gd name="connsiteX213" fmla="*/ 7748 w 9559"/>
              <a:gd name="connsiteY213" fmla="*/ 14 h 10000"/>
              <a:gd name="connsiteX214" fmla="*/ 7762 w 9559"/>
              <a:gd name="connsiteY214" fmla="*/ 61 h 10000"/>
              <a:gd name="connsiteX215" fmla="*/ 7816 w 9559"/>
              <a:gd name="connsiteY215" fmla="*/ 86 h 10000"/>
              <a:gd name="connsiteX216" fmla="*/ 7831 w 9559"/>
              <a:gd name="connsiteY216" fmla="*/ 139 h 10000"/>
              <a:gd name="connsiteX217" fmla="*/ 7811 w 9559"/>
              <a:gd name="connsiteY217" fmla="*/ 181 h 10000"/>
              <a:gd name="connsiteX218" fmla="*/ 7762 w 9559"/>
              <a:gd name="connsiteY218" fmla="*/ 208 h 10000"/>
              <a:gd name="connsiteX219" fmla="*/ 7724 w 9559"/>
              <a:gd name="connsiteY219" fmla="*/ 283 h 10000"/>
              <a:gd name="connsiteX220" fmla="*/ 7656 w 9559"/>
              <a:gd name="connsiteY220" fmla="*/ 336 h 10000"/>
              <a:gd name="connsiteX221" fmla="*/ 7670 w 9559"/>
              <a:gd name="connsiteY221" fmla="*/ 387 h 10000"/>
              <a:gd name="connsiteX222" fmla="*/ 7775 w 9559"/>
              <a:gd name="connsiteY222" fmla="*/ 434 h 10000"/>
              <a:gd name="connsiteX223" fmla="*/ 7706 w 9559"/>
              <a:gd name="connsiteY223" fmla="*/ 475 h 10000"/>
              <a:gd name="connsiteX224" fmla="*/ 7605 w 9559"/>
              <a:gd name="connsiteY224" fmla="*/ 485 h 10000"/>
              <a:gd name="connsiteX225" fmla="*/ 6761 w 9559"/>
              <a:gd name="connsiteY225" fmla="*/ 387 h 10000"/>
              <a:gd name="connsiteX226" fmla="*/ 6660 w 9559"/>
              <a:gd name="connsiteY226" fmla="*/ 395 h 10000"/>
              <a:gd name="connsiteX227" fmla="*/ 6601 w 9559"/>
              <a:gd name="connsiteY227" fmla="*/ 414 h 10000"/>
              <a:gd name="connsiteX228" fmla="*/ 6540 w 9559"/>
              <a:gd name="connsiteY228" fmla="*/ 462 h 10000"/>
              <a:gd name="connsiteX229" fmla="*/ 6551 w 9559"/>
              <a:gd name="connsiteY229" fmla="*/ 581 h 10000"/>
              <a:gd name="connsiteX230" fmla="*/ 6458 w 9559"/>
              <a:gd name="connsiteY230" fmla="*/ 735 h 10000"/>
              <a:gd name="connsiteX231" fmla="*/ 6344 w 9559"/>
              <a:gd name="connsiteY231" fmla="*/ 815 h 10000"/>
              <a:gd name="connsiteX232" fmla="*/ 6298 w 9559"/>
              <a:gd name="connsiteY232" fmla="*/ 805 h 10000"/>
              <a:gd name="connsiteX233" fmla="*/ 6193 w 9559"/>
              <a:gd name="connsiteY233" fmla="*/ 739 h 10000"/>
              <a:gd name="connsiteX234" fmla="*/ 6060 w 9559"/>
              <a:gd name="connsiteY234" fmla="*/ 705 h 10000"/>
              <a:gd name="connsiteX235" fmla="*/ 5916 w 9559"/>
              <a:gd name="connsiteY235" fmla="*/ 715 h 10000"/>
              <a:gd name="connsiteX236" fmla="*/ 5583 w 9559"/>
              <a:gd name="connsiteY236" fmla="*/ 866 h 10000"/>
              <a:gd name="connsiteX237" fmla="*/ 5495 w 9559"/>
              <a:gd name="connsiteY237" fmla="*/ 1017 h 10000"/>
              <a:gd name="connsiteX238" fmla="*/ 5244 w 9559"/>
              <a:gd name="connsiteY238" fmla="*/ 1153 h 10000"/>
              <a:gd name="connsiteX239" fmla="*/ 5198 w 9559"/>
              <a:gd name="connsiteY239" fmla="*/ 1222 h 10000"/>
              <a:gd name="connsiteX240" fmla="*/ 5329 w 9559"/>
              <a:gd name="connsiteY240" fmla="*/ 1344 h 10000"/>
              <a:gd name="connsiteX241" fmla="*/ 5343 w 9559"/>
              <a:gd name="connsiteY241" fmla="*/ 1412 h 10000"/>
              <a:gd name="connsiteX242" fmla="*/ 4656 w 9559"/>
              <a:gd name="connsiteY242" fmla="*/ 1813 h 10000"/>
              <a:gd name="connsiteX243" fmla="*/ 4445 w 9559"/>
              <a:gd name="connsiteY243" fmla="*/ 2070 h 10000"/>
              <a:gd name="connsiteX244" fmla="*/ 4217 w 9559"/>
              <a:gd name="connsiteY244" fmla="*/ 2135 h 10000"/>
              <a:gd name="connsiteX245" fmla="*/ 4073 w 9559"/>
              <a:gd name="connsiteY245" fmla="*/ 2131 h 10000"/>
              <a:gd name="connsiteX246" fmla="*/ 3986 w 9559"/>
              <a:gd name="connsiteY246" fmla="*/ 2153 h 10000"/>
              <a:gd name="connsiteX247" fmla="*/ 3748 w 9559"/>
              <a:gd name="connsiteY247" fmla="*/ 2793 h 10000"/>
              <a:gd name="connsiteX248" fmla="*/ 3198 w 9559"/>
              <a:gd name="connsiteY248" fmla="*/ 3166 h 10000"/>
              <a:gd name="connsiteX249" fmla="*/ 3202 w 9559"/>
              <a:gd name="connsiteY249" fmla="*/ 3225 h 10000"/>
              <a:gd name="connsiteX250" fmla="*/ 3446 w 9559"/>
              <a:gd name="connsiteY250" fmla="*/ 3392 h 10000"/>
              <a:gd name="connsiteX251" fmla="*/ 3367 w 9559"/>
              <a:gd name="connsiteY251" fmla="*/ 3573 h 10000"/>
              <a:gd name="connsiteX252" fmla="*/ 3224 w 9559"/>
              <a:gd name="connsiteY252" fmla="*/ 3640 h 10000"/>
              <a:gd name="connsiteX253" fmla="*/ 2798 w 9559"/>
              <a:gd name="connsiteY253" fmla="*/ 3595 h 10000"/>
              <a:gd name="connsiteX254" fmla="*/ 2504 w 9559"/>
              <a:gd name="connsiteY254" fmla="*/ 3620 h 10000"/>
              <a:gd name="connsiteX255" fmla="*/ 2267 w 9559"/>
              <a:gd name="connsiteY255" fmla="*/ 3673 h 10000"/>
              <a:gd name="connsiteX256" fmla="*/ 1886 w 9559"/>
              <a:gd name="connsiteY256" fmla="*/ 3840 h 10000"/>
              <a:gd name="connsiteX257" fmla="*/ 1683 w 9559"/>
              <a:gd name="connsiteY257" fmla="*/ 4042 h 10000"/>
              <a:gd name="connsiteX258" fmla="*/ 1701 w 9559"/>
              <a:gd name="connsiteY258" fmla="*/ 4154 h 10000"/>
              <a:gd name="connsiteX259" fmla="*/ 1771 w 9559"/>
              <a:gd name="connsiteY259" fmla="*/ 4241 h 10000"/>
              <a:gd name="connsiteX260" fmla="*/ 1825 w 9559"/>
              <a:gd name="connsiteY260" fmla="*/ 4276 h 10000"/>
              <a:gd name="connsiteX261" fmla="*/ 1725 w 9559"/>
              <a:gd name="connsiteY261" fmla="*/ 4331 h 10000"/>
              <a:gd name="connsiteX262" fmla="*/ 1510 w 9559"/>
              <a:gd name="connsiteY262" fmla="*/ 4710 h 10000"/>
              <a:gd name="connsiteX263" fmla="*/ 1551 w 9559"/>
              <a:gd name="connsiteY263" fmla="*/ 4732 h 10000"/>
              <a:gd name="connsiteX264" fmla="*/ 1583 w 9559"/>
              <a:gd name="connsiteY264" fmla="*/ 4828 h 10000"/>
              <a:gd name="connsiteX265" fmla="*/ 1482 w 9559"/>
              <a:gd name="connsiteY265" fmla="*/ 5227 h 10000"/>
              <a:gd name="connsiteX266" fmla="*/ 1583 w 9559"/>
              <a:gd name="connsiteY266" fmla="*/ 5329 h 10000"/>
              <a:gd name="connsiteX267" fmla="*/ 1857 w 9559"/>
              <a:gd name="connsiteY267" fmla="*/ 5441 h 10000"/>
              <a:gd name="connsiteX268" fmla="*/ 1871 w 9559"/>
              <a:gd name="connsiteY268" fmla="*/ 5578 h 10000"/>
              <a:gd name="connsiteX269" fmla="*/ 1753 w 9559"/>
              <a:gd name="connsiteY269" fmla="*/ 5690 h 10000"/>
              <a:gd name="connsiteX270" fmla="*/ 1583 w 9559"/>
              <a:gd name="connsiteY270" fmla="*/ 5759 h 10000"/>
              <a:gd name="connsiteX271" fmla="*/ 1357 w 9559"/>
              <a:gd name="connsiteY271" fmla="*/ 5787 h 10000"/>
              <a:gd name="connsiteX272" fmla="*/ 1299 w 9559"/>
              <a:gd name="connsiteY272" fmla="*/ 5826 h 10000"/>
              <a:gd name="connsiteX273" fmla="*/ 1430 w 9559"/>
              <a:gd name="connsiteY273" fmla="*/ 5920 h 10000"/>
              <a:gd name="connsiteX274" fmla="*/ 1506 w 9559"/>
              <a:gd name="connsiteY274" fmla="*/ 6142 h 10000"/>
              <a:gd name="connsiteX275" fmla="*/ 1335 w 9559"/>
              <a:gd name="connsiteY275" fmla="*/ 6333 h 10000"/>
              <a:gd name="connsiteX276" fmla="*/ 1394 w 9559"/>
              <a:gd name="connsiteY276" fmla="*/ 6392 h 10000"/>
              <a:gd name="connsiteX277" fmla="*/ 1340 w 9559"/>
              <a:gd name="connsiteY277" fmla="*/ 6492 h 10000"/>
              <a:gd name="connsiteX278" fmla="*/ 1230 w 9559"/>
              <a:gd name="connsiteY278" fmla="*/ 6561 h 10000"/>
              <a:gd name="connsiteX279" fmla="*/ 798 w 9559"/>
              <a:gd name="connsiteY279" fmla="*/ 6614 h 10000"/>
              <a:gd name="connsiteX280" fmla="*/ 771 w 9559"/>
              <a:gd name="connsiteY280" fmla="*/ 6706 h 10000"/>
              <a:gd name="connsiteX281" fmla="*/ 538 w 9559"/>
              <a:gd name="connsiteY281" fmla="*/ 6843 h 10000"/>
              <a:gd name="connsiteX282" fmla="*/ 569 w 9559"/>
              <a:gd name="connsiteY282" fmla="*/ 7040 h 10000"/>
              <a:gd name="connsiteX283" fmla="*/ 372 w 9559"/>
              <a:gd name="connsiteY283" fmla="*/ 7293 h 10000"/>
              <a:gd name="connsiteX284" fmla="*/ 238 w 9559"/>
              <a:gd name="connsiteY284" fmla="*/ 7323 h 10000"/>
              <a:gd name="connsiteX285" fmla="*/ 184 w 9559"/>
              <a:gd name="connsiteY285" fmla="*/ 7262 h 10000"/>
              <a:gd name="connsiteX286" fmla="*/ 115 w 9559"/>
              <a:gd name="connsiteY286" fmla="*/ 7354 h 10000"/>
              <a:gd name="connsiteX287" fmla="*/ 160 w 9559"/>
              <a:gd name="connsiteY287" fmla="*/ 7197 h 10000"/>
              <a:gd name="connsiteX288" fmla="*/ 132 w 9559"/>
              <a:gd name="connsiteY288" fmla="*/ 7166 h 10000"/>
              <a:gd name="connsiteX0" fmla="*/ 138 w 9775"/>
              <a:gd name="connsiteY0" fmla="*/ 7166 h 10000"/>
              <a:gd name="connsiteX1" fmla="*/ 0 w 9775"/>
              <a:gd name="connsiteY1" fmla="*/ 7248 h 10000"/>
              <a:gd name="connsiteX2" fmla="*/ 0 w 9775"/>
              <a:gd name="connsiteY2" fmla="*/ 7651 h 10000"/>
              <a:gd name="connsiteX3" fmla="*/ 76 w 9775"/>
              <a:gd name="connsiteY3" fmla="*/ 7663 h 10000"/>
              <a:gd name="connsiteX4" fmla="*/ 94 w 9775"/>
              <a:gd name="connsiteY4" fmla="*/ 7694 h 10000"/>
              <a:gd name="connsiteX5" fmla="*/ 90 w 9775"/>
              <a:gd name="connsiteY5" fmla="*/ 7749 h 10000"/>
              <a:gd name="connsiteX6" fmla="*/ 62 w 9775"/>
              <a:gd name="connsiteY6" fmla="*/ 7773 h 10000"/>
              <a:gd name="connsiteX7" fmla="*/ 178 w 9775"/>
              <a:gd name="connsiteY7" fmla="*/ 7727 h 10000"/>
              <a:gd name="connsiteX8" fmla="*/ 227 w 9775"/>
              <a:gd name="connsiteY8" fmla="*/ 7680 h 10000"/>
              <a:gd name="connsiteX9" fmla="*/ 287 w 9775"/>
              <a:gd name="connsiteY9" fmla="*/ 7712 h 10000"/>
              <a:gd name="connsiteX10" fmla="*/ 221 w 9775"/>
              <a:gd name="connsiteY10" fmla="*/ 7778 h 10000"/>
              <a:gd name="connsiteX11" fmla="*/ 292 w 9775"/>
              <a:gd name="connsiteY11" fmla="*/ 7780 h 10000"/>
              <a:gd name="connsiteX12" fmla="*/ 326 w 9775"/>
              <a:gd name="connsiteY12" fmla="*/ 7796 h 10000"/>
              <a:gd name="connsiteX13" fmla="*/ 235 w 9775"/>
              <a:gd name="connsiteY13" fmla="*/ 7818 h 10000"/>
              <a:gd name="connsiteX14" fmla="*/ 90 w 9775"/>
              <a:gd name="connsiteY14" fmla="*/ 7886 h 10000"/>
              <a:gd name="connsiteX15" fmla="*/ 347 w 9775"/>
              <a:gd name="connsiteY15" fmla="*/ 7938 h 10000"/>
              <a:gd name="connsiteX16" fmla="*/ 379 w 9775"/>
              <a:gd name="connsiteY16" fmla="*/ 8014 h 10000"/>
              <a:gd name="connsiteX17" fmla="*/ 292 w 9775"/>
              <a:gd name="connsiteY17" fmla="*/ 8126 h 10000"/>
              <a:gd name="connsiteX18" fmla="*/ 480 w 9775"/>
              <a:gd name="connsiteY18" fmla="*/ 8118 h 10000"/>
              <a:gd name="connsiteX19" fmla="*/ 494 w 9775"/>
              <a:gd name="connsiteY19" fmla="*/ 8203 h 10000"/>
              <a:gd name="connsiteX20" fmla="*/ 369 w 9775"/>
              <a:gd name="connsiteY20" fmla="*/ 8260 h 10000"/>
              <a:gd name="connsiteX21" fmla="*/ 389 w 9775"/>
              <a:gd name="connsiteY21" fmla="*/ 8370 h 10000"/>
              <a:gd name="connsiteX22" fmla="*/ 341 w 9775"/>
              <a:gd name="connsiteY22" fmla="*/ 8456 h 10000"/>
              <a:gd name="connsiteX23" fmla="*/ 489 w 9775"/>
              <a:gd name="connsiteY23" fmla="*/ 8464 h 10000"/>
              <a:gd name="connsiteX24" fmla="*/ 634 w 9775"/>
              <a:gd name="connsiteY24" fmla="*/ 8792 h 10000"/>
              <a:gd name="connsiteX25" fmla="*/ 801 w 9775"/>
              <a:gd name="connsiteY25" fmla="*/ 8876 h 10000"/>
              <a:gd name="connsiteX26" fmla="*/ 874 w 9775"/>
              <a:gd name="connsiteY26" fmla="*/ 8965 h 10000"/>
              <a:gd name="connsiteX27" fmla="*/ 1056 w 9775"/>
              <a:gd name="connsiteY27" fmla="*/ 9030 h 10000"/>
              <a:gd name="connsiteX28" fmla="*/ 1172 w 9775"/>
              <a:gd name="connsiteY28" fmla="*/ 9112 h 10000"/>
              <a:gd name="connsiteX29" fmla="*/ 1157 w 9775"/>
              <a:gd name="connsiteY29" fmla="*/ 9171 h 10000"/>
              <a:gd name="connsiteX30" fmla="*/ 1042 w 9775"/>
              <a:gd name="connsiteY30" fmla="*/ 9193 h 10000"/>
              <a:gd name="connsiteX31" fmla="*/ 916 w 9775"/>
              <a:gd name="connsiteY31" fmla="*/ 9179 h 10000"/>
              <a:gd name="connsiteX32" fmla="*/ 878 w 9775"/>
              <a:gd name="connsiteY32" fmla="*/ 9204 h 10000"/>
              <a:gd name="connsiteX33" fmla="*/ 974 w 9775"/>
              <a:gd name="connsiteY33" fmla="*/ 9332 h 10000"/>
              <a:gd name="connsiteX34" fmla="*/ 839 w 9775"/>
              <a:gd name="connsiteY34" fmla="*/ 9322 h 10000"/>
              <a:gd name="connsiteX35" fmla="*/ 725 w 9775"/>
              <a:gd name="connsiteY35" fmla="*/ 9291 h 10000"/>
              <a:gd name="connsiteX36" fmla="*/ 704 w 9775"/>
              <a:gd name="connsiteY36" fmla="*/ 9338 h 10000"/>
              <a:gd name="connsiteX37" fmla="*/ 1084 w 9775"/>
              <a:gd name="connsiteY37" fmla="*/ 9776 h 10000"/>
              <a:gd name="connsiteX38" fmla="*/ 1023 w 9775"/>
              <a:gd name="connsiteY38" fmla="*/ 9817 h 10000"/>
              <a:gd name="connsiteX39" fmla="*/ 980 w 9775"/>
              <a:gd name="connsiteY39" fmla="*/ 9902 h 10000"/>
              <a:gd name="connsiteX40" fmla="*/ 927 w 9775"/>
              <a:gd name="connsiteY40" fmla="*/ 9908 h 10000"/>
              <a:gd name="connsiteX41" fmla="*/ 892 w 9775"/>
              <a:gd name="connsiteY41" fmla="*/ 9945 h 10000"/>
              <a:gd name="connsiteX42" fmla="*/ 1121 w 9775"/>
              <a:gd name="connsiteY42" fmla="*/ 9949 h 10000"/>
              <a:gd name="connsiteX43" fmla="*/ 1324 w 9775"/>
              <a:gd name="connsiteY43" fmla="*/ 9986 h 10000"/>
              <a:gd name="connsiteX44" fmla="*/ 1660 w 9775"/>
              <a:gd name="connsiteY44" fmla="*/ 9947 h 10000"/>
              <a:gd name="connsiteX45" fmla="*/ 1963 w 9775"/>
              <a:gd name="connsiteY45" fmla="*/ 9953 h 10000"/>
              <a:gd name="connsiteX46" fmla="*/ 2140 w 9775"/>
              <a:gd name="connsiteY46" fmla="*/ 10000 h 10000"/>
              <a:gd name="connsiteX47" fmla="*/ 2238 w 9775"/>
              <a:gd name="connsiteY47" fmla="*/ 9969 h 10000"/>
              <a:gd name="connsiteX48" fmla="*/ 2332 w 9775"/>
              <a:gd name="connsiteY48" fmla="*/ 9868 h 10000"/>
              <a:gd name="connsiteX49" fmla="*/ 2308 w 9775"/>
              <a:gd name="connsiteY49" fmla="*/ 9703 h 10000"/>
              <a:gd name="connsiteX50" fmla="*/ 2538 w 9775"/>
              <a:gd name="connsiteY50" fmla="*/ 9517 h 10000"/>
              <a:gd name="connsiteX51" fmla="*/ 2706 w 9775"/>
              <a:gd name="connsiteY51" fmla="*/ 9546 h 10000"/>
              <a:gd name="connsiteX52" fmla="*/ 2803 w 9775"/>
              <a:gd name="connsiteY52" fmla="*/ 9472 h 10000"/>
              <a:gd name="connsiteX53" fmla="*/ 2990 w 9775"/>
              <a:gd name="connsiteY53" fmla="*/ 9430 h 10000"/>
              <a:gd name="connsiteX54" fmla="*/ 3244 w 9775"/>
              <a:gd name="connsiteY54" fmla="*/ 9440 h 10000"/>
              <a:gd name="connsiteX55" fmla="*/ 3398 w 9775"/>
              <a:gd name="connsiteY55" fmla="*/ 9470 h 10000"/>
              <a:gd name="connsiteX56" fmla="*/ 3601 w 9775"/>
              <a:gd name="connsiteY56" fmla="*/ 9456 h 10000"/>
              <a:gd name="connsiteX57" fmla="*/ 3806 w 9775"/>
              <a:gd name="connsiteY57" fmla="*/ 9489 h 10000"/>
              <a:gd name="connsiteX58" fmla="*/ 4012 w 9775"/>
              <a:gd name="connsiteY58" fmla="*/ 9493 h 10000"/>
              <a:gd name="connsiteX59" fmla="*/ 4472 w 9775"/>
              <a:gd name="connsiteY59" fmla="*/ 9061 h 10000"/>
              <a:gd name="connsiteX60" fmla="*/ 4588 w 9775"/>
              <a:gd name="connsiteY60" fmla="*/ 8711 h 10000"/>
              <a:gd name="connsiteX61" fmla="*/ 4775 w 9775"/>
              <a:gd name="connsiteY61" fmla="*/ 8554 h 10000"/>
              <a:gd name="connsiteX62" fmla="*/ 4775 w 9775"/>
              <a:gd name="connsiteY62" fmla="*/ 8472 h 10000"/>
              <a:gd name="connsiteX63" fmla="*/ 4708 w 9775"/>
              <a:gd name="connsiteY63" fmla="*/ 8425 h 10000"/>
              <a:gd name="connsiteX64" fmla="*/ 4817 w 9775"/>
              <a:gd name="connsiteY64" fmla="*/ 8352 h 10000"/>
              <a:gd name="connsiteX65" fmla="*/ 4798 w 9775"/>
              <a:gd name="connsiteY65" fmla="*/ 8289 h 10000"/>
              <a:gd name="connsiteX66" fmla="*/ 4722 w 9775"/>
              <a:gd name="connsiteY66" fmla="*/ 8236 h 10000"/>
              <a:gd name="connsiteX67" fmla="*/ 4708 w 9775"/>
              <a:gd name="connsiteY67" fmla="*/ 8199 h 10000"/>
              <a:gd name="connsiteX68" fmla="*/ 4726 w 9775"/>
              <a:gd name="connsiteY68" fmla="*/ 8169 h 10000"/>
              <a:gd name="connsiteX69" fmla="*/ 4828 w 9775"/>
              <a:gd name="connsiteY69" fmla="*/ 8193 h 10000"/>
              <a:gd name="connsiteX70" fmla="*/ 4908 w 9775"/>
              <a:gd name="connsiteY70" fmla="*/ 8191 h 10000"/>
              <a:gd name="connsiteX71" fmla="*/ 4865 w 9775"/>
              <a:gd name="connsiteY71" fmla="*/ 8140 h 10000"/>
              <a:gd name="connsiteX72" fmla="*/ 4879 w 9775"/>
              <a:gd name="connsiteY72" fmla="*/ 8112 h 10000"/>
              <a:gd name="connsiteX73" fmla="*/ 4938 w 9775"/>
              <a:gd name="connsiteY73" fmla="*/ 8069 h 10000"/>
              <a:gd name="connsiteX74" fmla="*/ 4928 w 9775"/>
              <a:gd name="connsiteY74" fmla="*/ 8034 h 10000"/>
              <a:gd name="connsiteX75" fmla="*/ 4982 w 9775"/>
              <a:gd name="connsiteY75" fmla="*/ 7916 h 10000"/>
              <a:gd name="connsiteX76" fmla="*/ 4968 w 9775"/>
              <a:gd name="connsiteY76" fmla="*/ 7881 h 10000"/>
              <a:gd name="connsiteX77" fmla="*/ 4689 w 9775"/>
              <a:gd name="connsiteY77" fmla="*/ 7792 h 10000"/>
              <a:gd name="connsiteX78" fmla="*/ 4726 w 9775"/>
              <a:gd name="connsiteY78" fmla="*/ 7788 h 10000"/>
              <a:gd name="connsiteX79" fmla="*/ 4875 w 9775"/>
              <a:gd name="connsiteY79" fmla="*/ 7812 h 10000"/>
              <a:gd name="connsiteX80" fmla="*/ 5035 w 9775"/>
              <a:gd name="connsiteY80" fmla="*/ 7804 h 10000"/>
              <a:gd name="connsiteX81" fmla="*/ 5082 w 9775"/>
              <a:gd name="connsiteY81" fmla="*/ 7771 h 10000"/>
              <a:gd name="connsiteX82" fmla="*/ 4928 w 9775"/>
              <a:gd name="connsiteY82" fmla="*/ 7710 h 10000"/>
              <a:gd name="connsiteX83" fmla="*/ 4468 w 9775"/>
              <a:gd name="connsiteY83" fmla="*/ 7670 h 10000"/>
              <a:gd name="connsiteX84" fmla="*/ 4499 w 9775"/>
              <a:gd name="connsiteY84" fmla="*/ 7651 h 10000"/>
              <a:gd name="connsiteX85" fmla="*/ 4875 w 9775"/>
              <a:gd name="connsiteY85" fmla="*/ 7639 h 10000"/>
              <a:gd name="connsiteX86" fmla="*/ 5082 w 9775"/>
              <a:gd name="connsiteY86" fmla="*/ 7676 h 10000"/>
              <a:gd name="connsiteX87" fmla="*/ 5201 w 9775"/>
              <a:gd name="connsiteY87" fmla="*/ 7651 h 10000"/>
              <a:gd name="connsiteX88" fmla="*/ 5245 w 9775"/>
              <a:gd name="connsiteY88" fmla="*/ 7588 h 10000"/>
              <a:gd name="connsiteX89" fmla="*/ 5461 w 9775"/>
              <a:gd name="connsiteY89" fmla="*/ 7588 h 10000"/>
              <a:gd name="connsiteX90" fmla="*/ 5754 w 9775"/>
              <a:gd name="connsiteY90" fmla="*/ 7462 h 10000"/>
              <a:gd name="connsiteX91" fmla="*/ 5764 w 9775"/>
              <a:gd name="connsiteY91" fmla="*/ 7378 h 10000"/>
              <a:gd name="connsiteX92" fmla="*/ 5888 w 9775"/>
              <a:gd name="connsiteY92" fmla="*/ 7397 h 10000"/>
              <a:gd name="connsiteX93" fmla="*/ 5883 w 9775"/>
              <a:gd name="connsiteY93" fmla="*/ 7482 h 10000"/>
              <a:gd name="connsiteX94" fmla="*/ 6080 w 9775"/>
              <a:gd name="connsiteY94" fmla="*/ 7476 h 10000"/>
              <a:gd name="connsiteX95" fmla="*/ 6209 w 9775"/>
              <a:gd name="connsiteY95" fmla="*/ 7388 h 10000"/>
              <a:gd name="connsiteX96" fmla="*/ 6450 w 9775"/>
              <a:gd name="connsiteY96" fmla="*/ 7309 h 10000"/>
              <a:gd name="connsiteX97" fmla="*/ 6411 w 9775"/>
              <a:gd name="connsiteY97" fmla="*/ 7219 h 10000"/>
              <a:gd name="connsiteX98" fmla="*/ 6483 w 9775"/>
              <a:gd name="connsiteY98" fmla="*/ 7254 h 10000"/>
              <a:gd name="connsiteX99" fmla="*/ 6593 w 9775"/>
              <a:gd name="connsiteY99" fmla="*/ 7254 h 10000"/>
              <a:gd name="connsiteX100" fmla="*/ 6593 w 9775"/>
              <a:gd name="connsiteY100" fmla="*/ 7213 h 10000"/>
              <a:gd name="connsiteX101" fmla="*/ 6695 w 9775"/>
              <a:gd name="connsiteY101" fmla="*/ 7181 h 10000"/>
              <a:gd name="connsiteX102" fmla="*/ 6681 w 9775"/>
              <a:gd name="connsiteY102" fmla="*/ 7148 h 10000"/>
              <a:gd name="connsiteX103" fmla="*/ 5817 w 9775"/>
              <a:gd name="connsiteY103" fmla="*/ 7215 h 10000"/>
              <a:gd name="connsiteX104" fmla="*/ 5615 w 9775"/>
              <a:gd name="connsiteY104" fmla="*/ 7195 h 10000"/>
              <a:gd name="connsiteX105" fmla="*/ 5533 w 9775"/>
              <a:gd name="connsiteY105" fmla="*/ 7219 h 10000"/>
              <a:gd name="connsiteX106" fmla="*/ 5505 w 9775"/>
              <a:gd name="connsiteY106" fmla="*/ 7173 h 10000"/>
              <a:gd name="connsiteX107" fmla="*/ 5409 w 9775"/>
              <a:gd name="connsiteY107" fmla="*/ 7132 h 10000"/>
              <a:gd name="connsiteX108" fmla="*/ 5024 w 9775"/>
              <a:gd name="connsiteY108" fmla="*/ 7052 h 10000"/>
              <a:gd name="connsiteX109" fmla="*/ 4798 w 9775"/>
              <a:gd name="connsiteY109" fmla="*/ 7065 h 10000"/>
              <a:gd name="connsiteX110" fmla="*/ 4708 w 9775"/>
              <a:gd name="connsiteY110" fmla="*/ 7042 h 10000"/>
              <a:gd name="connsiteX111" fmla="*/ 4803 w 9775"/>
              <a:gd name="connsiteY111" fmla="*/ 7022 h 10000"/>
              <a:gd name="connsiteX112" fmla="*/ 4875 w 9775"/>
              <a:gd name="connsiteY112" fmla="*/ 6979 h 10000"/>
              <a:gd name="connsiteX113" fmla="*/ 4982 w 9775"/>
              <a:gd name="connsiteY113" fmla="*/ 6993 h 10000"/>
              <a:gd name="connsiteX114" fmla="*/ 5110 w 9775"/>
              <a:gd name="connsiteY114" fmla="*/ 6981 h 10000"/>
              <a:gd name="connsiteX115" fmla="*/ 5303 w 9775"/>
              <a:gd name="connsiteY115" fmla="*/ 6995 h 10000"/>
              <a:gd name="connsiteX116" fmla="*/ 5326 w 9775"/>
              <a:gd name="connsiteY116" fmla="*/ 6989 h 10000"/>
              <a:gd name="connsiteX117" fmla="*/ 5475 w 9775"/>
              <a:gd name="connsiteY117" fmla="*/ 7056 h 10000"/>
              <a:gd name="connsiteX118" fmla="*/ 5585 w 9775"/>
              <a:gd name="connsiteY118" fmla="*/ 7032 h 10000"/>
              <a:gd name="connsiteX119" fmla="*/ 5594 w 9775"/>
              <a:gd name="connsiteY119" fmla="*/ 7010 h 10000"/>
              <a:gd name="connsiteX120" fmla="*/ 5696 w 9775"/>
              <a:gd name="connsiteY120" fmla="*/ 7048 h 10000"/>
              <a:gd name="connsiteX121" fmla="*/ 5830 w 9775"/>
              <a:gd name="connsiteY121" fmla="*/ 7069 h 10000"/>
              <a:gd name="connsiteX122" fmla="*/ 5883 w 9775"/>
              <a:gd name="connsiteY122" fmla="*/ 7030 h 10000"/>
              <a:gd name="connsiteX123" fmla="*/ 5926 w 9775"/>
              <a:gd name="connsiteY123" fmla="*/ 7052 h 10000"/>
              <a:gd name="connsiteX124" fmla="*/ 5988 w 9775"/>
              <a:gd name="connsiteY124" fmla="*/ 7126 h 10000"/>
              <a:gd name="connsiteX125" fmla="*/ 6118 w 9775"/>
              <a:gd name="connsiteY125" fmla="*/ 7144 h 10000"/>
              <a:gd name="connsiteX126" fmla="*/ 6646 w 9775"/>
              <a:gd name="connsiteY126" fmla="*/ 7034 h 10000"/>
              <a:gd name="connsiteX127" fmla="*/ 6906 w 9775"/>
              <a:gd name="connsiteY127" fmla="*/ 6879 h 10000"/>
              <a:gd name="connsiteX128" fmla="*/ 6967 w 9775"/>
              <a:gd name="connsiteY128" fmla="*/ 6765 h 10000"/>
              <a:gd name="connsiteX129" fmla="*/ 6873 w 9775"/>
              <a:gd name="connsiteY129" fmla="*/ 6663 h 10000"/>
              <a:gd name="connsiteX130" fmla="*/ 6675 w 9775"/>
              <a:gd name="connsiteY130" fmla="*/ 6602 h 10000"/>
              <a:gd name="connsiteX131" fmla="*/ 6535 w 9775"/>
              <a:gd name="connsiteY131" fmla="*/ 6502 h 10000"/>
              <a:gd name="connsiteX132" fmla="*/ 6666 w 9775"/>
              <a:gd name="connsiteY132" fmla="*/ 6498 h 10000"/>
              <a:gd name="connsiteX133" fmla="*/ 6657 w 9775"/>
              <a:gd name="connsiteY133" fmla="*/ 6474 h 10000"/>
              <a:gd name="connsiteX134" fmla="*/ 6317 w 9775"/>
              <a:gd name="connsiteY134" fmla="*/ 6403 h 10000"/>
              <a:gd name="connsiteX135" fmla="*/ 6303 w 9775"/>
              <a:gd name="connsiteY135" fmla="*/ 6339 h 10000"/>
              <a:gd name="connsiteX136" fmla="*/ 6237 w 9775"/>
              <a:gd name="connsiteY136" fmla="*/ 6272 h 10000"/>
              <a:gd name="connsiteX137" fmla="*/ 5969 w 9775"/>
              <a:gd name="connsiteY137" fmla="*/ 6284 h 10000"/>
              <a:gd name="connsiteX138" fmla="*/ 5873 w 9775"/>
              <a:gd name="connsiteY138" fmla="*/ 6213 h 10000"/>
              <a:gd name="connsiteX139" fmla="*/ 5817 w 9775"/>
              <a:gd name="connsiteY139" fmla="*/ 6209 h 10000"/>
              <a:gd name="connsiteX140" fmla="*/ 5817 w 9775"/>
              <a:gd name="connsiteY140" fmla="*/ 6238 h 10000"/>
              <a:gd name="connsiteX141" fmla="*/ 5696 w 9775"/>
              <a:gd name="connsiteY141" fmla="*/ 6358 h 10000"/>
              <a:gd name="connsiteX142" fmla="*/ 5565 w 9775"/>
              <a:gd name="connsiteY142" fmla="*/ 6429 h 10000"/>
              <a:gd name="connsiteX143" fmla="*/ 5157 w 9775"/>
              <a:gd name="connsiteY143" fmla="*/ 6551 h 10000"/>
              <a:gd name="connsiteX144" fmla="*/ 5014 w 9775"/>
              <a:gd name="connsiteY144" fmla="*/ 6547 h 10000"/>
              <a:gd name="connsiteX145" fmla="*/ 4817 w 9775"/>
              <a:gd name="connsiteY145" fmla="*/ 6565 h 10000"/>
              <a:gd name="connsiteX146" fmla="*/ 4708 w 9775"/>
              <a:gd name="connsiteY146" fmla="*/ 6547 h 10000"/>
              <a:gd name="connsiteX147" fmla="*/ 4851 w 9775"/>
              <a:gd name="connsiteY147" fmla="*/ 6513 h 10000"/>
              <a:gd name="connsiteX148" fmla="*/ 5039 w 9775"/>
              <a:gd name="connsiteY148" fmla="*/ 6498 h 10000"/>
              <a:gd name="connsiteX149" fmla="*/ 5193 w 9775"/>
              <a:gd name="connsiteY149" fmla="*/ 6441 h 10000"/>
              <a:gd name="connsiteX150" fmla="*/ 5345 w 9775"/>
              <a:gd name="connsiteY150" fmla="*/ 6415 h 10000"/>
              <a:gd name="connsiteX151" fmla="*/ 5629 w 9775"/>
              <a:gd name="connsiteY151" fmla="*/ 6317 h 10000"/>
              <a:gd name="connsiteX152" fmla="*/ 5683 w 9775"/>
              <a:gd name="connsiteY152" fmla="*/ 6252 h 10000"/>
              <a:gd name="connsiteX153" fmla="*/ 5687 w 9775"/>
              <a:gd name="connsiteY153" fmla="*/ 6168 h 10000"/>
              <a:gd name="connsiteX154" fmla="*/ 5557 w 9775"/>
              <a:gd name="connsiteY154" fmla="*/ 6154 h 10000"/>
              <a:gd name="connsiteX155" fmla="*/ 5615 w 9775"/>
              <a:gd name="connsiteY155" fmla="*/ 6103 h 10000"/>
              <a:gd name="connsiteX156" fmla="*/ 5633 w 9775"/>
              <a:gd name="connsiteY156" fmla="*/ 6038 h 10000"/>
              <a:gd name="connsiteX157" fmla="*/ 5579 w 9775"/>
              <a:gd name="connsiteY157" fmla="*/ 5977 h 10000"/>
              <a:gd name="connsiteX158" fmla="*/ 5547 w 9775"/>
              <a:gd name="connsiteY158" fmla="*/ 5533 h 10000"/>
              <a:gd name="connsiteX159" fmla="*/ 5625 w 9775"/>
              <a:gd name="connsiteY159" fmla="*/ 5437 h 10000"/>
              <a:gd name="connsiteX160" fmla="*/ 5605 w 9775"/>
              <a:gd name="connsiteY160" fmla="*/ 5398 h 10000"/>
              <a:gd name="connsiteX161" fmla="*/ 5830 w 9775"/>
              <a:gd name="connsiteY161" fmla="*/ 5455 h 10000"/>
              <a:gd name="connsiteX162" fmla="*/ 5845 w 9775"/>
              <a:gd name="connsiteY162" fmla="*/ 5402 h 10000"/>
              <a:gd name="connsiteX163" fmla="*/ 5797 w 9775"/>
              <a:gd name="connsiteY163" fmla="*/ 5264 h 10000"/>
              <a:gd name="connsiteX164" fmla="*/ 5959 w 9775"/>
              <a:gd name="connsiteY164" fmla="*/ 5019 h 10000"/>
              <a:gd name="connsiteX165" fmla="*/ 5859 w 9775"/>
              <a:gd name="connsiteY165" fmla="*/ 4960 h 10000"/>
              <a:gd name="connsiteX166" fmla="*/ 5821 w 9775"/>
              <a:gd name="connsiteY166" fmla="*/ 4905 h 10000"/>
              <a:gd name="connsiteX167" fmla="*/ 5834 w 9775"/>
              <a:gd name="connsiteY167" fmla="*/ 4816 h 10000"/>
              <a:gd name="connsiteX168" fmla="*/ 6072 w 9775"/>
              <a:gd name="connsiteY168" fmla="*/ 4875 h 10000"/>
              <a:gd name="connsiteX169" fmla="*/ 6080 w 9775"/>
              <a:gd name="connsiteY169" fmla="*/ 4858 h 10000"/>
              <a:gd name="connsiteX170" fmla="*/ 6146 w 9775"/>
              <a:gd name="connsiteY170" fmla="*/ 4842 h 10000"/>
              <a:gd name="connsiteX171" fmla="*/ 6237 w 9775"/>
              <a:gd name="connsiteY171" fmla="*/ 4785 h 10000"/>
              <a:gd name="connsiteX172" fmla="*/ 6252 w 9775"/>
              <a:gd name="connsiteY172" fmla="*/ 4769 h 10000"/>
              <a:gd name="connsiteX173" fmla="*/ 6233 w 9775"/>
              <a:gd name="connsiteY173" fmla="*/ 4748 h 10000"/>
              <a:gd name="connsiteX174" fmla="*/ 6281 w 9775"/>
              <a:gd name="connsiteY174" fmla="*/ 4647 h 10000"/>
              <a:gd name="connsiteX175" fmla="*/ 6223 w 9775"/>
              <a:gd name="connsiteY175" fmla="*/ 4581 h 10000"/>
              <a:gd name="connsiteX176" fmla="*/ 6233 w 9775"/>
              <a:gd name="connsiteY176" fmla="*/ 4528 h 10000"/>
              <a:gd name="connsiteX177" fmla="*/ 6266 w 9775"/>
              <a:gd name="connsiteY177" fmla="*/ 4590 h 10000"/>
              <a:gd name="connsiteX178" fmla="*/ 6396 w 9775"/>
              <a:gd name="connsiteY178" fmla="*/ 4636 h 10000"/>
              <a:gd name="connsiteX179" fmla="*/ 6450 w 9775"/>
              <a:gd name="connsiteY179" fmla="*/ 4630 h 10000"/>
              <a:gd name="connsiteX180" fmla="*/ 6535 w 9775"/>
              <a:gd name="connsiteY180" fmla="*/ 4569 h 10000"/>
              <a:gd name="connsiteX181" fmla="*/ 6627 w 9775"/>
              <a:gd name="connsiteY181" fmla="*/ 4594 h 10000"/>
              <a:gd name="connsiteX182" fmla="*/ 6652 w 9775"/>
              <a:gd name="connsiteY182" fmla="*/ 4545 h 10000"/>
              <a:gd name="connsiteX183" fmla="*/ 6714 w 9775"/>
              <a:gd name="connsiteY183" fmla="*/ 4512 h 10000"/>
              <a:gd name="connsiteX184" fmla="*/ 6545 w 9775"/>
              <a:gd name="connsiteY184" fmla="*/ 4477 h 10000"/>
              <a:gd name="connsiteX185" fmla="*/ 6666 w 9775"/>
              <a:gd name="connsiteY185" fmla="*/ 4484 h 10000"/>
              <a:gd name="connsiteX186" fmla="*/ 6789 w 9775"/>
              <a:gd name="connsiteY186" fmla="*/ 4447 h 10000"/>
              <a:gd name="connsiteX187" fmla="*/ 6785 w 9775"/>
              <a:gd name="connsiteY187" fmla="*/ 4422 h 10000"/>
              <a:gd name="connsiteX188" fmla="*/ 6901 w 9775"/>
              <a:gd name="connsiteY188" fmla="*/ 4398 h 10000"/>
              <a:gd name="connsiteX189" fmla="*/ 6911 w 9775"/>
              <a:gd name="connsiteY189" fmla="*/ 4337 h 10000"/>
              <a:gd name="connsiteX190" fmla="*/ 7002 w 9775"/>
              <a:gd name="connsiteY190" fmla="*/ 4325 h 10000"/>
              <a:gd name="connsiteX191" fmla="*/ 7010 w 9775"/>
              <a:gd name="connsiteY191" fmla="*/ 4253 h 10000"/>
              <a:gd name="connsiteX192" fmla="*/ 7106 w 9775"/>
              <a:gd name="connsiteY192" fmla="*/ 4245 h 10000"/>
              <a:gd name="connsiteX193" fmla="*/ 7255 w 9775"/>
              <a:gd name="connsiteY193" fmla="*/ 4260 h 10000"/>
              <a:gd name="connsiteX194" fmla="*/ 7418 w 9775"/>
              <a:gd name="connsiteY194" fmla="*/ 4202 h 10000"/>
              <a:gd name="connsiteX195" fmla="*/ 7476 w 9775"/>
              <a:gd name="connsiteY195" fmla="*/ 4137 h 10000"/>
              <a:gd name="connsiteX196" fmla="*/ 7678 w 9775"/>
              <a:gd name="connsiteY196" fmla="*/ 4070 h 10000"/>
              <a:gd name="connsiteX197" fmla="*/ 7778 w 9775"/>
              <a:gd name="connsiteY197" fmla="*/ 4111 h 10000"/>
              <a:gd name="connsiteX198" fmla="*/ 7932 w 9775"/>
              <a:gd name="connsiteY198" fmla="*/ 4066 h 10000"/>
              <a:gd name="connsiteX199" fmla="*/ 7969 w 9775"/>
              <a:gd name="connsiteY199" fmla="*/ 4009 h 10000"/>
              <a:gd name="connsiteX200" fmla="*/ 8086 w 9775"/>
              <a:gd name="connsiteY200" fmla="*/ 3970 h 10000"/>
              <a:gd name="connsiteX201" fmla="*/ 8186 w 9775"/>
              <a:gd name="connsiteY201" fmla="*/ 3987 h 10000"/>
              <a:gd name="connsiteX202" fmla="*/ 8248 w 9775"/>
              <a:gd name="connsiteY202" fmla="*/ 3958 h 10000"/>
              <a:gd name="connsiteX203" fmla="*/ 8421 w 9775"/>
              <a:gd name="connsiteY203" fmla="*/ 3917 h 10000"/>
              <a:gd name="connsiteX204" fmla="*/ 8493 w 9775"/>
              <a:gd name="connsiteY204" fmla="*/ 3864 h 10000"/>
              <a:gd name="connsiteX205" fmla="*/ 8590 w 9775"/>
              <a:gd name="connsiteY205" fmla="*/ 3842 h 10000"/>
              <a:gd name="connsiteX206" fmla="*/ 9122 w 9775"/>
              <a:gd name="connsiteY206" fmla="*/ 3522 h 10000"/>
              <a:gd name="connsiteX207" fmla="*/ 9775 w 9775"/>
              <a:gd name="connsiteY207" fmla="*/ 440 h 10000"/>
              <a:gd name="connsiteX208" fmla="*/ 9358 w 9775"/>
              <a:gd name="connsiteY208" fmla="*/ 389 h 10000"/>
              <a:gd name="connsiteX209" fmla="*/ 8493 w 9775"/>
              <a:gd name="connsiteY209" fmla="*/ 26 h 10000"/>
              <a:gd name="connsiteX210" fmla="*/ 8464 w 9775"/>
              <a:gd name="connsiteY210" fmla="*/ 2 h 10000"/>
              <a:gd name="connsiteX211" fmla="*/ 8171 w 9775"/>
              <a:gd name="connsiteY211" fmla="*/ 0 h 10000"/>
              <a:gd name="connsiteX212" fmla="*/ 8105 w 9775"/>
              <a:gd name="connsiteY212" fmla="*/ 14 h 10000"/>
              <a:gd name="connsiteX213" fmla="*/ 8120 w 9775"/>
              <a:gd name="connsiteY213" fmla="*/ 61 h 10000"/>
              <a:gd name="connsiteX214" fmla="*/ 8177 w 9775"/>
              <a:gd name="connsiteY214" fmla="*/ 86 h 10000"/>
              <a:gd name="connsiteX215" fmla="*/ 8192 w 9775"/>
              <a:gd name="connsiteY215" fmla="*/ 139 h 10000"/>
              <a:gd name="connsiteX216" fmla="*/ 8171 w 9775"/>
              <a:gd name="connsiteY216" fmla="*/ 181 h 10000"/>
              <a:gd name="connsiteX217" fmla="*/ 8120 w 9775"/>
              <a:gd name="connsiteY217" fmla="*/ 208 h 10000"/>
              <a:gd name="connsiteX218" fmla="*/ 8080 w 9775"/>
              <a:gd name="connsiteY218" fmla="*/ 283 h 10000"/>
              <a:gd name="connsiteX219" fmla="*/ 8009 w 9775"/>
              <a:gd name="connsiteY219" fmla="*/ 336 h 10000"/>
              <a:gd name="connsiteX220" fmla="*/ 8024 w 9775"/>
              <a:gd name="connsiteY220" fmla="*/ 387 h 10000"/>
              <a:gd name="connsiteX221" fmla="*/ 8134 w 9775"/>
              <a:gd name="connsiteY221" fmla="*/ 434 h 10000"/>
              <a:gd name="connsiteX222" fmla="*/ 8062 w 9775"/>
              <a:gd name="connsiteY222" fmla="*/ 475 h 10000"/>
              <a:gd name="connsiteX223" fmla="*/ 7956 w 9775"/>
              <a:gd name="connsiteY223" fmla="*/ 485 h 10000"/>
              <a:gd name="connsiteX224" fmla="*/ 7073 w 9775"/>
              <a:gd name="connsiteY224" fmla="*/ 387 h 10000"/>
              <a:gd name="connsiteX225" fmla="*/ 6967 w 9775"/>
              <a:gd name="connsiteY225" fmla="*/ 395 h 10000"/>
              <a:gd name="connsiteX226" fmla="*/ 6906 w 9775"/>
              <a:gd name="connsiteY226" fmla="*/ 414 h 10000"/>
              <a:gd name="connsiteX227" fmla="*/ 6842 w 9775"/>
              <a:gd name="connsiteY227" fmla="*/ 462 h 10000"/>
              <a:gd name="connsiteX228" fmla="*/ 6853 w 9775"/>
              <a:gd name="connsiteY228" fmla="*/ 581 h 10000"/>
              <a:gd name="connsiteX229" fmla="*/ 6756 w 9775"/>
              <a:gd name="connsiteY229" fmla="*/ 735 h 10000"/>
              <a:gd name="connsiteX230" fmla="*/ 6637 w 9775"/>
              <a:gd name="connsiteY230" fmla="*/ 815 h 10000"/>
              <a:gd name="connsiteX231" fmla="*/ 6589 w 9775"/>
              <a:gd name="connsiteY231" fmla="*/ 805 h 10000"/>
              <a:gd name="connsiteX232" fmla="*/ 6479 w 9775"/>
              <a:gd name="connsiteY232" fmla="*/ 739 h 10000"/>
              <a:gd name="connsiteX233" fmla="*/ 6340 w 9775"/>
              <a:gd name="connsiteY233" fmla="*/ 705 h 10000"/>
              <a:gd name="connsiteX234" fmla="*/ 6189 w 9775"/>
              <a:gd name="connsiteY234" fmla="*/ 715 h 10000"/>
              <a:gd name="connsiteX235" fmla="*/ 5841 w 9775"/>
              <a:gd name="connsiteY235" fmla="*/ 866 h 10000"/>
              <a:gd name="connsiteX236" fmla="*/ 5749 w 9775"/>
              <a:gd name="connsiteY236" fmla="*/ 1017 h 10000"/>
              <a:gd name="connsiteX237" fmla="*/ 5486 w 9775"/>
              <a:gd name="connsiteY237" fmla="*/ 1153 h 10000"/>
              <a:gd name="connsiteX238" fmla="*/ 5438 w 9775"/>
              <a:gd name="connsiteY238" fmla="*/ 1222 h 10000"/>
              <a:gd name="connsiteX239" fmla="*/ 5575 w 9775"/>
              <a:gd name="connsiteY239" fmla="*/ 1344 h 10000"/>
              <a:gd name="connsiteX240" fmla="*/ 5589 w 9775"/>
              <a:gd name="connsiteY240" fmla="*/ 1412 h 10000"/>
              <a:gd name="connsiteX241" fmla="*/ 4871 w 9775"/>
              <a:gd name="connsiteY241" fmla="*/ 1813 h 10000"/>
              <a:gd name="connsiteX242" fmla="*/ 4650 w 9775"/>
              <a:gd name="connsiteY242" fmla="*/ 2070 h 10000"/>
              <a:gd name="connsiteX243" fmla="*/ 4412 w 9775"/>
              <a:gd name="connsiteY243" fmla="*/ 2135 h 10000"/>
              <a:gd name="connsiteX244" fmla="*/ 4261 w 9775"/>
              <a:gd name="connsiteY244" fmla="*/ 2131 h 10000"/>
              <a:gd name="connsiteX245" fmla="*/ 4170 w 9775"/>
              <a:gd name="connsiteY245" fmla="*/ 2153 h 10000"/>
              <a:gd name="connsiteX246" fmla="*/ 3921 w 9775"/>
              <a:gd name="connsiteY246" fmla="*/ 2793 h 10000"/>
              <a:gd name="connsiteX247" fmla="*/ 3346 w 9775"/>
              <a:gd name="connsiteY247" fmla="*/ 3166 h 10000"/>
              <a:gd name="connsiteX248" fmla="*/ 3350 w 9775"/>
              <a:gd name="connsiteY248" fmla="*/ 3225 h 10000"/>
              <a:gd name="connsiteX249" fmla="*/ 3605 w 9775"/>
              <a:gd name="connsiteY249" fmla="*/ 3392 h 10000"/>
              <a:gd name="connsiteX250" fmla="*/ 3522 w 9775"/>
              <a:gd name="connsiteY250" fmla="*/ 3573 h 10000"/>
              <a:gd name="connsiteX251" fmla="*/ 3373 w 9775"/>
              <a:gd name="connsiteY251" fmla="*/ 3640 h 10000"/>
              <a:gd name="connsiteX252" fmla="*/ 2927 w 9775"/>
              <a:gd name="connsiteY252" fmla="*/ 3595 h 10000"/>
              <a:gd name="connsiteX253" fmla="*/ 2620 w 9775"/>
              <a:gd name="connsiteY253" fmla="*/ 3620 h 10000"/>
              <a:gd name="connsiteX254" fmla="*/ 2372 w 9775"/>
              <a:gd name="connsiteY254" fmla="*/ 3673 h 10000"/>
              <a:gd name="connsiteX255" fmla="*/ 1973 w 9775"/>
              <a:gd name="connsiteY255" fmla="*/ 3840 h 10000"/>
              <a:gd name="connsiteX256" fmla="*/ 1761 w 9775"/>
              <a:gd name="connsiteY256" fmla="*/ 4042 h 10000"/>
              <a:gd name="connsiteX257" fmla="*/ 1779 w 9775"/>
              <a:gd name="connsiteY257" fmla="*/ 4154 h 10000"/>
              <a:gd name="connsiteX258" fmla="*/ 1853 w 9775"/>
              <a:gd name="connsiteY258" fmla="*/ 4241 h 10000"/>
              <a:gd name="connsiteX259" fmla="*/ 1909 w 9775"/>
              <a:gd name="connsiteY259" fmla="*/ 4276 h 10000"/>
              <a:gd name="connsiteX260" fmla="*/ 1805 w 9775"/>
              <a:gd name="connsiteY260" fmla="*/ 4331 h 10000"/>
              <a:gd name="connsiteX261" fmla="*/ 1580 w 9775"/>
              <a:gd name="connsiteY261" fmla="*/ 4710 h 10000"/>
              <a:gd name="connsiteX262" fmla="*/ 1623 w 9775"/>
              <a:gd name="connsiteY262" fmla="*/ 4732 h 10000"/>
              <a:gd name="connsiteX263" fmla="*/ 1656 w 9775"/>
              <a:gd name="connsiteY263" fmla="*/ 4828 h 10000"/>
              <a:gd name="connsiteX264" fmla="*/ 1550 w 9775"/>
              <a:gd name="connsiteY264" fmla="*/ 5227 h 10000"/>
              <a:gd name="connsiteX265" fmla="*/ 1656 w 9775"/>
              <a:gd name="connsiteY265" fmla="*/ 5329 h 10000"/>
              <a:gd name="connsiteX266" fmla="*/ 1943 w 9775"/>
              <a:gd name="connsiteY266" fmla="*/ 5441 h 10000"/>
              <a:gd name="connsiteX267" fmla="*/ 1957 w 9775"/>
              <a:gd name="connsiteY267" fmla="*/ 5578 h 10000"/>
              <a:gd name="connsiteX268" fmla="*/ 1834 w 9775"/>
              <a:gd name="connsiteY268" fmla="*/ 5690 h 10000"/>
              <a:gd name="connsiteX269" fmla="*/ 1656 w 9775"/>
              <a:gd name="connsiteY269" fmla="*/ 5759 h 10000"/>
              <a:gd name="connsiteX270" fmla="*/ 1420 w 9775"/>
              <a:gd name="connsiteY270" fmla="*/ 5787 h 10000"/>
              <a:gd name="connsiteX271" fmla="*/ 1359 w 9775"/>
              <a:gd name="connsiteY271" fmla="*/ 5826 h 10000"/>
              <a:gd name="connsiteX272" fmla="*/ 1496 w 9775"/>
              <a:gd name="connsiteY272" fmla="*/ 5920 h 10000"/>
              <a:gd name="connsiteX273" fmla="*/ 1575 w 9775"/>
              <a:gd name="connsiteY273" fmla="*/ 6142 h 10000"/>
              <a:gd name="connsiteX274" fmla="*/ 1397 w 9775"/>
              <a:gd name="connsiteY274" fmla="*/ 6333 h 10000"/>
              <a:gd name="connsiteX275" fmla="*/ 1458 w 9775"/>
              <a:gd name="connsiteY275" fmla="*/ 6392 h 10000"/>
              <a:gd name="connsiteX276" fmla="*/ 1402 w 9775"/>
              <a:gd name="connsiteY276" fmla="*/ 6492 h 10000"/>
              <a:gd name="connsiteX277" fmla="*/ 1287 w 9775"/>
              <a:gd name="connsiteY277" fmla="*/ 6561 h 10000"/>
              <a:gd name="connsiteX278" fmla="*/ 835 w 9775"/>
              <a:gd name="connsiteY278" fmla="*/ 6614 h 10000"/>
              <a:gd name="connsiteX279" fmla="*/ 807 w 9775"/>
              <a:gd name="connsiteY279" fmla="*/ 6706 h 10000"/>
              <a:gd name="connsiteX280" fmla="*/ 563 w 9775"/>
              <a:gd name="connsiteY280" fmla="*/ 6843 h 10000"/>
              <a:gd name="connsiteX281" fmla="*/ 595 w 9775"/>
              <a:gd name="connsiteY281" fmla="*/ 7040 h 10000"/>
              <a:gd name="connsiteX282" fmla="*/ 389 w 9775"/>
              <a:gd name="connsiteY282" fmla="*/ 7293 h 10000"/>
              <a:gd name="connsiteX283" fmla="*/ 249 w 9775"/>
              <a:gd name="connsiteY283" fmla="*/ 7323 h 10000"/>
              <a:gd name="connsiteX284" fmla="*/ 192 w 9775"/>
              <a:gd name="connsiteY284" fmla="*/ 7262 h 10000"/>
              <a:gd name="connsiteX285" fmla="*/ 120 w 9775"/>
              <a:gd name="connsiteY285" fmla="*/ 7354 h 10000"/>
              <a:gd name="connsiteX286" fmla="*/ 167 w 9775"/>
              <a:gd name="connsiteY286" fmla="*/ 7197 h 10000"/>
              <a:gd name="connsiteX287" fmla="*/ 138 w 9775"/>
              <a:gd name="connsiteY287" fmla="*/ 7166 h 10000"/>
              <a:gd name="connsiteX0" fmla="*/ 141 w 9601"/>
              <a:gd name="connsiteY0" fmla="*/ 7166 h 10000"/>
              <a:gd name="connsiteX1" fmla="*/ 0 w 9601"/>
              <a:gd name="connsiteY1" fmla="*/ 7248 h 10000"/>
              <a:gd name="connsiteX2" fmla="*/ 0 w 9601"/>
              <a:gd name="connsiteY2" fmla="*/ 7651 h 10000"/>
              <a:gd name="connsiteX3" fmla="*/ 78 w 9601"/>
              <a:gd name="connsiteY3" fmla="*/ 7663 h 10000"/>
              <a:gd name="connsiteX4" fmla="*/ 96 w 9601"/>
              <a:gd name="connsiteY4" fmla="*/ 7694 h 10000"/>
              <a:gd name="connsiteX5" fmla="*/ 92 w 9601"/>
              <a:gd name="connsiteY5" fmla="*/ 7749 h 10000"/>
              <a:gd name="connsiteX6" fmla="*/ 63 w 9601"/>
              <a:gd name="connsiteY6" fmla="*/ 7773 h 10000"/>
              <a:gd name="connsiteX7" fmla="*/ 182 w 9601"/>
              <a:gd name="connsiteY7" fmla="*/ 7727 h 10000"/>
              <a:gd name="connsiteX8" fmla="*/ 232 w 9601"/>
              <a:gd name="connsiteY8" fmla="*/ 7680 h 10000"/>
              <a:gd name="connsiteX9" fmla="*/ 294 w 9601"/>
              <a:gd name="connsiteY9" fmla="*/ 7712 h 10000"/>
              <a:gd name="connsiteX10" fmla="*/ 226 w 9601"/>
              <a:gd name="connsiteY10" fmla="*/ 7778 h 10000"/>
              <a:gd name="connsiteX11" fmla="*/ 299 w 9601"/>
              <a:gd name="connsiteY11" fmla="*/ 7780 h 10000"/>
              <a:gd name="connsiteX12" fmla="*/ 334 w 9601"/>
              <a:gd name="connsiteY12" fmla="*/ 7796 h 10000"/>
              <a:gd name="connsiteX13" fmla="*/ 240 w 9601"/>
              <a:gd name="connsiteY13" fmla="*/ 7818 h 10000"/>
              <a:gd name="connsiteX14" fmla="*/ 92 w 9601"/>
              <a:gd name="connsiteY14" fmla="*/ 7886 h 10000"/>
              <a:gd name="connsiteX15" fmla="*/ 355 w 9601"/>
              <a:gd name="connsiteY15" fmla="*/ 7938 h 10000"/>
              <a:gd name="connsiteX16" fmla="*/ 388 w 9601"/>
              <a:gd name="connsiteY16" fmla="*/ 8014 h 10000"/>
              <a:gd name="connsiteX17" fmla="*/ 299 w 9601"/>
              <a:gd name="connsiteY17" fmla="*/ 8126 h 10000"/>
              <a:gd name="connsiteX18" fmla="*/ 491 w 9601"/>
              <a:gd name="connsiteY18" fmla="*/ 8118 h 10000"/>
              <a:gd name="connsiteX19" fmla="*/ 505 w 9601"/>
              <a:gd name="connsiteY19" fmla="*/ 8203 h 10000"/>
              <a:gd name="connsiteX20" fmla="*/ 377 w 9601"/>
              <a:gd name="connsiteY20" fmla="*/ 8260 h 10000"/>
              <a:gd name="connsiteX21" fmla="*/ 398 w 9601"/>
              <a:gd name="connsiteY21" fmla="*/ 8370 h 10000"/>
              <a:gd name="connsiteX22" fmla="*/ 349 w 9601"/>
              <a:gd name="connsiteY22" fmla="*/ 8456 h 10000"/>
              <a:gd name="connsiteX23" fmla="*/ 500 w 9601"/>
              <a:gd name="connsiteY23" fmla="*/ 8464 h 10000"/>
              <a:gd name="connsiteX24" fmla="*/ 649 w 9601"/>
              <a:gd name="connsiteY24" fmla="*/ 8792 h 10000"/>
              <a:gd name="connsiteX25" fmla="*/ 819 w 9601"/>
              <a:gd name="connsiteY25" fmla="*/ 8876 h 10000"/>
              <a:gd name="connsiteX26" fmla="*/ 894 w 9601"/>
              <a:gd name="connsiteY26" fmla="*/ 8965 h 10000"/>
              <a:gd name="connsiteX27" fmla="*/ 1080 w 9601"/>
              <a:gd name="connsiteY27" fmla="*/ 9030 h 10000"/>
              <a:gd name="connsiteX28" fmla="*/ 1199 w 9601"/>
              <a:gd name="connsiteY28" fmla="*/ 9112 h 10000"/>
              <a:gd name="connsiteX29" fmla="*/ 1184 w 9601"/>
              <a:gd name="connsiteY29" fmla="*/ 9171 h 10000"/>
              <a:gd name="connsiteX30" fmla="*/ 1066 w 9601"/>
              <a:gd name="connsiteY30" fmla="*/ 9193 h 10000"/>
              <a:gd name="connsiteX31" fmla="*/ 937 w 9601"/>
              <a:gd name="connsiteY31" fmla="*/ 9179 h 10000"/>
              <a:gd name="connsiteX32" fmla="*/ 898 w 9601"/>
              <a:gd name="connsiteY32" fmla="*/ 9204 h 10000"/>
              <a:gd name="connsiteX33" fmla="*/ 996 w 9601"/>
              <a:gd name="connsiteY33" fmla="*/ 9332 h 10000"/>
              <a:gd name="connsiteX34" fmla="*/ 858 w 9601"/>
              <a:gd name="connsiteY34" fmla="*/ 9322 h 10000"/>
              <a:gd name="connsiteX35" fmla="*/ 742 w 9601"/>
              <a:gd name="connsiteY35" fmla="*/ 9291 h 10000"/>
              <a:gd name="connsiteX36" fmla="*/ 720 w 9601"/>
              <a:gd name="connsiteY36" fmla="*/ 9338 h 10000"/>
              <a:gd name="connsiteX37" fmla="*/ 1109 w 9601"/>
              <a:gd name="connsiteY37" fmla="*/ 9776 h 10000"/>
              <a:gd name="connsiteX38" fmla="*/ 1047 w 9601"/>
              <a:gd name="connsiteY38" fmla="*/ 9817 h 10000"/>
              <a:gd name="connsiteX39" fmla="*/ 1003 w 9601"/>
              <a:gd name="connsiteY39" fmla="*/ 9902 h 10000"/>
              <a:gd name="connsiteX40" fmla="*/ 948 w 9601"/>
              <a:gd name="connsiteY40" fmla="*/ 9908 h 10000"/>
              <a:gd name="connsiteX41" fmla="*/ 913 w 9601"/>
              <a:gd name="connsiteY41" fmla="*/ 9945 h 10000"/>
              <a:gd name="connsiteX42" fmla="*/ 1147 w 9601"/>
              <a:gd name="connsiteY42" fmla="*/ 9949 h 10000"/>
              <a:gd name="connsiteX43" fmla="*/ 1354 w 9601"/>
              <a:gd name="connsiteY43" fmla="*/ 9986 h 10000"/>
              <a:gd name="connsiteX44" fmla="*/ 1698 w 9601"/>
              <a:gd name="connsiteY44" fmla="*/ 9947 h 10000"/>
              <a:gd name="connsiteX45" fmla="*/ 2008 w 9601"/>
              <a:gd name="connsiteY45" fmla="*/ 9953 h 10000"/>
              <a:gd name="connsiteX46" fmla="*/ 2189 w 9601"/>
              <a:gd name="connsiteY46" fmla="*/ 10000 h 10000"/>
              <a:gd name="connsiteX47" fmla="*/ 2290 w 9601"/>
              <a:gd name="connsiteY47" fmla="*/ 9969 h 10000"/>
              <a:gd name="connsiteX48" fmla="*/ 2386 w 9601"/>
              <a:gd name="connsiteY48" fmla="*/ 9868 h 10000"/>
              <a:gd name="connsiteX49" fmla="*/ 2361 w 9601"/>
              <a:gd name="connsiteY49" fmla="*/ 9703 h 10000"/>
              <a:gd name="connsiteX50" fmla="*/ 2596 w 9601"/>
              <a:gd name="connsiteY50" fmla="*/ 9517 h 10000"/>
              <a:gd name="connsiteX51" fmla="*/ 2768 w 9601"/>
              <a:gd name="connsiteY51" fmla="*/ 9546 h 10000"/>
              <a:gd name="connsiteX52" fmla="*/ 2868 w 9601"/>
              <a:gd name="connsiteY52" fmla="*/ 9472 h 10000"/>
              <a:gd name="connsiteX53" fmla="*/ 3059 w 9601"/>
              <a:gd name="connsiteY53" fmla="*/ 9430 h 10000"/>
              <a:gd name="connsiteX54" fmla="*/ 3319 w 9601"/>
              <a:gd name="connsiteY54" fmla="*/ 9440 h 10000"/>
              <a:gd name="connsiteX55" fmla="*/ 3476 w 9601"/>
              <a:gd name="connsiteY55" fmla="*/ 9470 h 10000"/>
              <a:gd name="connsiteX56" fmla="*/ 3684 w 9601"/>
              <a:gd name="connsiteY56" fmla="*/ 9456 h 10000"/>
              <a:gd name="connsiteX57" fmla="*/ 3894 w 9601"/>
              <a:gd name="connsiteY57" fmla="*/ 9489 h 10000"/>
              <a:gd name="connsiteX58" fmla="*/ 4104 w 9601"/>
              <a:gd name="connsiteY58" fmla="*/ 9493 h 10000"/>
              <a:gd name="connsiteX59" fmla="*/ 4575 w 9601"/>
              <a:gd name="connsiteY59" fmla="*/ 9061 h 10000"/>
              <a:gd name="connsiteX60" fmla="*/ 4694 w 9601"/>
              <a:gd name="connsiteY60" fmla="*/ 8711 h 10000"/>
              <a:gd name="connsiteX61" fmla="*/ 4885 w 9601"/>
              <a:gd name="connsiteY61" fmla="*/ 8554 h 10000"/>
              <a:gd name="connsiteX62" fmla="*/ 4885 w 9601"/>
              <a:gd name="connsiteY62" fmla="*/ 8472 h 10000"/>
              <a:gd name="connsiteX63" fmla="*/ 4816 w 9601"/>
              <a:gd name="connsiteY63" fmla="*/ 8425 h 10000"/>
              <a:gd name="connsiteX64" fmla="*/ 4928 w 9601"/>
              <a:gd name="connsiteY64" fmla="*/ 8352 h 10000"/>
              <a:gd name="connsiteX65" fmla="*/ 4908 w 9601"/>
              <a:gd name="connsiteY65" fmla="*/ 8289 h 10000"/>
              <a:gd name="connsiteX66" fmla="*/ 4831 w 9601"/>
              <a:gd name="connsiteY66" fmla="*/ 8236 h 10000"/>
              <a:gd name="connsiteX67" fmla="*/ 4816 w 9601"/>
              <a:gd name="connsiteY67" fmla="*/ 8199 h 10000"/>
              <a:gd name="connsiteX68" fmla="*/ 4835 w 9601"/>
              <a:gd name="connsiteY68" fmla="*/ 8169 h 10000"/>
              <a:gd name="connsiteX69" fmla="*/ 4939 w 9601"/>
              <a:gd name="connsiteY69" fmla="*/ 8193 h 10000"/>
              <a:gd name="connsiteX70" fmla="*/ 5021 w 9601"/>
              <a:gd name="connsiteY70" fmla="*/ 8191 h 10000"/>
              <a:gd name="connsiteX71" fmla="*/ 4977 w 9601"/>
              <a:gd name="connsiteY71" fmla="*/ 8140 h 10000"/>
              <a:gd name="connsiteX72" fmla="*/ 4991 w 9601"/>
              <a:gd name="connsiteY72" fmla="*/ 8112 h 10000"/>
              <a:gd name="connsiteX73" fmla="*/ 5052 w 9601"/>
              <a:gd name="connsiteY73" fmla="*/ 8069 h 10000"/>
              <a:gd name="connsiteX74" fmla="*/ 5041 w 9601"/>
              <a:gd name="connsiteY74" fmla="*/ 8034 h 10000"/>
              <a:gd name="connsiteX75" fmla="*/ 5097 w 9601"/>
              <a:gd name="connsiteY75" fmla="*/ 7916 h 10000"/>
              <a:gd name="connsiteX76" fmla="*/ 5082 w 9601"/>
              <a:gd name="connsiteY76" fmla="*/ 7881 h 10000"/>
              <a:gd name="connsiteX77" fmla="*/ 4797 w 9601"/>
              <a:gd name="connsiteY77" fmla="*/ 7792 h 10000"/>
              <a:gd name="connsiteX78" fmla="*/ 4835 w 9601"/>
              <a:gd name="connsiteY78" fmla="*/ 7788 h 10000"/>
              <a:gd name="connsiteX79" fmla="*/ 4987 w 9601"/>
              <a:gd name="connsiteY79" fmla="*/ 7812 h 10000"/>
              <a:gd name="connsiteX80" fmla="*/ 5151 w 9601"/>
              <a:gd name="connsiteY80" fmla="*/ 7804 h 10000"/>
              <a:gd name="connsiteX81" fmla="*/ 5199 w 9601"/>
              <a:gd name="connsiteY81" fmla="*/ 7771 h 10000"/>
              <a:gd name="connsiteX82" fmla="*/ 5041 w 9601"/>
              <a:gd name="connsiteY82" fmla="*/ 7710 h 10000"/>
              <a:gd name="connsiteX83" fmla="*/ 4571 w 9601"/>
              <a:gd name="connsiteY83" fmla="*/ 7670 h 10000"/>
              <a:gd name="connsiteX84" fmla="*/ 4603 w 9601"/>
              <a:gd name="connsiteY84" fmla="*/ 7651 h 10000"/>
              <a:gd name="connsiteX85" fmla="*/ 4987 w 9601"/>
              <a:gd name="connsiteY85" fmla="*/ 7639 h 10000"/>
              <a:gd name="connsiteX86" fmla="*/ 5199 w 9601"/>
              <a:gd name="connsiteY86" fmla="*/ 7676 h 10000"/>
              <a:gd name="connsiteX87" fmla="*/ 5321 w 9601"/>
              <a:gd name="connsiteY87" fmla="*/ 7651 h 10000"/>
              <a:gd name="connsiteX88" fmla="*/ 5366 w 9601"/>
              <a:gd name="connsiteY88" fmla="*/ 7588 h 10000"/>
              <a:gd name="connsiteX89" fmla="*/ 5587 w 9601"/>
              <a:gd name="connsiteY89" fmla="*/ 7588 h 10000"/>
              <a:gd name="connsiteX90" fmla="*/ 5886 w 9601"/>
              <a:gd name="connsiteY90" fmla="*/ 7462 h 10000"/>
              <a:gd name="connsiteX91" fmla="*/ 5897 w 9601"/>
              <a:gd name="connsiteY91" fmla="*/ 7378 h 10000"/>
              <a:gd name="connsiteX92" fmla="*/ 6024 w 9601"/>
              <a:gd name="connsiteY92" fmla="*/ 7397 h 10000"/>
              <a:gd name="connsiteX93" fmla="*/ 6018 w 9601"/>
              <a:gd name="connsiteY93" fmla="*/ 7482 h 10000"/>
              <a:gd name="connsiteX94" fmla="*/ 6220 w 9601"/>
              <a:gd name="connsiteY94" fmla="*/ 7476 h 10000"/>
              <a:gd name="connsiteX95" fmla="*/ 6352 w 9601"/>
              <a:gd name="connsiteY95" fmla="*/ 7388 h 10000"/>
              <a:gd name="connsiteX96" fmla="*/ 6598 w 9601"/>
              <a:gd name="connsiteY96" fmla="*/ 7309 h 10000"/>
              <a:gd name="connsiteX97" fmla="*/ 6559 w 9601"/>
              <a:gd name="connsiteY97" fmla="*/ 7219 h 10000"/>
              <a:gd name="connsiteX98" fmla="*/ 6632 w 9601"/>
              <a:gd name="connsiteY98" fmla="*/ 7254 h 10000"/>
              <a:gd name="connsiteX99" fmla="*/ 6745 w 9601"/>
              <a:gd name="connsiteY99" fmla="*/ 7254 h 10000"/>
              <a:gd name="connsiteX100" fmla="*/ 6745 w 9601"/>
              <a:gd name="connsiteY100" fmla="*/ 7213 h 10000"/>
              <a:gd name="connsiteX101" fmla="*/ 6849 w 9601"/>
              <a:gd name="connsiteY101" fmla="*/ 7181 h 10000"/>
              <a:gd name="connsiteX102" fmla="*/ 6835 w 9601"/>
              <a:gd name="connsiteY102" fmla="*/ 7148 h 10000"/>
              <a:gd name="connsiteX103" fmla="*/ 5951 w 9601"/>
              <a:gd name="connsiteY103" fmla="*/ 7215 h 10000"/>
              <a:gd name="connsiteX104" fmla="*/ 5744 w 9601"/>
              <a:gd name="connsiteY104" fmla="*/ 7195 h 10000"/>
              <a:gd name="connsiteX105" fmla="*/ 5660 w 9601"/>
              <a:gd name="connsiteY105" fmla="*/ 7219 h 10000"/>
              <a:gd name="connsiteX106" fmla="*/ 5632 w 9601"/>
              <a:gd name="connsiteY106" fmla="*/ 7173 h 10000"/>
              <a:gd name="connsiteX107" fmla="*/ 5534 w 9601"/>
              <a:gd name="connsiteY107" fmla="*/ 7132 h 10000"/>
              <a:gd name="connsiteX108" fmla="*/ 5140 w 9601"/>
              <a:gd name="connsiteY108" fmla="*/ 7052 h 10000"/>
              <a:gd name="connsiteX109" fmla="*/ 4908 w 9601"/>
              <a:gd name="connsiteY109" fmla="*/ 7065 h 10000"/>
              <a:gd name="connsiteX110" fmla="*/ 4816 w 9601"/>
              <a:gd name="connsiteY110" fmla="*/ 7042 h 10000"/>
              <a:gd name="connsiteX111" fmla="*/ 4914 w 9601"/>
              <a:gd name="connsiteY111" fmla="*/ 7022 h 10000"/>
              <a:gd name="connsiteX112" fmla="*/ 4987 w 9601"/>
              <a:gd name="connsiteY112" fmla="*/ 6979 h 10000"/>
              <a:gd name="connsiteX113" fmla="*/ 5097 w 9601"/>
              <a:gd name="connsiteY113" fmla="*/ 6993 h 10000"/>
              <a:gd name="connsiteX114" fmla="*/ 5228 w 9601"/>
              <a:gd name="connsiteY114" fmla="*/ 6981 h 10000"/>
              <a:gd name="connsiteX115" fmla="*/ 5425 w 9601"/>
              <a:gd name="connsiteY115" fmla="*/ 6995 h 10000"/>
              <a:gd name="connsiteX116" fmla="*/ 5449 w 9601"/>
              <a:gd name="connsiteY116" fmla="*/ 6989 h 10000"/>
              <a:gd name="connsiteX117" fmla="*/ 5601 w 9601"/>
              <a:gd name="connsiteY117" fmla="*/ 7056 h 10000"/>
              <a:gd name="connsiteX118" fmla="*/ 5714 w 9601"/>
              <a:gd name="connsiteY118" fmla="*/ 7032 h 10000"/>
              <a:gd name="connsiteX119" fmla="*/ 5723 w 9601"/>
              <a:gd name="connsiteY119" fmla="*/ 7010 h 10000"/>
              <a:gd name="connsiteX120" fmla="*/ 5827 w 9601"/>
              <a:gd name="connsiteY120" fmla="*/ 7048 h 10000"/>
              <a:gd name="connsiteX121" fmla="*/ 5964 w 9601"/>
              <a:gd name="connsiteY121" fmla="*/ 7069 h 10000"/>
              <a:gd name="connsiteX122" fmla="*/ 6018 w 9601"/>
              <a:gd name="connsiteY122" fmla="*/ 7030 h 10000"/>
              <a:gd name="connsiteX123" fmla="*/ 6062 w 9601"/>
              <a:gd name="connsiteY123" fmla="*/ 7052 h 10000"/>
              <a:gd name="connsiteX124" fmla="*/ 6126 w 9601"/>
              <a:gd name="connsiteY124" fmla="*/ 7126 h 10000"/>
              <a:gd name="connsiteX125" fmla="*/ 6259 w 9601"/>
              <a:gd name="connsiteY125" fmla="*/ 7144 h 10000"/>
              <a:gd name="connsiteX126" fmla="*/ 6799 w 9601"/>
              <a:gd name="connsiteY126" fmla="*/ 7034 h 10000"/>
              <a:gd name="connsiteX127" fmla="*/ 7065 w 9601"/>
              <a:gd name="connsiteY127" fmla="*/ 6879 h 10000"/>
              <a:gd name="connsiteX128" fmla="*/ 7127 w 9601"/>
              <a:gd name="connsiteY128" fmla="*/ 6765 h 10000"/>
              <a:gd name="connsiteX129" fmla="*/ 7031 w 9601"/>
              <a:gd name="connsiteY129" fmla="*/ 6663 h 10000"/>
              <a:gd name="connsiteX130" fmla="*/ 6829 w 9601"/>
              <a:gd name="connsiteY130" fmla="*/ 6602 h 10000"/>
              <a:gd name="connsiteX131" fmla="*/ 6685 w 9601"/>
              <a:gd name="connsiteY131" fmla="*/ 6502 h 10000"/>
              <a:gd name="connsiteX132" fmla="*/ 6819 w 9601"/>
              <a:gd name="connsiteY132" fmla="*/ 6498 h 10000"/>
              <a:gd name="connsiteX133" fmla="*/ 6810 w 9601"/>
              <a:gd name="connsiteY133" fmla="*/ 6474 h 10000"/>
              <a:gd name="connsiteX134" fmla="*/ 6462 w 9601"/>
              <a:gd name="connsiteY134" fmla="*/ 6403 h 10000"/>
              <a:gd name="connsiteX135" fmla="*/ 6448 w 9601"/>
              <a:gd name="connsiteY135" fmla="*/ 6339 h 10000"/>
              <a:gd name="connsiteX136" fmla="*/ 6381 w 9601"/>
              <a:gd name="connsiteY136" fmla="*/ 6272 h 10000"/>
              <a:gd name="connsiteX137" fmla="*/ 6106 w 9601"/>
              <a:gd name="connsiteY137" fmla="*/ 6284 h 10000"/>
              <a:gd name="connsiteX138" fmla="*/ 6008 w 9601"/>
              <a:gd name="connsiteY138" fmla="*/ 6213 h 10000"/>
              <a:gd name="connsiteX139" fmla="*/ 5951 w 9601"/>
              <a:gd name="connsiteY139" fmla="*/ 6209 h 10000"/>
              <a:gd name="connsiteX140" fmla="*/ 5951 w 9601"/>
              <a:gd name="connsiteY140" fmla="*/ 6238 h 10000"/>
              <a:gd name="connsiteX141" fmla="*/ 5827 w 9601"/>
              <a:gd name="connsiteY141" fmla="*/ 6358 h 10000"/>
              <a:gd name="connsiteX142" fmla="*/ 5693 w 9601"/>
              <a:gd name="connsiteY142" fmla="*/ 6429 h 10000"/>
              <a:gd name="connsiteX143" fmla="*/ 5276 w 9601"/>
              <a:gd name="connsiteY143" fmla="*/ 6551 h 10000"/>
              <a:gd name="connsiteX144" fmla="*/ 5129 w 9601"/>
              <a:gd name="connsiteY144" fmla="*/ 6547 h 10000"/>
              <a:gd name="connsiteX145" fmla="*/ 4928 w 9601"/>
              <a:gd name="connsiteY145" fmla="*/ 6565 h 10000"/>
              <a:gd name="connsiteX146" fmla="*/ 4816 w 9601"/>
              <a:gd name="connsiteY146" fmla="*/ 6547 h 10000"/>
              <a:gd name="connsiteX147" fmla="*/ 4963 w 9601"/>
              <a:gd name="connsiteY147" fmla="*/ 6513 h 10000"/>
              <a:gd name="connsiteX148" fmla="*/ 5155 w 9601"/>
              <a:gd name="connsiteY148" fmla="*/ 6498 h 10000"/>
              <a:gd name="connsiteX149" fmla="*/ 5313 w 9601"/>
              <a:gd name="connsiteY149" fmla="*/ 6441 h 10000"/>
              <a:gd name="connsiteX150" fmla="*/ 5468 w 9601"/>
              <a:gd name="connsiteY150" fmla="*/ 6415 h 10000"/>
              <a:gd name="connsiteX151" fmla="*/ 5759 w 9601"/>
              <a:gd name="connsiteY151" fmla="*/ 6317 h 10000"/>
              <a:gd name="connsiteX152" fmla="*/ 5814 w 9601"/>
              <a:gd name="connsiteY152" fmla="*/ 6252 h 10000"/>
              <a:gd name="connsiteX153" fmla="*/ 5818 w 9601"/>
              <a:gd name="connsiteY153" fmla="*/ 6168 h 10000"/>
              <a:gd name="connsiteX154" fmla="*/ 5685 w 9601"/>
              <a:gd name="connsiteY154" fmla="*/ 6154 h 10000"/>
              <a:gd name="connsiteX155" fmla="*/ 5744 w 9601"/>
              <a:gd name="connsiteY155" fmla="*/ 6103 h 10000"/>
              <a:gd name="connsiteX156" fmla="*/ 5763 w 9601"/>
              <a:gd name="connsiteY156" fmla="*/ 6038 h 10000"/>
              <a:gd name="connsiteX157" fmla="*/ 5707 w 9601"/>
              <a:gd name="connsiteY157" fmla="*/ 5977 h 10000"/>
              <a:gd name="connsiteX158" fmla="*/ 5675 w 9601"/>
              <a:gd name="connsiteY158" fmla="*/ 5533 h 10000"/>
              <a:gd name="connsiteX159" fmla="*/ 5754 w 9601"/>
              <a:gd name="connsiteY159" fmla="*/ 5437 h 10000"/>
              <a:gd name="connsiteX160" fmla="*/ 5734 w 9601"/>
              <a:gd name="connsiteY160" fmla="*/ 5398 h 10000"/>
              <a:gd name="connsiteX161" fmla="*/ 5964 w 9601"/>
              <a:gd name="connsiteY161" fmla="*/ 5455 h 10000"/>
              <a:gd name="connsiteX162" fmla="*/ 5980 w 9601"/>
              <a:gd name="connsiteY162" fmla="*/ 5402 h 10000"/>
              <a:gd name="connsiteX163" fmla="*/ 5930 w 9601"/>
              <a:gd name="connsiteY163" fmla="*/ 5264 h 10000"/>
              <a:gd name="connsiteX164" fmla="*/ 6096 w 9601"/>
              <a:gd name="connsiteY164" fmla="*/ 5019 h 10000"/>
              <a:gd name="connsiteX165" fmla="*/ 5994 w 9601"/>
              <a:gd name="connsiteY165" fmla="*/ 4960 h 10000"/>
              <a:gd name="connsiteX166" fmla="*/ 5955 w 9601"/>
              <a:gd name="connsiteY166" fmla="*/ 4905 h 10000"/>
              <a:gd name="connsiteX167" fmla="*/ 5968 w 9601"/>
              <a:gd name="connsiteY167" fmla="*/ 4816 h 10000"/>
              <a:gd name="connsiteX168" fmla="*/ 6212 w 9601"/>
              <a:gd name="connsiteY168" fmla="*/ 4875 h 10000"/>
              <a:gd name="connsiteX169" fmla="*/ 6220 w 9601"/>
              <a:gd name="connsiteY169" fmla="*/ 4858 h 10000"/>
              <a:gd name="connsiteX170" fmla="*/ 6287 w 9601"/>
              <a:gd name="connsiteY170" fmla="*/ 4842 h 10000"/>
              <a:gd name="connsiteX171" fmla="*/ 6381 w 9601"/>
              <a:gd name="connsiteY171" fmla="*/ 4785 h 10000"/>
              <a:gd name="connsiteX172" fmla="*/ 6396 w 9601"/>
              <a:gd name="connsiteY172" fmla="*/ 4769 h 10000"/>
              <a:gd name="connsiteX173" fmla="*/ 6376 w 9601"/>
              <a:gd name="connsiteY173" fmla="*/ 4748 h 10000"/>
              <a:gd name="connsiteX174" fmla="*/ 6426 w 9601"/>
              <a:gd name="connsiteY174" fmla="*/ 4647 h 10000"/>
              <a:gd name="connsiteX175" fmla="*/ 6366 w 9601"/>
              <a:gd name="connsiteY175" fmla="*/ 4581 h 10000"/>
              <a:gd name="connsiteX176" fmla="*/ 6376 w 9601"/>
              <a:gd name="connsiteY176" fmla="*/ 4528 h 10000"/>
              <a:gd name="connsiteX177" fmla="*/ 6410 w 9601"/>
              <a:gd name="connsiteY177" fmla="*/ 4590 h 10000"/>
              <a:gd name="connsiteX178" fmla="*/ 6543 w 9601"/>
              <a:gd name="connsiteY178" fmla="*/ 4636 h 10000"/>
              <a:gd name="connsiteX179" fmla="*/ 6598 w 9601"/>
              <a:gd name="connsiteY179" fmla="*/ 4630 h 10000"/>
              <a:gd name="connsiteX180" fmla="*/ 6685 w 9601"/>
              <a:gd name="connsiteY180" fmla="*/ 4569 h 10000"/>
              <a:gd name="connsiteX181" fmla="*/ 6780 w 9601"/>
              <a:gd name="connsiteY181" fmla="*/ 4594 h 10000"/>
              <a:gd name="connsiteX182" fmla="*/ 6805 w 9601"/>
              <a:gd name="connsiteY182" fmla="*/ 4545 h 10000"/>
              <a:gd name="connsiteX183" fmla="*/ 6869 w 9601"/>
              <a:gd name="connsiteY183" fmla="*/ 4512 h 10000"/>
              <a:gd name="connsiteX184" fmla="*/ 6696 w 9601"/>
              <a:gd name="connsiteY184" fmla="*/ 4477 h 10000"/>
              <a:gd name="connsiteX185" fmla="*/ 6819 w 9601"/>
              <a:gd name="connsiteY185" fmla="*/ 4484 h 10000"/>
              <a:gd name="connsiteX186" fmla="*/ 6945 w 9601"/>
              <a:gd name="connsiteY186" fmla="*/ 4447 h 10000"/>
              <a:gd name="connsiteX187" fmla="*/ 6941 w 9601"/>
              <a:gd name="connsiteY187" fmla="*/ 4422 h 10000"/>
              <a:gd name="connsiteX188" fmla="*/ 7060 w 9601"/>
              <a:gd name="connsiteY188" fmla="*/ 4398 h 10000"/>
              <a:gd name="connsiteX189" fmla="*/ 7070 w 9601"/>
              <a:gd name="connsiteY189" fmla="*/ 4337 h 10000"/>
              <a:gd name="connsiteX190" fmla="*/ 7163 w 9601"/>
              <a:gd name="connsiteY190" fmla="*/ 4325 h 10000"/>
              <a:gd name="connsiteX191" fmla="*/ 7171 w 9601"/>
              <a:gd name="connsiteY191" fmla="*/ 4253 h 10000"/>
              <a:gd name="connsiteX192" fmla="*/ 7270 w 9601"/>
              <a:gd name="connsiteY192" fmla="*/ 4245 h 10000"/>
              <a:gd name="connsiteX193" fmla="*/ 7422 w 9601"/>
              <a:gd name="connsiteY193" fmla="*/ 4260 h 10000"/>
              <a:gd name="connsiteX194" fmla="*/ 7589 w 9601"/>
              <a:gd name="connsiteY194" fmla="*/ 4202 h 10000"/>
              <a:gd name="connsiteX195" fmla="*/ 7648 w 9601"/>
              <a:gd name="connsiteY195" fmla="*/ 4137 h 10000"/>
              <a:gd name="connsiteX196" fmla="*/ 7855 w 9601"/>
              <a:gd name="connsiteY196" fmla="*/ 4070 h 10000"/>
              <a:gd name="connsiteX197" fmla="*/ 7957 w 9601"/>
              <a:gd name="connsiteY197" fmla="*/ 4111 h 10000"/>
              <a:gd name="connsiteX198" fmla="*/ 8115 w 9601"/>
              <a:gd name="connsiteY198" fmla="*/ 4066 h 10000"/>
              <a:gd name="connsiteX199" fmla="*/ 8152 w 9601"/>
              <a:gd name="connsiteY199" fmla="*/ 4009 h 10000"/>
              <a:gd name="connsiteX200" fmla="*/ 8272 w 9601"/>
              <a:gd name="connsiteY200" fmla="*/ 3970 h 10000"/>
              <a:gd name="connsiteX201" fmla="*/ 8374 w 9601"/>
              <a:gd name="connsiteY201" fmla="*/ 3987 h 10000"/>
              <a:gd name="connsiteX202" fmla="*/ 8438 w 9601"/>
              <a:gd name="connsiteY202" fmla="*/ 3958 h 10000"/>
              <a:gd name="connsiteX203" fmla="*/ 8615 w 9601"/>
              <a:gd name="connsiteY203" fmla="*/ 3917 h 10000"/>
              <a:gd name="connsiteX204" fmla="*/ 8688 w 9601"/>
              <a:gd name="connsiteY204" fmla="*/ 3864 h 10000"/>
              <a:gd name="connsiteX205" fmla="*/ 8788 w 9601"/>
              <a:gd name="connsiteY205" fmla="*/ 3842 h 10000"/>
              <a:gd name="connsiteX206" fmla="*/ 9332 w 9601"/>
              <a:gd name="connsiteY206" fmla="*/ 3522 h 10000"/>
              <a:gd name="connsiteX207" fmla="*/ 9573 w 9601"/>
              <a:gd name="connsiteY207" fmla="*/ 389 h 10000"/>
              <a:gd name="connsiteX208" fmla="*/ 8688 w 9601"/>
              <a:gd name="connsiteY208" fmla="*/ 26 h 10000"/>
              <a:gd name="connsiteX209" fmla="*/ 8659 w 9601"/>
              <a:gd name="connsiteY209" fmla="*/ 2 h 10000"/>
              <a:gd name="connsiteX210" fmla="*/ 8359 w 9601"/>
              <a:gd name="connsiteY210" fmla="*/ 0 h 10000"/>
              <a:gd name="connsiteX211" fmla="*/ 8292 w 9601"/>
              <a:gd name="connsiteY211" fmla="*/ 14 h 10000"/>
              <a:gd name="connsiteX212" fmla="*/ 8307 w 9601"/>
              <a:gd name="connsiteY212" fmla="*/ 61 h 10000"/>
              <a:gd name="connsiteX213" fmla="*/ 8365 w 9601"/>
              <a:gd name="connsiteY213" fmla="*/ 86 h 10000"/>
              <a:gd name="connsiteX214" fmla="*/ 8381 w 9601"/>
              <a:gd name="connsiteY214" fmla="*/ 139 h 10000"/>
              <a:gd name="connsiteX215" fmla="*/ 8359 w 9601"/>
              <a:gd name="connsiteY215" fmla="*/ 181 h 10000"/>
              <a:gd name="connsiteX216" fmla="*/ 8307 w 9601"/>
              <a:gd name="connsiteY216" fmla="*/ 208 h 10000"/>
              <a:gd name="connsiteX217" fmla="*/ 8266 w 9601"/>
              <a:gd name="connsiteY217" fmla="*/ 283 h 10000"/>
              <a:gd name="connsiteX218" fmla="*/ 8193 w 9601"/>
              <a:gd name="connsiteY218" fmla="*/ 336 h 10000"/>
              <a:gd name="connsiteX219" fmla="*/ 8209 w 9601"/>
              <a:gd name="connsiteY219" fmla="*/ 387 h 10000"/>
              <a:gd name="connsiteX220" fmla="*/ 8321 w 9601"/>
              <a:gd name="connsiteY220" fmla="*/ 434 h 10000"/>
              <a:gd name="connsiteX221" fmla="*/ 8248 w 9601"/>
              <a:gd name="connsiteY221" fmla="*/ 475 h 10000"/>
              <a:gd name="connsiteX222" fmla="*/ 8139 w 9601"/>
              <a:gd name="connsiteY222" fmla="*/ 485 h 10000"/>
              <a:gd name="connsiteX223" fmla="*/ 7236 w 9601"/>
              <a:gd name="connsiteY223" fmla="*/ 387 h 10000"/>
              <a:gd name="connsiteX224" fmla="*/ 7127 w 9601"/>
              <a:gd name="connsiteY224" fmla="*/ 395 h 10000"/>
              <a:gd name="connsiteX225" fmla="*/ 7065 w 9601"/>
              <a:gd name="connsiteY225" fmla="*/ 414 h 10000"/>
              <a:gd name="connsiteX226" fmla="*/ 6999 w 9601"/>
              <a:gd name="connsiteY226" fmla="*/ 462 h 10000"/>
              <a:gd name="connsiteX227" fmla="*/ 7011 w 9601"/>
              <a:gd name="connsiteY227" fmla="*/ 581 h 10000"/>
              <a:gd name="connsiteX228" fmla="*/ 6912 w 9601"/>
              <a:gd name="connsiteY228" fmla="*/ 735 h 10000"/>
              <a:gd name="connsiteX229" fmla="*/ 6790 w 9601"/>
              <a:gd name="connsiteY229" fmla="*/ 815 h 10000"/>
              <a:gd name="connsiteX230" fmla="*/ 6741 w 9601"/>
              <a:gd name="connsiteY230" fmla="*/ 805 h 10000"/>
              <a:gd name="connsiteX231" fmla="*/ 6628 w 9601"/>
              <a:gd name="connsiteY231" fmla="*/ 739 h 10000"/>
              <a:gd name="connsiteX232" fmla="*/ 6486 w 9601"/>
              <a:gd name="connsiteY232" fmla="*/ 705 h 10000"/>
              <a:gd name="connsiteX233" fmla="*/ 6331 w 9601"/>
              <a:gd name="connsiteY233" fmla="*/ 715 h 10000"/>
              <a:gd name="connsiteX234" fmla="*/ 5975 w 9601"/>
              <a:gd name="connsiteY234" fmla="*/ 866 h 10000"/>
              <a:gd name="connsiteX235" fmla="*/ 5881 w 9601"/>
              <a:gd name="connsiteY235" fmla="*/ 1017 h 10000"/>
              <a:gd name="connsiteX236" fmla="*/ 5612 w 9601"/>
              <a:gd name="connsiteY236" fmla="*/ 1153 h 10000"/>
              <a:gd name="connsiteX237" fmla="*/ 5563 w 9601"/>
              <a:gd name="connsiteY237" fmla="*/ 1222 h 10000"/>
              <a:gd name="connsiteX238" fmla="*/ 5703 w 9601"/>
              <a:gd name="connsiteY238" fmla="*/ 1344 h 10000"/>
              <a:gd name="connsiteX239" fmla="*/ 5718 w 9601"/>
              <a:gd name="connsiteY239" fmla="*/ 1412 h 10000"/>
              <a:gd name="connsiteX240" fmla="*/ 4983 w 9601"/>
              <a:gd name="connsiteY240" fmla="*/ 1813 h 10000"/>
              <a:gd name="connsiteX241" fmla="*/ 4757 w 9601"/>
              <a:gd name="connsiteY241" fmla="*/ 2070 h 10000"/>
              <a:gd name="connsiteX242" fmla="*/ 4514 w 9601"/>
              <a:gd name="connsiteY242" fmla="*/ 2135 h 10000"/>
              <a:gd name="connsiteX243" fmla="*/ 4359 w 9601"/>
              <a:gd name="connsiteY243" fmla="*/ 2131 h 10000"/>
              <a:gd name="connsiteX244" fmla="*/ 4266 w 9601"/>
              <a:gd name="connsiteY244" fmla="*/ 2153 h 10000"/>
              <a:gd name="connsiteX245" fmla="*/ 4011 w 9601"/>
              <a:gd name="connsiteY245" fmla="*/ 2793 h 10000"/>
              <a:gd name="connsiteX246" fmla="*/ 3423 w 9601"/>
              <a:gd name="connsiteY246" fmla="*/ 3166 h 10000"/>
              <a:gd name="connsiteX247" fmla="*/ 3427 w 9601"/>
              <a:gd name="connsiteY247" fmla="*/ 3225 h 10000"/>
              <a:gd name="connsiteX248" fmla="*/ 3688 w 9601"/>
              <a:gd name="connsiteY248" fmla="*/ 3392 h 10000"/>
              <a:gd name="connsiteX249" fmla="*/ 3603 w 9601"/>
              <a:gd name="connsiteY249" fmla="*/ 3573 h 10000"/>
              <a:gd name="connsiteX250" fmla="*/ 3451 w 9601"/>
              <a:gd name="connsiteY250" fmla="*/ 3640 h 10000"/>
              <a:gd name="connsiteX251" fmla="*/ 2994 w 9601"/>
              <a:gd name="connsiteY251" fmla="*/ 3595 h 10000"/>
              <a:gd name="connsiteX252" fmla="*/ 2680 w 9601"/>
              <a:gd name="connsiteY252" fmla="*/ 3620 h 10000"/>
              <a:gd name="connsiteX253" fmla="*/ 2427 w 9601"/>
              <a:gd name="connsiteY253" fmla="*/ 3673 h 10000"/>
              <a:gd name="connsiteX254" fmla="*/ 2018 w 9601"/>
              <a:gd name="connsiteY254" fmla="*/ 3840 h 10000"/>
              <a:gd name="connsiteX255" fmla="*/ 1802 w 9601"/>
              <a:gd name="connsiteY255" fmla="*/ 4042 h 10000"/>
              <a:gd name="connsiteX256" fmla="*/ 1820 w 9601"/>
              <a:gd name="connsiteY256" fmla="*/ 4154 h 10000"/>
              <a:gd name="connsiteX257" fmla="*/ 1896 w 9601"/>
              <a:gd name="connsiteY257" fmla="*/ 4241 h 10000"/>
              <a:gd name="connsiteX258" fmla="*/ 1953 w 9601"/>
              <a:gd name="connsiteY258" fmla="*/ 4276 h 10000"/>
              <a:gd name="connsiteX259" fmla="*/ 1847 w 9601"/>
              <a:gd name="connsiteY259" fmla="*/ 4331 h 10000"/>
              <a:gd name="connsiteX260" fmla="*/ 1616 w 9601"/>
              <a:gd name="connsiteY260" fmla="*/ 4710 h 10000"/>
              <a:gd name="connsiteX261" fmla="*/ 1660 w 9601"/>
              <a:gd name="connsiteY261" fmla="*/ 4732 h 10000"/>
              <a:gd name="connsiteX262" fmla="*/ 1694 w 9601"/>
              <a:gd name="connsiteY262" fmla="*/ 4828 h 10000"/>
              <a:gd name="connsiteX263" fmla="*/ 1586 w 9601"/>
              <a:gd name="connsiteY263" fmla="*/ 5227 h 10000"/>
              <a:gd name="connsiteX264" fmla="*/ 1694 w 9601"/>
              <a:gd name="connsiteY264" fmla="*/ 5329 h 10000"/>
              <a:gd name="connsiteX265" fmla="*/ 1988 w 9601"/>
              <a:gd name="connsiteY265" fmla="*/ 5441 h 10000"/>
              <a:gd name="connsiteX266" fmla="*/ 2002 w 9601"/>
              <a:gd name="connsiteY266" fmla="*/ 5578 h 10000"/>
              <a:gd name="connsiteX267" fmla="*/ 1876 w 9601"/>
              <a:gd name="connsiteY267" fmla="*/ 5690 h 10000"/>
              <a:gd name="connsiteX268" fmla="*/ 1694 w 9601"/>
              <a:gd name="connsiteY268" fmla="*/ 5759 h 10000"/>
              <a:gd name="connsiteX269" fmla="*/ 1453 w 9601"/>
              <a:gd name="connsiteY269" fmla="*/ 5787 h 10000"/>
              <a:gd name="connsiteX270" fmla="*/ 1390 w 9601"/>
              <a:gd name="connsiteY270" fmla="*/ 5826 h 10000"/>
              <a:gd name="connsiteX271" fmla="*/ 1530 w 9601"/>
              <a:gd name="connsiteY271" fmla="*/ 5920 h 10000"/>
              <a:gd name="connsiteX272" fmla="*/ 1611 w 9601"/>
              <a:gd name="connsiteY272" fmla="*/ 6142 h 10000"/>
              <a:gd name="connsiteX273" fmla="*/ 1429 w 9601"/>
              <a:gd name="connsiteY273" fmla="*/ 6333 h 10000"/>
              <a:gd name="connsiteX274" fmla="*/ 1492 w 9601"/>
              <a:gd name="connsiteY274" fmla="*/ 6392 h 10000"/>
              <a:gd name="connsiteX275" fmla="*/ 1434 w 9601"/>
              <a:gd name="connsiteY275" fmla="*/ 6492 h 10000"/>
              <a:gd name="connsiteX276" fmla="*/ 1317 w 9601"/>
              <a:gd name="connsiteY276" fmla="*/ 6561 h 10000"/>
              <a:gd name="connsiteX277" fmla="*/ 854 w 9601"/>
              <a:gd name="connsiteY277" fmla="*/ 6614 h 10000"/>
              <a:gd name="connsiteX278" fmla="*/ 826 w 9601"/>
              <a:gd name="connsiteY278" fmla="*/ 6706 h 10000"/>
              <a:gd name="connsiteX279" fmla="*/ 576 w 9601"/>
              <a:gd name="connsiteY279" fmla="*/ 6843 h 10000"/>
              <a:gd name="connsiteX280" fmla="*/ 609 w 9601"/>
              <a:gd name="connsiteY280" fmla="*/ 7040 h 10000"/>
              <a:gd name="connsiteX281" fmla="*/ 398 w 9601"/>
              <a:gd name="connsiteY281" fmla="*/ 7293 h 10000"/>
              <a:gd name="connsiteX282" fmla="*/ 255 w 9601"/>
              <a:gd name="connsiteY282" fmla="*/ 7323 h 10000"/>
              <a:gd name="connsiteX283" fmla="*/ 196 w 9601"/>
              <a:gd name="connsiteY283" fmla="*/ 7262 h 10000"/>
              <a:gd name="connsiteX284" fmla="*/ 123 w 9601"/>
              <a:gd name="connsiteY284" fmla="*/ 7354 h 10000"/>
              <a:gd name="connsiteX285" fmla="*/ 171 w 9601"/>
              <a:gd name="connsiteY285" fmla="*/ 7197 h 10000"/>
              <a:gd name="connsiteX286" fmla="*/ 141 w 9601"/>
              <a:gd name="connsiteY286" fmla="*/ 7166 h 1000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652 w 10000"/>
              <a:gd name="connsiteY211" fmla="*/ 71 h 10010"/>
              <a:gd name="connsiteX212" fmla="*/ 8713 w 10000"/>
              <a:gd name="connsiteY212" fmla="*/ 96 h 10010"/>
              <a:gd name="connsiteX213" fmla="*/ 8729 w 10000"/>
              <a:gd name="connsiteY213" fmla="*/ 149 h 10010"/>
              <a:gd name="connsiteX214" fmla="*/ 8706 w 10000"/>
              <a:gd name="connsiteY214" fmla="*/ 191 h 10010"/>
              <a:gd name="connsiteX215" fmla="*/ 8652 w 10000"/>
              <a:gd name="connsiteY215" fmla="*/ 218 h 10010"/>
              <a:gd name="connsiteX216" fmla="*/ 8610 w 10000"/>
              <a:gd name="connsiteY216" fmla="*/ 293 h 10010"/>
              <a:gd name="connsiteX217" fmla="*/ 8533 w 10000"/>
              <a:gd name="connsiteY217" fmla="*/ 346 h 10010"/>
              <a:gd name="connsiteX218" fmla="*/ 8550 w 10000"/>
              <a:gd name="connsiteY218" fmla="*/ 397 h 10010"/>
              <a:gd name="connsiteX219" fmla="*/ 8667 w 10000"/>
              <a:gd name="connsiteY219" fmla="*/ 444 h 10010"/>
              <a:gd name="connsiteX220" fmla="*/ 8591 w 10000"/>
              <a:gd name="connsiteY220" fmla="*/ 485 h 10010"/>
              <a:gd name="connsiteX221" fmla="*/ 8477 w 10000"/>
              <a:gd name="connsiteY221" fmla="*/ 495 h 10010"/>
              <a:gd name="connsiteX222" fmla="*/ 7537 w 10000"/>
              <a:gd name="connsiteY222" fmla="*/ 397 h 10010"/>
              <a:gd name="connsiteX223" fmla="*/ 7423 w 10000"/>
              <a:gd name="connsiteY223" fmla="*/ 405 h 10010"/>
              <a:gd name="connsiteX224" fmla="*/ 7359 w 10000"/>
              <a:gd name="connsiteY224" fmla="*/ 424 h 10010"/>
              <a:gd name="connsiteX225" fmla="*/ 7290 w 10000"/>
              <a:gd name="connsiteY225" fmla="*/ 472 h 10010"/>
              <a:gd name="connsiteX226" fmla="*/ 7302 w 10000"/>
              <a:gd name="connsiteY226" fmla="*/ 591 h 10010"/>
              <a:gd name="connsiteX227" fmla="*/ 7199 w 10000"/>
              <a:gd name="connsiteY227" fmla="*/ 745 h 10010"/>
              <a:gd name="connsiteX228" fmla="*/ 7072 w 10000"/>
              <a:gd name="connsiteY228" fmla="*/ 825 h 10010"/>
              <a:gd name="connsiteX229" fmla="*/ 7021 w 10000"/>
              <a:gd name="connsiteY229" fmla="*/ 815 h 10010"/>
              <a:gd name="connsiteX230" fmla="*/ 6903 w 10000"/>
              <a:gd name="connsiteY230" fmla="*/ 749 h 10010"/>
              <a:gd name="connsiteX231" fmla="*/ 6756 w 10000"/>
              <a:gd name="connsiteY231" fmla="*/ 715 h 10010"/>
              <a:gd name="connsiteX232" fmla="*/ 6594 w 10000"/>
              <a:gd name="connsiteY232" fmla="*/ 725 h 10010"/>
              <a:gd name="connsiteX233" fmla="*/ 6223 w 10000"/>
              <a:gd name="connsiteY233" fmla="*/ 876 h 10010"/>
              <a:gd name="connsiteX234" fmla="*/ 6125 w 10000"/>
              <a:gd name="connsiteY234" fmla="*/ 1027 h 10010"/>
              <a:gd name="connsiteX235" fmla="*/ 5845 w 10000"/>
              <a:gd name="connsiteY235" fmla="*/ 1163 h 10010"/>
              <a:gd name="connsiteX236" fmla="*/ 5794 w 10000"/>
              <a:gd name="connsiteY236" fmla="*/ 1232 h 10010"/>
              <a:gd name="connsiteX237" fmla="*/ 5940 w 10000"/>
              <a:gd name="connsiteY237" fmla="*/ 1354 h 10010"/>
              <a:gd name="connsiteX238" fmla="*/ 5956 w 10000"/>
              <a:gd name="connsiteY238" fmla="*/ 1422 h 10010"/>
              <a:gd name="connsiteX239" fmla="*/ 5190 w 10000"/>
              <a:gd name="connsiteY239" fmla="*/ 1823 h 10010"/>
              <a:gd name="connsiteX240" fmla="*/ 4955 w 10000"/>
              <a:gd name="connsiteY240" fmla="*/ 2080 h 10010"/>
              <a:gd name="connsiteX241" fmla="*/ 4702 w 10000"/>
              <a:gd name="connsiteY241" fmla="*/ 2145 h 10010"/>
              <a:gd name="connsiteX242" fmla="*/ 4540 w 10000"/>
              <a:gd name="connsiteY242" fmla="*/ 2141 h 10010"/>
              <a:gd name="connsiteX243" fmla="*/ 4443 w 10000"/>
              <a:gd name="connsiteY243" fmla="*/ 2163 h 10010"/>
              <a:gd name="connsiteX244" fmla="*/ 4178 w 10000"/>
              <a:gd name="connsiteY244" fmla="*/ 2803 h 10010"/>
              <a:gd name="connsiteX245" fmla="*/ 3565 w 10000"/>
              <a:gd name="connsiteY245" fmla="*/ 3176 h 10010"/>
              <a:gd name="connsiteX246" fmla="*/ 3569 w 10000"/>
              <a:gd name="connsiteY246" fmla="*/ 3235 h 10010"/>
              <a:gd name="connsiteX247" fmla="*/ 3841 w 10000"/>
              <a:gd name="connsiteY247" fmla="*/ 3402 h 10010"/>
              <a:gd name="connsiteX248" fmla="*/ 3753 w 10000"/>
              <a:gd name="connsiteY248" fmla="*/ 3583 h 10010"/>
              <a:gd name="connsiteX249" fmla="*/ 3594 w 10000"/>
              <a:gd name="connsiteY249" fmla="*/ 3650 h 10010"/>
              <a:gd name="connsiteX250" fmla="*/ 3118 w 10000"/>
              <a:gd name="connsiteY250" fmla="*/ 3605 h 10010"/>
              <a:gd name="connsiteX251" fmla="*/ 2791 w 10000"/>
              <a:gd name="connsiteY251" fmla="*/ 3630 h 10010"/>
              <a:gd name="connsiteX252" fmla="*/ 2528 w 10000"/>
              <a:gd name="connsiteY252" fmla="*/ 3683 h 10010"/>
              <a:gd name="connsiteX253" fmla="*/ 2102 w 10000"/>
              <a:gd name="connsiteY253" fmla="*/ 3850 h 10010"/>
              <a:gd name="connsiteX254" fmla="*/ 1877 w 10000"/>
              <a:gd name="connsiteY254" fmla="*/ 4052 h 10010"/>
              <a:gd name="connsiteX255" fmla="*/ 1896 w 10000"/>
              <a:gd name="connsiteY255" fmla="*/ 4164 h 10010"/>
              <a:gd name="connsiteX256" fmla="*/ 1975 w 10000"/>
              <a:gd name="connsiteY256" fmla="*/ 4251 h 10010"/>
              <a:gd name="connsiteX257" fmla="*/ 2034 w 10000"/>
              <a:gd name="connsiteY257" fmla="*/ 4286 h 10010"/>
              <a:gd name="connsiteX258" fmla="*/ 1924 w 10000"/>
              <a:gd name="connsiteY258" fmla="*/ 4341 h 10010"/>
              <a:gd name="connsiteX259" fmla="*/ 1683 w 10000"/>
              <a:gd name="connsiteY259" fmla="*/ 4720 h 10010"/>
              <a:gd name="connsiteX260" fmla="*/ 1729 w 10000"/>
              <a:gd name="connsiteY260" fmla="*/ 4742 h 10010"/>
              <a:gd name="connsiteX261" fmla="*/ 1764 w 10000"/>
              <a:gd name="connsiteY261" fmla="*/ 4838 h 10010"/>
              <a:gd name="connsiteX262" fmla="*/ 1652 w 10000"/>
              <a:gd name="connsiteY262" fmla="*/ 5237 h 10010"/>
              <a:gd name="connsiteX263" fmla="*/ 1764 w 10000"/>
              <a:gd name="connsiteY263" fmla="*/ 5339 h 10010"/>
              <a:gd name="connsiteX264" fmla="*/ 2071 w 10000"/>
              <a:gd name="connsiteY264" fmla="*/ 5451 h 10010"/>
              <a:gd name="connsiteX265" fmla="*/ 2085 w 10000"/>
              <a:gd name="connsiteY265" fmla="*/ 5588 h 10010"/>
              <a:gd name="connsiteX266" fmla="*/ 1954 w 10000"/>
              <a:gd name="connsiteY266" fmla="*/ 5700 h 10010"/>
              <a:gd name="connsiteX267" fmla="*/ 1764 w 10000"/>
              <a:gd name="connsiteY267" fmla="*/ 5769 h 10010"/>
              <a:gd name="connsiteX268" fmla="*/ 1513 w 10000"/>
              <a:gd name="connsiteY268" fmla="*/ 5797 h 10010"/>
              <a:gd name="connsiteX269" fmla="*/ 1448 w 10000"/>
              <a:gd name="connsiteY269" fmla="*/ 5836 h 10010"/>
              <a:gd name="connsiteX270" fmla="*/ 1594 w 10000"/>
              <a:gd name="connsiteY270" fmla="*/ 5930 h 10010"/>
              <a:gd name="connsiteX271" fmla="*/ 1678 w 10000"/>
              <a:gd name="connsiteY271" fmla="*/ 6152 h 10010"/>
              <a:gd name="connsiteX272" fmla="*/ 1488 w 10000"/>
              <a:gd name="connsiteY272" fmla="*/ 6343 h 10010"/>
              <a:gd name="connsiteX273" fmla="*/ 1554 w 10000"/>
              <a:gd name="connsiteY273" fmla="*/ 6402 h 10010"/>
              <a:gd name="connsiteX274" fmla="*/ 1494 w 10000"/>
              <a:gd name="connsiteY274" fmla="*/ 6502 h 10010"/>
              <a:gd name="connsiteX275" fmla="*/ 1372 w 10000"/>
              <a:gd name="connsiteY275" fmla="*/ 6571 h 10010"/>
              <a:gd name="connsiteX276" fmla="*/ 889 w 10000"/>
              <a:gd name="connsiteY276" fmla="*/ 6624 h 10010"/>
              <a:gd name="connsiteX277" fmla="*/ 860 w 10000"/>
              <a:gd name="connsiteY277" fmla="*/ 6716 h 10010"/>
              <a:gd name="connsiteX278" fmla="*/ 600 w 10000"/>
              <a:gd name="connsiteY278" fmla="*/ 6853 h 10010"/>
              <a:gd name="connsiteX279" fmla="*/ 634 w 10000"/>
              <a:gd name="connsiteY279" fmla="*/ 7050 h 10010"/>
              <a:gd name="connsiteX280" fmla="*/ 415 w 10000"/>
              <a:gd name="connsiteY280" fmla="*/ 7303 h 10010"/>
              <a:gd name="connsiteX281" fmla="*/ 266 w 10000"/>
              <a:gd name="connsiteY281" fmla="*/ 7333 h 10010"/>
              <a:gd name="connsiteX282" fmla="*/ 204 w 10000"/>
              <a:gd name="connsiteY282" fmla="*/ 7272 h 10010"/>
              <a:gd name="connsiteX283" fmla="*/ 128 w 10000"/>
              <a:gd name="connsiteY283" fmla="*/ 7364 h 10010"/>
              <a:gd name="connsiteX284" fmla="*/ 178 w 10000"/>
              <a:gd name="connsiteY284" fmla="*/ 7207 h 10010"/>
              <a:gd name="connsiteX285" fmla="*/ 147 w 10000"/>
              <a:gd name="connsiteY285"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13 w 10000"/>
              <a:gd name="connsiteY211" fmla="*/ 96 h 10010"/>
              <a:gd name="connsiteX212" fmla="*/ 8729 w 10000"/>
              <a:gd name="connsiteY212" fmla="*/ 149 h 10010"/>
              <a:gd name="connsiteX213" fmla="*/ 8706 w 10000"/>
              <a:gd name="connsiteY213" fmla="*/ 191 h 10010"/>
              <a:gd name="connsiteX214" fmla="*/ 8652 w 10000"/>
              <a:gd name="connsiteY214" fmla="*/ 218 h 10010"/>
              <a:gd name="connsiteX215" fmla="*/ 8610 w 10000"/>
              <a:gd name="connsiteY215" fmla="*/ 293 h 10010"/>
              <a:gd name="connsiteX216" fmla="*/ 8533 w 10000"/>
              <a:gd name="connsiteY216" fmla="*/ 346 h 10010"/>
              <a:gd name="connsiteX217" fmla="*/ 8550 w 10000"/>
              <a:gd name="connsiteY217" fmla="*/ 397 h 10010"/>
              <a:gd name="connsiteX218" fmla="*/ 8667 w 10000"/>
              <a:gd name="connsiteY218" fmla="*/ 444 h 10010"/>
              <a:gd name="connsiteX219" fmla="*/ 8591 w 10000"/>
              <a:gd name="connsiteY219" fmla="*/ 485 h 10010"/>
              <a:gd name="connsiteX220" fmla="*/ 8477 w 10000"/>
              <a:gd name="connsiteY220" fmla="*/ 495 h 10010"/>
              <a:gd name="connsiteX221" fmla="*/ 7537 w 10000"/>
              <a:gd name="connsiteY221" fmla="*/ 397 h 10010"/>
              <a:gd name="connsiteX222" fmla="*/ 7423 w 10000"/>
              <a:gd name="connsiteY222" fmla="*/ 405 h 10010"/>
              <a:gd name="connsiteX223" fmla="*/ 7359 w 10000"/>
              <a:gd name="connsiteY223" fmla="*/ 424 h 10010"/>
              <a:gd name="connsiteX224" fmla="*/ 7290 w 10000"/>
              <a:gd name="connsiteY224" fmla="*/ 472 h 10010"/>
              <a:gd name="connsiteX225" fmla="*/ 7302 w 10000"/>
              <a:gd name="connsiteY225" fmla="*/ 591 h 10010"/>
              <a:gd name="connsiteX226" fmla="*/ 7199 w 10000"/>
              <a:gd name="connsiteY226" fmla="*/ 745 h 10010"/>
              <a:gd name="connsiteX227" fmla="*/ 7072 w 10000"/>
              <a:gd name="connsiteY227" fmla="*/ 825 h 10010"/>
              <a:gd name="connsiteX228" fmla="*/ 7021 w 10000"/>
              <a:gd name="connsiteY228" fmla="*/ 815 h 10010"/>
              <a:gd name="connsiteX229" fmla="*/ 6903 w 10000"/>
              <a:gd name="connsiteY229" fmla="*/ 749 h 10010"/>
              <a:gd name="connsiteX230" fmla="*/ 6756 w 10000"/>
              <a:gd name="connsiteY230" fmla="*/ 715 h 10010"/>
              <a:gd name="connsiteX231" fmla="*/ 6594 w 10000"/>
              <a:gd name="connsiteY231" fmla="*/ 725 h 10010"/>
              <a:gd name="connsiteX232" fmla="*/ 6223 w 10000"/>
              <a:gd name="connsiteY232" fmla="*/ 876 h 10010"/>
              <a:gd name="connsiteX233" fmla="*/ 6125 w 10000"/>
              <a:gd name="connsiteY233" fmla="*/ 1027 h 10010"/>
              <a:gd name="connsiteX234" fmla="*/ 5845 w 10000"/>
              <a:gd name="connsiteY234" fmla="*/ 1163 h 10010"/>
              <a:gd name="connsiteX235" fmla="*/ 5794 w 10000"/>
              <a:gd name="connsiteY235" fmla="*/ 1232 h 10010"/>
              <a:gd name="connsiteX236" fmla="*/ 5940 w 10000"/>
              <a:gd name="connsiteY236" fmla="*/ 1354 h 10010"/>
              <a:gd name="connsiteX237" fmla="*/ 5956 w 10000"/>
              <a:gd name="connsiteY237" fmla="*/ 1422 h 10010"/>
              <a:gd name="connsiteX238" fmla="*/ 5190 w 10000"/>
              <a:gd name="connsiteY238" fmla="*/ 1823 h 10010"/>
              <a:gd name="connsiteX239" fmla="*/ 4955 w 10000"/>
              <a:gd name="connsiteY239" fmla="*/ 2080 h 10010"/>
              <a:gd name="connsiteX240" fmla="*/ 4702 w 10000"/>
              <a:gd name="connsiteY240" fmla="*/ 2145 h 10010"/>
              <a:gd name="connsiteX241" fmla="*/ 4540 w 10000"/>
              <a:gd name="connsiteY241" fmla="*/ 2141 h 10010"/>
              <a:gd name="connsiteX242" fmla="*/ 4443 w 10000"/>
              <a:gd name="connsiteY242" fmla="*/ 2163 h 10010"/>
              <a:gd name="connsiteX243" fmla="*/ 4178 w 10000"/>
              <a:gd name="connsiteY243" fmla="*/ 2803 h 10010"/>
              <a:gd name="connsiteX244" fmla="*/ 3565 w 10000"/>
              <a:gd name="connsiteY244" fmla="*/ 3176 h 10010"/>
              <a:gd name="connsiteX245" fmla="*/ 3569 w 10000"/>
              <a:gd name="connsiteY245" fmla="*/ 3235 h 10010"/>
              <a:gd name="connsiteX246" fmla="*/ 3841 w 10000"/>
              <a:gd name="connsiteY246" fmla="*/ 3402 h 10010"/>
              <a:gd name="connsiteX247" fmla="*/ 3753 w 10000"/>
              <a:gd name="connsiteY247" fmla="*/ 3583 h 10010"/>
              <a:gd name="connsiteX248" fmla="*/ 3594 w 10000"/>
              <a:gd name="connsiteY248" fmla="*/ 3650 h 10010"/>
              <a:gd name="connsiteX249" fmla="*/ 3118 w 10000"/>
              <a:gd name="connsiteY249" fmla="*/ 3605 h 10010"/>
              <a:gd name="connsiteX250" fmla="*/ 2791 w 10000"/>
              <a:gd name="connsiteY250" fmla="*/ 3630 h 10010"/>
              <a:gd name="connsiteX251" fmla="*/ 2528 w 10000"/>
              <a:gd name="connsiteY251" fmla="*/ 3683 h 10010"/>
              <a:gd name="connsiteX252" fmla="*/ 2102 w 10000"/>
              <a:gd name="connsiteY252" fmla="*/ 3850 h 10010"/>
              <a:gd name="connsiteX253" fmla="*/ 1877 w 10000"/>
              <a:gd name="connsiteY253" fmla="*/ 4052 h 10010"/>
              <a:gd name="connsiteX254" fmla="*/ 1896 w 10000"/>
              <a:gd name="connsiteY254" fmla="*/ 4164 h 10010"/>
              <a:gd name="connsiteX255" fmla="*/ 1975 w 10000"/>
              <a:gd name="connsiteY255" fmla="*/ 4251 h 10010"/>
              <a:gd name="connsiteX256" fmla="*/ 2034 w 10000"/>
              <a:gd name="connsiteY256" fmla="*/ 4286 h 10010"/>
              <a:gd name="connsiteX257" fmla="*/ 1924 w 10000"/>
              <a:gd name="connsiteY257" fmla="*/ 4341 h 10010"/>
              <a:gd name="connsiteX258" fmla="*/ 1683 w 10000"/>
              <a:gd name="connsiteY258" fmla="*/ 4720 h 10010"/>
              <a:gd name="connsiteX259" fmla="*/ 1729 w 10000"/>
              <a:gd name="connsiteY259" fmla="*/ 4742 h 10010"/>
              <a:gd name="connsiteX260" fmla="*/ 1764 w 10000"/>
              <a:gd name="connsiteY260" fmla="*/ 4838 h 10010"/>
              <a:gd name="connsiteX261" fmla="*/ 1652 w 10000"/>
              <a:gd name="connsiteY261" fmla="*/ 5237 h 10010"/>
              <a:gd name="connsiteX262" fmla="*/ 1764 w 10000"/>
              <a:gd name="connsiteY262" fmla="*/ 5339 h 10010"/>
              <a:gd name="connsiteX263" fmla="*/ 2071 w 10000"/>
              <a:gd name="connsiteY263" fmla="*/ 5451 h 10010"/>
              <a:gd name="connsiteX264" fmla="*/ 2085 w 10000"/>
              <a:gd name="connsiteY264" fmla="*/ 5588 h 10010"/>
              <a:gd name="connsiteX265" fmla="*/ 1954 w 10000"/>
              <a:gd name="connsiteY265" fmla="*/ 5700 h 10010"/>
              <a:gd name="connsiteX266" fmla="*/ 1764 w 10000"/>
              <a:gd name="connsiteY266" fmla="*/ 5769 h 10010"/>
              <a:gd name="connsiteX267" fmla="*/ 1513 w 10000"/>
              <a:gd name="connsiteY267" fmla="*/ 5797 h 10010"/>
              <a:gd name="connsiteX268" fmla="*/ 1448 w 10000"/>
              <a:gd name="connsiteY268" fmla="*/ 5836 h 10010"/>
              <a:gd name="connsiteX269" fmla="*/ 1594 w 10000"/>
              <a:gd name="connsiteY269" fmla="*/ 5930 h 10010"/>
              <a:gd name="connsiteX270" fmla="*/ 1678 w 10000"/>
              <a:gd name="connsiteY270" fmla="*/ 6152 h 10010"/>
              <a:gd name="connsiteX271" fmla="*/ 1488 w 10000"/>
              <a:gd name="connsiteY271" fmla="*/ 6343 h 10010"/>
              <a:gd name="connsiteX272" fmla="*/ 1554 w 10000"/>
              <a:gd name="connsiteY272" fmla="*/ 6402 h 10010"/>
              <a:gd name="connsiteX273" fmla="*/ 1494 w 10000"/>
              <a:gd name="connsiteY273" fmla="*/ 6502 h 10010"/>
              <a:gd name="connsiteX274" fmla="*/ 1372 w 10000"/>
              <a:gd name="connsiteY274" fmla="*/ 6571 h 10010"/>
              <a:gd name="connsiteX275" fmla="*/ 889 w 10000"/>
              <a:gd name="connsiteY275" fmla="*/ 6624 h 10010"/>
              <a:gd name="connsiteX276" fmla="*/ 860 w 10000"/>
              <a:gd name="connsiteY276" fmla="*/ 6716 h 10010"/>
              <a:gd name="connsiteX277" fmla="*/ 600 w 10000"/>
              <a:gd name="connsiteY277" fmla="*/ 6853 h 10010"/>
              <a:gd name="connsiteX278" fmla="*/ 634 w 10000"/>
              <a:gd name="connsiteY278" fmla="*/ 7050 h 10010"/>
              <a:gd name="connsiteX279" fmla="*/ 415 w 10000"/>
              <a:gd name="connsiteY279" fmla="*/ 7303 h 10010"/>
              <a:gd name="connsiteX280" fmla="*/ 266 w 10000"/>
              <a:gd name="connsiteY280" fmla="*/ 7333 h 10010"/>
              <a:gd name="connsiteX281" fmla="*/ 204 w 10000"/>
              <a:gd name="connsiteY281" fmla="*/ 7272 h 10010"/>
              <a:gd name="connsiteX282" fmla="*/ 128 w 10000"/>
              <a:gd name="connsiteY282" fmla="*/ 7364 h 10010"/>
              <a:gd name="connsiteX283" fmla="*/ 178 w 10000"/>
              <a:gd name="connsiteY283" fmla="*/ 7207 h 10010"/>
              <a:gd name="connsiteX284" fmla="*/ 147 w 10000"/>
              <a:gd name="connsiteY284"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29 w 10000"/>
              <a:gd name="connsiteY211" fmla="*/ 149 h 10010"/>
              <a:gd name="connsiteX212" fmla="*/ 8706 w 10000"/>
              <a:gd name="connsiteY212" fmla="*/ 191 h 10010"/>
              <a:gd name="connsiteX213" fmla="*/ 8652 w 10000"/>
              <a:gd name="connsiteY213" fmla="*/ 218 h 10010"/>
              <a:gd name="connsiteX214" fmla="*/ 8610 w 10000"/>
              <a:gd name="connsiteY214" fmla="*/ 293 h 10010"/>
              <a:gd name="connsiteX215" fmla="*/ 8533 w 10000"/>
              <a:gd name="connsiteY215" fmla="*/ 346 h 10010"/>
              <a:gd name="connsiteX216" fmla="*/ 8550 w 10000"/>
              <a:gd name="connsiteY216" fmla="*/ 397 h 10010"/>
              <a:gd name="connsiteX217" fmla="*/ 8667 w 10000"/>
              <a:gd name="connsiteY217" fmla="*/ 444 h 10010"/>
              <a:gd name="connsiteX218" fmla="*/ 8591 w 10000"/>
              <a:gd name="connsiteY218" fmla="*/ 485 h 10010"/>
              <a:gd name="connsiteX219" fmla="*/ 8477 w 10000"/>
              <a:gd name="connsiteY219" fmla="*/ 495 h 10010"/>
              <a:gd name="connsiteX220" fmla="*/ 7537 w 10000"/>
              <a:gd name="connsiteY220" fmla="*/ 397 h 10010"/>
              <a:gd name="connsiteX221" fmla="*/ 7423 w 10000"/>
              <a:gd name="connsiteY221" fmla="*/ 405 h 10010"/>
              <a:gd name="connsiteX222" fmla="*/ 7359 w 10000"/>
              <a:gd name="connsiteY222" fmla="*/ 424 h 10010"/>
              <a:gd name="connsiteX223" fmla="*/ 7290 w 10000"/>
              <a:gd name="connsiteY223" fmla="*/ 472 h 10010"/>
              <a:gd name="connsiteX224" fmla="*/ 7302 w 10000"/>
              <a:gd name="connsiteY224" fmla="*/ 591 h 10010"/>
              <a:gd name="connsiteX225" fmla="*/ 7199 w 10000"/>
              <a:gd name="connsiteY225" fmla="*/ 745 h 10010"/>
              <a:gd name="connsiteX226" fmla="*/ 7072 w 10000"/>
              <a:gd name="connsiteY226" fmla="*/ 825 h 10010"/>
              <a:gd name="connsiteX227" fmla="*/ 7021 w 10000"/>
              <a:gd name="connsiteY227" fmla="*/ 815 h 10010"/>
              <a:gd name="connsiteX228" fmla="*/ 6903 w 10000"/>
              <a:gd name="connsiteY228" fmla="*/ 749 h 10010"/>
              <a:gd name="connsiteX229" fmla="*/ 6756 w 10000"/>
              <a:gd name="connsiteY229" fmla="*/ 715 h 10010"/>
              <a:gd name="connsiteX230" fmla="*/ 6594 w 10000"/>
              <a:gd name="connsiteY230" fmla="*/ 725 h 10010"/>
              <a:gd name="connsiteX231" fmla="*/ 6223 w 10000"/>
              <a:gd name="connsiteY231" fmla="*/ 876 h 10010"/>
              <a:gd name="connsiteX232" fmla="*/ 6125 w 10000"/>
              <a:gd name="connsiteY232" fmla="*/ 1027 h 10010"/>
              <a:gd name="connsiteX233" fmla="*/ 5845 w 10000"/>
              <a:gd name="connsiteY233" fmla="*/ 1163 h 10010"/>
              <a:gd name="connsiteX234" fmla="*/ 5794 w 10000"/>
              <a:gd name="connsiteY234" fmla="*/ 1232 h 10010"/>
              <a:gd name="connsiteX235" fmla="*/ 5940 w 10000"/>
              <a:gd name="connsiteY235" fmla="*/ 1354 h 10010"/>
              <a:gd name="connsiteX236" fmla="*/ 5956 w 10000"/>
              <a:gd name="connsiteY236" fmla="*/ 1422 h 10010"/>
              <a:gd name="connsiteX237" fmla="*/ 5190 w 10000"/>
              <a:gd name="connsiteY237" fmla="*/ 1823 h 10010"/>
              <a:gd name="connsiteX238" fmla="*/ 4955 w 10000"/>
              <a:gd name="connsiteY238" fmla="*/ 2080 h 10010"/>
              <a:gd name="connsiteX239" fmla="*/ 4702 w 10000"/>
              <a:gd name="connsiteY239" fmla="*/ 2145 h 10010"/>
              <a:gd name="connsiteX240" fmla="*/ 4540 w 10000"/>
              <a:gd name="connsiteY240" fmla="*/ 2141 h 10010"/>
              <a:gd name="connsiteX241" fmla="*/ 4443 w 10000"/>
              <a:gd name="connsiteY241" fmla="*/ 2163 h 10010"/>
              <a:gd name="connsiteX242" fmla="*/ 4178 w 10000"/>
              <a:gd name="connsiteY242" fmla="*/ 2803 h 10010"/>
              <a:gd name="connsiteX243" fmla="*/ 3565 w 10000"/>
              <a:gd name="connsiteY243" fmla="*/ 3176 h 10010"/>
              <a:gd name="connsiteX244" fmla="*/ 3569 w 10000"/>
              <a:gd name="connsiteY244" fmla="*/ 3235 h 10010"/>
              <a:gd name="connsiteX245" fmla="*/ 3841 w 10000"/>
              <a:gd name="connsiteY245" fmla="*/ 3402 h 10010"/>
              <a:gd name="connsiteX246" fmla="*/ 3753 w 10000"/>
              <a:gd name="connsiteY246" fmla="*/ 3583 h 10010"/>
              <a:gd name="connsiteX247" fmla="*/ 3594 w 10000"/>
              <a:gd name="connsiteY247" fmla="*/ 3650 h 10010"/>
              <a:gd name="connsiteX248" fmla="*/ 3118 w 10000"/>
              <a:gd name="connsiteY248" fmla="*/ 3605 h 10010"/>
              <a:gd name="connsiteX249" fmla="*/ 2791 w 10000"/>
              <a:gd name="connsiteY249" fmla="*/ 3630 h 10010"/>
              <a:gd name="connsiteX250" fmla="*/ 2528 w 10000"/>
              <a:gd name="connsiteY250" fmla="*/ 3683 h 10010"/>
              <a:gd name="connsiteX251" fmla="*/ 2102 w 10000"/>
              <a:gd name="connsiteY251" fmla="*/ 3850 h 10010"/>
              <a:gd name="connsiteX252" fmla="*/ 1877 w 10000"/>
              <a:gd name="connsiteY252" fmla="*/ 4052 h 10010"/>
              <a:gd name="connsiteX253" fmla="*/ 1896 w 10000"/>
              <a:gd name="connsiteY253" fmla="*/ 4164 h 10010"/>
              <a:gd name="connsiteX254" fmla="*/ 1975 w 10000"/>
              <a:gd name="connsiteY254" fmla="*/ 4251 h 10010"/>
              <a:gd name="connsiteX255" fmla="*/ 2034 w 10000"/>
              <a:gd name="connsiteY255" fmla="*/ 4286 h 10010"/>
              <a:gd name="connsiteX256" fmla="*/ 1924 w 10000"/>
              <a:gd name="connsiteY256" fmla="*/ 4341 h 10010"/>
              <a:gd name="connsiteX257" fmla="*/ 1683 w 10000"/>
              <a:gd name="connsiteY257" fmla="*/ 4720 h 10010"/>
              <a:gd name="connsiteX258" fmla="*/ 1729 w 10000"/>
              <a:gd name="connsiteY258" fmla="*/ 4742 h 10010"/>
              <a:gd name="connsiteX259" fmla="*/ 1764 w 10000"/>
              <a:gd name="connsiteY259" fmla="*/ 4838 h 10010"/>
              <a:gd name="connsiteX260" fmla="*/ 1652 w 10000"/>
              <a:gd name="connsiteY260" fmla="*/ 5237 h 10010"/>
              <a:gd name="connsiteX261" fmla="*/ 1764 w 10000"/>
              <a:gd name="connsiteY261" fmla="*/ 5339 h 10010"/>
              <a:gd name="connsiteX262" fmla="*/ 2071 w 10000"/>
              <a:gd name="connsiteY262" fmla="*/ 5451 h 10010"/>
              <a:gd name="connsiteX263" fmla="*/ 2085 w 10000"/>
              <a:gd name="connsiteY263" fmla="*/ 5588 h 10010"/>
              <a:gd name="connsiteX264" fmla="*/ 1954 w 10000"/>
              <a:gd name="connsiteY264" fmla="*/ 5700 h 10010"/>
              <a:gd name="connsiteX265" fmla="*/ 1764 w 10000"/>
              <a:gd name="connsiteY265" fmla="*/ 5769 h 10010"/>
              <a:gd name="connsiteX266" fmla="*/ 1513 w 10000"/>
              <a:gd name="connsiteY266" fmla="*/ 5797 h 10010"/>
              <a:gd name="connsiteX267" fmla="*/ 1448 w 10000"/>
              <a:gd name="connsiteY267" fmla="*/ 5836 h 10010"/>
              <a:gd name="connsiteX268" fmla="*/ 1594 w 10000"/>
              <a:gd name="connsiteY268" fmla="*/ 5930 h 10010"/>
              <a:gd name="connsiteX269" fmla="*/ 1678 w 10000"/>
              <a:gd name="connsiteY269" fmla="*/ 6152 h 10010"/>
              <a:gd name="connsiteX270" fmla="*/ 1488 w 10000"/>
              <a:gd name="connsiteY270" fmla="*/ 6343 h 10010"/>
              <a:gd name="connsiteX271" fmla="*/ 1554 w 10000"/>
              <a:gd name="connsiteY271" fmla="*/ 6402 h 10010"/>
              <a:gd name="connsiteX272" fmla="*/ 1494 w 10000"/>
              <a:gd name="connsiteY272" fmla="*/ 6502 h 10010"/>
              <a:gd name="connsiteX273" fmla="*/ 1372 w 10000"/>
              <a:gd name="connsiteY273" fmla="*/ 6571 h 10010"/>
              <a:gd name="connsiteX274" fmla="*/ 889 w 10000"/>
              <a:gd name="connsiteY274" fmla="*/ 6624 h 10010"/>
              <a:gd name="connsiteX275" fmla="*/ 860 w 10000"/>
              <a:gd name="connsiteY275" fmla="*/ 6716 h 10010"/>
              <a:gd name="connsiteX276" fmla="*/ 600 w 10000"/>
              <a:gd name="connsiteY276" fmla="*/ 6853 h 10010"/>
              <a:gd name="connsiteX277" fmla="*/ 634 w 10000"/>
              <a:gd name="connsiteY277" fmla="*/ 7050 h 10010"/>
              <a:gd name="connsiteX278" fmla="*/ 415 w 10000"/>
              <a:gd name="connsiteY278" fmla="*/ 7303 h 10010"/>
              <a:gd name="connsiteX279" fmla="*/ 266 w 10000"/>
              <a:gd name="connsiteY279" fmla="*/ 7333 h 10010"/>
              <a:gd name="connsiteX280" fmla="*/ 204 w 10000"/>
              <a:gd name="connsiteY280" fmla="*/ 7272 h 10010"/>
              <a:gd name="connsiteX281" fmla="*/ 128 w 10000"/>
              <a:gd name="connsiteY281" fmla="*/ 7364 h 10010"/>
              <a:gd name="connsiteX282" fmla="*/ 178 w 10000"/>
              <a:gd name="connsiteY282" fmla="*/ 7207 h 10010"/>
              <a:gd name="connsiteX283" fmla="*/ 147 w 10000"/>
              <a:gd name="connsiteY283"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06 w 10000"/>
              <a:gd name="connsiteY211" fmla="*/ 191 h 10010"/>
              <a:gd name="connsiteX212" fmla="*/ 8652 w 10000"/>
              <a:gd name="connsiteY212" fmla="*/ 218 h 10010"/>
              <a:gd name="connsiteX213" fmla="*/ 8610 w 10000"/>
              <a:gd name="connsiteY213" fmla="*/ 293 h 10010"/>
              <a:gd name="connsiteX214" fmla="*/ 8533 w 10000"/>
              <a:gd name="connsiteY214" fmla="*/ 346 h 10010"/>
              <a:gd name="connsiteX215" fmla="*/ 8550 w 10000"/>
              <a:gd name="connsiteY215" fmla="*/ 397 h 10010"/>
              <a:gd name="connsiteX216" fmla="*/ 8667 w 10000"/>
              <a:gd name="connsiteY216" fmla="*/ 444 h 10010"/>
              <a:gd name="connsiteX217" fmla="*/ 8591 w 10000"/>
              <a:gd name="connsiteY217" fmla="*/ 485 h 10010"/>
              <a:gd name="connsiteX218" fmla="*/ 8477 w 10000"/>
              <a:gd name="connsiteY218" fmla="*/ 495 h 10010"/>
              <a:gd name="connsiteX219" fmla="*/ 7537 w 10000"/>
              <a:gd name="connsiteY219" fmla="*/ 397 h 10010"/>
              <a:gd name="connsiteX220" fmla="*/ 7423 w 10000"/>
              <a:gd name="connsiteY220" fmla="*/ 405 h 10010"/>
              <a:gd name="connsiteX221" fmla="*/ 7359 w 10000"/>
              <a:gd name="connsiteY221" fmla="*/ 424 h 10010"/>
              <a:gd name="connsiteX222" fmla="*/ 7290 w 10000"/>
              <a:gd name="connsiteY222" fmla="*/ 472 h 10010"/>
              <a:gd name="connsiteX223" fmla="*/ 7302 w 10000"/>
              <a:gd name="connsiteY223" fmla="*/ 591 h 10010"/>
              <a:gd name="connsiteX224" fmla="*/ 7199 w 10000"/>
              <a:gd name="connsiteY224" fmla="*/ 745 h 10010"/>
              <a:gd name="connsiteX225" fmla="*/ 7072 w 10000"/>
              <a:gd name="connsiteY225" fmla="*/ 825 h 10010"/>
              <a:gd name="connsiteX226" fmla="*/ 7021 w 10000"/>
              <a:gd name="connsiteY226" fmla="*/ 815 h 10010"/>
              <a:gd name="connsiteX227" fmla="*/ 6903 w 10000"/>
              <a:gd name="connsiteY227" fmla="*/ 749 h 10010"/>
              <a:gd name="connsiteX228" fmla="*/ 6756 w 10000"/>
              <a:gd name="connsiteY228" fmla="*/ 715 h 10010"/>
              <a:gd name="connsiteX229" fmla="*/ 6594 w 10000"/>
              <a:gd name="connsiteY229" fmla="*/ 725 h 10010"/>
              <a:gd name="connsiteX230" fmla="*/ 6223 w 10000"/>
              <a:gd name="connsiteY230" fmla="*/ 876 h 10010"/>
              <a:gd name="connsiteX231" fmla="*/ 6125 w 10000"/>
              <a:gd name="connsiteY231" fmla="*/ 1027 h 10010"/>
              <a:gd name="connsiteX232" fmla="*/ 5845 w 10000"/>
              <a:gd name="connsiteY232" fmla="*/ 1163 h 10010"/>
              <a:gd name="connsiteX233" fmla="*/ 5794 w 10000"/>
              <a:gd name="connsiteY233" fmla="*/ 1232 h 10010"/>
              <a:gd name="connsiteX234" fmla="*/ 5940 w 10000"/>
              <a:gd name="connsiteY234" fmla="*/ 1354 h 10010"/>
              <a:gd name="connsiteX235" fmla="*/ 5956 w 10000"/>
              <a:gd name="connsiteY235" fmla="*/ 1422 h 10010"/>
              <a:gd name="connsiteX236" fmla="*/ 5190 w 10000"/>
              <a:gd name="connsiteY236" fmla="*/ 1823 h 10010"/>
              <a:gd name="connsiteX237" fmla="*/ 4955 w 10000"/>
              <a:gd name="connsiteY237" fmla="*/ 2080 h 10010"/>
              <a:gd name="connsiteX238" fmla="*/ 4702 w 10000"/>
              <a:gd name="connsiteY238" fmla="*/ 2145 h 10010"/>
              <a:gd name="connsiteX239" fmla="*/ 4540 w 10000"/>
              <a:gd name="connsiteY239" fmla="*/ 2141 h 10010"/>
              <a:gd name="connsiteX240" fmla="*/ 4443 w 10000"/>
              <a:gd name="connsiteY240" fmla="*/ 2163 h 10010"/>
              <a:gd name="connsiteX241" fmla="*/ 4178 w 10000"/>
              <a:gd name="connsiteY241" fmla="*/ 2803 h 10010"/>
              <a:gd name="connsiteX242" fmla="*/ 3565 w 10000"/>
              <a:gd name="connsiteY242" fmla="*/ 3176 h 10010"/>
              <a:gd name="connsiteX243" fmla="*/ 3569 w 10000"/>
              <a:gd name="connsiteY243" fmla="*/ 3235 h 10010"/>
              <a:gd name="connsiteX244" fmla="*/ 3841 w 10000"/>
              <a:gd name="connsiteY244" fmla="*/ 3402 h 10010"/>
              <a:gd name="connsiteX245" fmla="*/ 3753 w 10000"/>
              <a:gd name="connsiteY245" fmla="*/ 3583 h 10010"/>
              <a:gd name="connsiteX246" fmla="*/ 3594 w 10000"/>
              <a:gd name="connsiteY246" fmla="*/ 3650 h 10010"/>
              <a:gd name="connsiteX247" fmla="*/ 3118 w 10000"/>
              <a:gd name="connsiteY247" fmla="*/ 3605 h 10010"/>
              <a:gd name="connsiteX248" fmla="*/ 2791 w 10000"/>
              <a:gd name="connsiteY248" fmla="*/ 3630 h 10010"/>
              <a:gd name="connsiteX249" fmla="*/ 2528 w 10000"/>
              <a:gd name="connsiteY249" fmla="*/ 3683 h 10010"/>
              <a:gd name="connsiteX250" fmla="*/ 2102 w 10000"/>
              <a:gd name="connsiteY250" fmla="*/ 3850 h 10010"/>
              <a:gd name="connsiteX251" fmla="*/ 1877 w 10000"/>
              <a:gd name="connsiteY251" fmla="*/ 4052 h 10010"/>
              <a:gd name="connsiteX252" fmla="*/ 1896 w 10000"/>
              <a:gd name="connsiteY252" fmla="*/ 4164 h 10010"/>
              <a:gd name="connsiteX253" fmla="*/ 1975 w 10000"/>
              <a:gd name="connsiteY253" fmla="*/ 4251 h 10010"/>
              <a:gd name="connsiteX254" fmla="*/ 2034 w 10000"/>
              <a:gd name="connsiteY254" fmla="*/ 4286 h 10010"/>
              <a:gd name="connsiteX255" fmla="*/ 1924 w 10000"/>
              <a:gd name="connsiteY255" fmla="*/ 4341 h 10010"/>
              <a:gd name="connsiteX256" fmla="*/ 1683 w 10000"/>
              <a:gd name="connsiteY256" fmla="*/ 4720 h 10010"/>
              <a:gd name="connsiteX257" fmla="*/ 1729 w 10000"/>
              <a:gd name="connsiteY257" fmla="*/ 4742 h 10010"/>
              <a:gd name="connsiteX258" fmla="*/ 1764 w 10000"/>
              <a:gd name="connsiteY258" fmla="*/ 4838 h 10010"/>
              <a:gd name="connsiteX259" fmla="*/ 1652 w 10000"/>
              <a:gd name="connsiteY259" fmla="*/ 5237 h 10010"/>
              <a:gd name="connsiteX260" fmla="*/ 1764 w 10000"/>
              <a:gd name="connsiteY260" fmla="*/ 5339 h 10010"/>
              <a:gd name="connsiteX261" fmla="*/ 2071 w 10000"/>
              <a:gd name="connsiteY261" fmla="*/ 5451 h 10010"/>
              <a:gd name="connsiteX262" fmla="*/ 2085 w 10000"/>
              <a:gd name="connsiteY262" fmla="*/ 5588 h 10010"/>
              <a:gd name="connsiteX263" fmla="*/ 1954 w 10000"/>
              <a:gd name="connsiteY263" fmla="*/ 5700 h 10010"/>
              <a:gd name="connsiteX264" fmla="*/ 1764 w 10000"/>
              <a:gd name="connsiteY264" fmla="*/ 5769 h 10010"/>
              <a:gd name="connsiteX265" fmla="*/ 1513 w 10000"/>
              <a:gd name="connsiteY265" fmla="*/ 5797 h 10010"/>
              <a:gd name="connsiteX266" fmla="*/ 1448 w 10000"/>
              <a:gd name="connsiteY266" fmla="*/ 5836 h 10010"/>
              <a:gd name="connsiteX267" fmla="*/ 1594 w 10000"/>
              <a:gd name="connsiteY267" fmla="*/ 5930 h 10010"/>
              <a:gd name="connsiteX268" fmla="*/ 1678 w 10000"/>
              <a:gd name="connsiteY268" fmla="*/ 6152 h 10010"/>
              <a:gd name="connsiteX269" fmla="*/ 1488 w 10000"/>
              <a:gd name="connsiteY269" fmla="*/ 6343 h 10010"/>
              <a:gd name="connsiteX270" fmla="*/ 1554 w 10000"/>
              <a:gd name="connsiteY270" fmla="*/ 6402 h 10010"/>
              <a:gd name="connsiteX271" fmla="*/ 1494 w 10000"/>
              <a:gd name="connsiteY271" fmla="*/ 6502 h 10010"/>
              <a:gd name="connsiteX272" fmla="*/ 1372 w 10000"/>
              <a:gd name="connsiteY272" fmla="*/ 6571 h 10010"/>
              <a:gd name="connsiteX273" fmla="*/ 889 w 10000"/>
              <a:gd name="connsiteY273" fmla="*/ 6624 h 10010"/>
              <a:gd name="connsiteX274" fmla="*/ 860 w 10000"/>
              <a:gd name="connsiteY274" fmla="*/ 6716 h 10010"/>
              <a:gd name="connsiteX275" fmla="*/ 600 w 10000"/>
              <a:gd name="connsiteY275" fmla="*/ 6853 h 10010"/>
              <a:gd name="connsiteX276" fmla="*/ 634 w 10000"/>
              <a:gd name="connsiteY276" fmla="*/ 7050 h 10010"/>
              <a:gd name="connsiteX277" fmla="*/ 415 w 10000"/>
              <a:gd name="connsiteY277" fmla="*/ 7303 h 10010"/>
              <a:gd name="connsiteX278" fmla="*/ 266 w 10000"/>
              <a:gd name="connsiteY278" fmla="*/ 7333 h 10010"/>
              <a:gd name="connsiteX279" fmla="*/ 204 w 10000"/>
              <a:gd name="connsiteY279" fmla="*/ 7272 h 10010"/>
              <a:gd name="connsiteX280" fmla="*/ 128 w 10000"/>
              <a:gd name="connsiteY280" fmla="*/ 7364 h 10010"/>
              <a:gd name="connsiteX281" fmla="*/ 178 w 10000"/>
              <a:gd name="connsiteY281" fmla="*/ 7207 h 10010"/>
              <a:gd name="connsiteX282" fmla="*/ 147 w 10000"/>
              <a:gd name="connsiteY282"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706 w 10000"/>
              <a:gd name="connsiteY210" fmla="*/ 191 h 10010"/>
              <a:gd name="connsiteX211" fmla="*/ 8652 w 10000"/>
              <a:gd name="connsiteY211" fmla="*/ 218 h 10010"/>
              <a:gd name="connsiteX212" fmla="*/ 8610 w 10000"/>
              <a:gd name="connsiteY212" fmla="*/ 293 h 10010"/>
              <a:gd name="connsiteX213" fmla="*/ 8533 w 10000"/>
              <a:gd name="connsiteY213" fmla="*/ 346 h 10010"/>
              <a:gd name="connsiteX214" fmla="*/ 8550 w 10000"/>
              <a:gd name="connsiteY214" fmla="*/ 397 h 10010"/>
              <a:gd name="connsiteX215" fmla="*/ 8667 w 10000"/>
              <a:gd name="connsiteY215" fmla="*/ 444 h 10010"/>
              <a:gd name="connsiteX216" fmla="*/ 8591 w 10000"/>
              <a:gd name="connsiteY216" fmla="*/ 485 h 10010"/>
              <a:gd name="connsiteX217" fmla="*/ 8477 w 10000"/>
              <a:gd name="connsiteY217" fmla="*/ 495 h 10010"/>
              <a:gd name="connsiteX218" fmla="*/ 7537 w 10000"/>
              <a:gd name="connsiteY218" fmla="*/ 397 h 10010"/>
              <a:gd name="connsiteX219" fmla="*/ 7423 w 10000"/>
              <a:gd name="connsiteY219" fmla="*/ 405 h 10010"/>
              <a:gd name="connsiteX220" fmla="*/ 7359 w 10000"/>
              <a:gd name="connsiteY220" fmla="*/ 424 h 10010"/>
              <a:gd name="connsiteX221" fmla="*/ 7290 w 10000"/>
              <a:gd name="connsiteY221" fmla="*/ 472 h 10010"/>
              <a:gd name="connsiteX222" fmla="*/ 7302 w 10000"/>
              <a:gd name="connsiteY222" fmla="*/ 591 h 10010"/>
              <a:gd name="connsiteX223" fmla="*/ 7199 w 10000"/>
              <a:gd name="connsiteY223" fmla="*/ 745 h 10010"/>
              <a:gd name="connsiteX224" fmla="*/ 7072 w 10000"/>
              <a:gd name="connsiteY224" fmla="*/ 825 h 10010"/>
              <a:gd name="connsiteX225" fmla="*/ 7021 w 10000"/>
              <a:gd name="connsiteY225" fmla="*/ 815 h 10010"/>
              <a:gd name="connsiteX226" fmla="*/ 6903 w 10000"/>
              <a:gd name="connsiteY226" fmla="*/ 749 h 10010"/>
              <a:gd name="connsiteX227" fmla="*/ 6756 w 10000"/>
              <a:gd name="connsiteY227" fmla="*/ 715 h 10010"/>
              <a:gd name="connsiteX228" fmla="*/ 6594 w 10000"/>
              <a:gd name="connsiteY228" fmla="*/ 725 h 10010"/>
              <a:gd name="connsiteX229" fmla="*/ 6223 w 10000"/>
              <a:gd name="connsiteY229" fmla="*/ 876 h 10010"/>
              <a:gd name="connsiteX230" fmla="*/ 6125 w 10000"/>
              <a:gd name="connsiteY230" fmla="*/ 1027 h 10010"/>
              <a:gd name="connsiteX231" fmla="*/ 5845 w 10000"/>
              <a:gd name="connsiteY231" fmla="*/ 1163 h 10010"/>
              <a:gd name="connsiteX232" fmla="*/ 5794 w 10000"/>
              <a:gd name="connsiteY232" fmla="*/ 1232 h 10010"/>
              <a:gd name="connsiteX233" fmla="*/ 5940 w 10000"/>
              <a:gd name="connsiteY233" fmla="*/ 1354 h 10010"/>
              <a:gd name="connsiteX234" fmla="*/ 5956 w 10000"/>
              <a:gd name="connsiteY234" fmla="*/ 1422 h 10010"/>
              <a:gd name="connsiteX235" fmla="*/ 5190 w 10000"/>
              <a:gd name="connsiteY235" fmla="*/ 1823 h 10010"/>
              <a:gd name="connsiteX236" fmla="*/ 4955 w 10000"/>
              <a:gd name="connsiteY236" fmla="*/ 2080 h 10010"/>
              <a:gd name="connsiteX237" fmla="*/ 4702 w 10000"/>
              <a:gd name="connsiteY237" fmla="*/ 2145 h 10010"/>
              <a:gd name="connsiteX238" fmla="*/ 4540 w 10000"/>
              <a:gd name="connsiteY238" fmla="*/ 2141 h 10010"/>
              <a:gd name="connsiteX239" fmla="*/ 4443 w 10000"/>
              <a:gd name="connsiteY239" fmla="*/ 2163 h 10010"/>
              <a:gd name="connsiteX240" fmla="*/ 4178 w 10000"/>
              <a:gd name="connsiteY240" fmla="*/ 2803 h 10010"/>
              <a:gd name="connsiteX241" fmla="*/ 3565 w 10000"/>
              <a:gd name="connsiteY241" fmla="*/ 3176 h 10010"/>
              <a:gd name="connsiteX242" fmla="*/ 3569 w 10000"/>
              <a:gd name="connsiteY242" fmla="*/ 3235 h 10010"/>
              <a:gd name="connsiteX243" fmla="*/ 3841 w 10000"/>
              <a:gd name="connsiteY243" fmla="*/ 3402 h 10010"/>
              <a:gd name="connsiteX244" fmla="*/ 3753 w 10000"/>
              <a:gd name="connsiteY244" fmla="*/ 3583 h 10010"/>
              <a:gd name="connsiteX245" fmla="*/ 3594 w 10000"/>
              <a:gd name="connsiteY245" fmla="*/ 3650 h 10010"/>
              <a:gd name="connsiteX246" fmla="*/ 3118 w 10000"/>
              <a:gd name="connsiteY246" fmla="*/ 3605 h 10010"/>
              <a:gd name="connsiteX247" fmla="*/ 2791 w 10000"/>
              <a:gd name="connsiteY247" fmla="*/ 3630 h 10010"/>
              <a:gd name="connsiteX248" fmla="*/ 2528 w 10000"/>
              <a:gd name="connsiteY248" fmla="*/ 3683 h 10010"/>
              <a:gd name="connsiteX249" fmla="*/ 2102 w 10000"/>
              <a:gd name="connsiteY249" fmla="*/ 3850 h 10010"/>
              <a:gd name="connsiteX250" fmla="*/ 1877 w 10000"/>
              <a:gd name="connsiteY250" fmla="*/ 4052 h 10010"/>
              <a:gd name="connsiteX251" fmla="*/ 1896 w 10000"/>
              <a:gd name="connsiteY251" fmla="*/ 4164 h 10010"/>
              <a:gd name="connsiteX252" fmla="*/ 1975 w 10000"/>
              <a:gd name="connsiteY252" fmla="*/ 4251 h 10010"/>
              <a:gd name="connsiteX253" fmla="*/ 2034 w 10000"/>
              <a:gd name="connsiteY253" fmla="*/ 4286 h 10010"/>
              <a:gd name="connsiteX254" fmla="*/ 1924 w 10000"/>
              <a:gd name="connsiteY254" fmla="*/ 4341 h 10010"/>
              <a:gd name="connsiteX255" fmla="*/ 1683 w 10000"/>
              <a:gd name="connsiteY255" fmla="*/ 4720 h 10010"/>
              <a:gd name="connsiteX256" fmla="*/ 1729 w 10000"/>
              <a:gd name="connsiteY256" fmla="*/ 4742 h 10010"/>
              <a:gd name="connsiteX257" fmla="*/ 1764 w 10000"/>
              <a:gd name="connsiteY257" fmla="*/ 4838 h 10010"/>
              <a:gd name="connsiteX258" fmla="*/ 1652 w 10000"/>
              <a:gd name="connsiteY258" fmla="*/ 5237 h 10010"/>
              <a:gd name="connsiteX259" fmla="*/ 1764 w 10000"/>
              <a:gd name="connsiteY259" fmla="*/ 5339 h 10010"/>
              <a:gd name="connsiteX260" fmla="*/ 2071 w 10000"/>
              <a:gd name="connsiteY260" fmla="*/ 5451 h 10010"/>
              <a:gd name="connsiteX261" fmla="*/ 2085 w 10000"/>
              <a:gd name="connsiteY261" fmla="*/ 5588 h 10010"/>
              <a:gd name="connsiteX262" fmla="*/ 1954 w 10000"/>
              <a:gd name="connsiteY262" fmla="*/ 5700 h 10010"/>
              <a:gd name="connsiteX263" fmla="*/ 1764 w 10000"/>
              <a:gd name="connsiteY263" fmla="*/ 5769 h 10010"/>
              <a:gd name="connsiteX264" fmla="*/ 1513 w 10000"/>
              <a:gd name="connsiteY264" fmla="*/ 5797 h 10010"/>
              <a:gd name="connsiteX265" fmla="*/ 1448 w 10000"/>
              <a:gd name="connsiteY265" fmla="*/ 5836 h 10010"/>
              <a:gd name="connsiteX266" fmla="*/ 1594 w 10000"/>
              <a:gd name="connsiteY266" fmla="*/ 5930 h 10010"/>
              <a:gd name="connsiteX267" fmla="*/ 1678 w 10000"/>
              <a:gd name="connsiteY267" fmla="*/ 6152 h 10010"/>
              <a:gd name="connsiteX268" fmla="*/ 1488 w 10000"/>
              <a:gd name="connsiteY268" fmla="*/ 6343 h 10010"/>
              <a:gd name="connsiteX269" fmla="*/ 1554 w 10000"/>
              <a:gd name="connsiteY269" fmla="*/ 6402 h 10010"/>
              <a:gd name="connsiteX270" fmla="*/ 1494 w 10000"/>
              <a:gd name="connsiteY270" fmla="*/ 6502 h 10010"/>
              <a:gd name="connsiteX271" fmla="*/ 1372 w 10000"/>
              <a:gd name="connsiteY271" fmla="*/ 6571 h 10010"/>
              <a:gd name="connsiteX272" fmla="*/ 889 w 10000"/>
              <a:gd name="connsiteY272" fmla="*/ 6624 h 10010"/>
              <a:gd name="connsiteX273" fmla="*/ 860 w 10000"/>
              <a:gd name="connsiteY273" fmla="*/ 6716 h 10010"/>
              <a:gd name="connsiteX274" fmla="*/ 600 w 10000"/>
              <a:gd name="connsiteY274" fmla="*/ 6853 h 10010"/>
              <a:gd name="connsiteX275" fmla="*/ 634 w 10000"/>
              <a:gd name="connsiteY275" fmla="*/ 7050 h 10010"/>
              <a:gd name="connsiteX276" fmla="*/ 415 w 10000"/>
              <a:gd name="connsiteY276" fmla="*/ 7303 h 10010"/>
              <a:gd name="connsiteX277" fmla="*/ 266 w 10000"/>
              <a:gd name="connsiteY277" fmla="*/ 7333 h 10010"/>
              <a:gd name="connsiteX278" fmla="*/ 204 w 10000"/>
              <a:gd name="connsiteY278" fmla="*/ 7272 h 10010"/>
              <a:gd name="connsiteX279" fmla="*/ 128 w 10000"/>
              <a:gd name="connsiteY279" fmla="*/ 7364 h 10010"/>
              <a:gd name="connsiteX280" fmla="*/ 178 w 10000"/>
              <a:gd name="connsiteY280" fmla="*/ 7207 h 10010"/>
              <a:gd name="connsiteX281" fmla="*/ 147 w 10000"/>
              <a:gd name="connsiteY281"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610 w 10000"/>
              <a:gd name="connsiteY211" fmla="*/ 293 h 10010"/>
              <a:gd name="connsiteX212" fmla="*/ 8533 w 10000"/>
              <a:gd name="connsiteY212" fmla="*/ 346 h 10010"/>
              <a:gd name="connsiteX213" fmla="*/ 8550 w 10000"/>
              <a:gd name="connsiteY213" fmla="*/ 397 h 10010"/>
              <a:gd name="connsiteX214" fmla="*/ 8667 w 10000"/>
              <a:gd name="connsiteY214" fmla="*/ 444 h 10010"/>
              <a:gd name="connsiteX215" fmla="*/ 8591 w 10000"/>
              <a:gd name="connsiteY215" fmla="*/ 485 h 10010"/>
              <a:gd name="connsiteX216" fmla="*/ 8477 w 10000"/>
              <a:gd name="connsiteY216" fmla="*/ 495 h 10010"/>
              <a:gd name="connsiteX217" fmla="*/ 7537 w 10000"/>
              <a:gd name="connsiteY217" fmla="*/ 397 h 10010"/>
              <a:gd name="connsiteX218" fmla="*/ 7423 w 10000"/>
              <a:gd name="connsiteY218" fmla="*/ 405 h 10010"/>
              <a:gd name="connsiteX219" fmla="*/ 7359 w 10000"/>
              <a:gd name="connsiteY219" fmla="*/ 424 h 10010"/>
              <a:gd name="connsiteX220" fmla="*/ 7290 w 10000"/>
              <a:gd name="connsiteY220" fmla="*/ 472 h 10010"/>
              <a:gd name="connsiteX221" fmla="*/ 7302 w 10000"/>
              <a:gd name="connsiteY221" fmla="*/ 591 h 10010"/>
              <a:gd name="connsiteX222" fmla="*/ 7199 w 10000"/>
              <a:gd name="connsiteY222" fmla="*/ 745 h 10010"/>
              <a:gd name="connsiteX223" fmla="*/ 7072 w 10000"/>
              <a:gd name="connsiteY223" fmla="*/ 825 h 10010"/>
              <a:gd name="connsiteX224" fmla="*/ 7021 w 10000"/>
              <a:gd name="connsiteY224" fmla="*/ 815 h 10010"/>
              <a:gd name="connsiteX225" fmla="*/ 6903 w 10000"/>
              <a:gd name="connsiteY225" fmla="*/ 749 h 10010"/>
              <a:gd name="connsiteX226" fmla="*/ 6756 w 10000"/>
              <a:gd name="connsiteY226" fmla="*/ 715 h 10010"/>
              <a:gd name="connsiteX227" fmla="*/ 6594 w 10000"/>
              <a:gd name="connsiteY227" fmla="*/ 725 h 10010"/>
              <a:gd name="connsiteX228" fmla="*/ 6223 w 10000"/>
              <a:gd name="connsiteY228" fmla="*/ 876 h 10010"/>
              <a:gd name="connsiteX229" fmla="*/ 6125 w 10000"/>
              <a:gd name="connsiteY229" fmla="*/ 1027 h 10010"/>
              <a:gd name="connsiteX230" fmla="*/ 5845 w 10000"/>
              <a:gd name="connsiteY230" fmla="*/ 1163 h 10010"/>
              <a:gd name="connsiteX231" fmla="*/ 5794 w 10000"/>
              <a:gd name="connsiteY231" fmla="*/ 1232 h 10010"/>
              <a:gd name="connsiteX232" fmla="*/ 5940 w 10000"/>
              <a:gd name="connsiteY232" fmla="*/ 1354 h 10010"/>
              <a:gd name="connsiteX233" fmla="*/ 5956 w 10000"/>
              <a:gd name="connsiteY233" fmla="*/ 1422 h 10010"/>
              <a:gd name="connsiteX234" fmla="*/ 5190 w 10000"/>
              <a:gd name="connsiteY234" fmla="*/ 1823 h 10010"/>
              <a:gd name="connsiteX235" fmla="*/ 4955 w 10000"/>
              <a:gd name="connsiteY235" fmla="*/ 2080 h 10010"/>
              <a:gd name="connsiteX236" fmla="*/ 4702 w 10000"/>
              <a:gd name="connsiteY236" fmla="*/ 2145 h 10010"/>
              <a:gd name="connsiteX237" fmla="*/ 4540 w 10000"/>
              <a:gd name="connsiteY237" fmla="*/ 2141 h 10010"/>
              <a:gd name="connsiteX238" fmla="*/ 4443 w 10000"/>
              <a:gd name="connsiteY238" fmla="*/ 2163 h 10010"/>
              <a:gd name="connsiteX239" fmla="*/ 4178 w 10000"/>
              <a:gd name="connsiteY239" fmla="*/ 2803 h 10010"/>
              <a:gd name="connsiteX240" fmla="*/ 3565 w 10000"/>
              <a:gd name="connsiteY240" fmla="*/ 3176 h 10010"/>
              <a:gd name="connsiteX241" fmla="*/ 3569 w 10000"/>
              <a:gd name="connsiteY241" fmla="*/ 3235 h 10010"/>
              <a:gd name="connsiteX242" fmla="*/ 3841 w 10000"/>
              <a:gd name="connsiteY242" fmla="*/ 3402 h 10010"/>
              <a:gd name="connsiteX243" fmla="*/ 3753 w 10000"/>
              <a:gd name="connsiteY243" fmla="*/ 3583 h 10010"/>
              <a:gd name="connsiteX244" fmla="*/ 3594 w 10000"/>
              <a:gd name="connsiteY244" fmla="*/ 3650 h 10010"/>
              <a:gd name="connsiteX245" fmla="*/ 3118 w 10000"/>
              <a:gd name="connsiteY245" fmla="*/ 3605 h 10010"/>
              <a:gd name="connsiteX246" fmla="*/ 2791 w 10000"/>
              <a:gd name="connsiteY246" fmla="*/ 3630 h 10010"/>
              <a:gd name="connsiteX247" fmla="*/ 2528 w 10000"/>
              <a:gd name="connsiteY247" fmla="*/ 3683 h 10010"/>
              <a:gd name="connsiteX248" fmla="*/ 2102 w 10000"/>
              <a:gd name="connsiteY248" fmla="*/ 3850 h 10010"/>
              <a:gd name="connsiteX249" fmla="*/ 1877 w 10000"/>
              <a:gd name="connsiteY249" fmla="*/ 4052 h 10010"/>
              <a:gd name="connsiteX250" fmla="*/ 1896 w 10000"/>
              <a:gd name="connsiteY250" fmla="*/ 4164 h 10010"/>
              <a:gd name="connsiteX251" fmla="*/ 1975 w 10000"/>
              <a:gd name="connsiteY251" fmla="*/ 4251 h 10010"/>
              <a:gd name="connsiteX252" fmla="*/ 2034 w 10000"/>
              <a:gd name="connsiteY252" fmla="*/ 4286 h 10010"/>
              <a:gd name="connsiteX253" fmla="*/ 1924 w 10000"/>
              <a:gd name="connsiteY253" fmla="*/ 4341 h 10010"/>
              <a:gd name="connsiteX254" fmla="*/ 1683 w 10000"/>
              <a:gd name="connsiteY254" fmla="*/ 4720 h 10010"/>
              <a:gd name="connsiteX255" fmla="*/ 1729 w 10000"/>
              <a:gd name="connsiteY255" fmla="*/ 4742 h 10010"/>
              <a:gd name="connsiteX256" fmla="*/ 1764 w 10000"/>
              <a:gd name="connsiteY256" fmla="*/ 4838 h 10010"/>
              <a:gd name="connsiteX257" fmla="*/ 1652 w 10000"/>
              <a:gd name="connsiteY257" fmla="*/ 5237 h 10010"/>
              <a:gd name="connsiteX258" fmla="*/ 1764 w 10000"/>
              <a:gd name="connsiteY258" fmla="*/ 5339 h 10010"/>
              <a:gd name="connsiteX259" fmla="*/ 2071 w 10000"/>
              <a:gd name="connsiteY259" fmla="*/ 5451 h 10010"/>
              <a:gd name="connsiteX260" fmla="*/ 2085 w 10000"/>
              <a:gd name="connsiteY260" fmla="*/ 5588 h 10010"/>
              <a:gd name="connsiteX261" fmla="*/ 1954 w 10000"/>
              <a:gd name="connsiteY261" fmla="*/ 5700 h 10010"/>
              <a:gd name="connsiteX262" fmla="*/ 1764 w 10000"/>
              <a:gd name="connsiteY262" fmla="*/ 5769 h 10010"/>
              <a:gd name="connsiteX263" fmla="*/ 1513 w 10000"/>
              <a:gd name="connsiteY263" fmla="*/ 5797 h 10010"/>
              <a:gd name="connsiteX264" fmla="*/ 1448 w 10000"/>
              <a:gd name="connsiteY264" fmla="*/ 5836 h 10010"/>
              <a:gd name="connsiteX265" fmla="*/ 1594 w 10000"/>
              <a:gd name="connsiteY265" fmla="*/ 5930 h 10010"/>
              <a:gd name="connsiteX266" fmla="*/ 1678 w 10000"/>
              <a:gd name="connsiteY266" fmla="*/ 6152 h 10010"/>
              <a:gd name="connsiteX267" fmla="*/ 1488 w 10000"/>
              <a:gd name="connsiteY267" fmla="*/ 6343 h 10010"/>
              <a:gd name="connsiteX268" fmla="*/ 1554 w 10000"/>
              <a:gd name="connsiteY268" fmla="*/ 6402 h 10010"/>
              <a:gd name="connsiteX269" fmla="*/ 1494 w 10000"/>
              <a:gd name="connsiteY269" fmla="*/ 6502 h 10010"/>
              <a:gd name="connsiteX270" fmla="*/ 1372 w 10000"/>
              <a:gd name="connsiteY270" fmla="*/ 6571 h 10010"/>
              <a:gd name="connsiteX271" fmla="*/ 889 w 10000"/>
              <a:gd name="connsiteY271" fmla="*/ 6624 h 10010"/>
              <a:gd name="connsiteX272" fmla="*/ 860 w 10000"/>
              <a:gd name="connsiteY272" fmla="*/ 6716 h 10010"/>
              <a:gd name="connsiteX273" fmla="*/ 600 w 10000"/>
              <a:gd name="connsiteY273" fmla="*/ 6853 h 10010"/>
              <a:gd name="connsiteX274" fmla="*/ 634 w 10000"/>
              <a:gd name="connsiteY274" fmla="*/ 7050 h 10010"/>
              <a:gd name="connsiteX275" fmla="*/ 415 w 10000"/>
              <a:gd name="connsiteY275" fmla="*/ 7303 h 10010"/>
              <a:gd name="connsiteX276" fmla="*/ 266 w 10000"/>
              <a:gd name="connsiteY276" fmla="*/ 7333 h 10010"/>
              <a:gd name="connsiteX277" fmla="*/ 204 w 10000"/>
              <a:gd name="connsiteY277" fmla="*/ 7272 h 10010"/>
              <a:gd name="connsiteX278" fmla="*/ 128 w 10000"/>
              <a:gd name="connsiteY278" fmla="*/ 7364 h 10010"/>
              <a:gd name="connsiteX279" fmla="*/ 178 w 10000"/>
              <a:gd name="connsiteY279" fmla="*/ 7207 h 10010"/>
              <a:gd name="connsiteX280" fmla="*/ 147 w 10000"/>
              <a:gd name="connsiteY280"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33 w 10000"/>
              <a:gd name="connsiteY211" fmla="*/ 346 h 10010"/>
              <a:gd name="connsiteX212" fmla="*/ 8550 w 10000"/>
              <a:gd name="connsiteY212" fmla="*/ 397 h 10010"/>
              <a:gd name="connsiteX213" fmla="*/ 8667 w 10000"/>
              <a:gd name="connsiteY213" fmla="*/ 444 h 10010"/>
              <a:gd name="connsiteX214" fmla="*/ 8591 w 10000"/>
              <a:gd name="connsiteY214" fmla="*/ 485 h 10010"/>
              <a:gd name="connsiteX215" fmla="*/ 8477 w 10000"/>
              <a:gd name="connsiteY215" fmla="*/ 495 h 10010"/>
              <a:gd name="connsiteX216" fmla="*/ 7537 w 10000"/>
              <a:gd name="connsiteY216" fmla="*/ 397 h 10010"/>
              <a:gd name="connsiteX217" fmla="*/ 7423 w 10000"/>
              <a:gd name="connsiteY217" fmla="*/ 405 h 10010"/>
              <a:gd name="connsiteX218" fmla="*/ 7359 w 10000"/>
              <a:gd name="connsiteY218" fmla="*/ 424 h 10010"/>
              <a:gd name="connsiteX219" fmla="*/ 7290 w 10000"/>
              <a:gd name="connsiteY219" fmla="*/ 472 h 10010"/>
              <a:gd name="connsiteX220" fmla="*/ 7302 w 10000"/>
              <a:gd name="connsiteY220" fmla="*/ 591 h 10010"/>
              <a:gd name="connsiteX221" fmla="*/ 7199 w 10000"/>
              <a:gd name="connsiteY221" fmla="*/ 745 h 10010"/>
              <a:gd name="connsiteX222" fmla="*/ 7072 w 10000"/>
              <a:gd name="connsiteY222" fmla="*/ 825 h 10010"/>
              <a:gd name="connsiteX223" fmla="*/ 7021 w 10000"/>
              <a:gd name="connsiteY223" fmla="*/ 815 h 10010"/>
              <a:gd name="connsiteX224" fmla="*/ 6903 w 10000"/>
              <a:gd name="connsiteY224" fmla="*/ 749 h 10010"/>
              <a:gd name="connsiteX225" fmla="*/ 6756 w 10000"/>
              <a:gd name="connsiteY225" fmla="*/ 715 h 10010"/>
              <a:gd name="connsiteX226" fmla="*/ 6594 w 10000"/>
              <a:gd name="connsiteY226" fmla="*/ 725 h 10010"/>
              <a:gd name="connsiteX227" fmla="*/ 6223 w 10000"/>
              <a:gd name="connsiteY227" fmla="*/ 876 h 10010"/>
              <a:gd name="connsiteX228" fmla="*/ 6125 w 10000"/>
              <a:gd name="connsiteY228" fmla="*/ 1027 h 10010"/>
              <a:gd name="connsiteX229" fmla="*/ 5845 w 10000"/>
              <a:gd name="connsiteY229" fmla="*/ 1163 h 10010"/>
              <a:gd name="connsiteX230" fmla="*/ 5794 w 10000"/>
              <a:gd name="connsiteY230" fmla="*/ 1232 h 10010"/>
              <a:gd name="connsiteX231" fmla="*/ 5940 w 10000"/>
              <a:gd name="connsiteY231" fmla="*/ 1354 h 10010"/>
              <a:gd name="connsiteX232" fmla="*/ 5956 w 10000"/>
              <a:gd name="connsiteY232" fmla="*/ 1422 h 10010"/>
              <a:gd name="connsiteX233" fmla="*/ 5190 w 10000"/>
              <a:gd name="connsiteY233" fmla="*/ 1823 h 10010"/>
              <a:gd name="connsiteX234" fmla="*/ 4955 w 10000"/>
              <a:gd name="connsiteY234" fmla="*/ 2080 h 10010"/>
              <a:gd name="connsiteX235" fmla="*/ 4702 w 10000"/>
              <a:gd name="connsiteY235" fmla="*/ 2145 h 10010"/>
              <a:gd name="connsiteX236" fmla="*/ 4540 w 10000"/>
              <a:gd name="connsiteY236" fmla="*/ 2141 h 10010"/>
              <a:gd name="connsiteX237" fmla="*/ 4443 w 10000"/>
              <a:gd name="connsiteY237" fmla="*/ 2163 h 10010"/>
              <a:gd name="connsiteX238" fmla="*/ 4178 w 10000"/>
              <a:gd name="connsiteY238" fmla="*/ 2803 h 10010"/>
              <a:gd name="connsiteX239" fmla="*/ 3565 w 10000"/>
              <a:gd name="connsiteY239" fmla="*/ 3176 h 10010"/>
              <a:gd name="connsiteX240" fmla="*/ 3569 w 10000"/>
              <a:gd name="connsiteY240" fmla="*/ 3235 h 10010"/>
              <a:gd name="connsiteX241" fmla="*/ 3841 w 10000"/>
              <a:gd name="connsiteY241" fmla="*/ 3402 h 10010"/>
              <a:gd name="connsiteX242" fmla="*/ 3753 w 10000"/>
              <a:gd name="connsiteY242" fmla="*/ 3583 h 10010"/>
              <a:gd name="connsiteX243" fmla="*/ 3594 w 10000"/>
              <a:gd name="connsiteY243" fmla="*/ 3650 h 10010"/>
              <a:gd name="connsiteX244" fmla="*/ 3118 w 10000"/>
              <a:gd name="connsiteY244" fmla="*/ 3605 h 10010"/>
              <a:gd name="connsiteX245" fmla="*/ 2791 w 10000"/>
              <a:gd name="connsiteY245" fmla="*/ 3630 h 10010"/>
              <a:gd name="connsiteX246" fmla="*/ 2528 w 10000"/>
              <a:gd name="connsiteY246" fmla="*/ 3683 h 10010"/>
              <a:gd name="connsiteX247" fmla="*/ 2102 w 10000"/>
              <a:gd name="connsiteY247" fmla="*/ 3850 h 10010"/>
              <a:gd name="connsiteX248" fmla="*/ 1877 w 10000"/>
              <a:gd name="connsiteY248" fmla="*/ 4052 h 10010"/>
              <a:gd name="connsiteX249" fmla="*/ 1896 w 10000"/>
              <a:gd name="connsiteY249" fmla="*/ 4164 h 10010"/>
              <a:gd name="connsiteX250" fmla="*/ 1975 w 10000"/>
              <a:gd name="connsiteY250" fmla="*/ 4251 h 10010"/>
              <a:gd name="connsiteX251" fmla="*/ 2034 w 10000"/>
              <a:gd name="connsiteY251" fmla="*/ 4286 h 10010"/>
              <a:gd name="connsiteX252" fmla="*/ 1924 w 10000"/>
              <a:gd name="connsiteY252" fmla="*/ 4341 h 10010"/>
              <a:gd name="connsiteX253" fmla="*/ 1683 w 10000"/>
              <a:gd name="connsiteY253" fmla="*/ 4720 h 10010"/>
              <a:gd name="connsiteX254" fmla="*/ 1729 w 10000"/>
              <a:gd name="connsiteY254" fmla="*/ 4742 h 10010"/>
              <a:gd name="connsiteX255" fmla="*/ 1764 w 10000"/>
              <a:gd name="connsiteY255" fmla="*/ 4838 h 10010"/>
              <a:gd name="connsiteX256" fmla="*/ 1652 w 10000"/>
              <a:gd name="connsiteY256" fmla="*/ 5237 h 10010"/>
              <a:gd name="connsiteX257" fmla="*/ 1764 w 10000"/>
              <a:gd name="connsiteY257" fmla="*/ 5339 h 10010"/>
              <a:gd name="connsiteX258" fmla="*/ 2071 w 10000"/>
              <a:gd name="connsiteY258" fmla="*/ 5451 h 10010"/>
              <a:gd name="connsiteX259" fmla="*/ 2085 w 10000"/>
              <a:gd name="connsiteY259" fmla="*/ 5588 h 10010"/>
              <a:gd name="connsiteX260" fmla="*/ 1954 w 10000"/>
              <a:gd name="connsiteY260" fmla="*/ 5700 h 10010"/>
              <a:gd name="connsiteX261" fmla="*/ 1764 w 10000"/>
              <a:gd name="connsiteY261" fmla="*/ 5769 h 10010"/>
              <a:gd name="connsiteX262" fmla="*/ 1513 w 10000"/>
              <a:gd name="connsiteY262" fmla="*/ 5797 h 10010"/>
              <a:gd name="connsiteX263" fmla="*/ 1448 w 10000"/>
              <a:gd name="connsiteY263" fmla="*/ 5836 h 10010"/>
              <a:gd name="connsiteX264" fmla="*/ 1594 w 10000"/>
              <a:gd name="connsiteY264" fmla="*/ 5930 h 10010"/>
              <a:gd name="connsiteX265" fmla="*/ 1678 w 10000"/>
              <a:gd name="connsiteY265" fmla="*/ 6152 h 10010"/>
              <a:gd name="connsiteX266" fmla="*/ 1488 w 10000"/>
              <a:gd name="connsiteY266" fmla="*/ 6343 h 10010"/>
              <a:gd name="connsiteX267" fmla="*/ 1554 w 10000"/>
              <a:gd name="connsiteY267" fmla="*/ 6402 h 10010"/>
              <a:gd name="connsiteX268" fmla="*/ 1494 w 10000"/>
              <a:gd name="connsiteY268" fmla="*/ 6502 h 10010"/>
              <a:gd name="connsiteX269" fmla="*/ 1372 w 10000"/>
              <a:gd name="connsiteY269" fmla="*/ 6571 h 10010"/>
              <a:gd name="connsiteX270" fmla="*/ 889 w 10000"/>
              <a:gd name="connsiteY270" fmla="*/ 6624 h 10010"/>
              <a:gd name="connsiteX271" fmla="*/ 860 w 10000"/>
              <a:gd name="connsiteY271" fmla="*/ 6716 h 10010"/>
              <a:gd name="connsiteX272" fmla="*/ 600 w 10000"/>
              <a:gd name="connsiteY272" fmla="*/ 6853 h 10010"/>
              <a:gd name="connsiteX273" fmla="*/ 634 w 10000"/>
              <a:gd name="connsiteY273" fmla="*/ 7050 h 10010"/>
              <a:gd name="connsiteX274" fmla="*/ 415 w 10000"/>
              <a:gd name="connsiteY274" fmla="*/ 7303 h 10010"/>
              <a:gd name="connsiteX275" fmla="*/ 266 w 10000"/>
              <a:gd name="connsiteY275" fmla="*/ 7333 h 10010"/>
              <a:gd name="connsiteX276" fmla="*/ 204 w 10000"/>
              <a:gd name="connsiteY276" fmla="*/ 7272 h 10010"/>
              <a:gd name="connsiteX277" fmla="*/ 128 w 10000"/>
              <a:gd name="connsiteY277" fmla="*/ 7364 h 10010"/>
              <a:gd name="connsiteX278" fmla="*/ 178 w 10000"/>
              <a:gd name="connsiteY278" fmla="*/ 7207 h 10010"/>
              <a:gd name="connsiteX279" fmla="*/ 147 w 10000"/>
              <a:gd name="connsiteY279"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50 w 10000"/>
              <a:gd name="connsiteY211" fmla="*/ 397 h 10010"/>
              <a:gd name="connsiteX212" fmla="*/ 8667 w 10000"/>
              <a:gd name="connsiteY212" fmla="*/ 444 h 10010"/>
              <a:gd name="connsiteX213" fmla="*/ 8591 w 10000"/>
              <a:gd name="connsiteY213" fmla="*/ 485 h 10010"/>
              <a:gd name="connsiteX214" fmla="*/ 8477 w 10000"/>
              <a:gd name="connsiteY214" fmla="*/ 495 h 10010"/>
              <a:gd name="connsiteX215" fmla="*/ 7537 w 10000"/>
              <a:gd name="connsiteY215" fmla="*/ 397 h 10010"/>
              <a:gd name="connsiteX216" fmla="*/ 7423 w 10000"/>
              <a:gd name="connsiteY216" fmla="*/ 405 h 10010"/>
              <a:gd name="connsiteX217" fmla="*/ 7359 w 10000"/>
              <a:gd name="connsiteY217" fmla="*/ 424 h 10010"/>
              <a:gd name="connsiteX218" fmla="*/ 7290 w 10000"/>
              <a:gd name="connsiteY218" fmla="*/ 472 h 10010"/>
              <a:gd name="connsiteX219" fmla="*/ 7302 w 10000"/>
              <a:gd name="connsiteY219" fmla="*/ 591 h 10010"/>
              <a:gd name="connsiteX220" fmla="*/ 7199 w 10000"/>
              <a:gd name="connsiteY220" fmla="*/ 745 h 10010"/>
              <a:gd name="connsiteX221" fmla="*/ 7072 w 10000"/>
              <a:gd name="connsiteY221" fmla="*/ 825 h 10010"/>
              <a:gd name="connsiteX222" fmla="*/ 7021 w 10000"/>
              <a:gd name="connsiteY222" fmla="*/ 815 h 10010"/>
              <a:gd name="connsiteX223" fmla="*/ 6903 w 10000"/>
              <a:gd name="connsiteY223" fmla="*/ 749 h 10010"/>
              <a:gd name="connsiteX224" fmla="*/ 6756 w 10000"/>
              <a:gd name="connsiteY224" fmla="*/ 715 h 10010"/>
              <a:gd name="connsiteX225" fmla="*/ 6594 w 10000"/>
              <a:gd name="connsiteY225" fmla="*/ 725 h 10010"/>
              <a:gd name="connsiteX226" fmla="*/ 6223 w 10000"/>
              <a:gd name="connsiteY226" fmla="*/ 876 h 10010"/>
              <a:gd name="connsiteX227" fmla="*/ 6125 w 10000"/>
              <a:gd name="connsiteY227" fmla="*/ 1027 h 10010"/>
              <a:gd name="connsiteX228" fmla="*/ 5845 w 10000"/>
              <a:gd name="connsiteY228" fmla="*/ 1163 h 10010"/>
              <a:gd name="connsiteX229" fmla="*/ 5794 w 10000"/>
              <a:gd name="connsiteY229" fmla="*/ 1232 h 10010"/>
              <a:gd name="connsiteX230" fmla="*/ 5940 w 10000"/>
              <a:gd name="connsiteY230" fmla="*/ 1354 h 10010"/>
              <a:gd name="connsiteX231" fmla="*/ 5956 w 10000"/>
              <a:gd name="connsiteY231" fmla="*/ 1422 h 10010"/>
              <a:gd name="connsiteX232" fmla="*/ 5190 w 10000"/>
              <a:gd name="connsiteY232" fmla="*/ 1823 h 10010"/>
              <a:gd name="connsiteX233" fmla="*/ 4955 w 10000"/>
              <a:gd name="connsiteY233" fmla="*/ 2080 h 10010"/>
              <a:gd name="connsiteX234" fmla="*/ 4702 w 10000"/>
              <a:gd name="connsiteY234" fmla="*/ 2145 h 10010"/>
              <a:gd name="connsiteX235" fmla="*/ 4540 w 10000"/>
              <a:gd name="connsiteY235" fmla="*/ 2141 h 10010"/>
              <a:gd name="connsiteX236" fmla="*/ 4443 w 10000"/>
              <a:gd name="connsiteY236" fmla="*/ 2163 h 10010"/>
              <a:gd name="connsiteX237" fmla="*/ 4178 w 10000"/>
              <a:gd name="connsiteY237" fmla="*/ 2803 h 10010"/>
              <a:gd name="connsiteX238" fmla="*/ 3565 w 10000"/>
              <a:gd name="connsiteY238" fmla="*/ 3176 h 10010"/>
              <a:gd name="connsiteX239" fmla="*/ 3569 w 10000"/>
              <a:gd name="connsiteY239" fmla="*/ 3235 h 10010"/>
              <a:gd name="connsiteX240" fmla="*/ 3841 w 10000"/>
              <a:gd name="connsiteY240" fmla="*/ 3402 h 10010"/>
              <a:gd name="connsiteX241" fmla="*/ 3753 w 10000"/>
              <a:gd name="connsiteY241" fmla="*/ 3583 h 10010"/>
              <a:gd name="connsiteX242" fmla="*/ 3594 w 10000"/>
              <a:gd name="connsiteY242" fmla="*/ 3650 h 10010"/>
              <a:gd name="connsiteX243" fmla="*/ 3118 w 10000"/>
              <a:gd name="connsiteY243" fmla="*/ 3605 h 10010"/>
              <a:gd name="connsiteX244" fmla="*/ 2791 w 10000"/>
              <a:gd name="connsiteY244" fmla="*/ 3630 h 10010"/>
              <a:gd name="connsiteX245" fmla="*/ 2528 w 10000"/>
              <a:gd name="connsiteY245" fmla="*/ 3683 h 10010"/>
              <a:gd name="connsiteX246" fmla="*/ 2102 w 10000"/>
              <a:gd name="connsiteY246" fmla="*/ 3850 h 10010"/>
              <a:gd name="connsiteX247" fmla="*/ 1877 w 10000"/>
              <a:gd name="connsiteY247" fmla="*/ 4052 h 10010"/>
              <a:gd name="connsiteX248" fmla="*/ 1896 w 10000"/>
              <a:gd name="connsiteY248" fmla="*/ 4164 h 10010"/>
              <a:gd name="connsiteX249" fmla="*/ 1975 w 10000"/>
              <a:gd name="connsiteY249" fmla="*/ 4251 h 10010"/>
              <a:gd name="connsiteX250" fmla="*/ 2034 w 10000"/>
              <a:gd name="connsiteY250" fmla="*/ 4286 h 10010"/>
              <a:gd name="connsiteX251" fmla="*/ 1924 w 10000"/>
              <a:gd name="connsiteY251" fmla="*/ 4341 h 10010"/>
              <a:gd name="connsiteX252" fmla="*/ 1683 w 10000"/>
              <a:gd name="connsiteY252" fmla="*/ 4720 h 10010"/>
              <a:gd name="connsiteX253" fmla="*/ 1729 w 10000"/>
              <a:gd name="connsiteY253" fmla="*/ 4742 h 10010"/>
              <a:gd name="connsiteX254" fmla="*/ 1764 w 10000"/>
              <a:gd name="connsiteY254" fmla="*/ 4838 h 10010"/>
              <a:gd name="connsiteX255" fmla="*/ 1652 w 10000"/>
              <a:gd name="connsiteY255" fmla="*/ 5237 h 10010"/>
              <a:gd name="connsiteX256" fmla="*/ 1764 w 10000"/>
              <a:gd name="connsiteY256" fmla="*/ 5339 h 10010"/>
              <a:gd name="connsiteX257" fmla="*/ 2071 w 10000"/>
              <a:gd name="connsiteY257" fmla="*/ 5451 h 10010"/>
              <a:gd name="connsiteX258" fmla="*/ 2085 w 10000"/>
              <a:gd name="connsiteY258" fmla="*/ 5588 h 10010"/>
              <a:gd name="connsiteX259" fmla="*/ 1954 w 10000"/>
              <a:gd name="connsiteY259" fmla="*/ 5700 h 10010"/>
              <a:gd name="connsiteX260" fmla="*/ 1764 w 10000"/>
              <a:gd name="connsiteY260" fmla="*/ 5769 h 10010"/>
              <a:gd name="connsiteX261" fmla="*/ 1513 w 10000"/>
              <a:gd name="connsiteY261" fmla="*/ 5797 h 10010"/>
              <a:gd name="connsiteX262" fmla="*/ 1448 w 10000"/>
              <a:gd name="connsiteY262" fmla="*/ 5836 h 10010"/>
              <a:gd name="connsiteX263" fmla="*/ 1594 w 10000"/>
              <a:gd name="connsiteY263" fmla="*/ 5930 h 10010"/>
              <a:gd name="connsiteX264" fmla="*/ 1678 w 10000"/>
              <a:gd name="connsiteY264" fmla="*/ 6152 h 10010"/>
              <a:gd name="connsiteX265" fmla="*/ 1488 w 10000"/>
              <a:gd name="connsiteY265" fmla="*/ 6343 h 10010"/>
              <a:gd name="connsiteX266" fmla="*/ 1554 w 10000"/>
              <a:gd name="connsiteY266" fmla="*/ 6402 h 10010"/>
              <a:gd name="connsiteX267" fmla="*/ 1494 w 10000"/>
              <a:gd name="connsiteY267" fmla="*/ 6502 h 10010"/>
              <a:gd name="connsiteX268" fmla="*/ 1372 w 10000"/>
              <a:gd name="connsiteY268" fmla="*/ 6571 h 10010"/>
              <a:gd name="connsiteX269" fmla="*/ 889 w 10000"/>
              <a:gd name="connsiteY269" fmla="*/ 6624 h 10010"/>
              <a:gd name="connsiteX270" fmla="*/ 860 w 10000"/>
              <a:gd name="connsiteY270" fmla="*/ 6716 h 10010"/>
              <a:gd name="connsiteX271" fmla="*/ 600 w 10000"/>
              <a:gd name="connsiteY271" fmla="*/ 6853 h 10010"/>
              <a:gd name="connsiteX272" fmla="*/ 634 w 10000"/>
              <a:gd name="connsiteY272" fmla="*/ 7050 h 10010"/>
              <a:gd name="connsiteX273" fmla="*/ 415 w 10000"/>
              <a:gd name="connsiteY273" fmla="*/ 7303 h 10010"/>
              <a:gd name="connsiteX274" fmla="*/ 266 w 10000"/>
              <a:gd name="connsiteY274" fmla="*/ 7333 h 10010"/>
              <a:gd name="connsiteX275" fmla="*/ 204 w 10000"/>
              <a:gd name="connsiteY275" fmla="*/ 7272 h 10010"/>
              <a:gd name="connsiteX276" fmla="*/ 128 w 10000"/>
              <a:gd name="connsiteY276" fmla="*/ 7364 h 10010"/>
              <a:gd name="connsiteX277" fmla="*/ 178 w 10000"/>
              <a:gd name="connsiteY277" fmla="*/ 7207 h 10010"/>
              <a:gd name="connsiteX278" fmla="*/ 147 w 10000"/>
              <a:gd name="connsiteY278"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667 w 10000"/>
              <a:gd name="connsiteY211" fmla="*/ 444 h 10010"/>
              <a:gd name="connsiteX212" fmla="*/ 8591 w 10000"/>
              <a:gd name="connsiteY212" fmla="*/ 485 h 10010"/>
              <a:gd name="connsiteX213" fmla="*/ 8477 w 10000"/>
              <a:gd name="connsiteY213" fmla="*/ 495 h 10010"/>
              <a:gd name="connsiteX214" fmla="*/ 7537 w 10000"/>
              <a:gd name="connsiteY214" fmla="*/ 397 h 10010"/>
              <a:gd name="connsiteX215" fmla="*/ 7423 w 10000"/>
              <a:gd name="connsiteY215" fmla="*/ 405 h 10010"/>
              <a:gd name="connsiteX216" fmla="*/ 7359 w 10000"/>
              <a:gd name="connsiteY216" fmla="*/ 424 h 10010"/>
              <a:gd name="connsiteX217" fmla="*/ 7290 w 10000"/>
              <a:gd name="connsiteY217" fmla="*/ 472 h 10010"/>
              <a:gd name="connsiteX218" fmla="*/ 7302 w 10000"/>
              <a:gd name="connsiteY218" fmla="*/ 591 h 10010"/>
              <a:gd name="connsiteX219" fmla="*/ 7199 w 10000"/>
              <a:gd name="connsiteY219" fmla="*/ 745 h 10010"/>
              <a:gd name="connsiteX220" fmla="*/ 7072 w 10000"/>
              <a:gd name="connsiteY220" fmla="*/ 825 h 10010"/>
              <a:gd name="connsiteX221" fmla="*/ 7021 w 10000"/>
              <a:gd name="connsiteY221" fmla="*/ 815 h 10010"/>
              <a:gd name="connsiteX222" fmla="*/ 6903 w 10000"/>
              <a:gd name="connsiteY222" fmla="*/ 749 h 10010"/>
              <a:gd name="connsiteX223" fmla="*/ 6756 w 10000"/>
              <a:gd name="connsiteY223" fmla="*/ 715 h 10010"/>
              <a:gd name="connsiteX224" fmla="*/ 6594 w 10000"/>
              <a:gd name="connsiteY224" fmla="*/ 725 h 10010"/>
              <a:gd name="connsiteX225" fmla="*/ 6223 w 10000"/>
              <a:gd name="connsiteY225" fmla="*/ 876 h 10010"/>
              <a:gd name="connsiteX226" fmla="*/ 6125 w 10000"/>
              <a:gd name="connsiteY226" fmla="*/ 1027 h 10010"/>
              <a:gd name="connsiteX227" fmla="*/ 5845 w 10000"/>
              <a:gd name="connsiteY227" fmla="*/ 1163 h 10010"/>
              <a:gd name="connsiteX228" fmla="*/ 5794 w 10000"/>
              <a:gd name="connsiteY228" fmla="*/ 1232 h 10010"/>
              <a:gd name="connsiteX229" fmla="*/ 5940 w 10000"/>
              <a:gd name="connsiteY229" fmla="*/ 1354 h 10010"/>
              <a:gd name="connsiteX230" fmla="*/ 5956 w 10000"/>
              <a:gd name="connsiteY230" fmla="*/ 1422 h 10010"/>
              <a:gd name="connsiteX231" fmla="*/ 5190 w 10000"/>
              <a:gd name="connsiteY231" fmla="*/ 1823 h 10010"/>
              <a:gd name="connsiteX232" fmla="*/ 4955 w 10000"/>
              <a:gd name="connsiteY232" fmla="*/ 2080 h 10010"/>
              <a:gd name="connsiteX233" fmla="*/ 4702 w 10000"/>
              <a:gd name="connsiteY233" fmla="*/ 2145 h 10010"/>
              <a:gd name="connsiteX234" fmla="*/ 4540 w 10000"/>
              <a:gd name="connsiteY234" fmla="*/ 2141 h 10010"/>
              <a:gd name="connsiteX235" fmla="*/ 4443 w 10000"/>
              <a:gd name="connsiteY235" fmla="*/ 2163 h 10010"/>
              <a:gd name="connsiteX236" fmla="*/ 4178 w 10000"/>
              <a:gd name="connsiteY236" fmla="*/ 2803 h 10010"/>
              <a:gd name="connsiteX237" fmla="*/ 3565 w 10000"/>
              <a:gd name="connsiteY237" fmla="*/ 3176 h 10010"/>
              <a:gd name="connsiteX238" fmla="*/ 3569 w 10000"/>
              <a:gd name="connsiteY238" fmla="*/ 3235 h 10010"/>
              <a:gd name="connsiteX239" fmla="*/ 3841 w 10000"/>
              <a:gd name="connsiteY239" fmla="*/ 3402 h 10010"/>
              <a:gd name="connsiteX240" fmla="*/ 3753 w 10000"/>
              <a:gd name="connsiteY240" fmla="*/ 3583 h 10010"/>
              <a:gd name="connsiteX241" fmla="*/ 3594 w 10000"/>
              <a:gd name="connsiteY241" fmla="*/ 3650 h 10010"/>
              <a:gd name="connsiteX242" fmla="*/ 3118 w 10000"/>
              <a:gd name="connsiteY242" fmla="*/ 3605 h 10010"/>
              <a:gd name="connsiteX243" fmla="*/ 2791 w 10000"/>
              <a:gd name="connsiteY243" fmla="*/ 3630 h 10010"/>
              <a:gd name="connsiteX244" fmla="*/ 2528 w 10000"/>
              <a:gd name="connsiteY244" fmla="*/ 3683 h 10010"/>
              <a:gd name="connsiteX245" fmla="*/ 2102 w 10000"/>
              <a:gd name="connsiteY245" fmla="*/ 3850 h 10010"/>
              <a:gd name="connsiteX246" fmla="*/ 1877 w 10000"/>
              <a:gd name="connsiteY246" fmla="*/ 4052 h 10010"/>
              <a:gd name="connsiteX247" fmla="*/ 1896 w 10000"/>
              <a:gd name="connsiteY247" fmla="*/ 4164 h 10010"/>
              <a:gd name="connsiteX248" fmla="*/ 1975 w 10000"/>
              <a:gd name="connsiteY248" fmla="*/ 4251 h 10010"/>
              <a:gd name="connsiteX249" fmla="*/ 2034 w 10000"/>
              <a:gd name="connsiteY249" fmla="*/ 4286 h 10010"/>
              <a:gd name="connsiteX250" fmla="*/ 1924 w 10000"/>
              <a:gd name="connsiteY250" fmla="*/ 4341 h 10010"/>
              <a:gd name="connsiteX251" fmla="*/ 1683 w 10000"/>
              <a:gd name="connsiteY251" fmla="*/ 4720 h 10010"/>
              <a:gd name="connsiteX252" fmla="*/ 1729 w 10000"/>
              <a:gd name="connsiteY252" fmla="*/ 4742 h 10010"/>
              <a:gd name="connsiteX253" fmla="*/ 1764 w 10000"/>
              <a:gd name="connsiteY253" fmla="*/ 4838 h 10010"/>
              <a:gd name="connsiteX254" fmla="*/ 1652 w 10000"/>
              <a:gd name="connsiteY254" fmla="*/ 5237 h 10010"/>
              <a:gd name="connsiteX255" fmla="*/ 1764 w 10000"/>
              <a:gd name="connsiteY255" fmla="*/ 5339 h 10010"/>
              <a:gd name="connsiteX256" fmla="*/ 2071 w 10000"/>
              <a:gd name="connsiteY256" fmla="*/ 5451 h 10010"/>
              <a:gd name="connsiteX257" fmla="*/ 2085 w 10000"/>
              <a:gd name="connsiteY257" fmla="*/ 5588 h 10010"/>
              <a:gd name="connsiteX258" fmla="*/ 1954 w 10000"/>
              <a:gd name="connsiteY258" fmla="*/ 5700 h 10010"/>
              <a:gd name="connsiteX259" fmla="*/ 1764 w 10000"/>
              <a:gd name="connsiteY259" fmla="*/ 5769 h 10010"/>
              <a:gd name="connsiteX260" fmla="*/ 1513 w 10000"/>
              <a:gd name="connsiteY260" fmla="*/ 5797 h 10010"/>
              <a:gd name="connsiteX261" fmla="*/ 1448 w 10000"/>
              <a:gd name="connsiteY261" fmla="*/ 5836 h 10010"/>
              <a:gd name="connsiteX262" fmla="*/ 1594 w 10000"/>
              <a:gd name="connsiteY262" fmla="*/ 5930 h 10010"/>
              <a:gd name="connsiteX263" fmla="*/ 1678 w 10000"/>
              <a:gd name="connsiteY263" fmla="*/ 6152 h 10010"/>
              <a:gd name="connsiteX264" fmla="*/ 1488 w 10000"/>
              <a:gd name="connsiteY264" fmla="*/ 6343 h 10010"/>
              <a:gd name="connsiteX265" fmla="*/ 1554 w 10000"/>
              <a:gd name="connsiteY265" fmla="*/ 6402 h 10010"/>
              <a:gd name="connsiteX266" fmla="*/ 1494 w 10000"/>
              <a:gd name="connsiteY266" fmla="*/ 6502 h 10010"/>
              <a:gd name="connsiteX267" fmla="*/ 1372 w 10000"/>
              <a:gd name="connsiteY267" fmla="*/ 6571 h 10010"/>
              <a:gd name="connsiteX268" fmla="*/ 889 w 10000"/>
              <a:gd name="connsiteY268" fmla="*/ 6624 h 10010"/>
              <a:gd name="connsiteX269" fmla="*/ 860 w 10000"/>
              <a:gd name="connsiteY269" fmla="*/ 6716 h 10010"/>
              <a:gd name="connsiteX270" fmla="*/ 600 w 10000"/>
              <a:gd name="connsiteY270" fmla="*/ 6853 h 10010"/>
              <a:gd name="connsiteX271" fmla="*/ 634 w 10000"/>
              <a:gd name="connsiteY271" fmla="*/ 7050 h 10010"/>
              <a:gd name="connsiteX272" fmla="*/ 415 w 10000"/>
              <a:gd name="connsiteY272" fmla="*/ 7303 h 10010"/>
              <a:gd name="connsiteX273" fmla="*/ 266 w 10000"/>
              <a:gd name="connsiteY273" fmla="*/ 7333 h 10010"/>
              <a:gd name="connsiteX274" fmla="*/ 204 w 10000"/>
              <a:gd name="connsiteY274" fmla="*/ 7272 h 10010"/>
              <a:gd name="connsiteX275" fmla="*/ 128 w 10000"/>
              <a:gd name="connsiteY275" fmla="*/ 7364 h 10010"/>
              <a:gd name="connsiteX276" fmla="*/ 178 w 10000"/>
              <a:gd name="connsiteY276" fmla="*/ 7207 h 10010"/>
              <a:gd name="connsiteX277" fmla="*/ 147 w 10000"/>
              <a:gd name="connsiteY277"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91 w 10000"/>
              <a:gd name="connsiteY211" fmla="*/ 485 h 10010"/>
              <a:gd name="connsiteX212" fmla="*/ 8477 w 10000"/>
              <a:gd name="connsiteY212" fmla="*/ 495 h 10010"/>
              <a:gd name="connsiteX213" fmla="*/ 7537 w 10000"/>
              <a:gd name="connsiteY213" fmla="*/ 397 h 10010"/>
              <a:gd name="connsiteX214" fmla="*/ 7423 w 10000"/>
              <a:gd name="connsiteY214" fmla="*/ 405 h 10010"/>
              <a:gd name="connsiteX215" fmla="*/ 7359 w 10000"/>
              <a:gd name="connsiteY215" fmla="*/ 424 h 10010"/>
              <a:gd name="connsiteX216" fmla="*/ 7290 w 10000"/>
              <a:gd name="connsiteY216" fmla="*/ 472 h 10010"/>
              <a:gd name="connsiteX217" fmla="*/ 7302 w 10000"/>
              <a:gd name="connsiteY217" fmla="*/ 591 h 10010"/>
              <a:gd name="connsiteX218" fmla="*/ 7199 w 10000"/>
              <a:gd name="connsiteY218" fmla="*/ 745 h 10010"/>
              <a:gd name="connsiteX219" fmla="*/ 7072 w 10000"/>
              <a:gd name="connsiteY219" fmla="*/ 825 h 10010"/>
              <a:gd name="connsiteX220" fmla="*/ 7021 w 10000"/>
              <a:gd name="connsiteY220" fmla="*/ 815 h 10010"/>
              <a:gd name="connsiteX221" fmla="*/ 6903 w 10000"/>
              <a:gd name="connsiteY221" fmla="*/ 749 h 10010"/>
              <a:gd name="connsiteX222" fmla="*/ 6756 w 10000"/>
              <a:gd name="connsiteY222" fmla="*/ 715 h 10010"/>
              <a:gd name="connsiteX223" fmla="*/ 6594 w 10000"/>
              <a:gd name="connsiteY223" fmla="*/ 725 h 10010"/>
              <a:gd name="connsiteX224" fmla="*/ 6223 w 10000"/>
              <a:gd name="connsiteY224" fmla="*/ 876 h 10010"/>
              <a:gd name="connsiteX225" fmla="*/ 6125 w 10000"/>
              <a:gd name="connsiteY225" fmla="*/ 1027 h 10010"/>
              <a:gd name="connsiteX226" fmla="*/ 5845 w 10000"/>
              <a:gd name="connsiteY226" fmla="*/ 1163 h 10010"/>
              <a:gd name="connsiteX227" fmla="*/ 5794 w 10000"/>
              <a:gd name="connsiteY227" fmla="*/ 1232 h 10010"/>
              <a:gd name="connsiteX228" fmla="*/ 5940 w 10000"/>
              <a:gd name="connsiteY228" fmla="*/ 1354 h 10010"/>
              <a:gd name="connsiteX229" fmla="*/ 5956 w 10000"/>
              <a:gd name="connsiteY229" fmla="*/ 1422 h 10010"/>
              <a:gd name="connsiteX230" fmla="*/ 5190 w 10000"/>
              <a:gd name="connsiteY230" fmla="*/ 1823 h 10010"/>
              <a:gd name="connsiteX231" fmla="*/ 4955 w 10000"/>
              <a:gd name="connsiteY231" fmla="*/ 2080 h 10010"/>
              <a:gd name="connsiteX232" fmla="*/ 4702 w 10000"/>
              <a:gd name="connsiteY232" fmla="*/ 2145 h 10010"/>
              <a:gd name="connsiteX233" fmla="*/ 4540 w 10000"/>
              <a:gd name="connsiteY233" fmla="*/ 2141 h 10010"/>
              <a:gd name="connsiteX234" fmla="*/ 4443 w 10000"/>
              <a:gd name="connsiteY234" fmla="*/ 2163 h 10010"/>
              <a:gd name="connsiteX235" fmla="*/ 4178 w 10000"/>
              <a:gd name="connsiteY235" fmla="*/ 2803 h 10010"/>
              <a:gd name="connsiteX236" fmla="*/ 3565 w 10000"/>
              <a:gd name="connsiteY236" fmla="*/ 3176 h 10010"/>
              <a:gd name="connsiteX237" fmla="*/ 3569 w 10000"/>
              <a:gd name="connsiteY237" fmla="*/ 3235 h 10010"/>
              <a:gd name="connsiteX238" fmla="*/ 3841 w 10000"/>
              <a:gd name="connsiteY238" fmla="*/ 3402 h 10010"/>
              <a:gd name="connsiteX239" fmla="*/ 3753 w 10000"/>
              <a:gd name="connsiteY239" fmla="*/ 3583 h 10010"/>
              <a:gd name="connsiteX240" fmla="*/ 3594 w 10000"/>
              <a:gd name="connsiteY240" fmla="*/ 3650 h 10010"/>
              <a:gd name="connsiteX241" fmla="*/ 3118 w 10000"/>
              <a:gd name="connsiteY241" fmla="*/ 3605 h 10010"/>
              <a:gd name="connsiteX242" fmla="*/ 2791 w 10000"/>
              <a:gd name="connsiteY242" fmla="*/ 3630 h 10010"/>
              <a:gd name="connsiteX243" fmla="*/ 2528 w 10000"/>
              <a:gd name="connsiteY243" fmla="*/ 3683 h 10010"/>
              <a:gd name="connsiteX244" fmla="*/ 2102 w 10000"/>
              <a:gd name="connsiteY244" fmla="*/ 3850 h 10010"/>
              <a:gd name="connsiteX245" fmla="*/ 1877 w 10000"/>
              <a:gd name="connsiteY245" fmla="*/ 4052 h 10010"/>
              <a:gd name="connsiteX246" fmla="*/ 1896 w 10000"/>
              <a:gd name="connsiteY246" fmla="*/ 4164 h 10010"/>
              <a:gd name="connsiteX247" fmla="*/ 1975 w 10000"/>
              <a:gd name="connsiteY247" fmla="*/ 4251 h 10010"/>
              <a:gd name="connsiteX248" fmla="*/ 2034 w 10000"/>
              <a:gd name="connsiteY248" fmla="*/ 4286 h 10010"/>
              <a:gd name="connsiteX249" fmla="*/ 1924 w 10000"/>
              <a:gd name="connsiteY249" fmla="*/ 4341 h 10010"/>
              <a:gd name="connsiteX250" fmla="*/ 1683 w 10000"/>
              <a:gd name="connsiteY250" fmla="*/ 4720 h 10010"/>
              <a:gd name="connsiteX251" fmla="*/ 1729 w 10000"/>
              <a:gd name="connsiteY251" fmla="*/ 4742 h 10010"/>
              <a:gd name="connsiteX252" fmla="*/ 1764 w 10000"/>
              <a:gd name="connsiteY252" fmla="*/ 4838 h 10010"/>
              <a:gd name="connsiteX253" fmla="*/ 1652 w 10000"/>
              <a:gd name="connsiteY253" fmla="*/ 5237 h 10010"/>
              <a:gd name="connsiteX254" fmla="*/ 1764 w 10000"/>
              <a:gd name="connsiteY254" fmla="*/ 5339 h 10010"/>
              <a:gd name="connsiteX255" fmla="*/ 2071 w 10000"/>
              <a:gd name="connsiteY255" fmla="*/ 5451 h 10010"/>
              <a:gd name="connsiteX256" fmla="*/ 2085 w 10000"/>
              <a:gd name="connsiteY256" fmla="*/ 5588 h 10010"/>
              <a:gd name="connsiteX257" fmla="*/ 1954 w 10000"/>
              <a:gd name="connsiteY257" fmla="*/ 5700 h 10010"/>
              <a:gd name="connsiteX258" fmla="*/ 1764 w 10000"/>
              <a:gd name="connsiteY258" fmla="*/ 5769 h 10010"/>
              <a:gd name="connsiteX259" fmla="*/ 1513 w 10000"/>
              <a:gd name="connsiteY259" fmla="*/ 5797 h 10010"/>
              <a:gd name="connsiteX260" fmla="*/ 1448 w 10000"/>
              <a:gd name="connsiteY260" fmla="*/ 5836 h 10010"/>
              <a:gd name="connsiteX261" fmla="*/ 1594 w 10000"/>
              <a:gd name="connsiteY261" fmla="*/ 5930 h 10010"/>
              <a:gd name="connsiteX262" fmla="*/ 1678 w 10000"/>
              <a:gd name="connsiteY262" fmla="*/ 6152 h 10010"/>
              <a:gd name="connsiteX263" fmla="*/ 1488 w 10000"/>
              <a:gd name="connsiteY263" fmla="*/ 6343 h 10010"/>
              <a:gd name="connsiteX264" fmla="*/ 1554 w 10000"/>
              <a:gd name="connsiteY264" fmla="*/ 6402 h 10010"/>
              <a:gd name="connsiteX265" fmla="*/ 1494 w 10000"/>
              <a:gd name="connsiteY265" fmla="*/ 6502 h 10010"/>
              <a:gd name="connsiteX266" fmla="*/ 1372 w 10000"/>
              <a:gd name="connsiteY266" fmla="*/ 6571 h 10010"/>
              <a:gd name="connsiteX267" fmla="*/ 889 w 10000"/>
              <a:gd name="connsiteY267" fmla="*/ 6624 h 10010"/>
              <a:gd name="connsiteX268" fmla="*/ 860 w 10000"/>
              <a:gd name="connsiteY268" fmla="*/ 6716 h 10010"/>
              <a:gd name="connsiteX269" fmla="*/ 600 w 10000"/>
              <a:gd name="connsiteY269" fmla="*/ 6853 h 10010"/>
              <a:gd name="connsiteX270" fmla="*/ 634 w 10000"/>
              <a:gd name="connsiteY270" fmla="*/ 7050 h 10010"/>
              <a:gd name="connsiteX271" fmla="*/ 415 w 10000"/>
              <a:gd name="connsiteY271" fmla="*/ 7303 h 10010"/>
              <a:gd name="connsiteX272" fmla="*/ 266 w 10000"/>
              <a:gd name="connsiteY272" fmla="*/ 7333 h 10010"/>
              <a:gd name="connsiteX273" fmla="*/ 204 w 10000"/>
              <a:gd name="connsiteY273" fmla="*/ 7272 h 10010"/>
              <a:gd name="connsiteX274" fmla="*/ 128 w 10000"/>
              <a:gd name="connsiteY274" fmla="*/ 7364 h 10010"/>
              <a:gd name="connsiteX275" fmla="*/ 178 w 10000"/>
              <a:gd name="connsiteY275" fmla="*/ 7207 h 10010"/>
              <a:gd name="connsiteX276" fmla="*/ 147 w 10000"/>
              <a:gd name="connsiteY276"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477 w 10000"/>
              <a:gd name="connsiteY211" fmla="*/ 495 h 10010"/>
              <a:gd name="connsiteX212" fmla="*/ 7537 w 10000"/>
              <a:gd name="connsiteY212" fmla="*/ 397 h 10010"/>
              <a:gd name="connsiteX213" fmla="*/ 7423 w 10000"/>
              <a:gd name="connsiteY213" fmla="*/ 405 h 10010"/>
              <a:gd name="connsiteX214" fmla="*/ 7359 w 10000"/>
              <a:gd name="connsiteY214" fmla="*/ 424 h 10010"/>
              <a:gd name="connsiteX215" fmla="*/ 7290 w 10000"/>
              <a:gd name="connsiteY215" fmla="*/ 472 h 10010"/>
              <a:gd name="connsiteX216" fmla="*/ 7302 w 10000"/>
              <a:gd name="connsiteY216" fmla="*/ 591 h 10010"/>
              <a:gd name="connsiteX217" fmla="*/ 7199 w 10000"/>
              <a:gd name="connsiteY217" fmla="*/ 745 h 10010"/>
              <a:gd name="connsiteX218" fmla="*/ 7072 w 10000"/>
              <a:gd name="connsiteY218" fmla="*/ 825 h 10010"/>
              <a:gd name="connsiteX219" fmla="*/ 7021 w 10000"/>
              <a:gd name="connsiteY219" fmla="*/ 815 h 10010"/>
              <a:gd name="connsiteX220" fmla="*/ 6903 w 10000"/>
              <a:gd name="connsiteY220" fmla="*/ 749 h 10010"/>
              <a:gd name="connsiteX221" fmla="*/ 6756 w 10000"/>
              <a:gd name="connsiteY221" fmla="*/ 715 h 10010"/>
              <a:gd name="connsiteX222" fmla="*/ 6594 w 10000"/>
              <a:gd name="connsiteY222" fmla="*/ 725 h 10010"/>
              <a:gd name="connsiteX223" fmla="*/ 6223 w 10000"/>
              <a:gd name="connsiteY223" fmla="*/ 876 h 10010"/>
              <a:gd name="connsiteX224" fmla="*/ 6125 w 10000"/>
              <a:gd name="connsiteY224" fmla="*/ 1027 h 10010"/>
              <a:gd name="connsiteX225" fmla="*/ 5845 w 10000"/>
              <a:gd name="connsiteY225" fmla="*/ 1163 h 10010"/>
              <a:gd name="connsiteX226" fmla="*/ 5794 w 10000"/>
              <a:gd name="connsiteY226" fmla="*/ 1232 h 10010"/>
              <a:gd name="connsiteX227" fmla="*/ 5940 w 10000"/>
              <a:gd name="connsiteY227" fmla="*/ 1354 h 10010"/>
              <a:gd name="connsiteX228" fmla="*/ 5956 w 10000"/>
              <a:gd name="connsiteY228" fmla="*/ 1422 h 10010"/>
              <a:gd name="connsiteX229" fmla="*/ 5190 w 10000"/>
              <a:gd name="connsiteY229" fmla="*/ 1823 h 10010"/>
              <a:gd name="connsiteX230" fmla="*/ 4955 w 10000"/>
              <a:gd name="connsiteY230" fmla="*/ 2080 h 10010"/>
              <a:gd name="connsiteX231" fmla="*/ 4702 w 10000"/>
              <a:gd name="connsiteY231" fmla="*/ 2145 h 10010"/>
              <a:gd name="connsiteX232" fmla="*/ 4540 w 10000"/>
              <a:gd name="connsiteY232" fmla="*/ 2141 h 10010"/>
              <a:gd name="connsiteX233" fmla="*/ 4443 w 10000"/>
              <a:gd name="connsiteY233" fmla="*/ 2163 h 10010"/>
              <a:gd name="connsiteX234" fmla="*/ 4178 w 10000"/>
              <a:gd name="connsiteY234" fmla="*/ 2803 h 10010"/>
              <a:gd name="connsiteX235" fmla="*/ 3565 w 10000"/>
              <a:gd name="connsiteY235" fmla="*/ 3176 h 10010"/>
              <a:gd name="connsiteX236" fmla="*/ 3569 w 10000"/>
              <a:gd name="connsiteY236" fmla="*/ 3235 h 10010"/>
              <a:gd name="connsiteX237" fmla="*/ 3841 w 10000"/>
              <a:gd name="connsiteY237" fmla="*/ 3402 h 10010"/>
              <a:gd name="connsiteX238" fmla="*/ 3753 w 10000"/>
              <a:gd name="connsiteY238" fmla="*/ 3583 h 10010"/>
              <a:gd name="connsiteX239" fmla="*/ 3594 w 10000"/>
              <a:gd name="connsiteY239" fmla="*/ 3650 h 10010"/>
              <a:gd name="connsiteX240" fmla="*/ 3118 w 10000"/>
              <a:gd name="connsiteY240" fmla="*/ 3605 h 10010"/>
              <a:gd name="connsiteX241" fmla="*/ 2791 w 10000"/>
              <a:gd name="connsiteY241" fmla="*/ 3630 h 10010"/>
              <a:gd name="connsiteX242" fmla="*/ 2528 w 10000"/>
              <a:gd name="connsiteY242" fmla="*/ 3683 h 10010"/>
              <a:gd name="connsiteX243" fmla="*/ 2102 w 10000"/>
              <a:gd name="connsiteY243" fmla="*/ 3850 h 10010"/>
              <a:gd name="connsiteX244" fmla="*/ 1877 w 10000"/>
              <a:gd name="connsiteY244" fmla="*/ 4052 h 10010"/>
              <a:gd name="connsiteX245" fmla="*/ 1896 w 10000"/>
              <a:gd name="connsiteY245" fmla="*/ 4164 h 10010"/>
              <a:gd name="connsiteX246" fmla="*/ 1975 w 10000"/>
              <a:gd name="connsiteY246" fmla="*/ 4251 h 10010"/>
              <a:gd name="connsiteX247" fmla="*/ 2034 w 10000"/>
              <a:gd name="connsiteY247" fmla="*/ 4286 h 10010"/>
              <a:gd name="connsiteX248" fmla="*/ 1924 w 10000"/>
              <a:gd name="connsiteY248" fmla="*/ 4341 h 10010"/>
              <a:gd name="connsiteX249" fmla="*/ 1683 w 10000"/>
              <a:gd name="connsiteY249" fmla="*/ 4720 h 10010"/>
              <a:gd name="connsiteX250" fmla="*/ 1729 w 10000"/>
              <a:gd name="connsiteY250" fmla="*/ 4742 h 10010"/>
              <a:gd name="connsiteX251" fmla="*/ 1764 w 10000"/>
              <a:gd name="connsiteY251" fmla="*/ 4838 h 10010"/>
              <a:gd name="connsiteX252" fmla="*/ 1652 w 10000"/>
              <a:gd name="connsiteY252" fmla="*/ 5237 h 10010"/>
              <a:gd name="connsiteX253" fmla="*/ 1764 w 10000"/>
              <a:gd name="connsiteY253" fmla="*/ 5339 h 10010"/>
              <a:gd name="connsiteX254" fmla="*/ 2071 w 10000"/>
              <a:gd name="connsiteY254" fmla="*/ 5451 h 10010"/>
              <a:gd name="connsiteX255" fmla="*/ 2085 w 10000"/>
              <a:gd name="connsiteY255" fmla="*/ 5588 h 10010"/>
              <a:gd name="connsiteX256" fmla="*/ 1954 w 10000"/>
              <a:gd name="connsiteY256" fmla="*/ 5700 h 10010"/>
              <a:gd name="connsiteX257" fmla="*/ 1764 w 10000"/>
              <a:gd name="connsiteY257" fmla="*/ 5769 h 10010"/>
              <a:gd name="connsiteX258" fmla="*/ 1513 w 10000"/>
              <a:gd name="connsiteY258" fmla="*/ 5797 h 10010"/>
              <a:gd name="connsiteX259" fmla="*/ 1448 w 10000"/>
              <a:gd name="connsiteY259" fmla="*/ 5836 h 10010"/>
              <a:gd name="connsiteX260" fmla="*/ 1594 w 10000"/>
              <a:gd name="connsiteY260" fmla="*/ 5930 h 10010"/>
              <a:gd name="connsiteX261" fmla="*/ 1678 w 10000"/>
              <a:gd name="connsiteY261" fmla="*/ 6152 h 10010"/>
              <a:gd name="connsiteX262" fmla="*/ 1488 w 10000"/>
              <a:gd name="connsiteY262" fmla="*/ 6343 h 10010"/>
              <a:gd name="connsiteX263" fmla="*/ 1554 w 10000"/>
              <a:gd name="connsiteY263" fmla="*/ 6402 h 10010"/>
              <a:gd name="connsiteX264" fmla="*/ 1494 w 10000"/>
              <a:gd name="connsiteY264" fmla="*/ 6502 h 10010"/>
              <a:gd name="connsiteX265" fmla="*/ 1372 w 10000"/>
              <a:gd name="connsiteY265" fmla="*/ 6571 h 10010"/>
              <a:gd name="connsiteX266" fmla="*/ 889 w 10000"/>
              <a:gd name="connsiteY266" fmla="*/ 6624 h 10010"/>
              <a:gd name="connsiteX267" fmla="*/ 860 w 10000"/>
              <a:gd name="connsiteY267" fmla="*/ 6716 h 10010"/>
              <a:gd name="connsiteX268" fmla="*/ 600 w 10000"/>
              <a:gd name="connsiteY268" fmla="*/ 6853 h 10010"/>
              <a:gd name="connsiteX269" fmla="*/ 634 w 10000"/>
              <a:gd name="connsiteY269" fmla="*/ 7050 h 10010"/>
              <a:gd name="connsiteX270" fmla="*/ 415 w 10000"/>
              <a:gd name="connsiteY270" fmla="*/ 7303 h 10010"/>
              <a:gd name="connsiteX271" fmla="*/ 266 w 10000"/>
              <a:gd name="connsiteY271" fmla="*/ 7333 h 10010"/>
              <a:gd name="connsiteX272" fmla="*/ 204 w 10000"/>
              <a:gd name="connsiteY272" fmla="*/ 7272 h 10010"/>
              <a:gd name="connsiteX273" fmla="*/ 128 w 10000"/>
              <a:gd name="connsiteY273" fmla="*/ 7364 h 10010"/>
              <a:gd name="connsiteX274" fmla="*/ 178 w 10000"/>
              <a:gd name="connsiteY274" fmla="*/ 7207 h 10010"/>
              <a:gd name="connsiteX275" fmla="*/ 147 w 10000"/>
              <a:gd name="connsiteY275"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7537 w 10000"/>
              <a:gd name="connsiteY211" fmla="*/ 397 h 10010"/>
              <a:gd name="connsiteX212" fmla="*/ 7423 w 10000"/>
              <a:gd name="connsiteY212" fmla="*/ 405 h 10010"/>
              <a:gd name="connsiteX213" fmla="*/ 7359 w 10000"/>
              <a:gd name="connsiteY213" fmla="*/ 424 h 10010"/>
              <a:gd name="connsiteX214" fmla="*/ 7290 w 10000"/>
              <a:gd name="connsiteY214" fmla="*/ 472 h 10010"/>
              <a:gd name="connsiteX215" fmla="*/ 7302 w 10000"/>
              <a:gd name="connsiteY215" fmla="*/ 591 h 10010"/>
              <a:gd name="connsiteX216" fmla="*/ 7199 w 10000"/>
              <a:gd name="connsiteY216" fmla="*/ 745 h 10010"/>
              <a:gd name="connsiteX217" fmla="*/ 7072 w 10000"/>
              <a:gd name="connsiteY217" fmla="*/ 825 h 10010"/>
              <a:gd name="connsiteX218" fmla="*/ 7021 w 10000"/>
              <a:gd name="connsiteY218" fmla="*/ 815 h 10010"/>
              <a:gd name="connsiteX219" fmla="*/ 6903 w 10000"/>
              <a:gd name="connsiteY219" fmla="*/ 749 h 10010"/>
              <a:gd name="connsiteX220" fmla="*/ 6756 w 10000"/>
              <a:gd name="connsiteY220" fmla="*/ 715 h 10010"/>
              <a:gd name="connsiteX221" fmla="*/ 6594 w 10000"/>
              <a:gd name="connsiteY221" fmla="*/ 725 h 10010"/>
              <a:gd name="connsiteX222" fmla="*/ 6223 w 10000"/>
              <a:gd name="connsiteY222" fmla="*/ 876 h 10010"/>
              <a:gd name="connsiteX223" fmla="*/ 6125 w 10000"/>
              <a:gd name="connsiteY223" fmla="*/ 1027 h 10010"/>
              <a:gd name="connsiteX224" fmla="*/ 5845 w 10000"/>
              <a:gd name="connsiteY224" fmla="*/ 1163 h 10010"/>
              <a:gd name="connsiteX225" fmla="*/ 5794 w 10000"/>
              <a:gd name="connsiteY225" fmla="*/ 1232 h 10010"/>
              <a:gd name="connsiteX226" fmla="*/ 5940 w 10000"/>
              <a:gd name="connsiteY226" fmla="*/ 1354 h 10010"/>
              <a:gd name="connsiteX227" fmla="*/ 5956 w 10000"/>
              <a:gd name="connsiteY227" fmla="*/ 1422 h 10010"/>
              <a:gd name="connsiteX228" fmla="*/ 5190 w 10000"/>
              <a:gd name="connsiteY228" fmla="*/ 1823 h 10010"/>
              <a:gd name="connsiteX229" fmla="*/ 4955 w 10000"/>
              <a:gd name="connsiteY229" fmla="*/ 2080 h 10010"/>
              <a:gd name="connsiteX230" fmla="*/ 4702 w 10000"/>
              <a:gd name="connsiteY230" fmla="*/ 2145 h 10010"/>
              <a:gd name="connsiteX231" fmla="*/ 4540 w 10000"/>
              <a:gd name="connsiteY231" fmla="*/ 2141 h 10010"/>
              <a:gd name="connsiteX232" fmla="*/ 4443 w 10000"/>
              <a:gd name="connsiteY232" fmla="*/ 2163 h 10010"/>
              <a:gd name="connsiteX233" fmla="*/ 4178 w 10000"/>
              <a:gd name="connsiteY233" fmla="*/ 2803 h 10010"/>
              <a:gd name="connsiteX234" fmla="*/ 3565 w 10000"/>
              <a:gd name="connsiteY234" fmla="*/ 3176 h 10010"/>
              <a:gd name="connsiteX235" fmla="*/ 3569 w 10000"/>
              <a:gd name="connsiteY235" fmla="*/ 3235 h 10010"/>
              <a:gd name="connsiteX236" fmla="*/ 3841 w 10000"/>
              <a:gd name="connsiteY236" fmla="*/ 3402 h 10010"/>
              <a:gd name="connsiteX237" fmla="*/ 3753 w 10000"/>
              <a:gd name="connsiteY237" fmla="*/ 3583 h 10010"/>
              <a:gd name="connsiteX238" fmla="*/ 3594 w 10000"/>
              <a:gd name="connsiteY238" fmla="*/ 3650 h 10010"/>
              <a:gd name="connsiteX239" fmla="*/ 3118 w 10000"/>
              <a:gd name="connsiteY239" fmla="*/ 3605 h 10010"/>
              <a:gd name="connsiteX240" fmla="*/ 2791 w 10000"/>
              <a:gd name="connsiteY240" fmla="*/ 3630 h 10010"/>
              <a:gd name="connsiteX241" fmla="*/ 2528 w 10000"/>
              <a:gd name="connsiteY241" fmla="*/ 3683 h 10010"/>
              <a:gd name="connsiteX242" fmla="*/ 2102 w 10000"/>
              <a:gd name="connsiteY242" fmla="*/ 3850 h 10010"/>
              <a:gd name="connsiteX243" fmla="*/ 1877 w 10000"/>
              <a:gd name="connsiteY243" fmla="*/ 4052 h 10010"/>
              <a:gd name="connsiteX244" fmla="*/ 1896 w 10000"/>
              <a:gd name="connsiteY244" fmla="*/ 4164 h 10010"/>
              <a:gd name="connsiteX245" fmla="*/ 1975 w 10000"/>
              <a:gd name="connsiteY245" fmla="*/ 4251 h 10010"/>
              <a:gd name="connsiteX246" fmla="*/ 2034 w 10000"/>
              <a:gd name="connsiteY246" fmla="*/ 4286 h 10010"/>
              <a:gd name="connsiteX247" fmla="*/ 1924 w 10000"/>
              <a:gd name="connsiteY247" fmla="*/ 4341 h 10010"/>
              <a:gd name="connsiteX248" fmla="*/ 1683 w 10000"/>
              <a:gd name="connsiteY248" fmla="*/ 4720 h 10010"/>
              <a:gd name="connsiteX249" fmla="*/ 1729 w 10000"/>
              <a:gd name="connsiteY249" fmla="*/ 4742 h 10010"/>
              <a:gd name="connsiteX250" fmla="*/ 1764 w 10000"/>
              <a:gd name="connsiteY250" fmla="*/ 4838 h 10010"/>
              <a:gd name="connsiteX251" fmla="*/ 1652 w 10000"/>
              <a:gd name="connsiteY251" fmla="*/ 5237 h 10010"/>
              <a:gd name="connsiteX252" fmla="*/ 1764 w 10000"/>
              <a:gd name="connsiteY252" fmla="*/ 5339 h 10010"/>
              <a:gd name="connsiteX253" fmla="*/ 2071 w 10000"/>
              <a:gd name="connsiteY253" fmla="*/ 5451 h 10010"/>
              <a:gd name="connsiteX254" fmla="*/ 2085 w 10000"/>
              <a:gd name="connsiteY254" fmla="*/ 5588 h 10010"/>
              <a:gd name="connsiteX255" fmla="*/ 1954 w 10000"/>
              <a:gd name="connsiteY255" fmla="*/ 5700 h 10010"/>
              <a:gd name="connsiteX256" fmla="*/ 1764 w 10000"/>
              <a:gd name="connsiteY256" fmla="*/ 5769 h 10010"/>
              <a:gd name="connsiteX257" fmla="*/ 1513 w 10000"/>
              <a:gd name="connsiteY257" fmla="*/ 5797 h 10010"/>
              <a:gd name="connsiteX258" fmla="*/ 1448 w 10000"/>
              <a:gd name="connsiteY258" fmla="*/ 5836 h 10010"/>
              <a:gd name="connsiteX259" fmla="*/ 1594 w 10000"/>
              <a:gd name="connsiteY259" fmla="*/ 5930 h 10010"/>
              <a:gd name="connsiteX260" fmla="*/ 1678 w 10000"/>
              <a:gd name="connsiteY260" fmla="*/ 6152 h 10010"/>
              <a:gd name="connsiteX261" fmla="*/ 1488 w 10000"/>
              <a:gd name="connsiteY261" fmla="*/ 6343 h 10010"/>
              <a:gd name="connsiteX262" fmla="*/ 1554 w 10000"/>
              <a:gd name="connsiteY262" fmla="*/ 6402 h 10010"/>
              <a:gd name="connsiteX263" fmla="*/ 1494 w 10000"/>
              <a:gd name="connsiteY263" fmla="*/ 6502 h 10010"/>
              <a:gd name="connsiteX264" fmla="*/ 1372 w 10000"/>
              <a:gd name="connsiteY264" fmla="*/ 6571 h 10010"/>
              <a:gd name="connsiteX265" fmla="*/ 889 w 10000"/>
              <a:gd name="connsiteY265" fmla="*/ 6624 h 10010"/>
              <a:gd name="connsiteX266" fmla="*/ 860 w 10000"/>
              <a:gd name="connsiteY266" fmla="*/ 6716 h 10010"/>
              <a:gd name="connsiteX267" fmla="*/ 600 w 10000"/>
              <a:gd name="connsiteY267" fmla="*/ 6853 h 10010"/>
              <a:gd name="connsiteX268" fmla="*/ 634 w 10000"/>
              <a:gd name="connsiteY268" fmla="*/ 7050 h 10010"/>
              <a:gd name="connsiteX269" fmla="*/ 415 w 10000"/>
              <a:gd name="connsiteY269" fmla="*/ 7303 h 10010"/>
              <a:gd name="connsiteX270" fmla="*/ 266 w 10000"/>
              <a:gd name="connsiteY270" fmla="*/ 7333 h 10010"/>
              <a:gd name="connsiteX271" fmla="*/ 204 w 10000"/>
              <a:gd name="connsiteY271" fmla="*/ 7272 h 10010"/>
              <a:gd name="connsiteX272" fmla="*/ 128 w 10000"/>
              <a:gd name="connsiteY272" fmla="*/ 7364 h 10010"/>
              <a:gd name="connsiteX273" fmla="*/ 178 w 10000"/>
              <a:gd name="connsiteY273" fmla="*/ 7207 h 10010"/>
              <a:gd name="connsiteX274" fmla="*/ 147 w 10000"/>
              <a:gd name="connsiteY274"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7537 w 10000"/>
              <a:gd name="connsiteY210" fmla="*/ 397 h 10010"/>
              <a:gd name="connsiteX211" fmla="*/ 7423 w 10000"/>
              <a:gd name="connsiteY211" fmla="*/ 405 h 10010"/>
              <a:gd name="connsiteX212" fmla="*/ 7359 w 10000"/>
              <a:gd name="connsiteY212" fmla="*/ 424 h 10010"/>
              <a:gd name="connsiteX213" fmla="*/ 7290 w 10000"/>
              <a:gd name="connsiteY213" fmla="*/ 472 h 10010"/>
              <a:gd name="connsiteX214" fmla="*/ 7302 w 10000"/>
              <a:gd name="connsiteY214" fmla="*/ 591 h 10010"/>
              <a:gd name="connsiteX215" fmla="*/ 7199 w 10000"/>
              <a:gd name="connsiteY215" fmla="*/ 745 h 10010"/>
              <a:gd name="connsiteX216" fmla="*/ 7072 w 10000"/>
              <a:gd name="connsiteY216" fmla="*/ 825 h 10010"/>
              <a:gd name="connsiteX217" fmla="*/ 7021 w 10000"/>
              <a:gd name="connsiteY217" fmla="*/ 815 h 10010"/>
              <a:gd name="connsiteX218" fmla="*/ 6903 w 10000"/>
              <a:gd name="connsiteY218" fmla="*/ 749 h 10010"/>
              <a:gd name="connsiteX219" fmla="*/ 6756 w 10000"/>
              <a:gd name="connsiteY219" fmla="*/ 715 h 10010"/>
              <a:gd name="connsiteX220" fmla="*/ 6594 w 10000"/>
              <a:gd name="connsiteY220" fmla="*/ 725 h 10010"/>
              <a:gd name="connsiteX221" fmla="*/ 6223 w 10000"/>
              <a:gd name="connsiteY221" fmla="*/ 876 h 10010"/>
              <a:gd name="connsiteX222" fmla="*/ 6125 w 10000"/>
              <a:gd name="connsiteY222" fmla="*/ 1027 h 10010"/>
              <a:gd name="connsiteX223" fmla="*/ 5845 w 10000"/>
              <a:gd name="connsiteY223" fmla="*/ 1163 h 10010"/>
              <a:gd name="connsiteX224" fmla="*/ 5794 w 10000"/>
              <a:gd name="connsiteY224" fmla="*/ 1232 h 10010"/>
              <a:gd name="connsiteX225" fmla="*/ 5940 w 10000"/>
              <a:gd name="connsiteY225" fmla="*/ 1354 h 10010"/>
              <a:gd name="connsiteX226" fmla="*/ 5956 w 10000"/>
              <a:gd name="connsiteY226" fmla="*/ 1422 h 10010"/>
              <a:gd name="connsiteX227" fmla="*/ 5190 w 10000"/>
              <a:gd name="connsiteY227" fmla="*/ 1823 h 10010"/>
              <a:gd name="connsiteX228" fmla="*/ 4955 w 10000"/>
              <a:gd name="connsiteY228" fmla="*/ 2080 h 10010"/>
              <a:gd name="connsiteX229" fmla="*/ 4702 w 10000"/>
              <a:gd name="connsiteY229" fmla="*/ 2145 h 10010"/>
              <a:gd name="connsiteX230" fmla="*/ 4540 w 10000"/>
              <a:gd name="connsiteY230" fmla="*/ 2141 h 10010"/>
              <a:gd name="connsiteX231" fmla="*/ 4443 w 10000"/>
              <a:gd name="connsiteY231" fmla="*/ 2163 h 10010"/>
              <a:gd name="connsiteX232" fmla="*/ 4178 w 10000"/>
              <a:gd name="connsiteY232" fmla="*/ 2803 h 10010"/>
              <a:gd name="connsiteX233" fmla="*/ 3565 w 10000"/>
              <a:gd name="connsiteY233" fmla="*/ 3176 h 10010"/>
              <a:gd name="connsiteX234" fmla="*/ 3569 w 10000"/>
              <a:gd name="connsiteY234" fmla="*/ 3235 h 10010"/>
              <a:gd name="connsiteX235" fmla="*/ 3841 w 10000"/>
              <a:gd name="connsiteY235" fmla="*/ 3402 h 10010"/>
              <a:gd name="connsiteX236" fmla="*/ 3753 w 10000"/>
              <a:gd name="connsiteY236" fmla="*/ 3583 h 10010"/>
              <a:gd name="connsiteX237" fmla="*/ 3594 w 10000"/>
              <a:gd name="connsiteY237" fmla="*/ 3650 h 10010"/>
              <a:gd name="connsiteX238" fmla="*/ 3118 w 10000"/>
              <a:gd name="connsiteY238" fmla="*/ 3605 h 10010"/>
              <a:gd name="connsiteX239" fmla="*/ 2791 w 10000"/>
              <a:gd name="connsiteY239" fmla="*/ 3630 h 10010"/>
              <a:gd name="connsiteX240" fmla="*/ 2528 w 10000"/>
              <a:gd name="connsiteY240" fmla="*/ 3683 h 10010"/>
              <a:gd name="connsiteX241" fmla="*/ 2102 w 10000"/>
              <a:gd name="connsiteY241" fmla="*/ 3850 h 10010"/>
              <a:gd name="connsiteX242" fmla="*/ 1877 w 10000"/>
              <a:gd name="connsiteY242" fmla="*/ 4052 h 10010"/>
              <a:gd name="connsiteX243" fmla="*/ 1896 w 10000"/>
              <a:gd name="connsiteY243" fmla="*/ 4164 h 10010"/>
              <a:gd name="connsiteX244" fmla="*/ 1975 w 10000"/>
              <a:gd name="connsiteY244" fmla="*/ 4251 h 10010"/>
              <a:gd name="connsiteX245" fmla="*/ 2034 w 10000"/>
              <a:gd name="connsiteY245" fmla="*/ 4286 h 10010"/>
              <a:gd name="connsiteX246" fmla="*/ 1924 w 10000"/>
              <a:gd name="connsiteY246" fmla="*/ 4341 h 10010"/>
              <a:gd name="connsiteX247" fmla="*/ 1683 w 10000"/>
              <a:gd name="connsiteY247" fmla="*/ 4720 h 10010"/>
              <a:gd name="connsiteX248" fmla="*/ 1729 w 10000"/>
              <a:gd name="connsiteY248" fmla="*/ 4742 h 10010"/>
              <a:gd name="connsiteX249" fmla="*/ 1764 w 10000"/>
              <a:gd name="connsiteY249" fmla="*/ 4838 h 10010"/>
              <a:gd name="connsiteX250" fmla="*/ 1652 w 10000"/>
              <a:gd name="connsiteY250" fmla="*/ 5237 h 10010"/>
              <a:gd name="connsiteX251" fmla="*/ 1764 w 10000"/>
              <a:gd name="connsiteY251" fmla="*/ 5339 h 10010"/>
              <a:gd name="connsiteX252" fmla="*/ 2071 w 10000"/>
              <a:gd name="connsiteY252" fmla="*/ 5451 h 10010"/>
              <a:gd name="connsiteX253" fmla="*/ 2085 w 10000"/>
              <a:gd name="connsiteY253" fmla="*/ 5588 h 10010"/>
              <a:gd name="connsiteX254" fmla="*/ 1954 w 10000"/>
              <a:gd name="connsiteY254" fmla="*/ 5700 h 10010"/>
              <a:gd name="connsiteX255" fmla="*/ 1764 w 10000"/>
              <a:gd name="connsiteY255" fmla="*/ 5769 h 10010"/>
              <a:gd name="connsiteX256" fmla="*/ 1513 w 10000"/>
              <a:gd name="connsiteY256" fmla="*/ 5797 h 10010"/>
              <a:gd name="connsiteX257" fmla="*/ 1448 w 10000"/>
              <a:gd name="connsiteY257" fmla="*/ 5836 h 10010"/>
              <a:gd name="connsiteX258" fmla="*/ 1594 w 10000"/>
              <a:gd name="connsiteY258" fmla="*/ 5930 h 10010"/>
              <a:gd name="connsiteX259" fmla="*/ 1678 w 10000"/>
              <a:gd name="connsiteY259" fmla="*/ 6152 h 10010"/>
              <a:gd name="connsiteX260" fmla="*/ 1488 w 10000"/>
              <a:gd name="connsiteY260" fmla="*/ 6343 h 10010"/>
              <a:gd name="connsiteX261" fmla="*/ 1554 w 10000"/>
              <a:gd name="connsiteY261" fmla="*/ 6402 h 10010"/>
              <a:gd name="connsiteX262" fmla="*/ 1494 w 10000"/>
              <a:gd name="connsiteY262" fmla="*/ 6502 h 10010"/>
              <a:gd name="connsiteX263" fmla="*/ 1372 w 10000"/>
              <a:gd name="connsiteY263" fmla="*/ 6571 h 10010"/>
              <a:gd name="connsiteX264" fmla="*/ 889 w 10000"/>
              <a:gd name="connsiteY264" fmla="*/ 6624 h 10010"/>
              <a:gd name="connsiteX265" fmla="*/ 860 w 10000"/>
              <a:gd name="connsiteY265" fmla="*/ 6716 h 10010"/>
              <a:gd name="connsiteX266" fmla="*/ 600 w 10000"/>
              <a:gd name="connsiteY266" fmla="*/ 6853 h 10010"/>
              <a:gd name="connsiteX267" fmla="*/ 634 w 10000"/>
              <a:gd name="connsiteY267" fmla="*/ 7050 h 10010"/>
              <a:gd name="connsiteX268" fmla="*/ 415 w 10000"/>
              <a:gd name="connsiteY268" fmla="*/ 7303 h 10010"/>
              <a:gd name="connsiteX269" fmla="*/ 266 w 10000"/>
              <a:gd name="connsiteY269" fmla="*/ 7333 h 10010"/>
              <a:gd name="connsiteX270" fmla="*/ 204 w 10000"/>
              <a:gd name="connsiteY270" fmla="*/ 7272 h 10010"/>
              <a:gd name="connsiteX271" fmla="*/ 128 w 10000"/>
              <a:gd name="connsiteY271" fmla="*/ 7364 h 10010"/>
              <a:gd name="connsiteX272" fmla="*/ 178 w 10000"/>
              <a:gd name="connsiteY272" fmla="*/ 7207 h 10010"/>
              <a:gd name="connsiteX273" fmla="*/ 147 w 10000"/>
              <a:gd name="connsiteY273" fmla="*/ 7176 h 10010"/>
              <a:gd name="connsiteX0" fmla="*/ 147 w 10000"/>
              <a:gd name="connsiteY0" fmla="*/ 7140 h 9974"/>
              <a:gd name="connsiteX1" fmla="*/ 0 w 10000"/>
              <a:gd name="connsiteY1" fmla="*/ 7222 h 9974"/>
              <a:gd name="connsiteX2" fmla="*/ 0 w 10000"/>
              <a:gd name="connsiteY2" fmla="*/ 7625 h 9974"/>
              <a:gd name="connsiteX3" fmla="*/ 81 w 10000"/>
              <a:gd name="connsiteY3" fmla="*/ 7637 h 9974"/>
              <a:gd name="connsiteX4" fmla="*/ 100 w 10000"/>
              <a:gd name="connsiteY4" fmla="*/ 7668 h 9974"/>
              <a:gd name="connsiteX5" fmla="*/ 96 w 10000"/>
              <a:gd name="connsiteY5" fmla="*/ 7723 h 9974"/>
              <a:gd name="connsiteX6" fmla="*/ 66 w 10000"/>
              <a:gd name="connsiteY6" fmla="*/ 7747 h 9974"/>
              <a:gd name="connsiteX7" fmla="*/ 190 w 10000"/>
              <a:gd name="connsiteY7" fmla="*/ 7701 h 9974"/>
              <a:gd name="connsiteX8" fmla="*/ 242 w 10000"/>
              <a:gd name="connsiteY8" fmla="*/ 7654 h 9974"/>
              <a:gd name="connsiteX9" fmla="*/ 306 w 10000"/>
              <a:gd name="connsiteY9" fmla="*/ 7686 h 9974"/>
              <a:gd name="connsiteX10" fmla="*/ 235 w 10000"/>
              <a:gd name="connsiteY10" fmla="*/ 7752 h 9974"/>
              <a:gd name="connsiteX11" fmla="*/ 311 w 10000"/>
              <a:gd name="connsiteY11" fmla="*/ 7754 h 9974"/>
              <a:gd name="connsiteX12" fmla="*/ 348 w 10000"/>
              <a:gd name="connsiteY12" fmla="*/ 7770 h 9974"/>
              <a:gd name="connsiteX13" fmla="*/ 250 w 10000"/>
              <a:gd name="connsiteY13" fmla="*/ 7792 h 9974"/>
              <a:gd name="connsiteX14" fmla="*/ 96 w 10000"/>
              <a:gd name="connsiteY14" fmla="*/ 7860 h 9974"/>
              <a:gd name="connsiteX15" fmla="*/ 370 w 10000"/>
              <a:gd name="connsiteY15" fmla="*/ 7912 h 9974"/>
              <a:gd name="connsiteX16" fmla="*/ 404 w 10000"/>
              <a:gd name="connsiteY16" fmla="*/ 7988 h 9974"/>
              <a:gd name="connsiteX17" fmla="*/ 311 w 10000"/>
              <a:gd name="connsiteY17" fmla="*/ 8100 h 9974"/>
              <a:gd name="connsiteX18" fmla="*/ 511 w 10000"/>
              <a:gd name="connsiteY18" fmla="*/ 8092 h 9974"/>
              <a:gd name="connsiteX19" fmla="*/ 526 w 10000"/>
              <a:gd name="connsiteY19" fmla="*/ 8177 h 9974"/>
              <a:gd name="connsiteX20" fmla="*/ 393 w 10000"/>
              <a:gd name="connsiteY20" fmla="*/ 8234 h 9974"/>
              <a:gd name="connsiteX21" fmla="*/ 415 w 10000"/>
              <a:gd name="connsiteY21" fmla="*/ 8344 h 9974"/>
              <a:gd name="connsiteX22" fmla="*/ 364 w 10000"/>
              <a:gd name="connsiteY22" fmla="*/ 8430 h 9974"/>
              <a:gd name="connsiteX23" fmla="*/ 521 w 10000"/>
              <a:gd name="connsiteY23" fmla="*/ 8438 h 9974"/>
              <a:gd name="connsiteX24" fmla="*/ 676 w 10000"/>
              <a:gd name="connsiteY24" fmla="*/ 8766 h 9974"/>
              <a:gd name="connsiteX25" fmla="*/ 853 w 10000"/>
              <a:gd name="connsiteY25" fmla="*/ 8850 h 9974"/>
              <a:gd name="connsiteX26" fmla="*/ 931 w 10000"/>
              <a:gd name="connsiteY26" fmla="*/ 8939 h 9974"/>
              <a:gd name="connsiteX27" fmla="*/ 1125 w 10000"/>
              <a:gd name="connsiteY27" fmla="*/ 9004 h 9974"/>
              <a:gd name="connsiteX28" fmla="*/ 1249 w 10000"/>
              <a:gd name="connsiteY28" fmla="*/ 9086 h 9974"/>
              <a:gd name="connsiteX29" fmla="*/ 1233 w 10000"/>
              <a:gd name="connsiteY29" fmla="*/ 9145 h 9974"/>
              <a:gd name="connsiteX30" fmla="*/ 1110 w 10000"/>
              <a:gd name="connsiteY30" fmla="*/ 9167 h 9974"/>
              <a:gd name="connsiteX31" fmla="*/ 976 w 10000"/>
              <a:gd name="connsiteY31" fmla="*/ 9153 h 9974"/>
              <a:gd name="connsiteX32" fmla="*/ 935 w 10000"/>
              <a:gd name="connsiteY32" fmla="*/ 9178 h 9974"/>
              <a:gd name="connsiteX33" fmla="*/ 1037 w 10000"/>
              <a:gd name="connsiteY33" fmla="*/ 9306 h 9974"/>
              <a:gd name="connsiteX34" fmla="*/ 894 w 10000"/>
              <a:gd name="connsiteY34" fmla="*/ 9296 h 9974"/>
              <a:gd name="connsiteX35" fmla="*/ 773 w 10000"/>
              <a:gd name="connsiteY35" fmla="*/ 9265 h 9974"/>
              <a:gd name="connsiteX36" fmla="*/ 750 w 10000"/>
              <a:gd name="connsiteY36" fmla="*/ 9312 h 9974"/>
              <a:gd name="connsiteX37" fmla="*/ 1155 w 10000"/>
              <a:gd name="connsiteY37" fmla="*/ 9750 h 9974"/>
              <a:gd name="connsiteX38" fmla="*/ 1091 w 10000"/>
              <a:gd name="connsiteY38" fmla="*/ 9791 h 9974"/>
              <a:gd name="connsiteX39" fmla="*/ 1045 w 10000"/>
              <a:gd name="connsiteY39" fmla="*/ 9876 h 9974"/>
              <a:gd name="connsiteX40" fmla="*/ 987 w 10000"/>
              <a:gd name="connsiteY40" fmla="*/ 9882 h 9974"/>
              <a:gd name="connsiteX41" fmla="*/ 951 w 10000"/>
              <a:gd name="connsiteY41" fmla="*/ 9919 h 9974"/>
              <a:gd name="connsiteX42" fmla="*/ 1195 w 10000"/>
              <a:gd name="connsiteY42" fmla="*/ 9923 h 9974"/>
              <a:gd name="connsiteX43" fmla="*/ 1410 w 10000"/>
              <a:gd name="connsiteY43" fmla="*/ 9960 h 9974"/>
              <a:gd name="connsiteX44" fmla="*/ 1769 w 10000"/>
              <a:gd name="connsiteY44" fmla="*/ 9921 h 9974"/>
              <a:gd name="connsiteX45" fmla="*/ 2091 w 10000"/>
              <a:gd name="connsiteY45" fmla="*/ 9927 h 9974"/>
              <a:gd name="connsiteX46" fmla="*/ 2280 w 10000"/>
              <a:gd name="connsiteY46" fmla="*/ 9974 h 9974"/>
              <a:gd name="connsiteX47" fmla="*/ 2385 w 10000"/>
              <a:gd name="connsiteY47" fmla="*/ 9943 h 9974"/>
              <a:gd name="connsiteX48" fmla="*/ 2485 w 10000"/>
              <a:gd name="connsiteY48" fmla="*/ 9842 h 9974"/>
              <a:gd name="connsiteX49" fmla="*/ 2459 w 10000"/>
              <a:gd name="connsiteY49" fmla="*/ 9677 h 9974"/>
              <a:gd name="connsiteX50" fmla="*/ 2704 w 10000"/>
              <a:gd name="connsiteY50" fmla="*/ 9491 h 9974"/>
              <a:gd name="connsiteX51" fmla="*/ 2883 w 10000"/>
              <a:gd name="connsiteY51" fmla="*/ 9520 h 9974"/>
              <a:gd name="connsiteX52" fmla="*/ 2987 w 10000"/>
              <a:gd name="connsiteY52" fmla="*/ 9446 h 9974"/>
              <a:gd name="connsiteX53" fmla="*/ 3186 w 10000"/>
              <a:gd name="connsiteY53" fmla="*/ 9404 h 9974"/>
              <a:gd name="connsiteX54" fmla="*/ 3457 w 10000"/>
              <a:gd name="connsiteY54" fmla="*/ 9414 h 9974"/>
              <a:gd name="connsiteX55" fmla="*/ 3620 w 10000"/>
              <a:gd name="connsiteY55" fmla="*/ 9444 h 9974"/>
              <a:gd name="connsiteX56" fmla="*/ 3837 w 10000"/>
              <a:gd name="connsiteY56" fmla="*/ 9430 h 9974"/>
              <a:gd name="connsiteX57" fmla="*/ 4056 w 10000"/>
              <a:gd name="connsiteY57" fmla="*/ 9463 h 9974"/>
              <a:gd name="connsiteX58" fmla="*/ 4275 w 10000"/>
              <a:gd name="connsiteY58" fmla="*/ 9467 h 9974"/>
              <a:gd name="connsiteX59" fmla="*/ 4765 w 10000"/>
              <a:gd name="connsiteY59" fmla="*/ 9035 h 9974"/>
              <a:gd name="connsiteX60" fmla="*/ 4889 w 10000"/>
              <a:gd name="connsiteY60" fmla="*/ 8685 h 9974"/>
              <a:gd name="connsiteX61" fmla="*/ 5088 w 10000"/>
              <a:gd name="connsiteY61" fmla="*/ 8528 h 9974"/>
              <a:gd name="connsiteX62" fmla="*/ 5088 w 10000"/>
              <a:gd name="connsiteY62" fmla="*/ 8446 h 9974"/>
              <a:gd name="connsiteX63" fmla="*/ 5016 w 10000"/>
              <a:gd name="connsiteY63" fmla="*/ 8399 h 9974"/>
              <a:gd name="connsiteX64" fmla="*/ 5133 w 10000"/>
              <a:gd name="connsiteY64" fmla="*/ 8326 h 9974"/>
              <a:gd name="connsiteX65" fmla="*/ 5112 w 10000"/>
              <a:gd name="connsiteY65" fmla="*/ 8263 h 9974"/>
              <a:gd name="connsiteX66" fmla="*/ 5032 w 10000"/>
              <a:gd name="connsiteY66" fmla="*/ 8210 h 9974"/>
              <a:gd name="connsiteX67" fmla="*/ 5016 w 10000"/>
              <a:gd name="connsiteY67" fmla="*/ 8173 h 9974"/>
              <a:gd name="connsiteX68" fmla="*/ 5036 w 10000"/>
              <a:gd name="connsiteY68" fmla="*/ 8143 h 9974"/>
              <a:gd name="connsiteX69" fmla="*/ 5144 w 10000"/>
              <a:gd name="connsiteY69" fmla="*/ 8167 h 9974"/>
              <a:gd name="connsiteX70" fmla="*/ 5230 w 10000"/>
              <a:gd name="connsiteY70" fmla="*/ 8165 h 9974"/>
              <a:gd name="connsiteX71" fmla="*/ 5184 w 10000"/>
              <a:gd name="connsiteY71" fmla="*/ 8114 h 9974"/>
              <a:gd name="connsiteX72" fmla="*/ 5198 w 10000"/>
              <a:gd name="connsiteY72" fmla="*/ 8086 h 9974"/>
              <a:gd name="connsiteX73" fmla="*/ 5262 w 10000"/>
              <a:gd name="connsiteY73" fmla="*/ 8043 h 9974"/>
              <a:gd name="connsiteX74" fmla="*/ 5250 w 10000"/>
              <a:gd name="connsiteY74" fmla="*/ 8008 h 9974"/>
              <a:gd name="connsiteX75" fmla="*/ 5309 w 10000"/>
              <a:gd name="connsiteY75" fmla="*/ 7890 h 9974"/>
              <a:gd name="connsiteX76" fmla="*/ 5293 w 10000"/>
              <a:gd name="connsiteY76" fmla="*/ 7855 h 9974"/>
              <a:gd name="connsiteX77" fmla="*/ 4996 w 10000"/>
              <a:gd name="connsiteY77" fmla="*/ 7766 h 9974"/>
              <a:gd name="connsiteX78" fmla="*/ 5036 w 10000"/>
              <a:gd name="connsiteY78" fmla="*/ 7762 h 9974"/>
              <a:gd name="connsiteX79" fmla="*/ 5194 w 10000"/>
              <a:gd name="connsiteY79" fmla="*/ 7786 h 9974"/>
              <a:gd name="connsiteX80" fmla="*/ 5365 w 10000"/>
              <a:gd name="connsiteY80" fmla="*/ 7778 h 9974"/>
              <a:gd name="connsiteX81" fmla="*/ 5415 w 10000"/>
              <a:gd name="connsiteY81" fmla="*/ 7745 h 9974"/>
              <a:gd name="connsiteX82" fmla="*/ 5250 w 10000"/>
              <a:gd name="connsiteY82" fmla="*/ 7684 h 9974"/>
              <a:gd name="connsiteX83" fmla="*/ 4761 w 10000"/>
              <a:gd name="connsiteY83" fmla="*/ 7644 h 9974"/>
              <a:gd name="connsiteX84" fmla="*/ 4794 w 10000"/>
              <a:gd name="connsiteY84" fmla="*/ 7625 h 9974"/>
              <a:gd name="connsiteX85" fmla="*/ 5194 w 10000"/>
              <a:gd name="connsiteY85" fmla="*/ 7613 h 9974"/>
              <a:gd name="connsiteX86" fmla="*/ 5415 w 10000"/>
              <a:gd name="connsiteY86" fmla="*/ 7650 h 9974"/>
              <a:gd name="connsiteX87" fmla="*/ 5542 w 10000"/>
              <a:gd name="connsiteY87" fmla="*/ 7625 h 9974"/>
              <a:gd name="connsiteX88" fmla="*/ 5589 w 10000"/>
              <a:gd name="connsiteY88" fmla="*/ 7562 h 9974"/>
              <a:gd name="connsiteX89" fmla="*/ 5819 w 10000"/>
              <a:gd name="connsiteY89" fmla="*/ 7562 h 9974"/>
              <a:gd name="connsiteX90" fmla="*/ 6131 w 10000"/>
              <a:gd name="connsiteY90" fmla="*/ 7436 h 9974"/>
              <a:gd name="connsiteX91" fmla="*/ 6142 w 10000"/>
              <a:gd name="connsiteY91" fmla="*/ 7352 h 9974"/>
              <a:gd name="connsiteX92" fmla="*/ 6274 w 10000"/>
              <a:gd name="connsiteY92" fmla="*/ 7371 h 9974"/>
              <a:gd name="connsiteX93" fmla="*/ 6268 w 10000"/>
              <a:gd name="connsiteY93" fmla="*/ 7456 h 9974"/>
              <a:gd name="connsiteX94" fmla="*/ 6478 w 10000"/>
              <a:gd name="connsiteY94" fmla="*/ 7450 h 9974"/>
              <a:gd name="connsiteX95" fmla="*/ 6616 w 10000"/>
              <a:gd name="connsiteY95" fmla="*/ 7362 h 9974"/>
              <a:gd name="connsiteX96" fmla="*/ 6872 w 10000"/>
              <a:gd name="connsiteY96" fmla="*/ 7283 h 9974"/>
              <a:gd name="connsiteX97" fmla="*/ 6832 w 10000"/>
              <a:gd name="connsiteY97" fmla="*/ 7193 h 9974"/>
              <a:gd name="connsiteX98" fmla="*/ 6908 w 10000"/>
              <a:gd name="connsiteY98" fmla="*/ 7228 h 9974"/>
              <a:gd name="connsiteX99" fmla="*/ 7025 w 10000"/>
              <a:gd name="connsiteY99" fmla="*/ 7228 h 9974"/>
              <a:gd name="connsiteX100" fmla="*/ 7025 w 10000"/>
              <a:gd name="connsiteY100" fmla="*/ 7187 h 9974"/>
              <a:gd name="connsiteX101" fmla="*/ 7134 w 10000"/>
              <a:gd name="connsiteY101" fmla="*/ 7155 h 9974"/>
              <a:gd name="connsiteX102" fmla="*/ 7119 w 10000"/>
              <a:gd name="connsiteY102" fmla="*/ 7122 h 9974"/>
              <a:gd name="connsiteX103" fmla="*/ 6198 w 10000"/>
              <a:gd name="connsiteY103" fmla="*/ 7189 h 9974"/>
              <a:gd name="connsiteX104" fmla="*/ 5983 w 10000"/>
              <a:gd name="connsiteY104" fmla="*/ 7169 h 9974"/>
              <a:gd name="connsiteX105" fmla="*/ 5895 w 10000"/>
              <a:gd name="connsiteY105" fmla="*/ 7193 h 9974"/>
              <a:gd name="connsiteX106" fmla="*/ 5866 w 10000"/>
              <a:gd name="connsiteY106" fmla="*/ 7147 h 9974"/>
              <a:gd name="connsiteX107" fmla="*/ 5764 w 10000"/>
              <a:gd name="connsiteY107" fmla="*/ 7106 h 9974"/>
              <a:gd name="connsiteX108" fmla="*/ 5354 w 10000"/>
              <a:gd name="connsiteY108" fmla="*/ 7026 h 9974"/>
              <a:gd name="connsiteX109" fmla="*/ 5112 w 10000"/>
              <a:gd name="connsiteY109" fmla="*/ 7039 h 9974"/>
              <a:gd name="connsiteX110" fmla="*/ 5016 w 10000"/>
              <a:gd name="connsiteY110" fmla="*/ 7016 h 9974"/>
              <a:gd name="connsiteX111" fmla="*/ 5118 w 10000"/>
              <a:gd name="connsiteY111" fmla="*/ 6996 h 9974"/>
              <a:gd name="connsiteX112" fmla="*/ 5194 w 10000"/>
              <a:gd name="connsiteY112" fmla="*/ 6953 h 9974"/>
              <a:gd name="connsiteX113" fmla="*/ 5309 w 10000"/>
              <a:gd name="connsiteY113" fmla="*/ 6967 h 9974"/>
              <a:gd name="connsiteX114" fmla="*/ 5445 w 10000"/>
              <a:gd name="connsiteY114" fmla="*/ 6955 h 9974"/>
              <a:gd name="connsiteX115" fmla="*/ 5650 w 10000"/>
              <a:gd name="connsiteY115" fmla="*/ 6969 h 9974"/>
              <a:gd name="connsiteX116" fmla="*/ 5675 w 10000"/>
              <a:gd name="connsiteY116" fmla="*/ 6963 h 9974"/>
              <a:gd name="connsiteX117" fmla="*/ 5834 w 10000"/>
              <a:gd name="connsiteY117" fmla="*/ 7030 h 9974"/>
              <a:gd name="connsiteX118" fmla="*/ 5951 w 10000"/>
              <a:gd name="connsiteY118" fmla="*/ 7006 h 9974"/>
              <a:gd name="connsiteX119" fmla="*/ 5961 w 10000"/>
              <a:gd name="connsiteY119" fmla="*/ 6984 h 9974"/>
              <a:gd name="connsiteX120" fmla="*/ 6069 w 10000"/>
              <a:gd name="connsiteY120" fmla="*/ 7022 h 9974"/>
              <a:gd name="connsiteX121" fmla="*/ 6212 w 10000"/>
              <a:gd name="connsiteY121" fmla="*/ 7043 h 9974"/>
              <a:gd name="connsiteX122" fmla="*/ 6268 w 10000"/>
              <a:gd name="connsiteY122" fmla="*/ 7004 h 9974"/>
              <a:gd name="connsiteX123" fmla="*/ 6314 w 10000"/>
              <a:gd name="connsiteY123" fmla="*/ 7026 h 9974"/>
              <a:gd name="connsiteX124" fmla="*/ 6381 w 10000"/>
              <a:gd name="connsiteY124" fmla="*/ 7100 h 9974"/>
              <a:gd name="connsiteX125" fmla="*/ 6519 w 10000"/>
              <a:gd name="connsiteY125" fmla="*/ 7118 h 9974"/>
              <a:gd name="connsiteX126" fmla="*/ 7082 w 10000"/>
              <a:gd name="connsiteY126" fmla="*/ 7008 h 9974"/>
              <a:gd name="connsiteX127" fmla="*/ 7359 w 10000"/>
              <a:gd name="connsiteY127" fmla="*/ 6853 h 9974"/>
              <a:gd name="connsiteX128" fmla="*/ 7423 w 10000"/>
              <a:gd name="connsiteY128" fmla="*/ 6739 h 9974"/>
              <a:gd name="connsiteX129" fmla="*/ 7323 w 10000"/>
              <a:gd name="connsiteY129" fmla="*/ 6637 h 9974"/>
              <a:gd name="connsiteX130" fmla="*/ 7113 w 10000"/>
              <a:gd name="connsiteY130" fmla="*/ 6576 h 9974"/>
              <a:gd name="connsiteX131" fmla="*/ 6963 w 10000"/>
              <a:gd name="connsiteY131" fmla="*/ 6476 h 9974"/>
              <a:gd name="connsiteX132" fmla="*/ 7102 w 10000"/>
              <a:gd name="connsiteY132" fmla="*/ 6472 h 9974"/>
              <a:gd name="connsiteX133" fmla="*/ 7093 w 10000"/>
              <a:gd name="connsiteY133" fmla="*/ 6448 h 9974"/>
              <a:gd name="connsiteX134" fmla="*/ 6731 w 10000"/>
              <a:gd name="connsiteY134" fmla="*/ 6377 h 9974"/>
              <a:gd name="connsiteX135" fmla="*/ 6716 w 10000"/>
              <a:gd name="connsiteY135" fmla="*/ 6313 h 9974"/>
              <a:gd name="connsiteX136" fmla="*/ 6646 w 10000"/>
              <a:gd name="connsiteY136" fmla="*/ 6246 h 9974"/>
              <a:gd name="connsiteX137" fmla="*/ 6360 w 10000"/>
              <a:gd name="connsiteY137" fmla="*/ 6258 h 9974"/>
              <a:gd name="connsiteX138" fmla="*/ 6258 w 10000"/>
              <a:gd name="connsiteY138" fmla="*/ 6187 h 9974"/>
              <a:gd name="connsiteX139" fmla="*/ 6198 w 10000"/>
              <a:gd name="connsiteY139" fmla="*/ 6183 h 9974"/>
              <a:gd name="connsiteX140" fmla="*/ 6198 w 10000"/>
              <a:gd name="connsiteY140" fmla="*/ 6212 h 9974"/>
              <a:gd name="connsiteX141" fmla="*/ 6069 w 10000"/>
              <a:gd name="connsiteY141" fmla="*/ 6332 h 9974"/>
              <a:gd name="connsiteX142" fmla="*/ 5930 w 10000"/>
              <a:gd name="connsiteY142" fmla="*/ 6403 h 9974"/>
              <a:gd name="connsiteX143" fmla="*/ 5495 w 10000"/>
              <a:gd name="connsiteY143" fmla="*/ 6525 h 9974"/>
              <a:gd name="connsiteX144" fmla="*/ 5342 w 10000"/>
              <a:gd name="connsiteY144" fmla="*/ 6521 h 9974"/>
              <a:gd name="connsiteX145" fmla="*/ 5133 w 10000"/>
              <a:gd name="connsiteY145" fmla="*/ 6539 h 9974"/>
              <a:gd name="connsiteX146" fmla="*/ 5016 w 10000"/>
              <a:gd name="connsiteY146" fmla="*/ 6521 h 9974"/>
              <a:gd name="connsiteX147" fmla="*/ 5169 w 10000"/>
              <a:gd name="connsiteY147" fmla="*/ 6487 h 9974"/>
              <a:gd name="connsiteX148" fmla="*/ 5369 w 10000"/>
              <a:gd name="connsiteY148" fmla="*/ 6472 h 9974"/>
              <a:gd name="connsiteX149" fmla="*/ 5534 w 10000"/>
              <a:gd name="connsiteY149" fmla="*/ 6415 h 9974"/>
              <a:gd name="connsiteX150" fmla="*/ 5695 w 10000"/>
              <a:gd name="connsiteY150" fmla="*/ 6389 h 9974"/>
              <a:gd name="connsiteX151" fmla="*/ 5998 w 10000"/>
              <a:gd name="connsiteY151" fmla="*/ 6291 h 9974"/>
              <a:gd name="connsiteX152" fmla="*/ 6056 w 10000"/>
              <a:gd name="connsiteY152" fmla="*/ 6226 h 9974"/>
              <a:gd name="connsiteX153" fmla="*/ 6060 w 10000"/>
              <a:gd name="connsiteY153" fmla="*/ 6142 h 9974"/>
              <a:gd name="connsiteX154" fmla="*/ 5921 w 10000"/>
              <a:gd name="connsiteY154" fmla="*/ 6128 h 9974"/>
              <a:gd name="connsiteX155" fmla="*/ 5983 w 10000"/>
              <a:gd name="connsiteY155" fmla="*/ 6077 h 9974"/>
              <a:gd name="connsiteX156" fmla="*/ 6002 w 10000"/>
              <a:gd name="connsiteY156" fmla="*/ 6012 h 9974"/>
              <a:gd name="connsiteX157" fmla="*/ 5944 w 10000"/>
              <a:gd name="connsiteY157" fmla="*/ 5951 h 9974"/>
              <a:gd name="connsiteX158" fmla="*/ 5911 w 10000"/>
              <a:gd name="connsiteY158" fmla="*/ 5507 h 9974"/>
              <a:gd name="connsiteX159" fmla="*/ 5993 w 10000"/>
              <a:gd name="connsiteY159" fmla="*/ 5411 h 9974"/>
              <a:gd name="connsiteX160" fmla="*/ 5972 w 10000"/>
              <a:gd name="connsiteY160" fmla="*/ 5372 h 9974"/>
              <a:gd name="connsiteX161" fmla="*/ 6212 w 10000"/>
              <a:gd name="connsiteY161" fmla="*/ 5429 h 9974"/>
              <a:gd name="connsiteX162" fmla="*/ 6229 w 10000"/>
              <a:gd name="connsiteY162" fmla="*/ 5376 h 9974"/>
              <a:gd name="connsiteX163" fmla="*/ 6176 w 10000"/>
              <a:gd name="connsiteY163" fmla="*/ 5238 h 9974"/>
              <a:gd name="connsiteX164" fmla="*/ 6349 w 10000"/>
              <a:gd name="connsiteY164" fmla="*/ 4993 h 9974"/>
              <a:gd name="connsiteX165" fmla="*/ 6243 w 10000"/>
              <a:gd name="connsiteY165" fmla="*/ 4934 h 9974"/>
              <a:gd name="connsiteX166" fmla="*/ 6202 w 10000"/>
              <a:gd name="connsiteY166" fmla="*/ 4879 h 9974"/>
              <a:gd name="connsiteX167" fmla="*/ 6216 w 10000"/>
              <a:gd name="connsiteY167" fmla="*/ 4790 h 9974"/>
              <a:gd name="connsiteX168" fmla="*/ 6470 w 10000"/>
              <a:gd name="connsiteY168" fmla="*/ 4849 h 9974"/>
              <a:gd name="connsiteX169" fmla="*/ 6478 w 10000"/>
              <a:gd name="connsiteY169" fmla="*/ 4832 h 9974"/>
              <a:gd name="connsiteX170" fmla="*/ 6548 w 10000"/>
              <a:gd name="connsiteY170" fmla="*/ 4816 h 9974"/>
              <a:gd name="connsiteX171" fmla="*/ 6646 w 10000"/>
              <a:gd name="connsiteY171" fmla="*/ 4759 h 9974"/>
              <a:gd name="connsiteX172" fmla="*/ 6662 w 10000"/>
              <a:gd name="connsiteY172" fmla="*/ 4743 h 9974"/>
              <a:gd name="connsiteX173" fmla="*/ 6641 w 10000"/>
              <a:gd name="connsiteY173" fmla="*/ 4722 h 9974"/>
              <a:gd name="connsiteX174" fmla="*/ 6693 w 10000"/>
              <a:gd name="connsiteY174" fmla="*/ 4621 h 9974"/>
              <a:gd name="connsiteX175" fmla="*/ 6631 w 10000"/>
              <a:gd name="connsiteY175" fmla="*/ 4555 h 9974"/>
              <a:gd name="connsiteX176" fmla="*/ 6641 w 10000"/>
              <a:gd name="connsiteY176" fmla="*/ 4502 h 9974"/>
              <a:gd name="connsiteX177" fmla="*/ 6676 w 10000"/>
              <a:gd name="connsiteY177" fmla="*/ 4564 h 9974"/>
              <a:gd name="connsiteX178" fmla="*/ 6815 w 10000"/>
              <a:gd name="connsiteY178" fmla="*/ 4610 h 9974"/>
              <a:gd name="connsiteX179" fmla="*/ 6872 w 10000"/>
              <a:gd name="connsiteY179" fmla="*/ 4604 h 9974"/>
              <a:gd name="connsiteX180" fmla="*/ 6963 w 10000"/>
              <a:gd name="connsiteY180" fmla="*/ 4543 h 9974"/>
              <a:gd name="connsiteX181" fmla="*/ 7062 w 10000"/>
              <a:gd name="connsiteY181" fmla="*/ 4568 h 9974"/>
              <a:gd name="connsiteX182" fmla="*/ 7088 w 10000"/>
              <a:gd name="connsiteY182" fmla="*/ 4519 h 9974"/>
              <a:gd name="connsiteX183" fmla="*/ 7154 w 10000"/>
              <a:gd name="connsiteY183" fmla="*/ 4486 h 9974"/>
              <a:gd name="connsiteX184" fmla="*/ 6974 w 10000"/>
              <a:gd name="connsiteY184" fmla="*/ 4451 h 9974"/>
              <a:gd name="connsiteX185" fmla="*/ 7102 w 10000"/>
              <a:gd name="connsiteY185" fmla="*/ 4458 h 9974"/>
              <a:gd name="connsiteX186" fmla="*/ 7234 w 10000"/>
              <a:gd name="connsiteY186" fmla="*/ 4421 h 9974"/>
              <a:gd name="connsiteX187" fmla="*/ 7229 w 10000"/>
              <a:gd name="connsiteY187" fmla="*/ 4396 h 9974"/>
              <a:gd name="connsiteX188" fmla="*/ 7353 w 10000"/>
              <a:gd name="connsiteY188" fmla="*/ 4372 h 9974"/>
              <a:gd name="connsiteX189" fmla="*/ 7364 w 10000"/>
              <a:gd name="connsiteY189" fmla="*/ 4311 h 9974"/>
              <a:gd name="connsiteX190" fmla="*/ 7461 w 10000"/>
              <a:gd name="connsiteY190" fmla="*/ 4299 h 9974"/>
              <a:gd name="connsiteX191" fmla="*/ 7469 w 10000"/>
              <a:gd name="connsiteY191" fmla="*/ 4227 h 9974"/>
              <a:gd name="connsiteX192" fmla="*/ 7572 w 10000"/>
              <a:gd name="connsiteY192" fmla="*/ 4219 h 9974"/>
              <a:gd name="connsiteX193" fmla="*/ 7730 w 10000"/>
              <a:gd name="connsiteY193" fmla="*/ 4234 h 9974"/>
              <a:gd name="connsiteX194" fmla="*/ 7904 w 10000"/>
              <a:gd name="connsiteY194" fmla="*/ 4176 h 9974"/>
              <a:gd name="connsiteX195" fmla="*/ 7966 w 10000"/>
              <a:gd name="connsiteY195" fmla="*/ 4111 h 9974"/>
              <a:gd name="connsiteX196" fmla="*/ 8181 w 10000"/>
              <a:gd name="connsiteY196" fmla="*/ 4044 h 9974"/>
              <a:gd name="connsiteX197" fmla="*/ 8288 w 10000"/>
              <a:gd name="connsiteY197" fmla="*/ 4085 h 9974"/>
              <a:gd name="connsiteX198" fmla="*/ 8452 w 10000"/>
              <a:gd name="connsiteY198" fmla="*/ 4040 h 9974"/>
              <a:gd name="connsiteX199" fmla="*/ 8491 w 10000"/>
              <a:gd name="connsiteY199" fmla="*/ 3983 h 9974"/>
              <a:gd name="connsiteX200" fmla="*/ 8616 w 10000"/>
              <a:gd name="connsiteY200" fmla="*/ 3944 h 9974"/>
              <a:gd name="connsiteX201" fmla="*/ 8722 w 10000"/>
              <a:gd name="connsiteY201" fmla="*/ 3961 h 9974"/>
              <a:gd name="connsiteX202" fmla="*/ 8789 w 10000"/>
              <a:gd name="connsiteY202" fmla="*/ 3932 h 9974"/>
              <a:gd name="connsiteX203" fmla="*/ 8973 w 10000"/>
              <a:gd name="connsiteY203" fmla="*/ 3891 h 9974"/>
              <a:gd name="connsiteX204" fmla="*/ 9049 w 10000"/>
              <a:gd name="connsiteY204" fmla="*/ 3838 h 9974"/>
              <a:gd name="connsiteX205" fmla="*/ 9153 w 10000"/>
              <a:gd name="connsiteY205" fmla="*/ 3816 h 9974"/>
              <a:gd name="connsiteX206" fmla="*/ 9720 w 10000"/>
              <a:gd name="connsiteY206" fmla="*/ 3496 h 9974"/>
              <a:gd name="connsiteX207" fmla="*/ 9971 w 10000"/>
              <a:gd name="connsiteY207" fmla="*/ 363 h 9974"/>
              <a:gd name="connsiteX208" fmla="*/ 9049 w 10000"/>
              <a:gd name="connsiteY208" fmla="*/ 0 h 9974"/>
              <a:gd name="connsiteX209" fmla="*/ 7537 w 10000"/>
              <a:gd name="connsiteY209" fmla="*/ 361 h 9974"/>
              <a:gd name="connsiteX210" fmla="*/ 7423 w 10000"/>
              <a:gd name="connsiteY210" fmla="*/ 369 h 9974"/>
              <a:gd name="connsiteX211" fmla="*/ 7359 w 10000"/>
              <a:gd name="connsiteY211" fmla="*/ 388 h 9974"/>
              <a:gd name="connsiteX212" fmla="*/ 7290 w 10000"/>
              <a:gd name="connsiteY212" fmla="*/ 436 h 9974"/>
              <a:gd name="connsiteX213" fmla="*/ 7302 w 10000"/>
              <a:gd name="connsiteY213" fmla="*/ 555 h 9974"/>
              <a:gd name="connsiteX214" fmla="*/ 7199 w 10000"/>
              <a:gd name="connsiteY214" fmla="*/ 709 h 9974"/>
              <a:gd name="connsiteX215" fmla="*/ 7072 w 10000"/>
              <a:gd name="connsiteY215" fmla="*/ 789 h 9974"/>
              <a:gd name="connsiteX216" fmla="*/ 7021 w 10000"/>
              <a:gd name="connsiteY216" fmla="*/ 779 h 9974"/>
              <a:gd name="connsiteX217" fmla="*/ 6903 w 10000"/>
              <a:gd name="connsiteY217" fmla="*/ 713 h 9974"/>
              <a:gd name="connsiteX218" fmla="*/ 6756 w 10000"/>
              <a:gd name="connsiteY218" fmla="*/ 679 h 9974"/>
              <a:gd name="connsiteX219" fmla="*/ 6594 w 10000"/>
              <a:gd name="connsiteY219" fmla="*/ 689 h 9974"/>
              <a:gd name="connsiteX220" fmla="*/ 6223 w 10000"/>
              <a:gd name="connsiteY220" fmla="*/ 840 h 9974"/>
              <a:gd name="connsiteX221" fmla="*/ 6125 w 10000"/>
              <a:gd name="connsiteY221" fmla="*/ 991 h 9974"/>
              <a:gd name="connsiteX222" fmla="*/ 5845 w 10000"/>
              <a:gd name="connsiteY222" fmla="*/ 1127 h 9974"/>
              <a:gd name="connsiteX223" fmla="*/ 5794 w 10000"/>
              <a:gd name="connsiteY223" fmla="*/ 1196 h 9974"/>
              <a:gd name="connsiteX224" fmla="*/ 5940 w 10000"/>
              <a:gd name="connsiteY224" fmla="*/ 1318 h 9974"/>
              <a:gd name="connsiteX225" fmla="*/ 5956 w 10000"/>
              <a:gd name="connsiteY225" fmla="*/ 1386 h 9974"/>
              <a:gd name="connsiteX226" fmla="*/ 5190 w 10000"/>
              <a:gd name="connsiteY226" fmla="*/ 1787 h 9974"/>
              <a:gd name="connsiteX227" fmla="*/ 4955 w 10000"/>
              <a:gd name="connsiteY227" fmla="*/ 2044 h 9974"/>
              <a:gd name="connsiteX228" fmla="*/ 4702 w 10000"/>
              <a:gd name="connsiteY228" fmla="*/ 2109 h 9974"/>
              <a:gd name="connsiteX229" fmla="*/ 4540 w 10000"/>
              <a:gd name="connsiteY229" fmla="*/ 2105 h 9974"/>
              <a:gd name="connsiteX230" fmla="*/ 4443 w 10000"/>
              <a:gd name="connsiteY230" fmla="*/ 2127 h 9974"/>
              <a:gd name="connsiteX231" fmla="*/ 4178 w 10000"/>
              <a:gd name="connsiteY231" fmla="*/ 2767 h 9974"/>
              <a:gd name="connsiteX232" fmla="*/ 3565 w 10000"/>
              <a:gd name="connsiteY232" fmla="*/ 3140 h 9974"/>
              <a:gd name="connsiteX233" fmla="*/ 3569 w 10000"/>
              <a:gd name="connsiteY233" fmla="*/ 3199 h 9974"/>
              <a:gd name="connsiteX234" fmla="*/ 3841 w 10000"/>
              <a:gd name="connsiteY234" fmla="*/ 3366 h 9974"/>
              <a:gd name="connsiteX235" fmla="*/ 3753 w 10000"/>
              <a:gd name="connsiteY235" fmla="*/ 3547 h 9974"/>
              <a:gd name="connsiteX236" fmla="*/ 3594 w 10000"/>
              <a:gd name="connsiteY236" fmla="*/ 3614 h 9974"/>
              <a:gd name="connsiteX237" fmla="*/ 3118 w 10000"/>
              <a:gd name="connsiteY237" fmla="*/ 3569 h 9974"/>
              <a:gd name="connsiteX238" fmla="*/ 2791 w 10000"/>
              <a:gd name="connsiteY238" fmla="*/ 3594 h 9974"/>
              <a:gd name="connsiteX239" fmla="*/ 2528 w 10000"/>
              <a:gd name="connsiteY239" fmla="*/ 3647 h 9974"/>
              <a:gd name="connsiteX240" fmla="*/ 2102 w 10000"/>
              <a:gd name="connsiteY240" fmla="*/ 3814 h 9974"/>
              <a:gd name="connsiteX241" fmla="*/ 1877 w 10000"/>
              <a:gd name="connsiteY241" fmla="*/ 4016 h 9974"/>
              <a:gd name="connsiteX242" fmla="*/ 1896 w 10000"/>
              <a:gd name="connsiteY242" fmla="*/ 4128 h 9974"/>
              <a:gd name="connsiteX243" fmla="*/ 1975 w 10000"/>
              <a:gd name="connsiteY243" fmla="*/ 4215 h 9974"/>
              <a:gd name="connsiteX244" fmla="*/ 2034 w 10000"/>
              <a:gd name="connsiteY244" fmla="*/ 4250 h 9974"/>
              <a:gd name="connsiteX245" fmla="*/ 1924 w 10000"/>
              <a:gd name="connsiteY245" fmla="*/ 4305 h 9974"/>
              <a:gd name="connsiteX246" fmla="*/ 1683 w 10000"/>
              <a:gd name="connsiteY246" fmla="*/ 4684 h 9974"/>
              <a:gd name="connsiteX247" fmla="*/ 1729 w 10000"/>
              <a:gd name="connsiteY247" fmla="*/ 4706 h 9974"/>
              <a:gd name="connsiteX248" fmla="*/ 1764 w 10000"/>
              <a:gd name="connsiteY248" fmla="*/ 4802 h 9974"/>
              <a:gd name="connsiteX249" fmla="*/ 1652 w 10000"/>
              <a:gd name="connsiteY249" fmla="*/ 5201 h 9974"/>
              <a:gd name="connsiteX250" fmla="*/ 1764 w 10000"/>
              <a:gd name="connsiteY250" fmla="*/ 5303 h 9974"/>
              <a:gd name="connsiteX251" fmla="*/ 2071 w 10000"/>
              <a:gd name="connsiteY251" fmla="*/ 5415 h 9974"/>
              <a:gd name="connsiteX252" fmla="*/ 2085 w 10000"/>
              <a:gd name="connsiteY252" fmla="*/ 5552 h 9974"/>
              <a:gd name="connsiteX253" fmla="*/ 1954 w 10000"/>
              <a:gd name="connsiteY253" fmla="*/ 5664 h 9974"/>
              <a:gd name="connsiteX254" fmla="*/ 1764 w 10000"/>
              <a:gd name="connsiteY254" fmla="*/ 5733 h 9974"/>
              <a:gd name="connsiteX255" fmla="*/ 1513 w 10000"/>
              <a:gd name="connsiteY255" fmla="*/ 5761 h 9974"/>
              <a:gd name="connsiteX256" fmla="*/ 1448 w 10000"/>
              <a:gd name="connsiteY256" fmla="*/ 5800 h 9974"/>
              <a:gd name="connsiteX257" fmla="*/ 1594 w 10000"/>
              <a:gd name="connsiteY257" fmla="*/ 5894 h 9974"/>
              <a:gd name="connsiteX258" fmla="*/ 1678 w 10000"/>
              <a:gd name="connsiteY258" fmla="*/ 6116 h 9974"/>
              <a:gd name="connsiteX259" fmla="*/ 1488 w 10000"/>
              <a:gd name="connsiteY259" fmla="*/ 6307 h 9974"/>
              <a:gd name="connsiteX260" fmla="*/ 1554 w 10000"/>
              <a:gd name="connsiteY260" fmla="*/ 6366 h 9974"/>
              <a:gd name="connsiteX261" fmla="*/ 1494 w 10000"/>
              <a:gd name="connsiteY261" fmla="*/ 6466 h 9974"/>
              <a:gd name="connsiteX262" fmla="*/ 1372 w 10000"/>
              <a:gd name="connsiteY262" fmla="*/ 6535 h 9974"/>
              <a:gd name="connsiteX263" fmla="*/ 889 w 10000"/>
              <a:gd name="connsiteY263" fmla="*/ 6588 h 9974"/>
              <a:gd name="connsiteX264" fmla="*/ 860 w 10000"/>
              <a:gd name="connsiteY264" fmla="*/ 6680 h 9974"/>
              <a:gd name="connsiteX265" fmla="*/ 600 w 10000"/>
              <a:gd name="connsiteY265" fmla="*/ 6817 h 9974"/>
              <a:gd name="connsiteX266" fmla="*/ 634 w 10000"/>
              <a:gd name="connsiteY266" fmla="*/ 7014 h 9974"/>
              <a:gd name="connsiteX267" fmla="*/ 415 w 10000"/>
              <a:gd name="connsiteY267" fmla="*/ 7267 h 9974"/>
              <a:gd name="connsiteX268" fmla="*/ 266 w 10000"/>
              <a:gd name="connsiteY268" fmla="*/ 7297 h 9974"/>
              <a:gd name="connsiteX269" fmla="*/ 204 w 10000"/>
              <a:gd name="connsiteY269" fmla="*/ 7236 h 9974"/>
              <a:gd name="connsiteX270" fmla="*/ 128 w 10000"/>
              <a:gd name="connsiteY270" fmla="*/ 7328 h 9974"/>
              <a:gd name="connsiteX271" fmla="*/ 178 w 10000"/>
              <a:gd name="connsiteY271" fmla="*/ 7171 h 9974"/>
              <a:gd name="connsiteX272" fmla="*/ 147 w 10000"/>
              <a:gd name="connsiteY272" fmla="*/ 7140 h 9974"/>
              <a:gd name="connsiteX0" fmla="*/ 147 w 10000"/>
              <a:gd name="connsiteY0" fmla="*/ 6797 h 9638"/>
              <a:gd name="connsiteX1" fmla="*/ 0 w 10000"/>
              <a:gd name="connsiteY1" fmla="*/ 6879 h 9638"/>
              <a:gd name="connsiteX2" fmla="*/ 0 w 10000"/>
              <a:gd name="connsiteY2" fmla="*/ 7283 h 9638"/>
              <a:gd name="connsiteX3" fmla="*/ 81 w 10000"/>
              <a:gd name="connsiteY3" fmla="*/ 7295 h 9638"/>
              <a:gd name="connsiteX4" fmla="*/ 100 w 10000"/>
              <a:gd name="connsiteY4" fmla="*/ 7326 h 9638"/>
              <a:gd name="connsiteX5" fmla="*/ 96 w 10000"/>
              <a:gd name="connsiteY5" fmla="*/ 7381 h 9638"/>
              <a:gd name="connsiteX6" fmla="*/ 66 w 10000"/>
              <a:gd name="connsiteY6" fmla="*/ 7405 h 9638"/>
              <a:gd name="connsiteX7" fmla="*/ 190 w 10000"/>
              <a:gd name="connsiteY7" fmla="*/ 7359 h 9638"/>
              <a:gd name="connsiteX8" fmla="*/ 242 w 10000"/>
              <a:gd name="connsiteY8" fmla="*/ 7312 h 9638"/>
              <a:gd name="connsiteX9" fmla="*/ 306 w 10000"/>
              <a:gd name="connsiteY9" fmla="*/ 7344 h 9638"/>
              <a:gd name="connsiteX10" fmla="*/ 235 w 10000"/>
              <a:gd name="connsiteY10" fmla="*/ 7410 h 9638"/>
              <a:gd name="connsiteX11" fmla="*/ 311 w 10000"/>
              <a:gd name="connsiteY11" fmla="*/ 7412 h 9638"/>
              <a:gd name="connsiteX12" fmla="*/ 348 w 10000"/>
              <a:gd name="connsiteY12" fmla="*/ 7428 h 9638"/>
              <a:gd name="connsiteX13" fmla="*/ 250 w 10000"/>
              <a:gd name="connsiteY13" fmla="*/ 7450 h 9638"/>
              <a:gd name="connsiteX14" fmla="*/ 96 w 10000"/>
              <a:gd name="connsiteY14" fmla="*/ 7518 h 9638"/>
              <a:gd name="connsiteX15" fmla="*/ 370 w 10000"/>
              <a:gd name="connsiteY15" fmla="*/ 7571 h 9638"/>
              <a:gd name="connsiteX16" fmla="*/ 404 w 10000"/>
              <a:gd name="connsiteY16" fmla="*/ 7647 h 9638"/>
              <a:gd name="connsiteX17" fmla="*/ 311 w 10000"/>
              <a:gd name="connsiteY17" fmla="*/ 7759 h 9638"/>
              <a:gd name="connsiteX18" fmla="*/ 511 w 10000"/>
              <a:gd name="connsiteY18" fmla="*/ 7751 h 9638"/>
              <a:gd name="connsiteX19" fmla="*/ 526 w 10000"/>
              <a:gd name="connsiteY19" fmla="*/ 7836 h 9638"/>
              <a:gd name="connsiteX20" fmla="*/ 393 w 10000"/>
              <a:gd name="connsiteY20" fmla="*/ 7893 h 9638"/>
              <a:gd name="connsiteX21" fmla="*/ 415 w 10000"/>
              <a:gd name="connsiteY21" fmla="*/ 8004 h 9638"/>
              <a:gd name="connsiteX22" fmla="*/ 364 w 10000"/>
              <a:gd name="connsiteY22" fmla="*/ 8090 h 9638"/>
              <a:gd name="connsiteX23" fmla="*/ 521 w 10000"/>
              <a:gd name="connsiteY23" fmla="*/ 8098 h 9638"/>
              <a:gd name="connsiteX24" fmla="*/ 676 w 10000"/>
              <a:gd name="connsiteY24" fmla="*/ 8427 h 9638"/>
              <a:gd name="connsiteX25" fmla="*/ 853 w 10000"/>
              <a:gd name="connsiteY25" fmla="*/ 8511 h 9638"/>
              <a:gd name="connsiteX26" fmla="*/ 931 w 10000"/>
              <a:gd name="connsiteY26" fmla="*/ 8600 h 9638"/>
              <a:gd name="connsiteX27" fmla="*/ 1125 w 10000"/>
              <a:gd name="connsiteY27" fmla="*/ 8665 h 9638"/>
              <a:gd name="connsiteX28" fmla="*/ 1249 w 10000"/>
              <a:gd name="connsiteY28" fmla="*/ 8748 h 9638"/>
              <a:gd name="connsiteX29" fmla="*/ 1233 w 10000"/>
              <a:gd name="connsiteY29" fmla="*/ 8807 h 9638"/>
              <a:gd name="connsiteX30" fmla="*/ 1110 w 10000"/>
              <a:gd name="connsiteY30" fmla="*/ 8829 h 9638"/>
              <a:gd name="connsiteX31" fmla="*/ 976 w 10000"/>
              <a:gd name="connsiteY31" fmla="*/ 8815 h 9638"/>
              <a:gd name="connsiteX32" fmla="*/ 935 w 10000"/>
              <a:gd name="connsiteY32" fmla="*/ 8840 h 9638"/>
              <a:gd name="connsiteX33" fmla="*/ 1037 w 10000"/>
              <a:gd name="connsiteY33" fmla="*/ 8968 h 9638"/>
              <a:gd name="connsiteX34" fmla="*/ 894 w 10000"/>
              <a:gd name="connsiteY34" fmla="*/ 8958 h 9638"/>
              <a:gd name="connsiteX35" fmla="*/ 773 w 10000"/>
              <a:gd name="connsiteY35" fmla="*/ 8927 h 9638"/>
              <a:gd name="connsiteX36" fmla="*/ 750 w 10000"/>
              <a:gd name="connsiteY36" fmla="*/ 8974 h 9638"/>
              <a:gd name="connsiteX37" fmla="*/ 1155 w 10000"/>
              <a:gd name="connsiteY37" fmla="*/ 9413 h 9638"/>
              <a:gd name="connsiteX38" fmla="*/ 1091 w 10000"/>
              <a:gd name="connsiteY38" fmla="*/ 9455 h 9638"/>
              <a:gd name="connsiteX39" fmla="*/ 1045 w 10000"/>
              <a:gd name="connsiteY39" fmla="*/ 9540 h 9638"/>
              <a:gd name="connsiteX40" fmla="*/ 987 w 10000"/>
              <a:gd name="connsiteY40" fmla="*/ 9546 h 9638"/>
              <a:gd name="connsiteX41" fmla="*/ 951 w 10000"/>
              <a:gd name="connsiteY41" fmla="*/ 9583 h 9638"/>
              <a:gd name="connsiteX42" fmla="*/ 1195 w 10000"/>
              <a:gd name="connsiteY42" fmla="*/ 9587 h 9638"/>
              <a:gd name="connsiteX43" fmla="*/ 1410 w 10000"/>
              <a:gd name="connsiteY43" fmla="*/ 9624 h 9638"/>
              <a:gd name="connsiteX44" fmla="*/ 1769 w 10000"/>
              <a:gd name="connsiteY44" fmla="*/ 9585 h 9638"/>
              <a:gd name="connsiteX45" fmla="*/ 2091 w 10000"/>
              <a:gd name="connsiteY45" fmla="*/ 9591 h 9638"/>
              <a:gd name="connsiteX46" fmla="*/ 2280 w 10000"/>
              <a:gd name="connsiteY46" fmla="*/ 9638 h 9638"/>
              <a:gd name="connsiteX47" fmla="*/ 2385 w 10000"/>
              <a:gd name="connsiteY47" fmla="*/ 9607 h 9638"/>
              <a:gd name="connsiteX48" fmla="*/ 2485 w 10000"/>
              <a:gd name="connsiteY48" fmla="*/ 9506 h 9638"/>
              <a:gd name="connsiteX49" fmla="*/ 2459 w 10000"/>
              <a:gd name="connsiteY49" fmla="*/ 9340 h 9638"/>
              <a:gd name="connsiteX50" fmla="*/ 2704 w 10000"/>
              <a:gd name="connsiteY50" fmla="*/ 9154 h 9638"/>
              <a:gd name="connsiteX51" fmla="*/ 2883 w 10000"/>
              <a:gd name="connsiteY51" fmla="*/ 9183 h 9638"/>
              <a:gd name="connsiteX52" fmla="*/ 2987 w 10000"/>
              <a:gd name="connsiteY52" fmla="*/ 9109 h 9638"/>
              <a:gd name="connsiteX53" fmla="*/ 3186 w 10000"/>
              <a:gd name="connsiteY53" fmla="*/ 9067 h 9638"/>
              <a:gd name="connsiteX54" fmla="*/ 3457 w 10000"/>
              <a:gd name="connsiteY54" fmla="*/ 9077 h 9638"/>
              <a:gd name="connsiteX55" fmla="*/ 3620 w 10000"/>
              <a:gd name="connsiteY55" fmla="*/ 9107 h 9638"/>
              <a:gd name="connsiteX56" fmla="*/ 3837 w 10000"/>
              <a:gd name="connsiteY56" fmla="*/ 9093 h 9638"/>
              <a:gd name="connsiteX57" fmla="*/ 4056 w 10000"/>
              <a:gd name="connsiteY57" fmla="*/ 9126 h 9638"/>
              <a:gd name="connsiteX58" fmla="*/ 4275 w 10000"/>
              <a:gd name="connsiteY58" fmla="*/ 9130 h 9638"/>
              <a:gd name="connsiteX59" fmla="*/ 4765 w 10000"/>
              <a:gd name="connsiteY59" fmla="*/ 8697 h 9638"/>
              <a:gd name="connsiteX60" fmla="*/ 4889 w 10000"/>
              <a:gd name="connsiteY60" fmla="*/ 8346 h 9638"/>
              <a:gd name="connsiteX61" fmla="*/ 5088 w 10000"/>
              <a:gd name="connsiteY61" fmla="*/ 8188 h 9638"/>
              <a:gd name="connsiteX62" fmla="*/ 5088 w 10000"/>
              <a:gd name="connsiteY62" fmla="*/ 8106 h 9638"/>
              <a:gd name="connsiteX63" fmla="*/ 5016 w 10000"/>
              <a:gd name="connsiteY63" fmla="*/ 8059 h 9638"/>
              <a:gd name="connsiteX64" fmla="*/ 5133 w 10000"/>
              <a:gd name="connsiteY64" fmla="*/ 7986 h 9638"/>
              <a:gd name="connsiteX65" fmla="*/ 5112 w 10000"/>
              <a:gd name="connsiteY65" fmla="*/ 7923 h 9638"/>
              <a:gd name="connsiteX66" fmla="*/ 5032 w 10000"/>
              <a:gd name="connsiteY66" fmla="*/ 7869 h 9638"/>
              <a:gd name="connsiteX67" fmla="*/ 5016 w 10000"/>
              <a:gd name="connsiteY67" fmla="*/ 7832 h 9638"/>
              <a:gd name="connsiteX68" fmla="*/ 5036 w 10000"/>
              <a:gd name="connsiteY68" fmla="*/ 7802 h 9638"/>
              <a:gd name="connsiteX69" fmla="*/ 5144 w 10000"/>
              <a:gd name="connsiteY69" fmla="*/ 7826 h 9638"/>
              <a:gd name="connsiteX70" fmla="*/ 5230 w 10000"/>
              <a:gd name="connsiteY70" fmla="*/ 7824 h 9638"/>
              <a:gd name="connsiteX71" fmla="*/ 5184 w 10000"/>
              <a:gd name="connsiteY71" fmla="*/ 7773 h 9638"/>
              <a:gd name="connsiteX72" fmla="*/ 5198 w 10000"/>
              <a:gd name="connsiteY72" fmla="*/ 7745 h 9638"/>
              <a:gd name="connsiteX73" fmla="*/ 5262 w 10000"/>
              <a:gd name="connsiteY73" fmla="*/ 7702 h 9638"/>
              <a:gd name="connsiteX74" fmla="*/ 5250 w 10000"/>
              <a:gd name="connsiteY74" fmla="*/ 7667 h 9638"/>
              <a:gd name="connsiteX75" fmla="*/ 5309 w 10000"/>
              <a:gd name="connsiteY75" fmla="*/ 7549 h 9638"/>
              <a:gd name="connsiteX76" fmla="*/ 5293 w 10000"/>
              <a:gd name="connsiteY76" fmla="*/ 7513 h 9638"/>
              <a:gd name="connsiteX77" fmla="*/ 4996 w 10000"/>
              <a:gd name="connsiteY77" fmla="*/ 7424 h 9638"/>
              <a:gd name="connsiteX78" fmla="*/ 5036 w 10000"/>
              <a:gd name="connsiteY78" fmla="*/ 7420 h 9638"/>
              <a:gd name="connsiteX79" fmla="*/ 5194 w 10000"/>
              <a:gd name="connsiteY79" fmla="*/ 7444 h 9638"/>
              <a:gd name="connsiteX80" fmla="*/ 5365 w 10000"/>
              <a:gd name="connsiteY80" fmla="*/ 7436 h 9638"/>
              <a:gd name="connsiteX81" fmla="*/ 5415 w 10000"/>
              <a:gd name="connsiteY81" fmla="*/ 7403 h 9638"/>
              <a:gd name="connsiteX82" fmla="*/ 5250 w 10000"/>
              <a:gd name="connsiteY82" fmla="*/ 7342 h 9638"/>
              <a:gd name="connsiteX83" fmla="*/ 4761 w 10000"/>
              <a:gd name="connsiteY83" fmla="*/ 7302 h 9638"/>
              <a:gd name="connsiteX84" fmla="*/ 4794 w 10000"/>
              <a:gd name="connsiteY84" fmla="*/ 7283 h 9638"/>
              <a:gd name="connsiteX85" fmla="*/ 5194 w 10000"/>
              <a:gd name="connsiteY85" fmla="*/ 7271 h 9638"/>
              <a:gd name="connsiteX86" fmla="*/ 5415 w 10000"/>
              <a:gd name="connsiteY86" fmla="*/ 7308 h 9638"/>
              <a:gd name="connsiteX87" fmla="*/ 5542 w 10000"/>
              <a:gd name="connsiteY87" fmla="*/ 7283 h 9638"/>
              <a:gd name="connsiteX88" fmla="*/ 5589 w 10000"/>
              <a:gd name="connsiteY88" fmla="*/ 7220 h 9638"/>
              <a:gd name="connsiteX89" fmla="*/ 5819 w 10000"/>
              <a:gd name="connsiteY89" fmla="*/ 7220 h 9638"/>
              <a:gd name="connsiteX90" fmla="*/ 6131 w 10000"/>
              <a:gd name="connsiteY90" fmla="*/ 7093 h 9638"/>
              <a:gd name="connsiteX91" fmla="*/ 6142 w 10000"/>
              <a:gd name="connsiteY91" fmla="*/ 7009 h 9638"/>
              <a:gd name="connsiteX92" fmla="*/ 6274 w 10000"/>
              <a:gd name="connsiteY92" fmla="*/ 7028 h 9638"/>
              <a:gd name="connsiteX93" fmla="*/ 6268 w 10000"/>
              <a:gd name="connsiteY93" fmla="*/ 7113 h 9638"/>
              <a:gd name="connsiteX94" fmla="*/ 6478 w 10000"/>
              <a:gd name="connsiteY94" fmla="*/ 7107 h 9638"/>
              <a:gd name="connsiteX95" fmla="*/ 6616 w 10000"/>
              <a:gd name="connsiteY95" fmla="*/ 7019 h 9638"/>
              <a:gd name="connsiteX96" fmla="*/ 6872 w 10000"/>
              <a:gd name="connsiteY96" fmla="*/ 6940 h 9638"/>
              <a:gd name="connsiteX97" fmla="*/ 6832 w 10000"/>
              <a:gd name="connsiteY97" fmla="*/ 6850 h 9638"/>
              <a:gd name="connsiteX98" fmla="*/ 6908 w 10000"/>
              <a:gd name="connsiteY98" fmla="*/ 6885 h 9638"/>
              <a:gd name="connsiteX99" fmla="*/ 7025 w 10000"/>
              <a:gd name="connsiteY99" fmla="*/ 6885 h 9638"/>
              <a:gd name="connsiteX100" fmla="*/ 7025 w 10000"/>
              <a:gd name="connsiteY100" fmla="*/ 6844 h 9638"/>
              <a:gd name="connsiteX101" fmla="*/ 7134 w 10000"/>
              <a:gd name="connsiteY101" fmla="*/ 6812 h 9638"/>
              <a:gd name="connsiteX102" fmla="*/ 7119 w 10000"/>
              <a:gd name="connsiteY102" fmla="*/ 6779 h 9638"/>
              <a:gd name="connsiteX103" fmla="*/ 6198 w 10000"/>
              <a:gd name="connsiteY103" fmla="*/ 6846 h 9638"/>
              <a:gd name="connsiteX104" fmla="*/ 5983 w 10000"/>
              <a:gd name="connsiteY104" fmla="*/ 6826 h 9638"/>
              <a:gd name="connsiteX105" fmla="*/ 5895 w 10000"/>
              <a:gd name="connsiteY105" fmla="*/ 6850 h 9638"/>
              <a:gd name="connsiteX106" fmla="*/ 5866 w 10000"/>
              <a:gd name="connsiteY106" fmla="*/ 6804 h 9638"/>
              <a:gd name="connsiteX107" fmla="*/ 5764 w 10000"/>
              <a:gd name="connsiteY107" fmla="*/ 6763 h 9638"/>
              <a:gd name="connsiteX108" fmla="*/ 5354 w 10000"/>
              <a:gd name="connsiteY108" fmla="*/ 6682 h 9638"/>
              <a:gd name="connsiteX109" fmla="*/ 5112 w 10000"/>
              <a:gd name="connsiteY109" fmla="*/ 6695 h 9638"/>
              <a:gd name="connsiteX110" fmla="*/ 5016 w 10000"/>
              <a:gd name="connsiteY110" fmla="*/ 6672 h 9638"/>
              <a:gd name="connsiteX111" fmla="*/ 5118 w 10000"/>
              <a:gd name="connsiteY111" fmla="*/ 6652 h 9638"/>
              <a:gd name="connsiteX112" fmla="*/ 5194 w 10000"/>
              <a:gd name="connsiteY112" fmla="*/ 6609 h 9638"/>
              <a:gd name="connsiteX113" fmla="*/ 5309 w 10000"/>
              <a:gd name="connsiteY113" fmla="*/ 6623 h 9638"/>
              <a:gd name="connsiteX114" fmla="*/ 5445 w 10000"/>
              <a:gd name="connsiteY114" fmla="*/ 6611 h 9638"/>
              <a:gd name="connsiteX115" fmla="*/ 5650 w 10000"/>
              <a:gd name="connsiteY115" fmla="*/ 6625 h 9638"/>
              <a:gd name="connsiteX116" fmla="*/ 5675 w 10000"/>
              <a:gd name="connsiteY116" fmla="*/ 6619 h 9638"/>
              <a:gd name="connsiteX117" fmla="*/ 5834 w 10000"/>
              <a:gd name="connsiteY117" fmla="*/ 6686 h 9638"/>
              <a:gd name="connsiteX118" fmla="*/ 5951 w 10000"/>
              <a:gd name="connsiteY118" fmla="*/ 6662 h 9638"/>
              <a:gd name="connsiteX119" fmla="*/ 5961 w 10000"/>
              <a:gd name="connsiteY119" fmla="*/ 6640 h 9638"/>
              <a:gd name="connsiteX120" fmla="*/ 6069 w 10000"/>
              <a:gd name="connsiteY120" fmla="*/ 6678 h 9638"/>
              <a:gd name="connsiteX121" fmla="*/ 6212 w 10000"/>
              <a:gd name="connsiteY121" fmla="*/ 6699 h 9638"/>
              <a:gd name="connsiteX122" fmla="*/ 6268 w 10000"/>
              <a:gd name="connsiteY122" fmla="*/ 6660 h 9638"/>
              <a:gd name="connsiteX123" fmla="*/ 6314 w 10000"/>
              <a:gd name="connsiteY123" fmla="*/ 6682 h 9638"/>
              <a:gd name="connsiteX124" fmla="*/ 6381 w 10000"/>
              <a:gd name="connsiteY124" fmla="*/ 6757 h 9638"/>
              <a:gd name="connsiteX125" fmla="*/ 6519 w 10000"/>
              <a:gd name="connsiteY125" fmla="*/ 6775 h 9638"/>
              <a:gd name="connsiteX126" fmla="*/ 7082 w 10000"/>
              <a:gd name="connsiteY126" fmla="*/ 6664 h 9638"/>
              <a:gd name="connsiteX127" fmla="*/ 7359 w 10000"/>
              <a:gd name="connsiteY127" fmla="*/ 6509 h 9638"/>
              <a:gd name="connsiteX128" fmla="*/ 7423 w 10000"/>
              <a:gd name="connsiteY128" fmla="*/ 6395 h 9638"/>
              <a:gd name="connsiteX129" fmla="*/ 7323 w 10000"/>
              <a:gd name="connsiteY129" fmla="*/ 6292 h 9638"/>
              <a:gd name="connsiteX130" fmla="*/ 7113 w 10000"/>
              <a:gd name="connsiteY130" fmla="*/ 6231 h 9638"/>
              <a:gd name="connsiteX131" fmla="*/ 6963 w 10000"/>
              <a:gd name="connsiteY131" fmla="*/ 6131 h 9638"/>
              <a:gd name="connsiteX132" fmla="*/ 7102 w 10000"/>
              <a:gd name="connsiteY132" fmla="*/ 6127 h 9638"/>
              <a:gd name="connsiteX133" fmla="*/ 7093 w 10000"/>
              <a:gd name="connsiteY133" fmla="*/ 6103 h 9638"/>
              <a:gd name="connsiteX134" fmla="*/ 6731 w 10000"/>
              <a:gd name="connsiteY134" fmla="*/ 6032 h 9638"/>
              <a:gd name="connsiteX135" fmla="*/ 6716 w 10000"/>
              <a:gd name="connsiteY135" fmla="*/ 5967 h 9638"/>
              <a:gd name="connsiteX136" fmla="*/ 6646 w 10000"/>
              <a:gd name="connsiteY136" fmla="*/ 5900 h 9638"/>
              <a:gd name="connsiteX137" fmla="*/ 6360 w 10000"/>
              <a:gd name="connsiteY137" fmla="*/ 5912 h 9638"/>
              <a:gd name="connsiteX138" fmla="*/ 6258 w 10000"/>
              <a:gd name="connsiteY138" fmla="*/ 5841 h 9638"/>
              <a:gd name="connsiteX139" fmla="*/ 6198 w 10000"/>
              <a:gd name="connsiteY139" fmla="*/ 5837 h 9638"/>
              <a:gd name="connsiteX140" fmla="*/ 6198 w 10000"/>
              <a:gd name="connsiteY140" fmla="*/ 5866 h 9638"/>
              <a:gd name="connsiteX141" fmla="*/ 6069 w 10000"/>
              <a:gd name="connsiteY141" fmla="*/ 5987 h 9638"/>
              <a:gd name="connsiteX142" fmla="*/ 5930 w 10000"/>
              <a:gd name="connsiteY142" fmla="*/ 6058 h 9638"/>
              <a:gd name="connsiteX143" fmla="*/ 5495 w 10000"/>
              <a:gd name="connsiteY143" fmla="*/ 6180 h 9638"/>
              <a:gd name="connsiteX144" fmla="*/ 5342 w 10000"/>
              <a:gd name="connsiteY144" fmla="*/ 6176 h 9638"/>
              <a:gd name="connsiteX145" fmla="*/ 5133 w 10000"/>
              <a:gd name="connsiteY145" fmla="*/ 6194 h 9638"/>
              <a:gd name="connsiteX146" fmla="*/ 5016 w 10000"/>
              <a:gd name="connsiteY146" fmla="*/ 6176 h 9638"/>
              <a:gd name="connsiteX147" fmla="*/ 5169 w 10000"/>
              <a:gd name="connsiteY147" fmla="*/ 6142 h 9638"/>
              <a:gd name="connsiteX148" fmla="*/ 5369 w 10000"/>
              <a:gd name="connsiteY148" fmla="*/ 6127 h 9638"/>
              <a:gd name="connsiteX149" fmla="*/ 5534 w 10000"/>
              <a:gd name="connsiteY149" fmla="*/ 6070 h 9638"/>
              <a:gd name="connsiteX150" fmla="*/ 5695 w 10000"/>
              <a:gd name="connsiteY150" fmla="*/ 6044 h 9638"/>
              <a:gd name="connsiteX151" fmla="*/ 5998 w 10000"/>
              <a:gd name="connsiteY151" fmla="*/ 5945 h 9638"/>
              <a:gd name="connsiteX152" fmla="*/ 6056 w 10000"/>
              <a:gd name="connsiteY152" fmla="*/ 5880 h 9638"/>
              <a:gd name="connsiteX153" fmla="*/ 6060 w 10000"/>
              <a:gd name="connsiteY153" fmla="*/ 5796 h 9638"/>
              <a:gd name="connsiteX154" fmla="*/ 5921 w 10000"/>
              <a:gd name="connsiteY154" fmla="*/ 5782 h 9638"/>
              <a:gd name="connsiteX155" fmla="*/ 5983 w 10000"/>
              <a:gd name="connsiteY155" fmla="*/ 5731 h 9638"/>
              <a:gd name="connsiteX156" fmla="*/ 6002 w 10000"/>
              <a:gd name="connsiteY156" fmla="*/ 5666 h 9638"/>
              <a:gd name="connsiteX157" fmla="*/ 5944 w 10000"/>
              <a:gd name="connsiteY157" fmla="*/ 5605 h 9638"/>
              <a:gd name="connsiteX158" fmla="*/ 5911 w 10000"/>
              <a:gd name="connsiteY158" fmla="*/ 5159 h 9638"/>
              <a:gd name="connsiteX159" fmla="*/ 5993 w 10000"/>
              <a:gd name="connsiteY159" fmla="*/ 5063 h 9638"/>
              <a:gd name="connsiteX160" fmla="*/ 5972 w 10000"/>
              <a:gd name="connsiteY160" fmla="*/ 5024 h 9638"/>
              <a:gd name="connsiteX161" fmla="*/ 6212 w 10000"/>
              <a:gd name="connsiteY161" fmla="*/ 5081 h 9638"/>
              <a:gd name="connsiteX162" fmla="*/ 6229 w 10000"/>
              <a:gd name="connsiteY162" fmla="*/ 5028 h 9638"/>
              <a:gd name="connsiteX163" fmla="*/ 6176 w 10000"/>
              <a:gd name="connsiteY163" fmla="*/ 4890 h 9638"/>
              <a:gd name="connsiteX164" fmla="*/ 6349 w 10000"/>
              <a:gd name="connsiteY164" fmla="*/ 4644 h 9638"/>
              <a:gd name="connsiteX165" fmla="*/ 6243 w 10000"/>
              <a:gd name="connsiteY165" fmla="*/ 4585 h 9638"/>
              <a:gd name="connsiteX166" fmla="*/ 6202 w 10000"/>
              <a:gd name="connsiteY166" fmla="*/ 4530 h 9638"/>
              <a:gd name="connsiteX167" fmla="*/ 6216 w 10000"/>
              <a:gd name="connsiteY167" fmla="*/ 4440 h 9638"/>
              <a:gd name="connsiteX168" fmla="*/ 6470 w 10000"/>
              <a:gd name="connsiteY168" fmla="*/ 4500 h 9638"/>
              <a:gd name="connsiteX169" fmla="*/ 6478 w 10000"/>
              <a:gd name="connsiteY169" fmla="*/ 4483 h 9638"/>
              <a:gd name="connsiteX170" fmla="*/ 6548 w 10000"/>
              <a:gd name="connsiteY170" fmla="*/ 4467 h 9638"/>
              <a:gd name="connsiteX171" fmla="*/ 6646 w 10000"/>
              <a:gd name="connsiteY171" fmla="*/ 4409 h 9638"/>
              <a:gd name="connsiteX172" fmla="*/ 6662 w 10000"/>
              <a:gd name="connsiteY172" fmla="*/ 4393 h 9638"/>
              <a:gd name="connsiteX173" fmla="*/ 6641 w 10000"/>
              <a:gd name="connsiteY173" fmla="*/ 4372 h 9638"/>
              <a:gd name="connsiteX174" fmla="*/ 6693 w 10000"/>
              <a:gd name="connsiteY174" fmla="*/ 4271 h 9638"/>
              <a:gd name="connsiteX175" fmla="*/ 6631 w 10000"/>
              <a:gd name="connsiteY175" fmla="*/ 4205 h 9638"/>
              <a:gd name="connsiteX176" fmla="*/ 6641 w 10000"/>
              <a:gd name="connsiteY176" fmla="*/ 4152 h 9638"/>
              <a:gd name="connsiteX177" fmla="*/ 6676 w 10000"/>
              <a:gd name="connsiteY177" fmla="*/ 4214 h 9638"/>
              <a:gd name="connsiteX178" fmla="*/ 6815 w 10000"/>
              <a:gd name="connsiteY178" fmla="*/ 4260 h 9638"/>
              <a:gd name="connsiteX179" fmla="*/ 6872 w 10000"/>
              <a:gd name="connsiteY179" fmla="*/ 4254 h 9638"/>
              <a:gd name="connsiteX180" fmla="*/ 6963 w 10000"/>
              <a:gd name="connsiteY180" fmla="*/ 4193 h 9638"/>
              <a:gd name="connsiteX181" fmla="*/ 7062 w 10000"/>
              <a:gd name="connsiteY181" fmla="*/ 4218 h 9638"/>
              <a:gd name="connsiteX182" fmla="*/ 7088 w 10000"/>
              <a:gd name="connsiteY182" fmla="*/ 4169 h 9638"/>
              <a:gd name="connsiteX183" fmla="*/ 7154 w 10000"/>
              <a:gd name="connsiteY183" fmla="*/ 4136 h 9638"/>
              <a:gd name="connsiteX184" fmla="*/ 6974 w 10000"/>
              <a:gd name="connsiteY184" fmla="*/ 4101 h 9638"/>
              <a:gd name="connsiteX185" fmla="*/ 7102 w 10000"/>
              <a:gd name="connsiteY185" fmla="*/ 4108 h 9638"/>
              <a:gd name="connsiteX186" fmla="*/ 7234 w 10000"/>
              <a:gd name="connsiteY186" fmla="*/ 4071 h 9638"/>
              <a:gd name="connsiteX187" fmla="*/ 7229 w 10000"/>
              <a:gd name="connsiteY187" fmla="*/ 4045 h 9638"/>
              <a:gd name="connsiteX188" fmla="*/ 7353 w 10000"/>
              <a:gd name="connsiteY188" fmla="*/ 4021 h 9638"/>
              <a:gd name="connsiteX189" fmla="*/ 7364 w 10000"/>
              <a:gd name="connsiteY189" fmla="*/ 3960 h 9638"/>
              <a:gd name="connsiteX190" fmla="*/ 7461 w 10000"/>
              <a:gd name="connsiteY190" fmla="*/ 3948 h 9638"/>
              <a:gd name="connsiteX191" fmla="*/ 7469 w 10000"/>
              <a:gd name="connsiteY191" fmla="*/ 3876 h 9638"/>
              <a:gd name="connsiteX192" fmla="*/ 7572 w 10000"/>
              <a:gd name="connsiteY192" fmla="*/ 3868 h 9638"/>
              <a:gd name="connsiteX193" fmla="*/ 7730 w 10000"/>
              <a:gd name="connsiteY193" fmla="*/ 3883 h 9638"/>
              <a:gd name="connsiteX194" fmla="*/ 7904 w 10000"/>
              <a:gd name="connsiteY194" fmla="*/ 3825 h 9638"/>
              <a:gd name="connsiteX195" fmla="*/ 7966 w 10000"/>
              <a:gd name="connsiteY195" fmla="*/ 3760 h 9638"/>
              <a:gd name="connsiteX196" fmla="*/ 8181 w 10000"/>
              <a:gd name="connsiteY196" fmla="*/ 3693 h 9638"/>
              <a:gd name="connsiteX197" fmla="*/ 8288 w 10000"/>
              <a:gd name="connsiteY197" fmla="*/ 3734 h 9638"/>
              <a:gd name="connsiteX198" fmla="*/ 8452 w 10000"/>
              <a:gd name="connsiteY198" fmla="*/ 3689 h 9638"/>
              <a:gd name="connsiteX199" fmla="*/ 8491 w 10000"/>
              <a:gd name="connsiteY199" fmla="*/ 3631 h 9638"/>
              <a:gd name="connsiteX200" fmla="*/ 8616 w 10000"/>
              <a:gd name="connsiteY200" fmla="*/ 3592 h 9638"/>
              <a:gd name="connsiteX201" fmla="*/ 8722 w 10000"/>
              <a:gd name="connsiteY201" fmla="*/ 3609 h 9638"/>
              <a:gd name="connsiteX202" fmla="*/ 8789 w 10000"/>
              <a:gd name="connsiteY202" fmla="*/ 3580 h 9638"/>
              <a:gd name="connsiteX203" fmla="*/ 8973 w 10000"/>
              <a:gd name="connsiteY203" fmla="*/ 3539 h 9638"/>
              <a:gd name="connsiteX204" fmla="*/ 9049 w 10000"/>
              <a:gd name="connsiteY204" fmla="*/ 3486 h 9638"/>
              <a:gd name="connsiteX205" fmla="*/ 9153 w 10000"/>
              <a:gd name="connsiteY205" fmla="*/ 3464 h 9638"/>
              <a:gd name="connsiteX206" fmla="*/ 9720 w 10000"/>
              <a:gd name="connsiteY206" fmla="*/ 3143 h 9638"/>
              <a:gd name="connsiteX207" fmla="*/ 9971 w 10000"/>
              <a:gd name="connsiteY207" fmla="*/ 2 h 9638"/>
              <a:gd name="connsiteX208" fmla="*/ 7537 w 10000"/>
              <a:gd name="connsiteY208" fmla="*/ 0 h 9638"/>
              <a:gd name="connsiteX209" fmla="*/ 7423 w 10000"/>
              <a:gd name="connsiteY209" fmla="*/ 8 h 9638"/>
              <a:gd name="connsiteX210" fmla="*/ 7359 w 10000"/>
              <a:gd name="connsiteY210" fmla="*/ 27 h 9638"/>
              <a:gd name="connsiteX211" fmla="*/ 7290 w 10000"/>
              <a:gd name="connsiteY211" fmla="*/ 75 h 9638"/>
              <a:gd name="connsiteX212" fmla="*/ 7302 w 10000"/>
              <a:gd name="connsiteY212" fmla="*/ 194 h 9638"/>
              <a:gd name="connsiteX213" fmla="*/ 7199 w 10000"/>
              <a:gd name="connsiteY213" fmla="*/ 349 h 9638"/>
              <a:gd name="connsiteX214" fmla="*/ 7072 w 10000"/>
              <a:gd name="connsiteY214" fmla="*/ 429 h 9638"/>
              <a:gd name="connsiteX215" fmla="*/ 7021 w 10000"/>
              <a:gd name="connsiteY215" fmla="*/ 419 h 9638"/>
              <a:gd name="connsiteX216" fmla="*/ 6903 w 10000"/>
              <a:gd name="connsiteY216" fmla="*/ 353 h 9638"/>
              <a:gd name="connsiteX217" fmla="*/ 6756 w 10000"/>
              <a:gd name="connsiteY217" fmla="*/ 319 h 9638"/>
              <a:gd name="connsiteX218" fmla="*/ 6594 w 10000"/>
              <a:gd name="connsiteY218" fmla="*/ 329 h 9638"/>
              <a:gd name="connsiteX219" fmla="*/ 6223 w 10000"/>
              <a:gd name="connsiteY219" fmla="*/ 480 h 9638"/>
              <a:gd name="connsiteX220" fmla="*/ 6125 w 10000"/>
              <a:gd name="connsiteY220" fmla="*/ 632 h 9638"/>
              <a:gd name="connsiteX221" fmla="*/ 5845 w 10000"/>
              <a:gd name="connsiteY221" fmla="*/ 768 h 9638"/>
              <a:gd name="connsiteX222" fmla="*/ 5794 w 10000"/>
              <a:gd name="connsiteY222" fmla="*/ 837 h 9638"/>
              <a:gd name="connsiteX223" fmla="*/ 5940 w 10000"/>
              <a:gd name="connsiteY223" fmla="*/ 959 h 9638"/>
              <a:gd name="connsiteX224" fmla="*/ 5956 w 10000"/>
              <a:gd name="connsiteY224" fmla="*/ 1028 h 9638"/>
              <a:gd name="connsiteX225" fmla="*/ 5190 w 10000"/>
              <a:gd name="connsiteY225" fmla="*/ 1430 h 9638"/>
              <a:gd name="connsiteX226" fmla="*/ 4955 w 10000"/>
              <a:gd name="connsiteY226" fmla="*/ 1687 h 9638"/>
              <a:gd name="connsiteX227" fmla="*/ 4702 w 10000"/>
              <a:gd name="connsiteY227" fmla="*/ 1752 h 9638"/>
              <a:gd name="connsiteX228" fmla="*/ 4540 w 10000"/>
              <a:gd name="connsiteY228" fmla="*/ 1748 h 9638"/>
              <a:gd name="connsiteX229" fmla="*/ 4443 w 10000"/>
              <a:gd name="connsiteY229" fmla="*/ 1771 h 9638"/>
              <a:gd name="connsiteX230" fmla="*/ 4178 w 10000"/>
              <a:gd name="connsiteY230" fmla="*/ 2412 h 9638"/>
              <a:gd name="connsiteX231" fmla="*/ 3565 w 10000"/>
              <a:gd name="connsiteY231" fmla="*/ 2786 h 9638"/>
              <a:gd name="connsiteX232" fmla="*/ 3569 w 10000"/>
              <a:gd name="connsiteY232" fmla="*/ 2845 h 9638"/>
              <a:gd name="connsiteX233" fmla="*/ 3841 w 10000"/>
              <a:gd name="connsiteY233" fmla="*/ 3013 h 9638"/>
              <a:gd name="connsiteX234" fmla="*/ 3753 w 10000"/>
              <a:gd name="connsiteY234" fmla="*/ 3194 h 9638"/>
              <a:gd name="connsiteX235" fmla="*/ 3594 w 10000"/>
              <a:gd name="connsiteY235" fmla="*/ 3261 h 9638"/>
              <a:gd name="connsiteX236" fmla="*/ 3118 w 10000"/>
              <a:gd name="connsiteY236" fmla="*/ 3216 h 9638"/>
              <a:gd name="connsiteX237" fmla="*/ 2791 w 10000"/>
              <a:gd name="connsiteY237" fmla="*/ 3241 h 9638"/>
              <a:gd name="connsiteX238" fmla="*/ 2528 w 10000"/>
              <a:gd name="connsiteY238" fmla="*/ 3295 h 9638"/>
              <a:gd name="connsiteX239" fmla="*/ 2102 w 10000"/>
              <a:gd name="connsiteY239" fmla="*/ 3462 h 9638"/>
              <a:gd name="connsiteX240" fmla="*/ 1877 w 10000"/>
              <a:gd name="connsiteY240" fmla="*/ 3664 h 9638"/>
              <a:gd name="connsiteX241" fmla="*/ 1896 w 10000"/>
              <a:gd name="connsiteY241" fmla="*/ 3777 h 9638"/>
              <a:gd name="connsiteX242" fmla="*/ 1975 w 10000"/>
              <a:gd name="connsiteY242" fmla="*/ 3864 h 9638"/>
              <a:gd name="connsiteX243" fmla="*/ 2034 w 10000"/>
              <a:gd name="connsiteY243" fmla="*/ 3899 h 9638"/>
              <a:gd name="connsiteX244" fmla="*/ 1924 w 10000"/>
              <a:gd name="connsiteY244" fmla="*/ 3954 h 9638"/>
              <a:gd name="connsiteX245" fmla="*/ 1683 w 10000"/>
              <a:gd name="connsiteY245" fmla="*/ 4334 h 9638"/>
              <a:gd name="connsiteX246" fmla="*/ 1729 w 10000"/>
              <a:gd name="connsiteY246" fmla="*/ 4356 h 9638"/>
              <a:gd name="connsiteX247" fmla="*/ 1764 w 10000"/>
              <a:gd name="connsiteY247" fmla="*/ 4453 h 9638"/>
              <a:gd name="connsiteX248" fmla="*/ 1652 w 10000"/>
              <a:gd name="connsiteY248" fmla="*/ 4853 h 9638"/>
              <a:gd name="connsiteX249" fmla="*/ 1764 w 10000"/>
              <a:gd name="connsiteY249" fmla="*/ 4955 h 9638"/>
              <a:gd name="connsiteX250" fmla="*/ 2071 w 10000"/>
              <a:gd name="connsiteY250" fmla="*/ 5067 h 9638"/>
              <a:gd name="connsiteX251" fmla="*/ 2085 w 10000"/>
              <a:gd name="connsiteY251" fmla="*/ 5204 h 9638"/>
              <a:gd name="connsiteX252" fmla="*/ 1954 w 10000"/>
              <a:gd name="connsiteY252" fmla="*/ 5317 h 9638"/>
              <a:gd name="connsiteX253" fmla="*/ 1764 w 10000"/>
              <a:gd name="connsiteY253" fmla="*/ 5386 h 9638"/>
              <a:gd name="connsiteX254" fmla="*/ 1513 w 10000"/>
              <a:gd name="connsiteY254" fmla="*/ 5414 h 9638"/>
              <a:gd name="connsiteX255" fmla="*/ 1448 w 10000"/>
              <a:gd name="connsiteY255" fmla="*/ 5453 h 9638"/>
              <a:gd name="connsiteX256" fmla="*/ 1594 w 10000"/>
              <a:gd name="connsiteY256" fmla="*/ 5547 h 9638"/>
              <a:gd name="connsiteX257" fmla="*/ 1678 w 10000"/>
              <a:gd name="connsiteY257" fmla="*/ 5770 h 9638"/>
              <a:gd name="connsiteX258" fmla="*/ 1488 w 10000"/>
              <a:gd name="connsiteY258" fmla="*/ 5961 h 9638"/>
              <a:gd name="connsiteX259" fmla="*/ 1554 w 10000"/>
              <a:gd name="connsiteY259" fmla="*/ 6021 h 9638"/>
              <a:gd name="connsiteX260" fmla="*/ 1494 w 10000"/>
              <a:gd name="connsiteY260" fmla="*/ 6121 h 9638"/>
              <a:gd name="connsiteX261" fmla="*/ 1372 w 10000"/>
              <a:gd name="connsiteY261" fmla="*/ 6190 h 9638"/>
              <a:gd name="connsiteX262" fmla="*/ 889 w 10000"/>
              <a:gd name="connsiteY262" fmla="*/ 6243 h 9638"/>
              <a:gd name="connsiteX263" fmla="*/ 860 w 10000"/>
              <a:gd name="connsiteY263" fmla="*/ 6335 h 9638"/>
              <a:gd name="connsiteX264" fmla="*/ 600 w 10000"/>
              <a:gd name="connsiteY264" fmla="*/ 6473 h 9638"/>
              <a:gd name="connsiteX265" fmla="*/ 634 w 10000"/>
              <a:gd name="connsiteY265" fmla="*/ 6670 h 9638"/>
              <a:gd name="connsiteX266" fmla="*/ 415 w 10000"/>
              <a:gd name="connsiteY266" fmla="*/ 6924 h 9638"/>
              <a:gd name="connsiteX267" fmla="*/ 266 w 10000"/>
              <a:gd name="connsiteY267" fmla="*/ 6954 h 9638"/>
              <a:gd name="connsiteX268" fmla="*/ 204 w 10000"/>
              <a:gd name="connsiteY268" fmla="*/ 6893 h 9638"/>
              <a:gd name="connsiteX269" fmla="*/ 128 w 10000"/>
              <a:gd name="connsiteY269" fmla="*/ 6985 h 9638"/>
              <a:gd name="connsiteX270" fmla="*/ 178 w 10000"/>
              <a:gd name="connsiteY270" fmla="*/ 6828 h 9638"/>
              <a:gd name="connsiteX271" fmla="*/ 147 w 10000"/>
              <a:gd name="connsiteY271" fmla="*/ 6797 h 9638"/>
              <a:gd name="connsiteX0" fmla="*/ 147 w 9720"/>
              <a:gd name="connsiteY0" fmla="*/ 7052 h 10000"/>
              <a:gd name="connsiteX1" fmla="*/ 0 w 9720"/>
              <a:gd name="connsiteY1" fmla="*/ 7137 h 10000"/>
              <a:gd name="connsiteX2" fmla="*/ 0 w 9720"/>
              <a:gd name="connsiteY2" fmla="*/ 7557 h 10000"/>
              <a:gd name="connsiteX3" fmla="*/ 81 w 9720"/>
              <a:gd name="connsiteY3" fmla="*/ 7569 h 10000"/>
              <a:gd name="connsiteX4" fmla="*/ 100 w 9720"/>
              <a:gd name="connsiteY4" fmla="*/ 7601 h 10000"/>
              <a:gd name="connsiteX5" fmla="*/ 96 w 9720"/>
              <a:gd name="connsiteY5" fmla="*/ 7658 h 10000"/>
              <a:gd name="connsiteX6" fmla="*/ 66 w 9720"/>
              <a:gd name="connsiteY6" fmla="*/ 7683 h 10000"/>
              <a:gd name="connsiteX7" fmla="*/ 190 w 9720"/>
              <a:gd name="connsiteY7" fmla="*/ 7635 h 10000"/>
              <a:gd name="connsiteX8" fmla="*/ 242 w 9720"/>
              <a:gd name="connsiteY8" fmla="*/ 7587 h 10000"/>
              <a:gd name="connsiteX9" fmla="*/ 306 w 9720"/>
              <a:gd name="connsiteY9" fmla="*/ 7620 h 10000"/>
              <a:gd name="connsiteX10" fmla="*/ 235 w 9720"/>
              <a:gd name="connsiteY10" fmla="*/ 7688 h 10000"/>
              <a:gd name="connsiteX11" fmla="*/ 311 w 9720"/>
              <a:gd name="connsiteY11" fmla="*/ 7690 h 10000"/>
              <a:gd name="connsiteX12" fmla="*/ 348 w 9720"/>
              <a:gd name="connsiteY12" fmla="*/ 7707 h 10000"/>
              <a:gd name="connsiteX13" fmla="*/ 250 w 9720"/>
              <a:gd name="connsiteY13" fmla="*/ 7730 h 10000"/>
              <a:gd name="connsiteX14" fmla="*/ 96 w 9720"/>
              <a:gd name="connsiteY14" fmla="*/ 7800 h 10000"/>
              <a:gd name="connsiteX15" fmla="*/ 370 w 9720"/>
              <a:gd name="connsiteY15" fmla="*/ 7855 h 10000"/>
              <a:gd name="connsiteX16" fmla="*/ 404 w 9720"/>
              <a:gd name="connsiteY16" fmla="*/ 7934 h 10000"/>
              <a:gd name="connsiteX17" fmla="*/ 311 w 9720"/>
              <a:gd name="connsiteY17" fmla="*/ 8050 h 10000"/>
              <a:gd name="connsiteX18" fmla="*/ 511 w 9720"/>
              <a:gd name="connsiteY18" fmla="*/ 8042 h 10000"/>
              <a:gd name="connsiteX19" fmla="*/ 526 w 9720"/>
              <a:gd name="connsiteY19" fmla="*/ 8130 h 10000"/>
              <a:gd name="connsiteX20" fmla="*/ 393 w 9720"/>
              <a:gd name="connsiteY20" fmla="*/ 8189 h 10000"/>
              <a:gd name="connsiteX21" fmla="*/ 415 w 9720"/>
              <a:gd name="connsiteY21" fmla="*/ 8305 h 10000"/>
              <a:gd name="connsiteX22" fmla="*/ 364 w 9720"/>
              <a:gd name="connsiteY22" fmla="*/ 8394 h 10000"/>
              <a:gd name="connsiteX23" fmla="*/ 521 w 9720"/>
              <a:gd name="connsiteY23" fmla="*/ 8402 h 10000"/>
              <a:gd name="connsiteX24" fmla="*/ 676 w 9720"/>
              <a:gd name="connsiteY24" fmla="*/ 8744 h 10000"/>
              <a:gd name="connsiteX25" fmla="*/ 853 w 9720"/>
              <a:gd name="connsiteY25" fmla="*/ 8831 h 10000"/>
              <a:gd name="connsiteX26" fmla="*/ 931 w 9720"/>
              <a:gd name="connsiteY26" fmla="*/ 8923 h 10000"/>
              <a:gd name="connsiteX27" fmla="*/ 1125 w 9720"/>
              <a:gd name="connsiteY27" fmla="*/ 8990 h 10000"/>
              <a:gd name="connsiteX28" fmla="*/ 1249 w 9720"/>
              <a:gd name="connsiteY28" fmla="*/ 9077 h 10000"/>
              <a:gd name="connsiteX29" fmla="*/ 1233 w 9720"/>
              <a:gd name="connsiteY29" fmla="*/ 9138 h 10000"/>
              <a:gd name="connsiteX30" fmla="*/ 1110 w 9720"/>
              <a:gd name="connsiteY30" fmla="*/ 9161 h 10000"/>
              <a:gd name="connsiteX31" fmla="*/ 976 w 9720"/>
              <a:gd name="connsiteY31" fmla="*/ 9146 h 10000"/>
              <a:gd name="connsiteX32" fmla="*/ 935 w 9720"/>
              <a:gd name="connsiteY32" fmla="*/ 9172 h 10000"/>
              <a:gd name="connsiteX33" fmla="*/ 1037 w 9720"/>
              <a:gd name="connsiteY33" fmla="*/ 9305 h 10000"/>
              <a:gd name="connsiteX34" fmla="*/ 894 w 9720"/>
              <a:gd name="connsiteY34" fmla="*/ 9294 h 10000"/>
              <a:gd name="connsiteX35" fmla="*/ 773 w 9720"/>
              <a:gd name="connsiteY35" fmla="*/ 9262 h 10000"/>
              <a:gd name="connsiteX36" fmla="*/ 750 w 9720"/>
              <a:gd name="connsiteY36" fmla="*/ 9311 h 10000"/>
              <a:gd name="connsiteX37" fmla="*/ 1155 w 9720"/>
              <a:gd name="connsiteY37" fmla="*/ 9767 h 10000"/>
              <a:gd name="connsiteX38" fmla="*/ 1091 w 9720"/>
              <a:gd name="connsiteY38" fmla="*/ 9810 h 10000"/>
              <a:gd name="connsiteX39" fmla="*/ 1045 w 9720"/>
              <a:gd name="connsiteY39" fmla="*/ 9898 h 10000"/>
              <a:gd name="connsiteX40" fmla="*/ 987 w 9720"/>
              <a:gd name="connsiteY40" fmla="*/ 9905 h 10000"/>
              <a:gd name="connsiteX41" fmla="*/ 951 w 9720"/>
              <a:gd name="connsiteY41" fmla="*/ 9943 h 10000"/>
              <a:gd name="connsiteX42" fmla="*/ 1195 w 9720"/>
              <a:gd name="connsiteY42" fmla="*/ 9947 h 10000"/>
              <a:gd name="connsiteX43" fmla="*/ 1410 w 9720"/>
              <a:gd name="connsiteY43" fmla="*/ 9985 h 10000"/>
              <a:gd name="connsiteX44" fmla="*/ 1769 w 9720"/>
              <a:gd name="connsiteY44" fmla="*/ 9945 h 10000"/>
              <a:gd name="connsiteX45" fmla="*/ 2091 w 9720"/>
              <a:gd name="connsiteY45" fmla="*/ 9951 h 10000"/>
              <a:gd name="connsiteX46" fmla="*/ 2280 w 9720"/>
              <a:gd name="connsiteY46" fmla="*/ 10000 h 10000"/>
              <a:gd name="connsiteX47" fmla="*/ 2385 w 9720"/>
              <a:gd name="connsiteY47" fmla="*/ 9968 h 10000"/>
              <a:gd name="connsiteX48" fmla="*/ 2485 w 9720"/>
              <a:gd name="connsiteY48" fmla="*/ 9863 h 10000"/>
              <a:gd name="connsiteX49" fmla="*/ 2459 w 9720"/>
              <a:gd name="connsiteY49" fmla="*/ 9691 h 10000"/>
              <a:gd name="connsiteX50" fmla="*/ 2704 w 9720"/>
              <a:gd name="connsiteY50" fmla="*/ 9498 h 10000"/>
              <a:gd name="connsiteX51" fmla="*/ 2883 w 9720"/>
              <a:gd name="connsiteY51" fmla="*/ 9528 h 10000"/>
              <a:gd name="connsiteX52" fmla="*/ 2987 w 9720"/>
              <a:gd name="connsiteY52" fmla="*/ 9451 h 10000"/>
              <a:gd name="connsiteX53" fmla="*/ 3186 w 9720"/>
              <a:gd name="connsiteY53" fmla="*/ 9408 h 10000"/>
              <a:gd name="connsiteX54" fmla="*/ 3457 w 9720"/>
              <a:gd name="connsiteY54" fmla="*/ 9418 h 10000"/>
              <a:gd name="connsiteX55" fmla="*/ 3620 w 9720"/>
              <a:gd name="connsiteY55" fmla="*/ 9449 h 10000"/>
              <a:gd name="connsiteX56" fmla="*/ 3837 w 9720"/>
              <a:gd name="connsiteY56" fmla="*/ 9435 h 10000"/>
              <a:gd name="connsiteX57" fmla="*/ 4056 w 9720"/>
              <a:gd name="connsiteY57" fmla="*/ 9469 h 10000"/>
              <a:gd name="connsiteX58" fmla="*/ 4275 w 9720"/>
              <a:gd name="connsiteY58" fmla="*/ 9473 h 10000"/>
              <a:gd name="connsiteX59" fmla="*/ 4765 w 9720"/>
              <a:gd name="connsiteY59" fmla="*/ 9024 h 10000"/>
              <a:gd name="connsiteX60" fmla="*/ 4889 w 9720"/>
              <a:gd name="connsiteY60" fmla="*/ 8659 h 10000"/>
              <a:gd name="connsiteX61" fmla="*/ 5088 w 9720"/>
              <a:gd name="connsiteY61" fmla="*/ 8496 h 10000"/>
              <a:gd name="connsiteX62" fmla="*/ 5088 w 9720"/>
              <a:gd name="connsiteY62" fmla="*/ 8410 h 10000"/>
              <a:gd name="connsiteX63" fmla="*/ 5016 w 9720"/>
              <a:gd name="connsiteY63" fmla="*/ 8362 h 10000"/>
              <a:gd name="connsiteX64" fmla="*/ 5133 w 9720"/>
              <a:gd name="connsiteY64" fmla="*/ 8286 h 10000"/>
              <a:gd name="connsiteX65" fmla="*/ 5112 w 9720"/>
              <a:gd name="connsiteY65" fmla="*/ 8221 h 10000"/>
              <a:gd name="connsiteX66" fmla="*/ 5032 w 9720"/>
              <a:gd name="connsiteY66" fmla="*/ 8165 h 10000"/>
              <a:gd name="connsiteX67" fmla="*/ 5016 w 9720"/>
              <a:gd name="connsiteY67" fmla="*/ 8126 h 10000"/>
              <a:gd name="connsiteX68" fmla="*/ 5036 w 9720"/>
              <a:gd name="connsiteY68" fmla="*/ 8095 h 10000"/>
              <a:gd name="connsiteX69" fmla="*/ 5144 w 9720"/>
              <a:gd name="connsiteY69" fmla="*/ 8120 h 10000"/>
              <a:gd name="connsiteX70" fmla="*/ 5230 w 9720"/>
              <a:gd name="connsiteY70" fmla="*/ 8118 h 10000"/>
              <a:gd name="connsiteX71" fmla="*/ 5184 w 9720"/>
              <a:gd name="connsiteY71" fmla="*/ 8065 h 10000"/>
              <a:gd name="connsiteX72" fmla="*/ 5198 w 9720"/>
              <a:gd name="connsiteY72" fmla="*/ 8036 h 10000"/>
              <a:gd name="connsiteX73" fmla="*/ 5262 w 9720"/>
              <a:gd name="connsiteY73" fmla="*/ 7991 h 10000"/>
              <a:gd name="connsiteX74" fmla="*/ 5250 w 9720"/>
              <a:gd name="connsiteY74" fmla="*/ 7955 h 10000"/>
              <a:gd name="connsiteX75" fmla="*/ 5309 w 9720"/>
              <a:gd name="connsiteY75" fmla="*/ 7833 h 10000"/>
              <a:gd name="connsiteX76" fmla="*/ 5293 w 9720"/>
              <a:gd name="connsiteY76" fmla="*/ 7795 h 10000"/>
              <a:gd name="connsiteX77" fmla="*/ 4996 w 9720"/>
              <a:gd name="connsiteY77" fmla="*/ 7703 h 10000"/>
              <a:gd name="connsiteX78" fmla="*/ 5036 w 9720"/>
              <a:gd name="connsiteY78" fmla="*/ 7699 h 10000"/>
              <a:gd name="connsiteX79" fmla="*/ 5194 w 9720"/>
              <a:gd name="connsiteY79" fmla="*/ 7724 h 10000"/>
              <a:gd name="connsiteX80" fmla="*/ 5365 w 9720"/>
              <a:gd name="connsiteY80" fmla="*/ 7715 h 10000"/>
              <a:gd name="connsiteX81" fmla="*/ 5415 w 9720"/>
              <a:gd name="connsiteY81" fmla="*/ 7681 h 10000"/>
              <a:gd name="connsiteX82" fmla="*/ 5250 w 9720"/>
              <a:gd name="connsiteY82" fmla="*/ 7618 h 10000"/>
              <a:gd name="connsiteX83" fmla="*/ 4761 w 9720"/>
              <a:gd name="connsiteY83" fmla="*/ 7576 h 10000"/>
              <a:gd name="connsiteX84" fmla="*/ 4794 w 9720"/>
              <a:gd name="connsiteY84" fmla="*/ 7557 h 10000"/>
              <a:gd name="connsiteX85" fmla="*/ 5194 w 9720"/>
              <a:gd name="connsiteY85" fmla="*/ 7544 h 10000"/>
              <a:gd name="connsiteX86" fmla="*/ 5415 w 9720"/>
              <a:gd name="connsiteY86" fmla="*/ 7582 h 10000"/>
              <a:gd name="connsiteX87" fmla="*/ 5542 w 9720"/>
              <a:gd name="connsiteY87" fmla="*/ 7557 h 10000"/>
              <a:gd name="connsiteX88" fmla="*/ 5589 w 9720"/>
              <a:gd name="connsiteY88" fmla="*/ 7491 h 10000"/>
              <a:gd name="connsiteX89" fmla="*/ 5819 w 9720"/>
              <a:gd name="connsiteY89" fmla="*/ 7491 h 10000"/>
              <a:gd name="connsiteX90" fmla="*/ 6131 w 9720"/>
              <a:gd name="connsiteY90" fmla="*/ 7359 h 10000"/>
              <a:gd name="connsiteX91" fmla="*/ 6142 w 9720"/>
              <a:gd name="connsiteY91" fmla="*/ 7272 h 10000"/>
              <a:gd name="connsiteX92" fmla="*/ 6274 w 9720"/>
              <a:gd name="connsiteY92" fmla="*/ 7292 h 10000"/>
              <a:gd name="connsiteX93" fmla="*/ 6268 w 9720"/>
              <a:gd name="connsiteY93" fmla="*/ 7380 h 10000"/>
              <a:gd name="connsiteX94" fmla="*/ 6478 w 9720"/>
              <a:gd name="connsiteY94" fmla="*/ 7374 h 10000"/>
              <a:gd name="connsiteX95" fmla="*/ 6616 w 9720"/>
              <a:gd name="connsiteY95" fmla="*/ 7283 h 10000"/>
              <a:gd name="connsiteX96" fmla="*/ 6872 w 9720"/>
              <a:gd name="connsiteY96" fmla="*/ 7201 h 10000"/>
              <a:gd name="connsiteX97" fmla="*/ 6832 w 9720"/>
              <a:gd name="connsiteY97" fmla="*/ 7107 h 10000"/>
              <a:gd name="connsiteX98" fmla="*/ 6908 w 9720"/>
              <a:gd name="connsiteY98" fmla="*/ 7144 h 10000"/>
              <a:gd name="connsiteX99" fmla="*/ 7025 w 9720"/>
              <a:gd name="connsiteY99" fmla="*/ 7144 h 10000"/>
              <a:gd name="connsiteX100" fmla="*/ 7025 w 9720"/>
              <a:gd name="connsiteY100" fmla="*/ 7101 h 10000"/>
              <a:gd name="connsiteX101" fmla="*/ 7134 w 9720"/>
              <a:gd name="connsiteY101" fmla="*/ 7068 h 10000"/>
              <a:gd name="connsiteX102" fmla="*/ 7119 w 9720"/>
              <a:gd name="connsiteY102" fmla="*/ 7034 h 10000"/>
              <a:gd name="connsiteX103" fmla="*/ 6198 w 9720"/>
              <a:gd name="connsiteY103" fmla="*/ 7103 h 10000"/>
              <a:gd name="connsiteX104" fmla="*/ 5983 w 9720"/>
              <a:gd name="connsiteY104" fmla="*/ 7082 h 10000"/>
              <a:gd name="connsiteX105" fmla="*/ 5895 w 9720"/>
              <a:gd name="connsiteY105" fmla="*/ 7107 h 10000"/>
              <a:gd name="connsiteX106" fmla="*/ 5866 w 9720"/>
              <a:gd name="connsiteY106" fmla="*/ 7060 h 10000"/>
              <a:gd name="connsiteX107" fmla="*/ 5764 w 9720"/>
              <a:gd name="connsiteY107" fmla="*/ 7017 h 10000"/>
              <a:gd name="connsiteX108" fmla="*/ 5354 w 9720"/>
              <a:gd name="connsiteY108" fmla="*/ 6933 h 10000"/>
              <a:gd name="connsiteX109" fmla="*/ 5112 w 9720"/>
              <a:gd name="connsiteY109" fmla="*/ 6946 h 10000"/>
              <a:gd name="connsiteX110" fmla="*/ 5016 w 9720"/>
              <a:gd name="connsiteY110" fmla="*/ 6923 h 10000"/>
              <a:gd name="connsiteX111" fmla="*/ 5118 w 9720"/>
              <a:gd name="connsiteY111" fmla="*/ 6902 h 10000"/>
              <a:gd name="connsiteX112" fmla="*/ 5194 w 9720"/>
              <a:gd name="connsiteY112" fmla="*/ 6857 h 10000"/>
              <a:gd name="connsiteX113" fmla="*/ 5309 w 9720"/>
              <a:gd name="connsiteY113" fmla="*/ 6872 h 10000"/>
              <a:gd name="connsiteX114" fmla="*/ 5445 w 9720"/>
              <a:gd name="connsiteY114" fmla="*/ 6859 h 10000"/>
              <a:gd name="connsiteX115" fmla="*/ 5650 w 9720"/>
              <a:gd name="connsiteY115" fmla="*/ 6874 h 10000"/>
              <a:gd name="connsiteX116" fmla="*/ 5675 w 9720"/>
              <a:gd name="connsiteY116" fmla="*/ 6868 h 10000"/>
              <a:gd name="connsiteX117" fmla="*/ 5834 w 9720"/>
              <a:gd name="connsiteY117" fmla="*/ 6937 h 10000"/>
              <a:gd name="connsiteX118" fmla="*/ 5951 w 9720"/>
              <a:gd name="connsiteY118" fmla="*/ 6912 h 10000"/>
              <a:gd name="connsiteX119" fmla="*/ 5961 w 9720"/>
              <a:gd name="connsiteY119" fmla="*/ 6889 h 10000"/>
              <a:gd name="connsiteX120" fmla="*/ 6069 w 9720"/>
              <a:gd name="connsiteY120" fmla="*/ 6929 h 10000"/>
              <a:gd name="connsiteX121" fmla="*/ 6212 w 9720"/>
              <a:gd name="connsiteY121" fmla="*/ 6951 h 10000"/>
              <a:gd name="connsiteX122" fmla="*/ 6268 w 9720"/>
              <a:gd name="connsiteY122" fmla="*/ 6910 h 10000"/>
              <a:gd name="connsiteX123" fmla="*/ 6314 w 9720"/>
              <a:gd name="connsiteY123" fmla="*/ 6933 h 10000"/>
              <a:gd name="connsiteX124" fmla="*/ 6381 w 9720"/>
              <a:gd name="connsiteY124" fmla="*/ 7011 h 10000"/>
              <a:gd name="connsiteX125" fmla="*/ 6519 w 9720"/>
              <a:gd name="connsiteY125" fmla="*/ 7029 h 10000"/>
              <a:gd name="connsiteX126" fmla="*/ 7082 w 9720"/>
              <a:gd name="connsiteY126" fmla="*/ 6914 h 10000"/>
              <a:gd name="connsiteX127" fmla="*/ 7359 w 9720"/>
              <a:gd name="connsiteY127" fmla="*/ 6753 h 10000"/>
              <a:gd name="connsiteX128" fmla="*/ 7423 w 9720"/>
              <a:gd name="connsiteY128" fmla="*/ 6635 h 10000"/>
              <a:gd name="connsiteX129" fmla="*/ 7323 w 9720"/>
              <a:gd name="connsiteY129" fmla="*/ 6528 h 10000"/>
              <a:gd name="connsiteX130" fmla="*/ 7113 w 9720"/>
              <a:gd name="connsiteY130" fmla="*/ 6465 h 10000"/>
              <a:gd name="connsiteX131" fmla="*/ 6963 w 9720"/>
              <a:gd name="connsiteY131" fmla="*/ 6361 h 10000"/>
              <a:gd name="connsiteX132" fmla="*/ 7102 w 9720"/>
              <a:gd name="connsiteY132" fmla="*/ 6357 h 10000"/>
              <a:gd name="connsiteX133" fmla="*/ 7093 w 9720"/>
              <a:gd name="connsiteY133" fmla="*/ 6332 h 10000"/>
              <a:gd name="connsiteX134" fmla="*/ 6731 w 9720"/>
              <a:gd name="connsiteY134" fmla="*/ 6259 h 10000"/>
              <a:gd name="connsiteX135" fmla="*/ 6716 w 9720"/>
              <a:gd name="connsiteY135" fmla="*/ 6191 h 10000"/>
              <a:gd name="connsiteX136" fmla="*/ 6646 w 9720"/>
              <a:gd name="connsiteY136" fmla="*/ 6122 h 10000"/>
              <a:gd name="connsiteX137" fmla="*/ 6360 w 9720"/>
              <a:gd name="connsiteY137" fmla="*/ 6134 h 10000"/>
              <a:gd name="connsiteX138" fmla="*/ 6258 w 9720"/>
              <a:gd name="connsiteY138" fmla="*/ 6060 h 10000"/>
              <a:gd name="connsiteX139" fmla="*/ 6198 w 9720"/>
              <a:gd name="connsiteY139" fmla="*/ 6056 h 10000"/>
              <a:gd name="connsiteX140" fmla="*/ 6198 w 9720"/>
              <a:gd name="connsiteY140" fmla="*/ 6086 h 10000"/>
              <a:gd name="connsiteX141" fmla="*/ 6069 w 9720"/>
              <a:gd name="connsiteY141" fmla="*/ 6212 h 10000"/>
              <a:gd name="connsiteX142" fmla="*/ 5930 w 9720"/>
              <a:gd name="connsiteY142" fmla="*/ 6286 h 10000"/>
              <a:gd name="connsiteX143" fmla="*/ 5495 w 9720"/>
              <a:gd name="connsiteY143" fmla="*/ 6412 h 10000"/>
              <a:gd name="connsiteX144" fmla="*/ 5342 w 9720"/>
              <a:gd name="connsiteY144" fmla="*/ 6408 h 10000"/>
              <a:gd name="connsiteX145" fmla="*/ 5133 w 9720"/>
              <a:gd name="connsiteY145" fmla="*/ 6427 h 10000"/>
              <a:gd name="connsiteX146" fmla="*/ 5016 w 9720"/>
              <a:gd name="connsiteY146" fmla="*/ 6408 h 10000"/>
              <a:gd name="connsiteX147" fmla="*/ 5169 w 9720"/>
              <a:gd name="connsiteY147" fmla="*/ 6373 h 10000"/>
              <a:gd name="connsiteX148" fmla="*/ 5369 w 9720"/>
              <a:gd name="connsiteY148" fmla="*/ 6357 h 10000"/>
              <a:gd name="connsiteX149" fmla="*/ 5534 w 9720"/>
              <a:gd name="connsiteY149" fmla="*/ 6298 h 10000"/>
              <a:gd name="connsiteX150" fmla="*/ 5695 w 9720"/>
              <a:gd name="connsiteY150" fmla="*/ 6271 h 10000"/>
              <a:gd name="connsiteX151" fmla="*/ 5998 w 9720"/>
              <a:gd name="connsiteY151" fmla="*/ 6168 h 10000"/>
              <a:gd name="connsiteX152" fmla="*/ 6056 w 9720"/>
              <a:gd name="connsiteY152" fmla="*/ 6101 h 10000"/>
              <a:gd name="connsiteX153" fmla="*/ 6060 w 9720"/>
              <a:gd name="connsiteY153" fmla="*/ 6014 h 10000"/>
              <a:gd name="connsiteX154" fmla="*/ 5921 w 9720"/>
              <a:gd name="connsiteY154" fmla="*/ 5999 h 10000"/>
              <a:gd name="connsiteX155" fmla="*/ 5983 w 9720"/>
              <a:gd name="connsiteY155" fmla="*/ 5946 h 10000"/>
              <a:gd name="connsiteX156" fmla="*/ 6002 w 9720"/>
              <a:gd name="connsiteY156" fmla="*/ 5879 h 10000"/>
              <a:gd name="connsiteX157" fmla="*/ 5944 w 9720"/>
              <a:gd name="connsiteY157" fmla="*/ 5816 h 10000"/>
              <a:gd name="connsiteX158" fmla="*/ 5911 w 9720"/>
              <a:gd name="connsiteY158" fmla="*/ 5353 h 10000"/>
              <a:gd name="connsiteX159" fmla="*/ 5993 w 9720"/>
              <a:gd name="connsiteY159" fmla="*/ 5253 h 10000"/>
              <a:gd name="connsiteX160" fmla="*/ 5972 w 9720"/>
              <a:gd name="connsiteY160" fmla="*/ 5213 h 10000"/>
              <a:gd name="connsiteX161" fmla="*/ 6212 w 9720"/>
              <a:gd name="connsiteY161" fmla="*/ 5272 h 10000"/>
              <a:gd name="connsiteX162" fmla="*/ 6229 w 9720"/>
              <a:gd name="connsiteY162" fmla="*/ 5217 h 10000"/>
              <a:gd name="connsiteX163" fmla="*/ 6176 w 9720"/>
              <a:gd name="connsiteY163" fmla="*/ 5074 h 10000"/>
              <a:gd name="connsiteX164" fmla="*/ 6349 w 9720"/>
              <a:gd name="connsiteY164" fmla="*/ 4818 h 10000"/>
              <a:gd name="connsiteX165" fmla="*/ 6243 w 9720"/>
              <a:gd name="connsiteY165" fmla="*/ 4757 h 10000"/>
              <a:gd name="connsiteX166" fmla="*/ 6202 w 9720"/>
              <a:gd name="connsiteY166" fmla="*/ 4700 h 10000"/>
              <a:gd name="connsiteX167" fmla="*/ 6216 w 9720"/>
              <a:gd name="connsiteY167" fmla="*/ 4607 h 10000"/>
              <a:gd name="connsiteX168" fmla="*/ 6470 w 9720"/>
              <a:gd name="connsiteY168" fmla="*/ 4669 h 10000"/>
              <a:gd name="connsiteX169" fmla="*/ 6478 w 9720"/>
              <a:gd name="connsiteY169" fmla="*/ 4651 h 10000"/>
              <a:gd name="connsiteX170" fmla="*/ 6548 w 9720"/>
              <a:gd name="connsiteY170" fmla="*/ 4635 h 10000"/>
              <a:gd name="connsiteX171" fmla="*/ 6646 w 9720"/>
              <a:gd name="connsiteY171" fmla="*/ 4575 h 10000"/>
              <a:gd name="connsiteX172" fmla="*/ 6662 w 9720"/>
              <a:gd name="connsiteY172" fmla="*/ 4558 h 10000"/>
              <a:gd name="connsiteX173" fmla="*/ 6641 w 9720"/>
              <a:gd name="connsiteY173" fmla="*/ 4536 h 10000"/>
              <a:gd name="connsiteX174" fmla="*/ 6693 w 9720"/>
              <a:gd name="connsiteY174" fmla="*/ 4431 h 10000"/>
              <a:gd name="connsiteX175" fmla="*/ 6631 w 9720"/>
              <a:gd name="connsiteY175" fmla="*/ 4363 h 10000"/>
              <a:gd name="connsiteX176" fmla="*/ 6641 w 9720"/>
              <a:gd name="connsiteY176" fmla="*/ 4308 h 10000"/>
              <a:gd name="connsiteX177" fmla="*/ 6676 w 9720"/>
              <a:gd name="connsiteY177" fmla="*/ 4372 h 10000"/>
              <a:gd name="connsiteX178" fmla="*/ 6815 w 9720"/>
              <a:gd name="connsiteY178" fmla="*/ 4420 h 10000"/>
              <a:gd name="connsiteX179" fmla="*/ 6872 w 9720"/>
              <a:gd name="connsiteY179" fmla="*/ 4414 h 10000"/>
              <a:gd name="connsiteX180" fmla="*/ 6963 w 9720"/>
              <a:gd name="connsiteY180" fmla="*/ 4350 h 10000"/>
              <a:gd name="connsiteX181" fmla="*/ 7062 w 9720"/>
              <a:gd name="connsiteY181" fmla="*/ 4376 h 10000"/>
              <a:gd name="connsiteX182" fmla="*/ 7088 w 9720"/>
              <a:gd name="connsiteY182" fmla="*/ 4326 h 10000"/>
              <a:gd name="connsiteX183" fmla="*/ 7154 w 9720"/>
              <a:gd name="connsiteY183" fmla="*/ 4291 h 10000"/>
              <a:gd name="connsiteX184" fmla="*/ 6974 w 9720"/>
              <a:gd name="connsiteY184" fmla="*/ 4255 h 10000"/>
              <a:gd name="connsiteX185" fmla="*/ 7102 w 9720"/>
              <a:gd name="connsiteY185" fmla="*/ 4262 h 10000"/>
              <a:gd name="connsiteX186" fmla="*/ 7234 w 9720"/>
              <a:gd name="connsiteY186" fmla="*/ 4224 h 10000"/>
              <a:gd name="connsiteX187" fmla="*/ 7229 w 9720"/>
              <a:gd name="connsiteY187" fmla="*/ 4197 h 10000"/>
              <a:gd name="connsiteX188" fmla="*/ 7353 w 9720"/>
              <a:gd name="connsiteY188" fmla="*/ 4172 h 10000"/>
              <a:gd name="connsiteX189" fmla="*/ 7364 w 9720"/>
              <a:gd name="connsiteY189" fmla="*/ 4109 h 10000"/>
              <a:gd name="connsiteX190" fmla="*/ 7461 w 9720"/>
              <a:gd name="connsiteY190" fmla="*/ 4096 h 10000"/>
              <a:gd name="connsiteX191" fmla="*/ 7469 w 9720"/>
              <a:gd name="connsiteY191" fmla="*/ 4022 h 10000"/>
              <a:gd name="connsiteX192" fmla="*/ 7572 w 9720"/>
              <a:gd name="connsiteY192" fmla="*/ 4013 h 10000"/>
              <a:gd name="connsiteX193" fmla="*/ 7730 w 9720"/>
              <a:gd name="connsiteY193" fmla="*/ 4029 h 10000"/>
              <a:gd name="connsiteX194" fmla="*/ 7904 w 9720"/>
              <a:gd name="connsiteY194" fmla="*/ 3969 h 10000"/>
              <a:gd name="connsiteX195" fmla="*/ 7966 w 9720"/>
              <a:gd name="connsiteY195" fmla="*/ 3901 h 10000"/>
              <a:gd name="connsiteX196" fmla="*/ 8181 w 9720"/>
              <a:gd name="connsiteY196" fmla="*/ 3832 h 10000"/>
              <a:gd name="connsiteX197" fmla="*/ 8288 w 9720"/>
              <a:gd name="connsiteY197" fmla="*/ 3874 h 10000"/>
              <a:gd name="connsiteX198" fmla="*/ 8452 w 9720"/>
              <a:gd name="connsiteY198" fmla="*/ 3828 h 10000"/>
              <a:gd name="connsiteX199" fmla="*/ 8491 w 9720"/>
              <a:gd name="connsiteY199" fmla="*/ 3767 h 10000"/>
              <a:gd name="connsiteX200" fmla="*/ 8616 w 9720"/>
              <a:gd name="connsiteY200" fmla="*/ 3727 h 10000"/>
              <a:gd name="connsiteX201" fmla="*/ 8722 w 9720"/>
              <a:gd name="connsiteY201" fmla="*/ 3745 h 10000"/>
              <a:gd name="connsiteX202" fmla="*/ 8789 w 9720"/>
              <a:gd name="connsiteY202" fmla="*/ 3714 h 10000"/>
              <a:gd name="connsiteX203" fmla="*/ 8973 w 9720"/>
              <a:gd name="connsiteY203" fmla="*/ 3672 h 10000"/>
              <a:gd name="connsiteX204" fmla="*/ 9049 w 9720"/>
              <a:gd name="connsiteY204" fmla="*/ 3617 h 10000"/>
              <a:gd name="connsiteX205" fmla="*/ 9153 w 9720"/>
              <a:gd name="connsiteY205" fmla="*/ 3594 h 10000"/>
              <a:gd name="connsiteX206" fmla="*/ 9720 w 9720"/>
              <a:gd name="connsiteY206" fmla="*/ 3261 h 10000"/>
              <a:gd name="connsiteX207" fmla="*/ 7537 w 9720"/>
              <a:gd name="connsiteY207" fmla="*/ 0 h 10000"/>
              <a:gd name="connsiteX208" fmla="*/ 7423 w 9720"/>
              <a:gd name="connsiteY208" fmla="*/ 8 h 10000"/>
              <a:gd name="connsiteX209" fmla="*/ 7359 w 9720"/>
              <a:gd name="connsiteY209" fmla="*/ 28 h 10000"/>
              <a:gd name="connsiteX210" fmla="*/ 7290 w 9720"/>
              <a:gd name="connsiteY210" fmla="*/ 78 h 10000"/>
              <a:gd name="connsiteX211" fmla="*/ 7302 w 9720"/>
              <a:gd name="connsiteY211" fmla="*/ 201 h 10000"/>
              <a:gd name="connsiteX212" fmla="*/ 7199 w 9720"/>
              <a:gd name="connsiteY212" fmla="*/ 362 h 10000"/>
              <a:gd name="connsiteX213" fmla="*/ 7072 w 9720"/>
              <a:gd name="connsiteY213" fmla="*/ 445 h 10000"/>
              <a:gd name="connsiteX214" fmla="*/ 7021 w 9720"/>
              <a:gd name="connsiteY214" fmla="*/ 435 h 10000"/>
              <a:gd name="connsiteX215" fmla="*/ 6903 w 9720"/>
              <a:gd name="connsiteY215" fmla="*/ 366 h 10000"/>
              <a:gd name="connsiteX216" fmla="*/ 6756 w 9720"/>
              <a:gd name="connsiteY216" fmla="*/ 331 h 10000"/>
              <a:gd name="connsiteX217" fmla="*/ 6594 w 9720"/>
              <a:gd name="connsiteY217" fmla="*/ 341 h 10000"/>
              <a:gd name="connsiteX218" fmla="*/ 6223 w 9720"/>
              <a:gd name="connsiteY218" fmla="*/ 498 h 10000"/>
              <a:gd name="connsiteX219" fmla="*/ 6125 w 9720"/>
              <a:gd name="connsiteY219" fmla="*/ 656 h 10000"/>
              <a:gd name="connsiteX220" fmla="*/ 5845 w 9720"/>
              <a:gd name="connsiteY220" fmla="*/ 797 h 10000"/>
              <a:gd name="connsiteX221" fmla="*/ 5794 w 9720"/>
              <a:gd name="connsiteY221" fmla="*/ 868 h 10000"/>
              <a:gd name="connsiteX222" fmla="*/ 5940 w 9720"/>
              <a:gd name="connsiteY222" fmla="*/ 995 h 10000"/>
              <a:gd name="connsiteX223" fmla="*/ 5956 w 9720"/>
              <a:gd name="connsiteY223" fmla="*/ 1067 h 10000"/>
              <a:gd name="connsiteX224" fmla="*/ 5190 w 9720"/>
              <a:gd name="connsiteY224" fmla="*/ 1484 h 10000"/>
              <a:gd name="connsiteX225" fmla="*/ 4955 w 9720"/>
              <a:gd name="connsiteY225" fmla="*/ 1750 h 10000"/>
              <a:gd name="connsiteX226" fmla="*/ 4702 w 9720"/>
              <a:gd name="connsiteY226" fmla="*/ 1818 h 10000"/>
              <a:gd name="connsiteX227" fmla="*/ 4540 w 9720"/>
              <a:gd name="connsiteY227" fmla="*/ 1814 h 10000"/>
              <a:gd name="connsiteX228" fmla="*/ 4443 w 9720"/>
              <a:gd name="connsiteY228" fmla="*/ 1838 h 10000"/>
              <a:gd name="connsiteX229" fmla="*/ 4178 w 9720"/>
              <a:gd name="connsiteY229" fmla="*/ 2503 h 10000"/>
              <a:gd name="connsiteX230" fmla="*/ 3565 w 9720"/>
              <a:gd name="connsiteY230" fmla="*/ 2891 h 10000"/>
              <a:gd name="connsiteX231" fmla="*/ 3569 w 9720"/>
              <a:gd name="connsiteY231" fmla="*/ 2952 h 10000"/>
              <a:gd name="connsiteX232" fmla="*/ 3841 w 9720"/>
              <a:gd name="connsiteY232" fmla="*/ 3126 h 10000"/>
              <a:gd name="connsiteX233" fmla="*/ 3753 w 9720"/>
              <a:gd name="connsiteY233" fmla="*/ 3314 h 10000"/>
              <a:gd name="connsiteX234" fmla="*/ 3594 w 9720"/>
              <a:gd name="connsiteY234" fmla="*/ 3383 h 10000"/>
              <a:gd name="connsiteX235" fmla="*/ 3118 w 9720"/>
              <a:gd name="connsiteY235" fmla="*/ 3337 h 10000"/>
              <a:gd name="connsiteX236" fmla="*/ 2791 w 9720"/>
              <a:gd name="connsiteY236" fmla="*/ 3363 h 10000"/>
              <a:gd name="connsiteX237" fmla="*/ 2528 w 9720"/>
              <a:gd name="connsiteY237" fmla="*/ 3419 h 10000"/>
              <a:gd name="connsiteX238" fmla="*/ 2102 w 9720"/>
              <a:gd name="connsiteY238" fmla="*/ 3592 h 10000"/>
              <a:gd name="connsiteX239" fmla="*/ 1877 w 9720"/>
              <a:gd name="connsiteY239" fmla="*/ 3802 h 10000"/>
              <a:gd name="connsiteX240" fmla="*/ 1896 w 9720"/>
              <a:gd name="connsiteY240" fmla="*/ 3919 h 10000"/>
              <a:gd name="connsiteX241" fmla="*/ 1975 w 9720"/>
              <a:gd name="connsiteY241" fmla="*/ 4009 h 10000"/>
              <a:gd name="connsiteX242" fmla="*/ 2034 w 9720"/>
              <a:gd name="connsiteY242" fmla="*/ 4045 h 10000"/>
              <a:gd name="connsiteX243" fmla="*/ 1924 w 9720"/>
              <a:gd name="connsiteY243" fmla="*/ 4103 h 10000"/>
              <a:gd name="connsiteX244" fmla="*/ 1683 w 9720"/>
              <a:gd name="connsiteY244" fmla="*/ 4497 h 10000"/>
              <a:gd name="connsiteX245" fmla="*/ 1729 w 9720"/>
              <a:gd name="connsiteY245" fmla="*/ 4520 h 10000"/>
              <a:gd name="connsiteX246" fmla="*/ 1764 w 9720"/>
              <a:gd name="connsiteY246" fmla="*/ 4620 h 10000"/>
              <a:gd name="connsiteX247" fmla="*/ 1652 w 9720"/>
              <a:gd name="connsiteY247" fmla="*/ 5035 h 10000"/>
              <a:gd name="connsiteX248" fmla="*/ 1764 w 9720"/>
              <a:gd name="connsiteY248" fmla="*/ 5141 h 10000"/>
              <a:gd name="connsiteX249" fmla="*/ 2071 w 9720"/>
              <a:gd name="connsiteY249" fmla="*/ 5257 h 10000"/>
              <a:gd name="connsiteX250" fmla="*/ 2085 w 9720"/>
              <a:gd name="connsiteY250" fmla="*/ 5399 h 10000"/>
              <a:gd name="connsiteX251" fmla="*/ 1954 w 9720"/>
              <a:gd name="connsiteY251" fmla="*/ 5517 h 10000"/>
              <a:gd name="connsiteX252" fmla="*/ 1764 w 9720"/>
              <a:gd name="connsiteY252" fmla="*/ 5588 h 10000"/>
              <a:gd name="connsiteX253" fmla="*/ 1513 w 9720"/>
              <a:gd name="connsiteY253" fmla="*/ 5617 h 10000"/>
              <a:gd name="connsiteX254" fmla="*/ 1448 w 9720"/>
              <a:gd name="connsiteY254" fmla="*/ 5658 h 10000"/>
              <a:gd name="connsiteX255" fmla="*/ 1594 w 9720"/>
              <a:gd name="connsiteY255" fmla="*/ 5755 h 10000"/>
              <a:gd name="connsiteX256" fmla="*/ 1678 w 9720"/>
              <a:gd name="connsiteY256" fmla="*/ 5987 h 10000"/>
              <a:gd name="connsiteX257" fmla="*/ 1488 w 9720"/>
              <a:gd name="connsiteY257" fmla="*/ 6185 h 10000"/>
              <a:gd name="connsiteX258" fmla="*/ 1554 w 9720"/>
              <a:gd name="connsiteY258" fmla="*/ 6247 h 10000"/>
              <a:gd name="connsiteX259" fmla="*/ 1494 w 9720"/>
              <a:gd name="connsiteY259" fmla="*/ 6351 h 10000"/>
              <a:gd name="connsiteX260" fmla="*/ 1372 w 9720"/>
              <a:gd name="connsiteY260" fmla="*/ 6422 h 10000"/>
              <a:gd name="connsiteX261" fmla="*/ 889 w 9720"/>
              <a:gd name="connsiteY261" fmla="*/ 6477 h 10000"/>
              <a:gd name="connsiteX262" fmla="*/ 860 w 9720"/>
              <a:gd name="connsiteY262" fmla="*/ 6573 h 10000"/>
              <a:gd name="connsiteX263" fmla="*/ 600 w 9720"/>
              <a:gd name="connsiteY263" fmla="*/ 6716 h 10000"/>
              <a:gd name="connsiteX264" fmla="*/ 634 w 9720"/>
              <a:gd name="connsiteY264" fmla="*/ 6921 h 10000"/>
              <a:gd name="connsiteX265" fmla="*/ 415 w 9720"/>
              <a:gd name="connsiteY265" fmla="*/ 7184 h 10000"/>
              <a:gd name="connsiteX266" fmla="*/ 266 w 9720"/>
              <a:gd name="connsiteY266" fmla="*/ 7215 h 10000"/>
              <a:gd name="connsiteX267" fmla="*/ 204 w 9720"/>
              <a:gd name="connsiteY267" fmla="*/ 7152 h 10000"/>
              <a:gd name="connsiteX268" fmla="*/ 128 w 9720"/>
              <a:gd name="connsiteY268" fmla="*/ 7247 h 10000"/>
              <a:gd name="connsiteX269" fmla="*/ 178 w 9720"/>
              <a:gd name="connsiteY269" fmla="*/ 7084 h 10000"/>
              <a:gd name="connsiteX270" fmla="*/ 147 w 9720"/>
              <a:gd name="connsiteY270"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6111 w 10000"/>
              <a:gd name="connsiteY222" fmla="*/ 995 h 10000"/>
              <a:gd name="connsiteX223" fmla="*/ 6128 w 10000"/>
              <a:gd name="connsiteY223" fmla="*/ 1067 h 10000"/>
              <a:gd name="connsiteX224" fmla="*/ 5098 w 10000"/>
              <a:gd name="connsiteY224" fmla="*/ 1750 h 10000"/>
              <a:gd name="connsiteX225" fmla="*/ 4837 w 10000"/>
              <a:gd name="connsiteY225" fmla="*/ 1818 h 10000"/>
              <a:gd name="connsiteX226" fmla="*/ 4671 w 10000"/>
              <a:gd name="connsiteY226" fmla="*/ 1814 h 10000"/>
              <a:gd name="connsiteX227" fmla="*/ 4571 w 10000"/>
              <a:gd name="connsiteY227" fmla="*/ 1838 h 10000"/>
              <a:gd name="connsiteX228" fmla="*/ 4298 w 10000"/>
              <a:gd name="connsiteY228" fmla="*/ 2503 h 10000"/>
              <a:gd name="connsiteX229" fmla="*/ 3668 w 10000"/>
              <a:gd name="connsiteY229" fmla="*/ 2891 h 10000"/>
              <a:gd name="connsiteX230" fmla="*/ 3672 w 10000"/>
              <a:gd name="connsiteY230" fmla="*/ 2952 h 10000"/>
              <a:gd name="connsiteX231" fmla="*/ 3952 w 10000"/>
              <a:gd name="connsiteY231" fmla="*/ 3126 h 10000"/>
              <a:gd name="connsiteX232" fmla="*/ 3861 w 10000"/>
              <a:gd name="connsiteY232" fmla="*/ 3314 h 10000"/>
              <a:gd name="connsiteX233" fmla="*/ 3698 w 10000"/>
              <a:gd name="connsiteY233" fmla="*/ 3383 h 10000"/>
              <a:gd name="connsiteX234" fmla="*/ 3208 w 10000"/>
              <a:gd name="connsiteY234" fmla="*/ 3337 h 10000"/>
              <a:gd name="connsiteX235" fmla="*/ 2871 w 10000"/>
              <a:gd name="connsiteY235" fmla="*/ 3363 h 10000"/>
              <a:gd name="connsiteX236" fmla="*/ 2601 w 10000"/>
              <a:gd name="connsiteY236" fmla="*/ 3419 h 10000"/>
              <a:gd name="connsiteX237" fmla="*/ 2163 w 10000"/>
              <a:gd name="connsiteY237" fmla="*/ 3592 h 10000"/>
              <a:gd name="connsiteX238" fmla="*/ 1931 w 10000"/>
              <a:gd name="connsiteY238" fmla="*/ 3802 h 10000"/>
              <a:gd name="connsiteX239" fmla="*/ 1951 w 10000"/>
              <a:gd name="connsiteY239" fmla="*/ 3919 h 10000"/>
              <a:gd name="connsiteX240" fmla="*/ 2032 w 10000"/>
              <a:gd name="connsiteY240" fmla="*/ 4009 h 10000"/>
              <a:gd name="connsiteX241" fmla="*/ 2093 w 10000"/>
              <a:gd name="connsiteY241" fmla="*/ 4045 h 10000"/>
              <a:gd name="connsiteX242" fmla="*/ 1979 w 10000"/>
              <a:gd name="connsiteY242" fmla="*/ 4103 h 10000"/>
              <a:gd name="connsiteX243" fmla="*/ 1731 w 10000"/>
              <a:gd name="connsiteY243" fmla="*/ 4497 h 10000"/>
              <a:gd name="connsiteX244" fmla="*/ 1779 w 10000"/>
              <a:gd name="connsiteY244" fmla="*/ 4520 h 10000"/>
              <a:gd name="connsiteX245" fmla="*/ 1815 w 10000"/>
              <a:gd name="connsiteY245" fmla="*/ 4620 h 10000"/>
              <a:gd name="connsiteX246" fmla="*/ 1700 w 10000"/>
              <a:gd name="connsiteY246" fmla="*/ 5035 h 10000"/>
              <a:gd name="connsiteX247" fmla="*/ 1815 w 10000"/>
              <a:gd name="connsiteY247" fmla="*/ 5141 h 10000"/>
              <a:gd name="connsiteX248" fmla="*/ 2131 w 10000"/>
              <a:gd name="connsiteY248" fmla="*/ 5257 h 10000"/>
              <a:gd name="connsiteX249" fmla="*/ 2145 w 10000"/>
              <a:gd name="connsiteY249" fmla="*/ 5399 h 10000"/>
              <a:gd name="connsiteX250" fmla="*/ 2010 w 10000"/>
              <a:gd name="connsiteY250" fmla="*/ 5517 h 10000"/>
              <a:gd name="connsiteX251" fmla="*/ 1815 w 10000"/>
              <a:gd name="connsiteY251" fmla="*/ 5588 h 10000"/>
              <a:gd name="connsiteX252" fmla="*/ 1557 w 10000"/>
              <a:gd name="connsiteY252" fmla="*/ 5617 h 10000"/>
              <a:gd name="connsiteX253" fmla="*/ 1490 w 10000"/>
              <a:gd name="connsiteY253" fmla="*/ 5658 h 10000"/>
              <a:gd name="connsiteX254" fmla="*/ 1640 w 10000"/>
              <a:gd name="connsiteY254" fmla="*/ 5755 h 10000"/>
              <a:gd name="connsiteX255" fmla="*/ 1726 w 10000"/>
              <a:gd name="connsiteY255" fmla="*/ 5987 h 10000"/>
              <a:gd name="connsiteX256" fmla="*/ 1531 w 10000"/>
              <a:gd name="connsiteY256" fmla="*/ 6185 h 10000"/>
              <a:gd name="connsiteX257" fmla="*/ 1599 w 10000"/>
              <a:gd name="connsiteY257" fmla="*/ 6247 h 10000"/>
              <a:gd name="connsiteX258" fmla="*/ 1537 w 10000"/>
              <a:gd name="connsiteY258" fmla="*/ 6351 h 10000"/>
              <a:gd name="connsiteX259" fmla="*/ 1412 w 10000"/>
              <a:gd name="connsiteY259" fmla="*/ 6422 h 10000"/>
              <a:gd name="connsiteX260" fmla="*/ 915 w 10000"/>
              <a:gd name="connsiteY260" fmla="*/ 6477 h 10000"/>
              <a:gd name="connsiteX261" fmla="*/ 885 w 10000"/>
              <a:gd name="connsiteY261" fmla="*/ 6573 h 10000"/>
              <a:gd name="connsiteX262" fmla="*/ 617 w 10000"/>
              <a:gd name="connsiteY262" fmla="*/ 6716 h 10000"/>
              <a:gd name="connsiteX263" fmla="*/ 652 w 10000"/>
              <a:gd name="connsiteY263" fmla="*/ 6921 h 10000"/>
              <a:gd name="connsiteX264" fmla="*/ 427 w 10000"/>
              <a:gd name="connsiteY264" fmla="*/ 7184 h 10000"/>
              <a:gd name="connsiteX265" fmla="*/ 274 w 10000"/>
              <a:gd name="connsiteY265" fmla="*/ 7215 h 10000"/>
              <a:gd name="connsiteX266" fmla="*/ 210 w 10000"/>
              <a:gd name="connsiteY266" fmla="*/ 7152 h 10000"/>
              <a:gd name="connsiteX267" fmla="*/ 132 w 10000"/>
              <a:gd name="connsiteY267" fmla="*/ 7247 h 10000"/>
              <a:gd name="connsiteX268" fmla="*/ 183 w 10000"/>
              <a:gd name="connsiteY268" fmla="*/ 7084 h 10000"/>
              <a:gd name="connsiteX269" fmla="*/ 151 w 10000"/>
              <a:gd name="connsiteY269"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6111 w 10000"/>
              <a:gd name="connsiteY222" fmla="*/ 995 h 10000"/>
              <a:gd name="connsiteX223" fmla="*/ 5098 w 10000"/>
              <a:gd name="connsiteY223" fmla="*/ 1750 h 10000"/>
              <a:gd name="connsiteX224" fmla="*/ 4837 w 10000"/>
              <a:gd name="connsiteY224" fmla="*/ 1818 h 10000"/>
              <a:gd name="connsiteX225" fmla="*/ 4671 w 10000"/>
              <a:gd name="connsiteY225" fmla="*/ 1814 h 10000"/>
              <a:gd name="connsiteX226" fmla="*/ 4571 w 10000"/>
              <a:gd name="connsiteY226" fmla="*/ 1838 h 10000"/>
              <a:gd name="connsiteX227" fmla="*/ 4298 w 10000"/>
              <a:gd name="connsiteY227" fmla="*/ 2503 h 10000"/>
              <a:gd name="connsiteX228" fmla="*/ 3668 w 10000"/>
              <a:gd name="connsiteY228" fmla="*/ 2891 h 10000"/>
              <a:gd name="connsiteX229" fmla="*/ 3672 w 10000"/>
              <a:gd name="connsiteY229" fmla="*/ 2952 h 10000"/>
              <a:gd name="connsiteX230" fmla="*/ 3952 w 10000"/>
              <a:gd name="connsiteY230" fmla="*/ 3126 h 10000"/>
              <a:gd name="connsiteX231" fmla="*/ 3861 w 10000"/>
              <a:gd name="connsiteY231" fmla="*/ 3314 h 10000"/>
              <a:gd name="connsiteX232" fmla="*/ 3698 w 10000"/>
              <a:gd name="connsiteY232" fmla="*/ 3383 h 10000"/>
              <a:gd name="connsiteX233" fmla="*/ 3208 w 10000"/>
              <a:gd name="connsiteY233" fmla="*/ 3337 h 10000"/>
              <a:gd name="connsiteX234" fmla="*/ 2871 w 10000"/>
              <a:gd name="connsiteY234" fmla="*/ 3363 h 10000"/>
              <a:gd name="connsiteX235" fmla="*/ 2601 w 10000"/>
              <a:gd name="connsiteY235" fmla="*/ 3419 h 10000"/>
              <a:gd name="connsiteX236" fmla="*/ 2163 w 10000"/>
              <a:gd name="connsiteY236" fmla="*/ 3592 h 10000"/>
              <a:gd name="connsiteX237" fmla="*/ 1931 w 10000"/>
              <a:gd name="connsiteY237" fmla="*/ 3802 h 10000"/>
              <a:gd name="connsiteX238" fmla="*/ 1951 w 10000"/>
              <a:gd name="connsiteY238" fmla="*/ 3919 h 10000"/>
              <a:gd name="connsiteX239" fmla="*/ 2032 w 10000"/>
              <a:gd name="connsiteY239" fmla="*/ 4009 h 10000"/>
              <a:gd name="connsiteX240" fmla="*/ 2093 w 10000"/>
              <a:gd name="connsiteY240" fmla="*/ 4045 h 10000"/>
              <a:gd name="connsiteX241" fmla="*/ 1979 w 10000"/>
              <a:gd name="connsiteY241" fmla="*/ 4103 h 10000"/>
              <a:gd name="connsiteX242" fmla="*/ 1731 w 10000"/>
              <a:gd name="connsiteY242" fmla="*/ 4497 h 10000"/>
              <a:gd name="connsiteX243" fmla="*/ 1779 w 10000"/>
              <a:gd name="connsiteY243" fmla="*/ 4520 h 10000"/>
              <a:gd name="connsiteX244" fmla="*/ 1815 w 10000"/>
              <a:gd name="connsiteY244" fmla="*/ 4620 h 10000"/>
              <a:gd name="connsiteX245" fmla="*/ 1700 w 10000"/>
              <a:gd name="connsiteY245" fmla="*/ 5035 h 10000"/>
              <a:gd name="connsiteX246" fmla="*/ 1815 w 10000"/>
              <a:gd name="connsiteY246" fmla="*/ 5141 h 10000"/>
              <a:gd name="connsiteX247" fmla="*/ 2131 w 10000"/>
              <a:gd name="connsiteY247" fmla="*/ 5257 h 10000"/>
              <a:gd name="connsiteX248" fmla="*/ 2145 w 10000"/>
              <a:gd name="connsiteY248" fmla="*/ 5399 h 10000"/>
              <a:gd name="connsiteX249" fmla="*/ 2010 w 10000"/>
              <a:gd name="connsiteY249" fmla="*/ 5517 h 10000"/>
              <a:gd name="connsiteX250" fmla="*/ 1815 w 10000"/>
              <a:gd name="connsiteY250" fmla="*/ 5588 h 10000"/>
              <a:gd name="connsiteX251" fmla="*/ 1557 w 10000"/>
              <a:gd name="connsiteY251" fmla="*/ 5617 h 10000"/>
              <a:gd name="connsiteX252" fmla="*/ 1490 w 10000"/>
              <a:gd name="connsiteY252" fmla="*/ 5658 h 10000"/>
              <a:gd name="connsiteX253" fmla="*/ 1640 w 10000"/>
              <a:gd name="connsiteY253" fmla="*/ 5755 h 10000"/>
              <a:gd name="connsiteX254" fmla="*/ 1726 w 10000"/>
              <a:gd name="connsiteY254" fmla="*/ 5987 h 10000"/>
              <a:gd name="connsiteX255" fmla="*/ 1531 w 10000"/>
              <a:gd name="connsiteY255" fmla="*/ 6185 h 10000"/>
              <a:gd name="connsiteX256" fmla="*/ 1599 w 10000"/>
              <a:gd name="connsiteY256" fmla="*/ 6247 h 10000"/>
              <a:gd name="connsiteX257" fmla="*/ 1537 w 10000"/>
              <a:gd name="connsiteY257" fmla="*/ 6351 h 10000"/>
              <a:gd name="connsiteX258" fmla="*/ 1412 w 10000"/>
              <a:gd name="connsiteY258" fmla="*/ 6422 h 10000"/>
              <a:gd name="connsiteX259" fmla="*/ 915 w 10000"/>
              <a:gd name="connsiteY259" fmla="*/ 6477 h 10000"/>
              <a:gd name="connsiteX260" fmla="*/ 885 w 10000"/>
              <a:gd name="connsiteY260" fmla="*/ 6573 h 10000"/>
              <a:gd name="connsiteX261" fmla="*/ 617 w 10000"/>
              <a:gd name="connsiteY261" fmla="*/ 6716 h 10000"/>
              <a:gd name="connsiteX262" fmla="*/ 652 w 10000"/>
              <a:gd name="connsiteY262" fmla="*/ 6921 h 10000"/>
              <a:gd name="connsiteX263" fmla="*/ 427 w 10000"/>
              <a:gd name="connsiteY263" fmla="*/ 7184 h 10000"/>
              <a:gd name="connsiteX264" fmla="*/ 274 w 10000"/>
              <a:gd name="connsiteY264" fmla="*/ 7215 h 10000"/>
              <a:gd name="connsiteX265" fmla="*/ 210 w 10000"/>
              <a:gd name="connsiteY265" fmla="*/ 7152 h 10000"/>
              <a:gd name="connsiteX266" fmla="*/ 132 w 10000"/>
              <a:gd name="connsiteY266" fmla="*/ 7247 h 10000"/>
              <a:gd name="connsiteX267" fmla="*/ 183 w 10000"/>
              <a:gd name="connsiteY267" fmla="*/ 7084 h 10000"/>
              <a:gd name="connsiteX268" fmla="*/ 151 w 10000"/>
              <a:gd name="connsiteY268"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5098 w 10000"/>
              <a:gd name="connsiteY222" fmla="*/ 1750 h 10000"/>
              <a:gd name="connsiteX223" fmla="*/ 4837 w 10000"/>
              <a:gd name="connsiteY223" fmla="*/ 1818 h 10000"/>
              <a:gd name="connsiteX224" fmla="*/ 4671 w 10000"/>
              <a:gd name="connsiteY224" fmla="*/ 1814 h 10000"/>
              <a:gd name="connsiteX225" fmla="*/ 4571 w 10000"/>
              <a:gd name="connsiteY225" fmla="*/ 1838 h 10000"/>
              <a:gd name="connsiteX226" fmla="*/ 4298 w 10000"/>
              <a:gd name="connsiteY226" fmla="*/ 2503 h 10000"/>
              <a:gd name="connsiteX227" fmla="*/ 3668 w 10000"/>
              <a:gd name="connsiteY227" fmla="*/ 2891 h 10000"/>
              <a:gd name="connsiteX228" fmla="*/ 3672 w 10000"/>
              <a:gd name="connsiteY228" fmla="*/ 2952 h 10000"/>
              <a:gd name="connsiteX229" fmla="*/ 3952 w 10000"/>
              <a:gd name="connsiteY229" fmla="*/ 3126 h 10000"/>
              <a:gd name="connsiteX230" fmla="*/ 3861 w 10000"/>
              <a:gd name="connsiteY230" fmla="*/ 3314 h 10000"/>
              <a:gd name="connsiteX231" fmla="*/ 3698 w 10000"/>
              <a:gd name="connsiteY231" fmla="*/ 3383 h 10000"/>
              <a:gd name="connsiteX232" fmla="*/ 3208 w 10000"/>
              <a:gd name="connsiteY232" fmla="*/ 3337 h 10000"/>
              <a:gd name="connsiteX233" fmla="*/ 2871 w 10000"/>
              <a:gd name="connsiteY233" fmla="*/ 3363 h 10000"/>
              <a:gd name="connsiteX234" fmla="*/ 2601 w 10000"/>
              <a:gd name="connsiteY234" fmla="*/ 3419 h 10000"/>
              <a:gd name="connsiteX235" fmla="*/ 2163 w 10000"/>
              <a:gd name="connsiteY235" fmla="*/ 3592 h 10000"/>
              <a:gd name="connsiteX236" fmla="*/ 1931 w 10000"/>
              <a:gd name="connsiteY236" fmla="*/ 3802 h 10000"/>
              <a:gd name="connsiteX237" fmla="*/ 1951 w 10000"/>
              <a:gd name="connsiteY237" fmla="*/ 3919 h 10000"/>
              <a:gd name="connsiteX238" fmla="*/ 2032 w 10000"/>
              <a:gd name="connsiteY238" fmla="*/ 4009 h 10000"/>
              <a:gd name="connsiteX239" fmla="*/ 2093 w 10000"/>
              <a:gd name="connsiteY239" fmla="*/ 4045 h 10000"/>
              <a:gd name="connsiteX240" fmla="*/ 1979 w 10000"/>
              <a:gd name="connsiteY240" fmla="*/ 4103 h 10000"/>
              <a:gd name="connsiteX241" fmla="*/ 1731 w 10000"/>
              <a:gd name="connsiteY241" fmla="*/ 4497 h 10000"/>
              <a:gd name="connsiteX242" fmla="*/ 1779 w 10000"/>
              <a:gd name="connsiteY242" fmla="*/ 4520 h 10000"/>
              <a:gd name="connsiteX243" fmla="*/ 1815 w 10000"/>
              <a:gd name="connsiteY243" fmla="*/ 4620 h 10000"/>
              <a:gd name="connsiteX244" fmla="*/ 1700 w 10000"/>
              <a:gd name="connsiteY244" fmla="*/ 5035 h 10000"/>
              <a:gd name="connsiteX245" fmla="*/ 1815 w 10000"/>
              <a:gd name="connsiteY245" fmla="*/ 5141 h 10000"/>
              <a:gd name="connsiteX246" fmla="*/ 2131 w 10000"/>
              <a:gd name="connsiteY246" fmla="*/ 5257 h 10000"/>
              <a:gd name="connsiteX247" fmla="*/ 2145 w 10000"/>
              <a:gd name="connsiteY247" fmla="*/ 5399 h 10000"/>
              <a:gd name="connsiteX248" fmla="*/ 2010 w 10000"/>
              <a:gd name="connsiteY248" fmla="*/ 5517 h 10000"/>
              <a:gd name="connsiteX249" fmla="*/ 1815 w 10000"/>
              <a:gd name="connsiteY249" fmla="*/ 5588 h 10000"/>
              <a:gd name="connsiteX250" fmla="*/ 1557 w 10000"/>
              <a:gd name="connsiteY250" fmla="*/ 5617 h 10000"/>
              <a:gd name="connsiteX251" fmla="*/ 1490 w 10000"/>
              <a:gd name="connsiteY251" fmla="*/ 5658 h 10000"/>
              <a:gd name="connsiteX252" fmla="*/ 1640 w 10000"/>
              <a:gd name="connsiteY252" fmla="*/ 5755 h 10000"/>
              <a:gd name="connsiteX253" fmla="*/ 1726 w 10000"/>
              <a:gd name="connsiteY253" fmla="*/ 5987 h 10000"/>
              <a:gd name="connsiteX254" fmla="*/ 1531 w 10000"/>
              <a:gd name="connsiteY254" fmla="*/ 6185 h 10000"/>
              <a:gd name="connsiteX255" fmla="*/ 1599 w 10000"/>
              <a:gd name="connsiteY255" fmla="*/ 6247 h 10000"/>
              <a:gd name="connsiteX256" fmla="*/ 1537 w 10000"/>
              <a:gd name="connsiteY256" fmla="*/ 6351 h 10000"/>
              <a:gd name="connsiteX257" fmla="*/ 1412 w 10000"/>
              <a:gd name="connsiteY257" fmla="*/ 6422 h 10000"/>
              <a:gd name="connsiteX258" fmla="*/ 915 w 10000"/>
              <a:gd name="connsiteY258" fmla="*/ 6477 h 10000"/>
              <a:gd name="connsiteX259" fmla="*/ 885 w 10000"/>
              <a:gd name="connsiteY259" fmla="*/ 6573 h 10000"/>
              <a:gd name="connsiteX260" fmla="*/ 617 w 10000"/>
              <a:gd name="connsiteY260" fmla="*/ 6716 h 10000"/>
              <a:gd name="connsiteX261" fmla="*/ 652 w 10000"/>
              <a:gd name="connsiteY261" fmla="*/ 6921 h 10000"/>
              <a:gd name="connsiteX262" fmla="*/ 427 w 10000"/>
              <a:gd name="connsiteY262" fmla="*/ 7184 h 10000"/>
              <a:gd name="connsiteX263" fmla="*/ 274 w 10000"/>
              <a:gd name="connsiteY263" fmla="*/ 7215 h 10000"/>
              <a:gd name="connsiteX264" fmla="*/ 210 w 10000"/>
              <a:gd name="connsiteY264" fmla="*/ 7152 h 10000"/>
              <a:gd name="connsiteX265" fmla="*/ 132 w 10000"/>
              <a:gd name="connsiteY265" fmla="*/ 7247 h 10000"/>
              <a:gd name="connsiteX266" fmla="*/ 183 w 10000"/>
              <a:gd name="connsiteY266" fmla="*/ 7084 h 10000"/>
              <a:gd name="connsiteX267" fmla="*/ 151 w 10000"/>
              <a:gd name="connsiteY267"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098 w 10000"/>
              <a:gd name="connsiteY221" fmla="*/ 1750 h 10000"/>
              <a:gd name="connsiteX222" fmla="*/ 4837 w 10000"/>
              <a:gd name="connsiteY222" fmla="*/ 1818 h 10000"/>
              <a:gd name="connsiteX223" fmla="*/ 4671 w 10000"/>
              <a:gd name="connsiteY223" fmla="*/ 1814 h 10000"/>
              <a:gd name="connsiteX224" fmla="*/ 4571 w 10000"/>
              <a:gd name="connsiteY224" fmla="*/ 1838 h 10000"/>
              <a:gd name="connsiteX225" fmla="*/ 4298 w 10000"/>
              <a:gd name="connsiteY225" fmla="*/ 2503 h 10000"/>
              <a:gd name="connsiteX226" fmla="*/ 3668 w 10000"/>
              <a:gd name="connsiteY226" fmla="*/ 2891 h 10000"/>
              <a:gd name="connsiteX227" fmla="*/ 3672 w 10000"/>
              <a:gd name="connsiteY227" fmla="*/ 2952 h 10000"/>
              <a:gd name="connsiteX228" fmla="*/ 3952 w 10000"/>
              <a:gd name="connsiteY228" fmla="*/ 3126 h 10000"/>
              <a:gd name="connsiteX229" fmla="*/ 3861 w 10000"/>
              <a:gd name="connsiteY229" fmla="*/ 3314 h 10000"/>
              <a:gd name="connsiteX230" fmla="*/ 3698 w 10000"/>
              <a:gd name="connsiteY230" fmla="*/ 3383 h 10000"/>
              <a:gd name="connsiteX231" fmla="*/ 3208 w 10000"/>
              <a:gd name="connsiteY231" fmla="*/ 3337 h 10000"/>
              <a:gd name="connsiteX232" fmla="*/ 2871 w 10000"/>
              <a:gd name="connsiteY232" fmla="*/ 3363 h 10000"/>
              <a:gd name="connsiteX233" fmla="*/ 2601 w 10000"/>
              <a:gd name="connsiteY233" fmla="*/ 3419 h 10000"/>
              <a:gd name="connsiteX234" fmla="*/ 2163 w 10000"/>
              <a:gd name="connsiteY234" fmla="*/ 3592 h 10000"/>
              <a:gd name="connsiteX235" fmla="*/ 1931 w 10000"/>
              <a:gd name="connsiteY235" fmla="*/ 3802 h 10000"/>
              <a:gd name="connsiteX236" fmla="*/ 1951 w 10000"/>
              <a:gd name="connsiteY236" fmla="*/ 3919 h 10000"/>
              <a:gd name="connsiteX237" fmla="*/ 2032 w 10000"/>
              <a:gd name="connsiteY237" fmla="*/ 4009 h 10000"/>
              <a:gd name="connsiteX238" fmla="*/ 2093 w 10000"/>
              <a:gd name="connsiteY238" fmla="*/ 4045 h 10000"/>
              <a:gd name="connsiteX239" fmla="*/ 1979 w 10000"/>
              <a:gd name="connsiteY239" fmla="*/ 4103 h 10000"/>
              <a:gd name="connsiteX240" fmla="*/ 1731 w 10000"/>
              <a:gd name="connsiteY240" fmla="*/ 4497 h 10000"/>
              <a:gd name="connsiteX241" fmla="*/ 1779 w 10000"/>
              <a:gd name="connsiteY241" fmla="*/ 4520 h 10000"/>
              <a:gd name="connsiteX242" fmla="*/ 1815 w 10000"/>
              <a:gd name="connsiteY242" fmla="*/ 4620 h 10000"/>
              <a:gd name="connsiteX243" fmla="*/ 1700 w 10000"/>
              <a:gd name="connsiteY243" fmla="*/ 5035 h 10000"/>
              <a:gd name="connsiteX244" fmla="*/ 1815 w 10000"/>
              <a:gd name="connsiteY244" fmla="*/ 5141 h 10000"/>
              <a:gd name="connsiteX245" fmla="*/ 2131 w 10000"/>
              <a:gd name="connsiteY245" fmla="*/ 5257 h 10000"/>
              <a:gd name="connsiteX246" fmla="*/ 2145 w 10000"/>
              <a:gd name="connsiteY246" fmla="*/ 5399 h 10000"/>
              <a:gd name="connsiteX247" fmla="*/ 2010 w 10000"/>
              <a:gd name="connsiteY247" fmla="*/ 5517 h 10000"/>
              <a:gd name="connsiteX248" fmla="*/ 1815 w 10000"/>
              <a:gd name="connsiteY248" fmla="*/ 5588 h 10000"/>
              <a:gd name="connsiteX249" fmla="*/ 1557 w 10000"/>
              <a:gd name="connsiteY249" fmla="*/ 5617 h 10000"/>
              <a:gd name="connsiteX250" fmla="*/ 1490 w 10000"/>
              <a:gd name="connsiteY250" fmla="*/ 5658 h 10000"/>
              <a:gd name="connsiteX251" fmla="*/ 1640 w 10000"/>
              <a:gd name="connsiteY251" fmla="*/ 5755 h 10000"/>
              <a:gd name="connsiteX252" fmla="*/ 1726 w 10000"/>
              <a:gd name="connsiteY252" fmla="*/ 5987 h 10000"/>
              <a:gd name="connsiteX253" fmla="*/ 1531 w 10000"/>
              <a:gd name="connsiteY253" fmla="*/ 6185 h 10000"/>
              <a:gd name="connsiteX254" fmla="*/ 1599 w 10000"/>
              <a:gd name="connsiteY254" fmla="*/ 6247 h 10000"/>
              <a:gd name="connsiteX255" fmla="*/ 1537 w 10000"/>
              <a:gd name="connsiteY255" fmla="*/ 6351 h 10000"/>
              <a:gd name="connsiteX256" fmla="*/ 1412 w 10000"/>
              <a:gd name="connsiteY256" fmla="*/ 6422 h 10000"/>
              <a:gd name="connsiteX257" fmla="*/ 915 w 10000"/>
              <a:gd name="connsiteY257" fmla="*/ 6477 h 10000"/>
              <a:gd name="connsiteX258" fmla="*/ 885 w 10000"/>
              <a:gd name="connsiteY258" fmla="*/ 6573 h 10000"/>
              <a:gd name="connsiteX259" fmla="*/ 617 w 10000"/>
              <a:gd name="connsiteY259" fmla="*/ 6716 h 10000"/>
              <a:gd name="connsiteX260" fmla="*/ 652 w 10000"/>
              <a:gd name="connsiteY260" fmla="*/ 6921 h 10000"/>
              <a:gd name="connsiteX261" fmla="*/ 427 w 10000"/>
              <a:gd name="connsiteY261" fmla="*/ 7184 h 10000"/>
              <a:gd name="connsiteX262" fmla="*/ 274 w 10000"/>
              <a:gd name="connsiteY262" fmla="*/ 7215 h 10000"/>
              <a:gd name="connsiteX263" fmla="*/ 210 w 10000"/>
              <a:gd name="connsiteY263" fmla="*/ 7152 h 10000"/>
              <a:gd name="connsiteX264" fmla="*/ 132 w 10000"/>
              <a:gd name="connsiteY264" fmla="*/ 7247 h 10000"/>
              <a:gd name="connsiteX265" fmla="*/ 183 w 10000"/>
              <a:gd name="connsiteY265" fmla="*/ 7084 h 10000"/>
              <a:gd name="connsiteX266" fmla="*/ 151 w 10000"/>
              <a:gd name="connsiteY266"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5098 w 10000"/>
              <a:gd name="connsiteY220" fmla="*/ 1750 h 10000"/>
              <a:gd name="connsiteX221" fmla="*/ 4837 w 10000"/>
              <a:gd name="connsiteY221" fmla="*/ 1818 h 10000"/>
              <a:gd name="connsiteX222" fmla="*/ 4671 w 10000"/>
              <a:gd name="connsiteY222" fmla="*/ 1814 h 10000"/>
              <a:gd name="connsiteX223" fmla="*/ 4571 w 10000"/>
              <a:gd name="connsiteY223" fmla="*/ 1838 h 10000"/>
              <a:gd name="connsiteX224" fmla="*/ 4298 w 10000"/>
              <a:gd name="connsiteY224" fmla="*/ 2503 h 10000"/>
              <a:gd name="connsiteX225" fmla="*/ 3668 w 10000"/>
              <a:gd name="connsiteY225" fmla="*/ 2891 h 10000"/>
              <a:gd name="connsiteX226" fmla="*/ 3672 w 10000"/>
              <a:gd name="connsiteY226" fmla="*/ 2952 h 10000"/>
              <a:gd name="connsiteX227" fmla="*/ 3952 w 10000"/>
              <a:gd name="connsiteY227" fmla="*/ 3126 h 10000"/>
              <a:gd name="connsiteX228" fmla="*/ 3861 w 10000"/>
              <a:gd name="connsiteY228" fmla="*/ 3314 h 10000"/>
              <a:gd name="connsiteX229" fmla="*/ 3698 w 10000"/>
              <a:gd name="connsiteY229" fmla="*/ 3383 h 10000"/>
              <a:gd name="connsiteX230" fmla="*/ 3208 w 10000"/>
              <a:gd name="connsiteY230" fmla="*/ 3337 h 10000"/>
              <a:gd name="connsiteX231" fmla="*/ 2871 w 10000"/>
              <a:gd name="connsiteY231" fmla="*/ 3363 h 10000"/>
              <a:gd name="connsiteX232" fmla="*/ 2601 w 10000"/>
              <a:gd name="connsiteY232" fmla="*/ 3419 h 10000"/>
              <a:gd name="connsiteX233" fmla="*/ 2163 w 10000"/>
              <a:gd name="connsiteY233" fmla="*/ 3592 h 10000"/>
              <a:gd name="connsiteX234" fmla="*/ 1931 w 10000"/>
              <a:gd name="connsiteY234" fmla="*/ 3802 h 10000"/>
              <a:gd name="connsiteX235" fmla="*/ 1951 w 10000"/>
              <a:gd name="connsiteY235" fmla="*/ 3919 h 10000"/>
              <a:gd name="connsiteX236" fmla="*/ 2032 w 10000"/>
              <a:gd name="connsiteY236" fmla="*/ 4009 h 10000"/>
              <a:gd name="connsiteX237" fmla="*/ 2093 w 10000"/>
              <a:gd name="connsiteY237" fmla="*/ 4045 h 10000"/>
              <a:gd name="connsiteX238" fmla="*/ 1979 w 10000"/>
              <a:gd name="connsiteY238" fmla="*/ 4103 h 10000"/>
              <a:gd name="connsiteX239" fmla="*/ 1731 w 10000"/>
              <a:gd name="connsiteY239" fmla="*/ 4497 h 10000"/>
              <a:gd name="connsiteX240" fmla="*/ 1779 w 10000"/>
              <a:gd name="connsiteY240" fmla="*/ 4520 h 10000"/>
              <a:gd name="connsiteX241" fmla="*/ 1815 w 10000"/>
              <a:gd name="connsiteY241" fmla="*/ 4620 h 10000"/>
              <a:gd name="connsiteX242" fmla="*/ 1700 w 10000"/>
              <a:gd name="connsiteY242" fmla="*/ 5035 h 10000"/>
              <a:gd name="connsiteX243" fmla="*/ 1815 w 10000"/>
              <a:gd name="connsiteY243" fmla="*/ 5141 h 10000"/>
              <a:gd name="connsiteX244" fmla="*/ 2131 w 10000"/>
              <a:gd name="connsiteY244" fmla="*/ 5257 h 10000"/>
              <a:gd name="connsiteX245" fmla="*/ 2145 w 10000"/>
              <a:gd name="connsiteY245" fmla="*/ 5399 h 10000"/>
              <a:gd name="connsiteX246" fmla="*/ 2010 w 10000"/>
              <a:gd name="connsiteY246" fmla="*/ 5517 h 10000"/>
              <a:gd name="connsiteX247" fmla="*/ 1815 w 10000"/>
              <a:gd name="connsiteY247" fmla="*/ 5588 h 10000"/>
              <a:gd name="connsiteX248" fmla="*/ 1557 w 10000"/>
              <a:gd name="connsiteY248" fmla="*/ 5617 h 10000"/>
              <a:gd name="connsiteX249" fmla="*/ 1490 w 10000"/>
              <a:gd name="connsiteY249" fmla="*/ 5658 h 10000"/>
              <a:gd name="connsiteX250" fmla="*/ 1640 w 10000"/>
              <a:gd name="connsiteY250" fmla="*/ 5755 h 10000"/>
              <a:gd name="connsiteX251" fmla="*/ 1726 w 10000"/>
              <a:gd name="connsiteY251" fmla="*/ 5987 h 10000"/>
              <a:gd name="connsiteX252" fmla="*/ 1531 w 10000"/>
              <a:gd name="connsiteY252" fmla="*/ 6185 h 10000"/>
              <a:gd name="connsiteX253" fmla="*/ 1599 w 10000"/>
              <a:gd name="connsiteY253" fmla="*/ 6247 h 10000"/>
              <a:gd name="connsiteX254" fmla="*/ 1537 w 10000"/>
              <a:gd name="connsiteY254" fmla="*/ 6351 h 10000"/>
              <a:gd name="connsiteX255" fmla="*/ 1412 w 10000"/>
              <a:gd name="connsiteY255" fmla="*/ 6422 h 10000"/>
              <a:gd name="connsiteX256" fmla="*/ 915 w 10000"/>
              <a:gd name="connsiteY256" fmla="*/ 6477 h 10000"/>
              <a:gd name="connsiteX257" fmla="*/ 885 w 10000"/>
              <a:gd name="connsiteY257" fmla="*/ 6573 h 10000"/>
              <a:gd name="connsiteX258" fmla="*/ 617 w 10000"/>
              <a:gd name="connsiteY258" fmla="*/ 6716 h 10000"/>
              <a:gd name="connsiteX259" fmla="*/ 652 w 10000"/>
              <a:gd name="connsiteY259" fmla="*/ 6921 h 10000"/>
              <a:gd name="connsiteX260" fmla="*/ 427 w 10000"/>
              <a:gd name="connsiteY260" fmla="*/ 7184 h 10000"/>
              <a:gd name="connsiteX261" fmla="*/ 274 w 10000"/>
              <a:gd name="connsiteY261" fmla="*/ 7215 h 10000"/>
              <a:gd name="connsiteX262" fmla="*/ 210 w 10000"/>
              <a:gd name="connsiteY262" fmla="*/ 7152 h 10000"/>
              <a:gd name="connsiteX263" fmla="*/ 132 w 10000"/>
              <a:gd name="connsiteY263" fmla="*/ 7247 h 10000"/>
              <a:gd name="connsiteX264" fmla="*/ 183 w 10000"/>
              <a:gd name="connsiteY264" fmla="*/ 7084 h 10000"/>
              <a:gd name="connsiteX265" fmla="*/ 151 w 10000"/>
              <a:gd name="connsiteY265"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5098 w 10000"/>
              <a:gd name="connsiteY219" fmla="*/ 1750 h 10000"/>
              <a:gd name="connsiteX220" fmla="*/ 4837 w 10000"/>
              <a:gd name="connsiteY220" fmla="*/ 1818 h 10000"/>
              <a:gd name="connsiteX221" fmla="*/ 4671 w 10000"/>
              <a:gd name="connsiteY221" fmla="*/ 1814 h 10000"/>
              <a:gd name="connsiteX222" fmla="*/ 4571 w 10000"/>
              <a:gd name="connsiteY222" fmla="*/ 1838 h 10000"/>
              <a:gd name="connsiteX223" fmla="*/ 4298 w 10000"/>
              <a:gd name="connsiteY223" fmla="*/ 2503 h 10000"/>
              <a:gd name="connsiteX224" fmla="*/ 3668 w 10000"/>
              <a:gd name="connsiteY224" fmla="*/ 2891 h 10000"/>
              <a:gd name="connsiteX225" fmla="*/ 3672 w 10000"/>
              <a:gd name="connsiteY225" fmla="*/ 2952 h 10000"/>
              <a:gd name="connsiteX226" fmla="*/ 3952 w 10000"/>
              <a:gd name="connsiteY226" fmla="*/ 3126 h 10000"/>
              <a:gd name="connsiteX227" fmla="*/ 3861 w 10000"/>
              <a:gd name="connsiteY227" fmla="*/ 3314 h 10000"/>
              <a:gd name="connsiteX228" fmla="*/ 3698 w 10000"/>
              <a:gd name="connsiteY228" fmla="*/ 3383 h 10000"/>
              <a:gd name="connsiteX229" fmla="*/ 3208 w 10000"/>
              <a:gd name="connsiteY229" fmla="*/ 3337 h 10000"/>
              <a:gd name="connsiteX230" fmla="*/ 2871 w 10000"/>
              <a:gd name="connsiteY230" fmla="*/ 3363 h 10000"/>
              <a:gd name="connsiteX231" fmla="*/ 2601 w 10000"/>
              <a:gd name="connsiteY231" fmla="*/ 3419 h 10000"/>
              <a:gd name="connsiteX232" fmla="*/ 2163 w 10000"/>
              <a:gd name="connsiteY232" fmla="*/ 3592 h 10000"/>
              <a:gd name="connsiteX233" fmla="*/ 1931 w 10000"/>
              <a:gd name="connsiteY233" fmla="*/ 3802 h 10000"/>
              <a:gd name="connsiteX234" fmla="*/ 1951 w 10000"/>
              <a:gd name="connsiteY234" fmla="*/ 3919 h 10000"/>
              <a:gd name="connsiteX235" fmla="*/ 2032 w 10000"/>
              <a:gd name="connsiteY235" fmla="*/ 4009 h 10000"/>
              <a:gd name="connsiteX236" fmla="*/ 2093 w 10000"/>
              <a:gd name="connsiteY236" fmla="*/ 4045 h 10000"/>
              <a:gd name="connsiteX237" fmla="*/ 1979 w 10000"/>
              <a:gd name="connsiteY237" fmla="*/ 4103 h 10000"/>
              <a:gd name="connsiteX238" fmla="*/ 1731 w 10000"/>
              <a:gd name="connsiteY238" fmla="*/ 4497 h 10000"/>
              <a:gd name="connsiteX239" fmla="*/ 1779 w 10000"/>
              <a:gd name="connsiteY239" fmla="*/ 4520 h 10000"/>
              <a:gd name="connsiteX240" fmla="*/ 1815 w 10000"/>
              <a:gd name="connsiteY240" fmla="*/ 4620 h 10000"/>
              <a:gd name="connsiteX241" fmla="*/ 1700 w 10000"/>
              <a:gd name="connsiteY241" fmla="*/ 5035 h 10000"/>
              <a:gd name="connsiteX242" fmla="*/ 1815 w 10000"/>
              <a:gd name="connsiteY242" fmla="*/ 5141 h 10000"/>
              <a:gd name="connsiteX243" fmla="*/ 2131 w 10000"/>
              <a:gd name="connsiteY243" fmla="*/ 5257 h 10000"/>
              <a:gd name="connsiteX244" fmla="*/ 2145 w 10000"/>
              <a:gd name="connsiteY244" fmla="*/ 5399 h 10000"/>
              <a:gd name="connsiteX245" fmla="*/ 2010 w 10000"/>
              <a:gd name="connsiteY245" fmla="*/ 5517 h 10000"/>
              <a:gd name="connsiteX246" fmla="*/ 1815 w 10000"/>
              <a:gd name="connsiteY246" fmla="*/ 5588 h 10000"/>
              <a:gd name="connsiteX247" fmla="*/ 1557 w 10000"/>
              <a:gd name="connsiteY247" fmla="*/ 5617 h 10000"/>
              <a:gd name="connsiteX248" fmla="*/ 1490 w 10000"/>
              <a:gd name="connsiteY248" fmla="*/ 5658 h 10000"/>
              <a:gd name="connsiteX249" fmla="*/ 1640 w 10000"/>
              <a:gd name="connsiteY249" fmla="*/ 5755 h 10000"/>
              <a:gd name="connsiteX250" fmla="*/ 1726 w 10000"/>
              <a:gd name="connsiteY250" fmla="*/ 5987 h 10000"/>
              <a:gd name="connsiteX251" fmla="*/ 1531 w 10000"/>
              <a:gd name="connsiteY251" fmla="*/ 6185 h 10000"/>
              <a:gd name="connsiteX252" fmla="*/ 1599 w 10000"/>
              <a:gd name="connsiteY252" fmla="*/ 6247 h 10000"/>
              <a:gd name="connsiteX253" fmla="*/ 1537 w 10000"/>
              <a:gd name="connsiteY253" fmla="*/ 6351 h 10000"/>
              <a:gd name="connsiteX254" fmla="*/ 1412 w 10000"/>
              <a:gd name="connsiteY254" fmla="*/ 6422 h 10000"/>
              <a:gd name="connsiteX255" fmla="*/ 915 w 10000"/>
              <a:gd name="connsiteY255" fmla="*/ 6477 h 10000"/>
              <a:gd name="connsiteX256" fmla="*/ 885 w 10000"/>
              <a:gd name="connsiteY256" fmla="*/ 6573 h 10000"/>
              <a:gd name="connsiteX257" fmla="*/ 617 w 10000"/>
              <a:gd name="connsiteY257" fmla="*/ 6716 h 10000"/>
              <a:gd name="connsiteX258" fmla="*/ 652 w 10000"/>
              <a:gd name="connsiteY258" fmla="*/ 6921 h 10000"/>
              <a:gd name="connsiteX259" fmla="*/ 427 w 10000"/>
              <a:gd name="connsiteY259" fmla="*/ 7184 h 10000"/>
              <a:gd name="connsiteX260" fmla="*/ 274 w 10000"/>
              <a:gd name="connsiteY260" fmla="*/ 7215 h 10000"/>
              <a:gd name="connsiteX261" fmla="*/ 210 w 10000"/>
              <a:gd name="connsiteY261" fmla="*/ 7152 h 10000"/>
              <a:gd name="connsiteX262" fmla="*/ 132 w 10000"/>
              <a:gd name="connsiteY262" fmla="*/ 7247 h 10000"/>
              <a:gd name="connsiteX263" fmla="*/ 183 w 10000"/>
              <a:gd name="connsiteY263" fmla="*/ 7084 h 10000"/>
              <a:gd name="connsiteX264" fmla="*/ 151 w 10000"/>
              <a:gd name="connsiteY264"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5098 w 10000"/>
              <a:gd name="connsiteY218" fmla="*/ 1750 h 10000"/>
              <a:gd name="connsiteX219" fmla="*/ 4837 w 10000"/>
              <a:gd name="connsiteY219" fmla="*/ 1818 h 10000"/>
              <a:gd name="connsiteX220" fmla="*/ 4671 w 10000"/>
              <a:gd name="connsiteY220" fmla="*/ 1814 h 10000"/>
              <a:gd name="connsiteX221" fmla="*/ 4571 w 10000"/>
              <a:gd name="connsiteY221" fmla="*/ 1838 h 10000"/>
              <a:gd name="connsiteX222" fmla="*/ 4298 w 10000"/>
              <a:gd name="connsiteY222" fmla="*/ 2503 h 10000"/>
              <a:gd name="connsiteX223" fmla="*/ 3668 w 10000"/>
              <a:gd name="connsiteY223" fmla="*/ 2891 h 10000"/>
              <a:gd name="connsiteX224" fmla="*/ 3672 w 10000"/>
              <a:gd name="connsiteY224" fmla="*/ 2952 h 10000"/>
              <a:gd name="connsiteX225" fmla="*/ 3952 w 10000"/>
              <a:gd name="connsiteY225" fmla="*/ 3126 h 10000"/>
              <a:gd name="connsiteX226" fmla="*/ 3861 w 10000"/>
              <a:gd name="connsiteY226" fmla="*/ 3314 h 10000"/>
              <a:gd name="connsiteX227" fmla="*/ 3698 w 10000"/>
              <a:gd name="connsiteY227" fmla="*/ 3383 h 10000"/>
              <a:gd name="connsiteX228" fmla="*/ 3208 w 10000"/>
              <a:gd name="connsiteY228" fmla="*/ 3337 h 10000"/>
              <a:gd name="connsiteX229" fmla="*/ 2871 w 10000"/>
              <a:gd name="connsiteY229" fmla="*/ 3363 h 10000"/>
              <a:gd name="connsiteX230" fmla="*/ 2601 w 10000"/>
              <a:gd name="connsiteY230" fmla="*/ 3419 h 10000"/>
              <a:gd name="connsiteX231" fmla="*/ 2163 w 10000"/>
              <a:gd name="connsiteY231" fmla="*/ 3592 h 10000"/>
              <a:gd name="connsiteX232" fmla="*/ 1931 w 10000"/>
              <a:gd name="connsiteY232" fmla="*/ 3802 h 10000"/>
              <a:gd name="connsiteX233" fmla="*/ 1951 w 10000"/>
              <a:gd name="connsiteY233" fmla="*/ 3919 h 10000"/>
              <a:gd name="connsiteX234" fmla="*/ 2032 w 10000"/>
              <a:gd name="connsiteY234" fmla="*/ 4009 h 10000"/>
              <a:gd name="connsiteX235" fmla="*/ 2093 w 10000"/>
              <a:gd name="connsiteY235" fmla="*/ 4045 h 10000"/>
              <a:gd name="connsiteX236" fmla="*/ 1979 w 10000"/>
              <a:gd name="connsiteY236" fmla="*/ 4103 h 10000"/>
              <a:gd name="connsiteX237" fmla="*/ 1731 w 10000"/>
              <a:gd name="connsiteY237" fmla="*/ 4497 h 10000"/>
              <a:gd name="connsiteX238" fmla="*/ 1779 w 10000"/>
              <a:gd name="connsiteY238" fmla="*/ 4520 h 10000"/>
              <a:gd name="connsiteX239" fmla="*/ 1815 w 10000"/>
              <a:gd name="connsiteY239" fmla="*/ 4620 h 10000"/>
              <a:gd name="connsiteX240" fmla="*/ 1700 w 10000"/>
              <a:gd name="connsiteY240" fmla="*/ 5035 h 10000"/>
              <a:gd name="connsiteX241" fmla="*/ 1815 w 10000"/>
              <a:gd name="connsiteY241" fmla="*/ 5141 h 10000"/>
              <a:gd name="connsiteX242" fmla="*/ 2131 w 10000"/>
              <a:gd name="connsiteY242" fmla="*/ 5257 h 10000"/>
              <a:gd name="connsiteX243" fmla="*/ 2145 w 10000"/>
              <a:gd name="connsiteY243" fmla="*/ 5399 h 10000"/>
              <a:gd name="connsiteX244" fmla="*/ 2010 w 10000"/>
              <a:gd name="connsiteY244" fmla="*/ 5517 h 10000"/>
              <a:gd name="connsiteX245" fmla="*/ 1815 w 10000"/>
              <a:gd name="connsiteY245" fmla="*/ 5588 h 10000"/>
              <a:gd name="connsiteX246" fmla="*/ 1557 w 10000"/>
              <a:gd name="connsiteY246" fmla="*/ 5617 h 10000"/>
              <a:gd name="connsiteX247" fmla="*/ 1490 w 10000"/>
              <a:gd name="connsiteY247" fmla="*/ 5658 h 10000"/>
              <a:gd name="connsiteX248" fmla="*/ 1640 w 10000"/>
              <a:gd name="connsiteY248" fmla="*/ 5755 h 10000"/>
              <a:gd name="connsiteX249" fmla="*/ 1726 w 10000"/>
              <a:gd name="connsiteY249" fmla="*/ 5987 h 10000"/>
              <a:gd name="connsiteX250" fmla="*/ 1531 w 10000"/>
              <a:gd name="connsiteY250" fmla="*/ 6185 h 10000"/>
              <a:gd name="connsiteX251" fmla="*/ 1599 w 10000"/>
              <a:gd name="connsiteY251" fmla="*/ 6247 h 10000"/>
              <a:gd name="connsiteX252" fmla="*/ 1537 w 10000"/>
              <a:gd name="connsiteY252" fmla="*/ 6351 h 10000"/>
              <a:gd name="connsiteX253" fmla="*/ 1412 w 10000"/>
              <a:gd name="connsiteY253" fmla="*/ 6422 h 10000"/>
              <a:gd name="connsiteX254" fmla="*/ 915 w 10000"/>
              <a:gd name="connsiteY254" fmla="*/ 6477 h 10000"/>
              <a:gd name="connsiteX255" fmla="*/ 885 w 10000"/>
              <a:gd name="connsiteY255" fmla="*/ 6573 h 10000"/>
              <a:gd name="connsiteX256" fmla="*/ 617 w 10000"/>
              <a:gd name="connsiteY256" fmla="*/ 6716 h 10000"/>
              <a:gd name="connsiteX257" fmla="*/ 652 w 10000"/>
              <a:gd name="connsiteY257" fmla="*/ 6921 h 10000"/>
              <a:gd name="connsiteX258" fmla="*/ 427 w 10000"/>
              <a:gd name="connsiteY258" fmla="*/ 7184 h 10000"/>
              <a:gd name="connsiteX259" fmla="*/ 274 w 10000"/>
              <a:gd name="connsiteY259" fmla="*/ 7215 h 10000"/>
              <a:gd name="connsiteX260" fmla="*/ 210 w 10000"/>
              <a:gd name="connsiteY260" fmla="*/ 7152 h 10000"/>
              <a:gd name="connsiteX261" fmla="*/ 132 w 10000"/>
              <a:gd name="connsiteY261" fmla="*/ 7247 h 10000"/>
              <a:gd name="connsiteX262" fmla="*/ 183 w 10000"/>
              <a:gd name="connsiteY262" fmla="*/ 7084 h 10000"/>
              <a:gd name="connsiteX263" fmla="*/ 151 w 10000"/>
              <a:gd name="connsiteY263"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5098 w 10000"/>
              <a:gd name="connsiteY217" fmla="*/ 1750 h 10000"/>
              <a:gd name="connsiteX218" fmla="*/ 4837 w 10000"/>
              <a:gd name="connsiteY218" fmla="*/ 1818 h 10000"/>
              <a:gd name="connsiteX219" fmla="*/ 4671 w 10000"/>
              <a:gd name="connsiteY219" fmla="*/ 1814 h 10000"/>
              <a:gd name="connsiteX220" fmla="*/ 4571 w 10000"/>
              <a:gd name="connsiteY220" fmla="*/ 1838 h 10000"/>
              <a:gd name="connsiteX221" fmla="*/ 4298 w 10000"/>
              <a:gd name="connsiteY221" fmla="*/ 2503 h 10000"/>
              <a:gd name="connsiteX222" fmla="*/ 3668 w 10000"/>
              <a:gd name="connsiteY222" fmla="*/ 2891 h 10000"/>
              <a:gd name="connsiteX223" fmla="*/ 3672 w 10000"/>
              <a:gd name="connsiteY223" fmla="*/ 2952 h 10000"/>
              <a:gd name="connsiteX224" fmla="*/ 3952 w 10000"/>
              <a:gd name="connsiteY224" fmla="*/ 3126 h 10000"/>
              <a:gd name="connsiteX225" fmla="*/ 3861 w 10000"/>
              <a:gd name="connsiteY225" fmla="*/ 3314 h 10000"/>
              <a:gd name="connsiteX226" fmla="*/ 3698 w 10000"/>
              <a:gd name="connsiteY226" fmla="*/ 3383 h 10000"/>
              <a:gd name="connsiteX227" fmla="*/ 3208 w 10000"/>
              <a:gd name="connsiteY227" fmla="*/ 3337 h 10000"/>
              <a:gd name="connsiteX228" fmla="*/ 2871 w 10000"/>
              <a:gd name="connsiteY228" fmla="*/ 3363 h 10000"/>
              <a:gd name="connsiteX229" fmla="*/ 2601 w 10000"/>
              <a:gd name="connsiteY229" fmla="*/ 3419 h 10000"/>
              <a:gd name="connsiteX230" fmla="*/ 2163 w 10000"/>
              <a:gd name="connsiteY230" fmla="*/ 3592 h 10000"/>
              <a:gd name="connsiteX231" fmla="*/ 1931 w 10000"/>
              <a:gd name="connsiteY231" fmla="*/ 3802 h 10000"/>
              <a:gd name="connsiteX232" fmla="*/ 1951 w 10000"/>
              <a:gd name="connsiteY232" fmla="*/ 3919 h 10000"/>
              <a:gd name="connsiteX233" fmla="*/ 2032 w 10000"/>
              <a:gd name="connsiteY233" fmla="*/ 4009 h 10000"/>
              <a:gd name="connsiteX234" fmla="*/ 2093 w 10000"/>
              <a:gd name="connsiteY234" fmla="*/ 4045 h 10000"/>
              <a:gd name="connsiteX235" fmla="*/ 1979 w 10000"/>
              <a:gd name="connsiteY235" fmla="*/ 4103 h 10000"/>
              <a:gd name="connsiteX236" fmla="*/ 1731 w 10000"/>
              <a:gd name="connsiteY236" fmla="*/ 4497 h 10000"/>
              <a:gd name="connsiteX237" fmla="*/ 1779 w 10000"/>
              <a:gd name="connsiteY237" fmla="*/ 4520 h 10000"/>
              <a:gd name="connsiteX238" fmla="*/ 1815 w 10000"/>
              <a:gd name="connsiteY238" fmla="*/ 4620 h 10000"/>
              <a:gd name="connsiteX239" fmla="*/ 1700 w 10000"/>
              <a:gd name="connsiteY239" fmla="*/ 5035 h 10000"/>
              <a:gd name="connsiteX240" fmla="*/ 1815 w 10000"/>
              <a:gd name="connsiteY240" fmla="*/ 5141 h 10000"/>
              <a:gd name="connsiteX241" fmla="*/ 2131 w 10000"/>
              <a:gd name="connsiteY241" fmla="*/ 5257 h 10000"/>
              <a:gd name="connsiteX242" fmla="*/ 2145 w 10000"/>
              <a:gd name="connsiteY242" fmla="*/ 5399 h 10000"/>
              <a:gd name="connsiteX243" fmla="*/ 2010 w 10000"/>
              <a:gd name="connsiteY243" fmla="*/ 5517 h 10000"/>
              <a:gd name="connsiteX244" fmla="*/ 1815 w 10000"/>
              <a:gd name="connsiteY244" fmla="*/ 5588 h 10000"/>
              <a:gd name="connsiteX245" fmla="*/ 1557 w 10000"/>
              <a:gd name="connsiteY245" fmla="*/ 5617 h 10000"/>
              <a:gd name="connsiteX246" fmla="*/ 1490 w 10000"/>
              <a:gd name="connsiteY246" fmla="*/ 5658 h 10000"/>
              <a:gd name="connsiteX247" fmla="*/ 1640 w 10000"/>
              <a:gd name="connsiteY247" fmla="*/ 5755 h 10000"/>
              <a:gd name="connsiteX248" fmla="*/ 1726 w 10000"/>
              <a:gd name="connsiteY248" fmla="*/ 5987 h 10000"/>
              <a:gd name="connsiteX249" fmla="*/ 1531 w 10000"/>
              <a:gd name="connsiteY249" fmla="*/ 6185 h 10000"/>
              <a:gd name="connsiteX250" fmla="*/ 1599 w 10000"/>
              <a:gd name="connsiteY250" fmla="*/ 6247 h 10000"/>
              <a:gd name="connsiteX251" fmla="*/ 1537 w 10000"/>
              <a:gd name="connsiteY251" fmla="*/ 6351 h 10000"/>
              <a:gd name="connsiteX252" fmla="*/ 1412 w 10000"/>
              <a:gd name="connsiteY252" fmla="*/ 6422 h 10000"/>
              <a:gd name="connsiteX253" fmla="*/ 915 w 10000"/>
              <a:gd name="connsiteY253" fmla="*/ 6477 h 10000"/>
              <a:gd name="connsiteX254" fmla="*/ 885 w 10000"/>
              <a:gd name="connsiteY254" fmla="*/ 6573 h 10000"/>
              <a:gd name="connsiteX255" fmla="*/ 617 w 10000"/>
              <a:gd name="connsiteY255" fmla="*/ 6716 h 10000"/>
              <a:gd name="connsiteX256" fmla="*/ 652 w 10000"/>
              <a:gd name="connsiteY256" fmla="*/ 6921 h 10000"/>
              <a:gd name="connsiteX257" fmla="*/ 427 w 10000"/>
              <a:gd name="connsiteY257" fmla="*/ 7184 h 10000"/>
              <a:gd name="connsiteX258" fmla="*/ 274 w 10000"/>
              <a:gd name="connsiteY258" fmla="*/ 7215 h 10000"/>
              <a:gd name="connsiteX259" fmla="*/ 210 w 10000"/>
              <a:gd name="connsiteY259" fmla="*/ 7152 h 10000"/>
              <a:gd name="connsiteX260" fmla="*/ 132 w 10000"/>
              <a:gd name="connsiteY260" fmla="*/ 7247 h 10000"/>
              <a:gd name="connsiteX261" fmla="*/ 183 w 10000"/>
              <a:gd name="connsiteY261" fmla="*/ 7084 h 10000"/>
              <a:gd name="connsiteX262" fmla="*/ 151 w 10000"/>
              <a:gd name="connsiteY262"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5098 w 10000"/>
              <a:gd name="connsiteY216" fmla="*/ 1750 h 10000"/>
              <a:gd name="connsiteX217" fmla="*/ 4837 w 10000"/>
              <a:gd name="connsiteY217" fmla="*/ 1818 h 10000"/>
              <a:gd name="connsiteX218" fmla="*/ 4671 w 10000"/>
              <a:gd name="connsiteY218" fmla="*/ 1814 h 10000"/>
              <a:gd name="connsiteX219" fmla="*/ 4571 w 10000"/>
              <a:gd name="connsiteY219" fmla="*/ 1838 h 10000"/>
              <a:gd name="connsiteX220" fmla="*/ 4298 w 10000"/>
              <a:gd name="connsiteY220" fmla="*/ 2503 h 10000"/>
              <a:gd name="connsiteX221" fmla="*/ 3668 w 10000"/>
              <a:gd name="connsiteY221" fmla="*/ 2891 h 10000"/>
              <a:gd name="connsiteX222" fmla="*/ 3672 w 10000"/>
              <a:gd name="connsiteY222" fmla="*/ 2952 h 10000"/>
              <a:gd name="connsiteX223" fmla="*/ 3952 w 10000"/>
              <a:gd name="connsiteY223" fmla="*/ 3126 h 10000"/>
              <a:gd name="connsiteX224" fmla="*/ 3861 w 10000"/>
              <a:gd name="connsiteY224" fmla="*/ 3314 h 10000"/>
              <a:gd name="connsiteX225" fmla="*/ 3698 w 10000"/>
              <a:gd name="connsiteY225" fmla="*/ 3383 h 10000"/>
              <a:gd name="connsiteX226" fmla="*/ 3208 w 10000"/>
              <a:gd name="connsiteY226" fmla="*/ 3337 h 10000"/>
              <a:gd name="connsiteX227" fmla="*/ 2871 w 10000"/>
              <a:gd name="connsiteY227" fmla="*/ 3363 h 10000"/>
              <a:gd name="connsiteX228" fmla="*/ 2601 w 10000"/>
              <a:gd name="connsiteY228" fmla="*/ 3419 h 10000"/>
              <a:gd name="connsiteX229" fmla="*/ 2163 w 10000"/>
              <a:gd name="connsiteY229" fmla="*/ 3592 h 10000"/>
              <a:gd name="connsiteX230" fmla="*/ 1931 w 10000"/>
              <a:gd name="connsiteY230" fmla="*/ 3802 h 10000"/>
              <a:gd name="connsiteX231" fmla="*/ 1951 w 10000"/>
              <a:gd name="connsiteY231" fmla="*/ 3919 h 10000"/>
              <a:gd name="connsiteX232" fmla="*/ 2032 w 10000"/>
              <a:gd name="connsiteY232" fmla="*/ 4009 h 10000"/>
              <a:gd name="connsiteX233" fmla="*/ 2093 w 10000"/>
              <a:gd name="connsiteY233" fmla="*/ 4045 h 10000"/>
              <a:gd name="connsiteX234" fmla="*/ 1979 w 10000"/>
              <a:gd name="connsiteY234" fmla="*/ 4103 h 10000"/>
              <a:gd name="connsiteX235" fmla="*/ 1731 w 10000"/>
              <a:gd name="connsiteY235" fmla="*/ 4497 h 10000"/>
              <a:gd name="connsiteX236" fmla="*/ 1779 w 10000"/>
              <a:gd name="connsiteY236" fmla="*/ 4520 h 10000"/>
              <a:gd name="connsiteX237" fmla="*/ 1815 w 10000"/>
              <a:gd name="connsiteY237" fmla="*/ 4620 h 10000"/>
              <a:gd name="connsiteX238" fmla="*/ 1700 w 10000"/>
              <a:gd name="connsiteY238" fmla="*/ 5035 h 10000"/>
              <a:gd name="connsiteX239" fmla="*/ 1815 w 10000"/>
              <a:gd name="connsiteY239" fmla="*/ 5141 h 10000"/>
              <a:gd name="connsiteX240" fmla="*/ 2131 w 10000"/>
              <a:gd name="connsiteY240" fmla="*/ 5257 h 10000"/>
              <a:gd name="connsiteX241" fmla="*/ 2145 w 10000"/>
              <a:gd name="connsiteY241" fmla="*/ 5399 h 10000"/>
              <a:gd name="connsiteX242" fmla="*/ 2010 w 10000"/>
              <a:gd name="connsiteY242" fmla="*/ 5517 h 10000"/>
              <a:gd name="connsiteX243" fmla="*/ 1815 w 10000"/>
              <a:gd name="connsiteY243" fmla="*/ 5588 h 10000"/>
              <a:gd name="connsiteX244" fmla="*/ 1557 w 10000"/>
              <a:gd name="connsiteY244" fmla="*/ 5617 h 10000"/>
              <a:gd name="connsiteX245" fmla="*/ 1490 w 10000"/>
              <a:gd name="connsiteY245" fmla="*/ 5658 h 10000"/>
              <a:gd name="connsiteX246" fmla="*/ 1640 w 10000"/>
              <a:gd name="connsiteY246" fmla="*/ 5755 h 10000"/>
              <a:gd name="connsiteX247" fmla="*/ 1726 w 10000"/>
              <a:gd name="connsiteY247" fmla="*/ 5987 h 10000"/>
              <a:gd name="connsiteX248" fmla="*/ 1531 w 10000"/>
              <a:gd name="connsiteY248" fmla="*/ 6185 h 10000"/>
              <a:gd name="connsiteX249" fmla="*/ 1599 w 10000"/>
              <a:gd name="connsiteY249" fmla="*/ 6247 h 10000"/>
              <a:gd name="connsiteX250" fmla="*/ 1537 w 10000"/>
              <a:gd name="connsiteY250" fmla="*/ 6351 h 10000"/>
              <a:gd name="connsiteX251" fmla="*/ 1412 w 10000"/>
              <a:gd name="connsiteY251" fmla="*/ 6422 h 10000"/>
              <a:gd name="connsiteX252" fmla="*/ 915 w 10000"/>
              <a:gd name="connsiteY252" fmla="*/ 6477 h 10000"/>
              <a:gd name="connsiteX253" fmla="*/ 885 w 10000"/>
              <a:gd name="connsiteY253" fmla="*/ 6573 h 10000"/>
              <a:gd name="connsiteX254" fmla="*/ 617 w 10000"/>
              <a:gd name="connsiteY254" fmla="*/ 6716 h 10000"/>
              <a:gd name="connsiteX255" fmla="*/ 652 w 10000"/>
              <a:gd name="connsiteY255" fmla="*/ 6921 h 10000"/>
              <a:gd name="connsiteX256" fmla="*/ 427 w 10000"/>
              <a:gd name="connsiteY256" fmla="*/ 7184 h 10000"/>
              <a:gd name="connsiteX257" fmla="*/ 274 w 10000"/>
              <a:gd name="connsiteY257" fmla="*/ 7215 h 10000"/>
              <a:gd name="connsiteX258" fmla="*/ 210 w 10000"/>
              <a:gd name="connsiteY258" fmla="*/ 7152 h 10000"/>
              <a:gd name="connsiteX259" fmla="*/ 132 w 10000"/>
              <a:gd name="connsiteY259" fmla="*/ 7247 h 10000"/>
              <a:gd name="connsiteX260" fmla="*/ 183 w 10000"/>
              <a:gd name="connsiteY260" fmla="*/ 7084 h 10000"/>
              <a:gd name="connsiteX261" fmla="*/ 151 w 10000"/>
              <a:gd name="connsiteY261"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5098 w 10000"/>
              <a:gd name="connsiteY215" fmla="*/ 1750 h 10000"/>
              <a:gd name="connsiteX216" fmla="*/ 4837 w 10000"/>
              <a:gd name="connsiteY216" fmla="*/ 1818 h 10000"/>
              <a:gd name="connsiteX217" fmla="*/ 4671 w 10000"/>
              <a:gd name="connsiteY217" fmla="*/ 1814 h 10000"/>
              <a:gd name="connsiteX218" fmla="*/ 4571 w 10000"/>
              <a:gd name="connsiteY218" fmla="*/ 1838 h 10000"/>
              <a:gd name="connsiteX219" fmla="*/ 4298 w 10000"/>
              <a:gd name="connsiteY219" fmla="*/ 2503 h 10000"/>
              <a:gd name="connsiteX220" fmla="*/ 3668 w 10000"/>
              <a:gd name="connsiteY220" fmla="*/ 2891 h 10000"/>
              <a:gd name="connsiteX221" fmla="*/ 3672 w 10000"/>
              <a:gd name="connsiteY221" fmla="*/ 2952 h 10000"/>
              <a:gd name="connsiteX222" fmla="*/ 3952 w 10000"/>
              <a:gd name="connsiteY222" fmla="*/ 3126 h 10000"/>
              <a:gd name="connsiteX223" fmla="*/ 3861 w 10000"/>
              <a:gd name="connsiteY223" fmla="*/ 3314 h 10000"/>
              <a:gd name="connsiteX224" fmla="*/ 3698 w 10000"/>
              <a:gd name="connsiteY224" fmla="*/ 3383 h 10000"/>
              <a:gd name="connsiteX225" fmla="*/ 3208 w 10000"/>
              <a:gd name="connsiteY225" fmla="*/ 3337 h 10000"/>
              <a:gd name="connsiteX226" fmla="*/ 2871 w 10000"/>
              <a:gd name="connsiteY226" fmla="*/ 3363 h 10000"/>
              <a:gd name="connsiteX227" fmla="*/ 2601 w 10000"/>
              <a:gd name="connsiteY227" fmla="*/ 3419 h 10000"/>
              <a:gd name="connsiteX228" fmla="*/ 2163 w 10000"/>
              <a:gd name="connsiteY228" fmla="*/ 3592 h 10000"/>
              <a:gd name="connsiteX229" fmla="*/ 1931 w 10000"/>
              <a:gd name="connsiteY229" fmla="*/ 3802 h 10000"/>
              <a:gd name="connsiteX230" fmla="*/ 1951 w 10000"/>
              <a:gd name="connsiteY230" fmla="*/ 3919 h 10000"/>
              <a:gd name="connsiteX231" fmla="*/ 2032 w 10000"/>
              <a:gd name="connsiteY231" fmla="*/ 4009 h 10000"/>
              <a:gd name="connsiteX232" fmla="*/ 2093 w 10000"/>
              <a:gd name="connsiteY232" fmla="*/ 4045 h 10000"/>
              <a:gd name="connsiteX233" fmla="*/ 1979 w 10000"/>
              <a:gd name="connsiteY233" fmla="*/ 4103 h 10000"/>
              <a:gd name="connsiteX234" fmla="*/ 1731 w 10000"/>
              <a:gd name="connsiteY234" fmla="*/ 4497 h 10000"/>
              <a:gd name="connsiteX235" fmla="*/ 1779 w 10000"/>
              <a:gd name="connsiteY235" fmla="*/ 4520 h 10000"/>
              <a:gd name="connsiteX236" fmla="*/ 1815 w 10000"/>
              <a:gd name="connsiteY236" fmla="*/ 4620 h 10000"/>
              <a:gd name="connsiteX237" fmla="*/ 1700 w 10000"/>
              <a:gd name="connsiteY237" fmla="*/ 5035 h 10000"/>
              <a:gd name="connsiteX238" fmla="*/ 1815 w 10000"/>
              <a:gd name="connsiteY238" fmla="*/ 5141 h 10000"/>
              <a:gd name="connsiteX239" fmla="*/ 2131 w 10000"/>
              <a:gd name="connsiteY239" fmla="*/ 5257 h 10000"/>
              <a:gd name="connsiteX240" fmla="*/ 2145 w 10000"/>
              <a:gd name="connsiteY240" fmla="*/ 5399 h 10000"/>
              <a:gd name="connsiteX241" fmla="*/ 2010 w 10000"/>
              <a:gd name="connsiteY241" fmla="*/ 5517 h 10000"/>
              <a:gd name="connsiteX242" fmla="*/ 1815 w 10000"/>
              <a:gd name="connsiteY242" fmla="*/ 5588 h 10000"/>
              <a:gd name="connsiteX243" fmla="*/ 1557 w 10000"/>
              <a:gd name="connsiteY243" fmla="*/ 5617 h 10000"/>
              <a:gd name="connsiteX244" fmla="*/ 1490 w 10000"/>
              <a:gd name="connsiteY244" fmla="*/ 5658 h 10000"/>
              <a:gd name="connsiteX245" fmla="*/ 1640 w 10000"/>
              <a:gd name="connsiteY245" fmla="*/ 5755 h 10000"/>
              <a:gd name="connsiteX246" fmla="*/ 1726 w 10000"/>
              <a:gd name="connsiteY246" fmla="*/ 5987 h 10000"/>
              <a:gd name="connsiteX247" fmla="*/ 1531 w 10000"/>
              <a:gd name="connsiteY247" fmla="*/ 6185 h 10000"/>
              <a:gd name="connsiteX248" fmla="*/ 1599 w 10000"/>
              <a:gd name="connsiteY248" fmla="*/ 6247 h 10000"/>
              <a:gd name="connsiteX249" fmla="*/ 1537 w 10000"/>
              <a:gd name="connsiteY249" fmla="*/ 6351 h 10000"/>
              <a:gd name="connsiteX250" fmla="*/ 1412 w 10000"/>
              <a:gd name="connsiteY250" fmla="*/ 6422 h 10000"/>
              <a:gd name="connsiteX251" fmla="*/ 915 w 10000"/>
              <a:gd name="connsiteY251" fmla="*/ 6477 h 10000"/>
              <a:gd name="connsiteX252" fmla="*/ 885 w 10000"/>
              <a:gd name="connsiteY252" fmla="*/ 6573 h 10000"/>
              <a:gd name="connsiteX253" fmla="*/ 617 w 10000"/>
              <a:gd name="connsiteY253" fmla="*/ 6716 h 10000"/>
              <a:gd name="connsiteX254" fmla="*/ 652 w 10000"/>
              <a:gd name="connsiteY254" fmla="*/ 6921 h 10000"/>
              <a:gd name="connsiteX255" fmla="*/ 427 w 10000"/>
              <a:gd name="connsiteY255" fmla="*/ 7184 h 10000"/>
              <a:gd name="connsiteX256" fmla="*/ 274 w 10000"/>
              <a:gd name="connsiteY256" fmla="*/ 7215 h 10000"/>
              <a:gd name="connsiteX257" fmla="*/ 210 w 10000"/>
              <a:gd name="connsiteY257" fmla="*/ 7152 h 10000"/>
              <a:gd name="connsiteX258" fmla="*/ 132 w 10000"/>
              <a:gd name="connsiteY258" fmla="*/ 7247 h 10000"/>
              <a:gd name="connsiteX259" fmla="*/ 183 w 10000"/>
              <a:gd name="connsiteY259" fmla="*/ 7084 h 10000"/>
              <a:gd name="connsiteX260" fmla="*/ 151 w 10000"/>
              <a:gd name="connsiteY260"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5098 w 10000"/>
              <a:gd name="connsiteY214" fmla="*/ 1750 h 10000"/>
              <a:gd name="connsiteX215" fmla="*/ 4837 w 10000"/>
              <a:gd name="connsiteY215" fmla="*/ 1818 h 10000"/>
              <a:gd name="connsiteX216" fmla="*/ 4671 w 10000"/>
              <a:gd name="connsiteY216" fmla="*/ 1814 h 10000"/>
              <a:gd name="connsiteX217" fmla="*/ 4571 w 10000"/>
              <a:gd name="connsiteY217" fmla="*/ 1838 h 10000"/>
              <a:gd name="connsiteX218" fmla="*/ 4298 w 10000"/>
              <a:gd name="connsiteY218" fmla="*/ 2503 h 10000"/>
              <a:gd name="connsiteX219" fmla="*/ 3668 w 10000"/>
              <a:gd name="connsiteY219" fmla="*/ 2891 h 10000"/>
              <a:gd name="connsiteX220" fmla="*/ 3672 w 10000"/>
              <a:gd name="connsiteY220" fmla="*/ 2952 h 10000"/>
              <a:gd name="connsiteX221" fmla="*/ 3952 w 10000"/>
              <a:gd name="connsiteY221" fmla="*/ 3126 h 10000"/>
              <a:gd name="connsiteX222" fmla="*/ 3861 w 10000"/>
              <a:gd name="connsiteY222" fmla="*/ 3314 h 10000"/>
              <a:gd name="connsiteX223" fmla="*/ 3698 w 10000"/>
              <a:gd name="connsiteY223" fmla="*/ 3383 h 10000"/>
              <a:gd name="connsiteX224" fmla="*/ 3208 w 10000"/>
              <a:gd name="connsiteY224" fmla="*/ 3337 h 10000"/>
              <a:gd name="connsiteX225" fmla="*/ 2871 w 10000"/>
              <a:gd name="connsiteY225" fmla="*/ 3363 h 10000"/>
              <a:gd name="connsiteX226" fmla="*/ 2601 w 10000"/>
              <a:gd name="connsiteY226" fmla="*/ 3419 h 10000"/>
              <a:gd name="connsiteX227" fmla="*/ 2163 w 10000"/>
              <a:gd name="connsiteY227" fmla="*/ 3592 h 10000"/>
              <a:gd name="connsiteX228" fmla="*/ 1931 w 10000"/>
              <a:gd name="connsiteY228" fmla="*/ 3802 h 10000"/>
              <a:gd name="connsiteX229" fmla="*/ 1951 w 10000"/>
              <a:gd name="connsiteY229" fmla="*/ 3919 h 10000"/>
              <a:gd name="connsiteX230" fmla="*/ 2032 w 10000"/>
              <a:gd name="connsiteY230" fmla="*/ 4009 h 10000"/>
              <a:gd name="connsiteX231" fmla="*/ 2093 w 10000"/>
              <a:gd name="connsiteY231" fmla="*/ 4045 h 10000"/>
              <a:gd name="connsiteX232" fmla="*/ 1979 w 10000"/>
              <a:gd name="connsiteY232" fmla="*/ 4103 h 10000"/>
              <a:gd name="connsiteX233" fmla="*/ 1731 w 10000"/>
              <a:gd name="connsiteY233" fmla="*/ 4497 h 10000"/>
              <a:gd name="connsiteX234" fmla="*/ 1779 w 10000"/>
              <a:gd name="connsiteY234" fmla="*/ 4520 h 10000"/>
              <a:gd name="connsiteX235" fmla="*/ 1815 w 10000"/>
              <a:gd name="connsiteY235" fmla="*/ 4620 h 10000"/>
              <a:gd name="connsiteX236" fmla="*/ 1700 w 10000"/>
              <a:gd name="connsiteY236" fmla="*/ 5035 h 10000"/>
              <a:gd name="connsiteX237" fmla="*/ 1815 w 10000"/>
              <a:gd name="connsiteY237" fmla="*/ 5141 h 10000"/>
              <a:gd name="connsiteX238" fmla="*/ 2131 w 10000"/>
              <a:gd name="connsiteY238" fmla="*/ 5257 h 10000"/>
              <a:gd name="connsiteX239" fmla="*/ 2145 w 10000"/>
              <a:gd name="connsiteY239" fmla="*/ 5399 h 10000"/>
              <a:gd name="connsiteX240" fmla="*/ 2010 w 10000"/>
              <a:gd name="connsiteY240" fmla="*/ 5517 h 10000"/>
              <a:gd name="connsiteX241" fmla="*/ 1815 w 10000"/>
              <a:gd name="connsiteY241" fmla="*/ 5588 h 10000"/>
              <a:gd name="connsiteX242" fmla="*/ 1557 w 10000"/>
              <a:gd name="connsiteY242" fmla="*/ 5617 h 10000"/>
              <a:gd name="connsiteX243" fmla="*/ 1490 w 10000"/>
              <a:gd name="connsiteY243" fmla="*/ 5658 h 10000"/>
              <a:gd name="connsiteX244" fmla="*/ 1640 w 10000"/>
              <a:gd name="connsiteY244" fmla="*/ 5755 h 10000"/>
              <a:gd name="connsiteX245" fmla="*/ 1726 w 10000"/>
              <a:gd name="connsiteY245" fmla="*/ 5987 h 10000"/>
              <a:gd name="connsiteX246" fmla="*/ 1531 w 10000"/>
              <a:gd name="connsiteY246" fmla="*/ 6185 h 10000"/>
              <a:gd name="connsiteX247" fmla="*/ 1599 w 10000"/>
              <a:gd name="connsiteY247" fmla="*/ 6247 h 10000"/>
              <a:gd name="connsiteX248" fmla="*/ 1537 w 10000"/>
              <a:gd name="connsiteY248" fmla="*/ 6351 h 10000"/>
              <a:gd name="connsiteX249" fmla="*/ 1412 w 10000"/>
              <a:gd name="connsiteY249" fmla="*/ 6422 h 10000"/>
              <a:gd name="connsiteX250" fmla="*/ 915 w 10000"/>
              <a:gd name="connsiteY250" fmla="*/ 6477 h 10000"/>
              <a:gd name="connsiteX251" fmla="*/ 885 w 10000"/>
              <a:gd name="connsiteY251" fmla="*/ 6573 h 10000"/>
              <a:gd name="connsiteX252" fmla="*/ 617 w 10000"/>
              <a:gd name="connsiteY252" fmla="*/ 6716 h 10000"/>
              <a:gd name="connsiteX253" fmla="*/ 652 w 10000"/>
              <a:gd name="connsiteY253" fmla="*/ 6921 h 10000"/>
              <a:gd name="connsiteX254" fmla="*/ 427 w 10000"/>
              <a:gd name="connsiteY254" fmla="*/ 7184 h 10000"/>
              <a:gd name="connsiteX255" fmla="*/ 274 w 10000"/>
              <a:gd name="connsiteY255" fmla="*/ 7215 h 10000"/>
              <a:gd name="connsiteX256" fmla="*/ 210 w 10000"/>
              <a:gd name="connsiteY256" fmla="*/ 7152 h 10000"/>
              <a:gd name="connsiteX257" fmla="*/ 132 w 10000"/>
              <a:gd name="connsiteY257" fmla="*/ 7247 h 10000"/>
              <a:gd name="connsiteX258" fmla="*/ 183 w 10000"/>
              <a:gd name="connsiteY258" fmla="*/ 7084 h 10000"/>
              <a:gd name="connsiteX259" fmla="*/ 151 w 10000"/>
              <a:gd name="connsiteY259"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5098 w 10000"/>
              <a:gd name="connsiteY213" fmla="*/ 1750 h 10000"/>
              <a:gd name="connsiteX214" fmla="*/ 4837 w 10000"/>
              <a:gd name="connsiteY214" fmla="*/ 1818 h 10000"/>
              <a:gd name="connsiteX215" fmla="*/ 4671 w 10000"/>
              <a:gd name="connsiteY215" fmla="*/ 1814 h 10000"/>
              <a:gd name="connsiteX216" fmla="*/ 4571 w 10000"/>
              <a:gd name="connsiteY216" fmla="*/ 1838 h 10000"/>
              <a:gd name="connsiteX217" fmla="*/ 4298 w 10000"/>
              <a:gd name="connsiteY217" fmla="*/ 2503 h 10000"/>
              <a:gd name="connsiteX218" fmla="*/ 3668 w 10000"/>
              <a:gd name="connsiteY218" fmla="*/ 2891 h 10000"/>
              <a:gd name="connsiteX219" fmla="*/ 3672 w 10000"/>
              <a:gd name="connsiteY219" fmla="*/ 2952 h 10000"/>
              <a:gd name="connsiteX220" fmla="*/ 3952 w 10000"/>
              <a:gd name="connsiteY220" fmla="*/ 3126 h 10000"/>
              <a:gd name="connsiteX221" fmla="*/ 3861 w 10000"/>
              <a:gd name="connsiteY221" fmla="*/ 3314 h 10000"/>
              <a:gd name="connsiteX222" fmla="*/ 3698 w 10000"/>
              <a:gd name="connsiteY222" fmla="*/ 3383 h 10000"/>
              <a:gd name="connsiteX223" fmla="*/ 3208 w 10000"/>
              <a:gd name="connsiteY223" fmla="*/ 3337 h 10000"/>
              <a:gd name="connsiteX224" fmla="*/ 2871 w 10000"/>
              <a:gd name="connsiteY224" fmla="*/ 3363 h 10000"/>
              <a:gd name="connsiteX225" fmla="*/ 2601 w 10000"/>
              <a:gd name="connsiteY225" fmla="*/ 3419 h 10000"/>
              <a:gd name="connsiteX226" fmla="*/ 2163 w 10000"/>
              <a:gd name="connsiteY226" fmla="*/ 3592 h 10000"/>
              <a:gd name="connsiteX227" fmla="*/ 1931 w 10000"/>
              <a:gd name="connsiteY227" fmla="*/ 3802 h 10000"/>
              <a:gd name="connsiteX228" fmla="*/ 1951 w 10000"/>
              <a:gd name="connsiteY228" fmla="*/ 3919 h 10000"/>
              <a:gd name="connsiteX229" fmla="*/ 2032 w 10000"/>
              <a:gd name="connsiteY229" fmla="*/ 4009 h 10000"/>
              <a:gd name="connsiteX230" fmla="*/ 2093 w 10000"/>
              <a:gd name="connsiteY230" fmla="*/ 4045 h 10000"/>
              <a:gd name="connsiteX231" fmla="*/ 1979 w 10000"/>
              <a:gd name="connsiteY231" fmla="*/ 4103 h 10000"/>
              <a:gd name="connsiteX232" fmla="*/ 1731 w 10000"/>
              <a:gd name="connsiteY232" fmla="*/ 4497 h 10000"/>
              <a:gd name="connsiteX233" fmla="*/ 1779 w 10000"/>
              <a:gd name="connsiteY233" fmla="*/ 4520 h 10000"/>
              <a:gd name="connsiteX234" fmla="*/ 1815 w 10000"/>
              <a:gd name="connsiteY234" fmla="*/ 4620 h 10000"/>
              <a:gd name="connsiteX235" fmla="*/ 1700 w 10000"/>
              <a:gd name="connsiteY235" fmla="*/ 5035 h 10000"/>
              <a:gd name="connsiteX236" fmla="*/ 1815 w 10000"/>
              <a:gd name="connsiteY236" fmla="*/ 5141 h 10000"/>
              <a:gd name="connsiteX237" fmla="*/ 2131 w 10000"/>
              <a:gd name="connsiteY237" fmla="*/ 5257 h 10000"/>
              <a:gd name="connsiteX238" fmla="*/ 2145 w 10000"/>
              <a:gd name="connsiteY238" fmla="*/ 5399 h 10000"/>
              <a:gd name="connsiteX239" fmla="*/ 2010 w 10000"/>
              <a:gd name="connsiteY239" fmla="*/ 5517 h 10000"/>
              <a:gd name="connsiteX240" fmla="*/ 1815 w 10000"/>
              <a:gd name="connsiteY240" fmla="*/ 5588 h 10000"/>
              <a:gd name="connsiteX241" fmla="*/ 1557 w 10000"/>
              <a:gd name="connsiteY241" fmla="*/ 5617 h 10000"/>
              <a:gd name="connsiteX242" fmla="*/ 1490 w 10000"/>
              <a:gd name="connsiteY242" fmla="*/ 5658 h 10000"/>
              <a:gd name="connsiteX243" fmla="*/ 1640 w 10000"/>
              <a:gd name="connsiteY243" fmla="*/ 5755 h 10000"/>
              <a:gd name="connsiteX244" fmla="*/ 1726 w 10000"/>
              <a:gd name="connsiteY244" fmla="*/ 5987 h 10000"/>
              <a:gd name="connsiteX245" fmla="*/ 1531 w 10000"/>
              <a:gd name="connsiteY245" fmla="*/ 6185 h 10000"/>
              <a:gd name="connsiteX246" fmla="*/ 1599 w 10000"/>
              <a:gd name="connsiteY246" fmla="*/ 6247 h 10000"/>
              <a:gd name="connsiteX247" fmla="*/ 1537 w 10000"/>
              <a:gd name="connsiteY247" fmla="*/ 6351 h 10000"/>
              <a:gd name="connsiteX248" fmla="*/ 1412 w 10000"/>
              <a:gd name="connsiteY248" fmla="*/ 6422 h 10000"/>
              <a:gd name="connsiteX249" fmla="*/ 915 w 10000"/>
              <a:gd name="connsiteY249" fmla="*/ 6477 h 10000"/>
              <a:gd name="connsiteX250" fmla="*/ 885 w 10000"/>
              <a:gd name="connsiteY250" fmla="*/ 6573 h 10000"/>
              <a:gd name="connsiteX251" fmla="*/ 617 w 10000"/>
              <a:gd name="connsiteY251" fmla="*/ 6716 h 10000"/>
              <a:gd name="connsiteX252" fmla="*/ 652 w 10000"/>
              <a:gd name="connsiteY252" fmla="*/ 6921 h 10000"/>
              <a:gd name="connsiteX253" fmla="*/ 427 w 10000"/>
              <a:gd name="connsiteY253" fmla="*/ 7184 h 10000"/>
              <a:gd name="connsiteX254" fmla="*/ 274 w 10000"/>
              <a:gd name="connsiteY254" fmla="*/ 7215 h 10000"/>
              <a:gd name="connsiteX255" fmla="*/ 210 w 10000"/>
              <a:gd name="connsiteY255" fmla="*/ 7152 h 10000"/>
              <a:gd name="connsiteX256" fmla="*/ 132 w 10000"/>
              <a:gd name="connsiteY256" fmla="*/ 7247 h 10000"/>
              <a:gd name="connsiteX257" fmla="*/ 183 w 10000"/>
              <a:gd name="connsiteY257" fmla="*/ 7084 h 10000"/>
              <a:gd name="connsiteX258" fmla="*/ 151 w 10000"/>
              <a:gd name="connsiteY258"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5098 w 10000"/>
              <a:gd name="connsiteY212" fmla="*/ 1750 h 10000"/>
              <a:gd name="connsiteX213" fmla="*/ 4837 w 10000"/>
              <a:gd name="connsiteY213" fmla="*/ 1818 h 10000"/>
              <a:gd name="connsiteX214" fmla="*/ 4671 w 10000"/>
              <a:gd name="connsiteY214" fmla="*/ 1814 h 10000"/>
              <a:gd name="connsiteX215" fmla="*/ 4571 w 10000"/>
              <a:gd name="connsiteY215" fmla="*/ 1838 h 10000"/>
              <a:gd name="connsiteX216" fmla="*/ 4298 w 10000"/>
              <a:gd name="connsiteY216" fmla="*/ 2503 h 10000"/>
              <a:gd name="connsiteX217" fmla="*/ 3668 w 10000"/>
              <a:gd name="connsiteY217" fmla="*/ 2891 h 10000"/>
              <a:gd name="connsiteX218" fmla="*/ 3672 w 10000"/>
              <a:gd name="connsiteY218" fmla="*/ 2952 h 10000"/>
              <a:gd name="connsiteX219" fmla="*/ 3952 w 10000"/>
              <a:gd name="connsiteY219" fmla="*/ 3126 h 10000"/>
              <a:gd name="connsiteX220" fmla="*/ 3861 w 10000"/>
              <a:gd name="connsiteY220" fmla="*/ 3314 h 10000"/>
              <a:gd name="connsiteX221" fmla="*/ 3698 w 10000"/>
              <a:gd name="connsiteY221" fmla="*/ 3383 h 10000"/>
              <a:gd name="connsiteX222" fmla="*/ 3208 w 10000"/>
              <a:gd name="connsiteY222" fmla="*/ 3337 h 10000"/>
              <a:gd name="connsiteX223" fmla="*/ 2871 w 10000"/>
              <a:gd name="connsiteY223" fmla="*/ 3363 h 10000"/>
              <a:gd name="connsiteX224" fmla="*/ 2601 w 10000"/>
              <a:gd name="connsiteY224" fmla="*/ 3419 h 10000"/>
              <a:gd name="connsiteX225" fmla="*/ 2163 w 10000"/>
              <a:gd name="connsiteY225" fmla="*/ 3592 h 10000"/>
              <a:gd name="connsiteX226" fmla="*/ 1931 w 10000"/>
              <a:gd name="connsiteY226" fmla="*/ 3802 h 10000"/>
              <a:gd name="connsiteX227" fmla="*/ 1951 w 10000"/>
              <a:gd name="connsiteY227" fmla="*/ 3919 h 10000"/>
              <a:gd name="connsiteX228" fmla="*/ 2032 w 10000"/>
              <a:gd name="connsiteY228" fmla="*/ 4009 h 10000"/>
              <a:gd name="connsiteX229" fmla="*/ 2093 w 10000"/>
              <a:gd name="connsiteY229" fmla="*/ 4045 h 10000"/>
              <a:gd name="connsiteX230" fmla="*/ 1979 w 10000"/>
              <a:gd name="connsiteY230" fmla="*/ 4103 h 10000"/>
              <a:gd name="connsiteX231" fmla="*/ 1731 w 10000"/>
              <a:gd name="connsiteY231" fmla="*/ 4497 h 10000"/>
              <a:gd name="connsiteX232" fmla="*/ 1779 w 10000"/>
              <a:gd name="connsiteY232" fmla="*/ 4520 h 10000"/>
              <a:gd name="connsiteX233" fmla="*/ 1815 w 10000"/>
              <a:gd name="connsiteY233" fmla="*/ 4620 h 10000"/>
              <a:gd name="connsiteX234" fmla="*/ 1700 w 10000"/>
              <a:gd name="connsiteY234" fmla="*/ 5035 h 10000"/>
              <a:gd name="connsiteX235" fmla="*/ 1815 w 10000"/>
              <a:gd name="connsiteY235" fmla="*/ 5141 h 10000"/>
              <a:gd name="connsiteX236" fmla="*/ 2131 w 10000"/>
              <a:gd name="connsiteY236" fmla="*/ 5257 h 10000"/>
              <a:gd name="connsiteX237" fmla="*/ 2145 w 10000"/>
              <a:gd name="connsiteY237" fmla="*/ 5399 h 10000"/>
              <a:gd name="connsiteX238" fmla="*/ 2010 w 10000"/>
              <a:gd name="connsiteY238" fmla="*/ 5517 h 10000"/>
              <a:gd name="connsiteX239" fmla="*/ 1815 w 10000"/>
              <a:gd name="connsiteY239" fmla="*/ 5588 h 10000"/>
              <a:gd name="connsiteX240" fmla="*/ 1557 w 10000"/>
              <a:gd name="connsiteY240" fmla="*/ 5617 h 10000"/>
              <a:gd name="connsiteX241" fmla="*/ 1490 w 10000"/>
              <a:gd name="connsiteY241" fmla="*/ 5658 h 10000"/>
              <a:gd name="connsiteX242" fmla="*/ 1640 w 10000"/>
              <a:gd name="connsiteY242" fmla="*/ 5755 h 10000"/>
              <a:gd name="connsiteX243" fmla="*/ 1726 w 10000"/>
              <a:gd name="connsiteY243" fmla="*/ 5987 h 10000"/>
              <a:gd name="connsiteX244" fmla="*/ 1531 w 10000"/>
              <a:gd name="connsiteY244" fmla="*/ 6185 h 10000"/>
              <a:gd name="connsiteX245" fmla="*/ 1599 w 10000"/>
              <a:gd name="connsiteY245" fmla="*/ 6247 h 10000"/>
              <a:gd name="connsiteX246" fmla="*/ 1537 w 10000"/>
              <a:gd name="connsiteY246" fmla="*/ 6351 h 10000"/>
              <a:gd name="connsiteX247" fmla="*/ 1412 w 10000"/>
              <a:gd name="connsiteY247" fmla="*/ 6422 h 10000"/>
              <a:gd name="connsiteX248" fmla="*/ 915 w 10000"/>
              <a:gd name="connsiteY248" fmla="*/ 6477 h 10000"/>
              <a:gd name="connsiteX249" fmla="*/ 885 w 10000"/>
              <a:gd name="connsiteY249" fmla="*/ 6573 h 10000"/>
              <a:gd name="connsiteX250" fmla="*/ 617 w 10000"/>
              <a:gd name="connsiteY250" fmla="*/ 6716 h 10000"/>
              <a:gd name="connsiteX251" fmla="*/ 652 w 10000"/>
              <a:gd name="connsiteY251" fmla="*/ 6921 h 10000"/>
              <a:gd name="connsiteX252" fmla="*/ 427 w 10000"/>
              <a:gd name="connsiteY252" fmla="*/ 7184 h 10000"/>
              <a:gd name="connsiteX253" fmla="*/ 274 w 10000"/>
              <a:gd name="connsiteY253" fmla="*/ 7215 h 10000"/>
              <a:gd name="connsiteX254" fmla="*/ 210 w 10000"/>
              <a:gd name="connsiteY254" fmla="*/ 7152 h 10000"/>
              <a:gd name="connsiteX255" fmla="*/ 132 w 10000"/>
              <a:gd name="connsiteY255" fmla="*/ 7247 h 10000"/>
              <a:gd name="connsiteX256" fmla="*/ 183 w 10000"/>
              <a:gd name="connsiteY256" fmla="*/ 7084 h 10000"/>
              <a:gd name="connsiteX257" fmla="*/ 151 w 10000"/>
              <a:gd name="connsiteY257"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5098 w 10000"/>
              <a:gd name="connsiteY211" fmla="*/ 1750 h 10000"/>
              <a:gd name="connsiteX212" fmla="*/ 4837 w 10000"/>
              <a:gd name="connsiteY212" fmla="*/ 1818 h 10000"/>
              <a:gd name="connsiteX213" fmla="*/ 4671 w 10000"/>
              <a:gd name="connsiteY213" fmla="*/ 1814 h 10000"/>
              <a:gd name="connsiteX214" fmla="*/ 4571 w 10000"/>
              <a:gd name="connsiteY214" fmla="*/ 1838 h 10000"/>
              <a:gd name="connsiteX215" fmla="*/ 4298 w 10000"/>
              <a:gd name="connsiteY215" fmla="*/ 2503 h 10000"/>
              <a:gd name="connsiteX216" fmla="*/ 3668 w 10000"/>
              <a:gd name="connsiteY216" fmla="*/ 2891 h 10000"/>
              <a:gd name="connsiteX217" fmla="*/ 3672 w 10000"/>
              <a:gd name="connsiteY217" fmla="*/ 2952 h 10000"/>
              <a:gd name="connsiteX218" fmla="*/ 3952 w 10000"/>
              <a:gd name="connsiteY218" fmla="*/ 3126 h 10000"/>
              <a:gd name="connsiteX219" fmla="*/ 3861 w 10000"/>
              <a:gd name="connsiteY219" fmla="*/ 3314 h 10000"/>
              <a:gd name="connsiteX220" fmla="*/ 3698 w 10000"/>
              <a:gd name="connsiteY220" fmla="*/ 3383 h 10000"/>
              <a:gd name="connsiteX221" fmla="*/ 3208 w 10000"/>
              <a:gd name="connsiteY221" fmla="*/ 3337 h 10000"/>
              <a:gd name="connsiteX222" fmla="*/ 2871 w 10000"/>
              <a:gd name="connsiteY222" fmla="*/ 3363 h 10000"/>
              <a:gd name="connsiteX223" fmla="*/ 2601 w 10000"/>
              <a:gd name="connsiteY223" fmla="*/ 3419 h 10000"/>
              <a:gd name="connsiteX224" fmla="*/ 2163 w 10000"/>
              <a:gd name="connsiteY224" fmla="*/ 3592 h 10000"/>
              <a:gd name="connsiteX225" fmla="*/ 1931 w 10000"/>
              <a:gd name="connsiteY225" fmla="*/ 3802 h 10000"/>
              <a:gd name="connsiteX226" fmla="*/ 1951 w 10000"/>
              <a:gd name="connsiteY226" fmla="*/ 3919 h 10000"/>
              <a:gd name="connsiteX227" fmla="*/ 2032 w 10000"/>
              <a:gd name="connsiteY227" fmla="*/ 4009 h 10000"/>
              <a:gd name="connsiteX228" fmla="*/ 2093 w 10000"/>
              <a:gd name="connsiteY228" fmla="*/ 4045 h 10000"/>
              <a:gd name="connsiteX229" fmla="*/ 1979 w 10000"/>
              <a:gd name="connsiteY229" fmla="*/ 4103 h 10000"/>
              <a:gd name="connsiteX230" fmla="*/ 1731 w 10000"/>
              <a:gd name="connsiteY230" fmla="*/ 4497 h 10000"/>
              <a:gd name="connsiteX231" fmla="*/ 1779 w 10000"/>
              <a:gd name="connsiteY231" fmla="*/ 4520 h 10000"/>
              <a:gd name="connsiteX232" fmla="*/ 1815 w 10000"/>
              <a:gd name="connsiteY232" fmla="*/ 4620 h 10000"/>
              <a:gd name="connsiteX233" fmla="*/ 1700 w 10000"/>
              <a:gd name="connsiteY233" fmla="*/ 5035 h 10000"/>
              <a:gd name="connsiteX234" fmla="*/ 1815 w 10000"/>
              <a:gd name="connsiteY234" fmla="*/ 5141 h 10000"/>
              <a:gd name="connsiteX235" fmla="*/ 2131 w 10000"/>
              <a:gd name="connsiteY235" fmla="*/ 5257 h 10000"/>
              <a:gd name="connsiteX236" fmla="*/ 2145 w 10000"/>
              <a:gd name="connsiteY236" fmla="*/ 5399 h 10000"/>
              <a:gd name="connsiteX237" fmla="*/ 2010 w 10000"/>
              <a:gd name="connsiteY237" fmla="*/ 5517 h 10000"/>
              <a:gd name="connsiteX238" fmla="*/ 1815 w 10000"/>
              <a:gd name="connsiteY238" fmla="*/ 5588 h 10000"/>
              <a:gd name="connsiteX239" fmla="*/ 1557 w 10000"/>
              <a:gd name="connsiteY239" fmla="*/ 5617 h 10000"/>
              <a:gd name="connsiteX240" fmla="*/ 1490 w 10000"/>
              <a:gd name="connsiteY240" fmla="*/ 5658 h 10000"/>
              <a:gd name="connsiteX241" fmla="*/ 1640 w 10000"/>
              <a:gd name="connsiteY241" fmla="*/ 5755 h 10000"/>
              <a:gd name="connsiteX242" fmla="*/ 1726 w 10000"/>
              <a:gd name="connsiteY242" fmla="*/ 5987 h 10000"/>
              <a:gd name="connsiteX243" fmla="*/ 1531 w 10000"/>
              <a:gd name="connsiteY243" fmla="*/ 6185 h 10000"/>
              <a:gd name="connsiteX244" fmla="*/ 1599 w 10000"/>
              <a:gd name="connsiteY244" fmla="*/ 6247 h 10000"/>
              <a:gd name="connsiteX245" fmla="*/ 1537 w 10000"/>
              <a:gd name="connsiteY245" fmla="*/ 6351 h 10000"/>
              <a:gd name="connsiteX246" fmla="*/ 1412 w 10000"/>
              <a:gd name="connsiteY246" fmla="*/ 6422 h 10000"/>
              <a:gd name="connsiteX247" fmla="*/ 915 w 10000"/>
              <a:gd name="connsiteY247" fmla="*/ 6477 h 10000"/>
              <a:gd name="connsiteX248" fmla="*/ 885 w 10000"/>
              <a:gd name="connsiteY248" fmla="*/ 6573 h 10000"/>
              <a:gd name="connsiteX249" fmla="*/ 617 w 10000"/>
              <a:gd name="connsiteY249" fmla="*/ 6716 h 10000"/>
              <a:gd name="connsiteX250" fmla="*/ 652 w 10000"/>
              <a:gd name="connsiteY250" fmla="*/ 6921 h 10000"/>
              <a:gd name="connsiteX251" fmla="*/ 427 w 10000"/>
              <a:gd name="connsiteY251" fmla="*/ 7184 h 10000"/>
              <a:gd name="connsiteX252" fmla="*/ 274 w 10000"/>
              <a:gd name="connsiteY252" fmla="*/ 7215 h 10000"/>
              <a:gd name="connsiteX253" fmla="*/ 210 w 10000"/>
              <a:gd name="connsiteY253" fmla="*/ 7152 h 10000"/>
              <a:gd name="connsiteX254" fmla="*/ 132 w 10000"/>
              <a:gd name="connsiteY254" fmla="*/ 7247 h 10000"/>
              <a:gd name="connsiteX255" fmla="*/ 183 w 10000"/>
              <a:gd name="connsiteY255" fmla="*/ 7084 h 10000"/>
              <a:gd name="connsiteX256" fmla="*/ 151 w 10000"/>
              <a:gd name="connsiteY256"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5098 w 10000"/>
              <a:gd name="connsiteY210" fmla="*/ 1750 h 10000"/>
              <a:gd name="connsiteX211" fmla="*/ 4837 w 10000"/>
              <a:gd name="connsiteY211" fmla="*/ 1818 h 10000"/>
              <a:gd name="connsiteX212" fmla="*/ 4671 w 10000"/>
              <a:gd name="connsiteY212" fmla="*/ 1814 h 10000"/>
              <a:gd name="connsiteX213" fmla="*/ 4571 w 10000"/>
              <a:gd name="connsiteY213" fmla="*/ 1838 h 10000"/>
              <a:gd name="connsiteX214" fmla="*/ 4298 w 10000"/>
              <a:gd name="connsiteY214" fmla="*/ 2503 h 10000"/>
              <a:gd name="connsiteX215" fmla="*/ 3668 w 10000"/>
              <a:gd name="connsiteY215" fmla="*/ 2891 h 10000"/>
              <a:gd name="connsiteX216" fmla="*/ 3672 w 10000"/>
              <a:gd name="connsiteY216" fmla="*/ 2952 h 10000"/>
              <a:gd name="connsiteX217" fmla="*/ 3952 w 10000"/>
              <a:gd name="connsiteY217" fmla="*/ 3126 h 10000"/>
              <a:gd name="connsiteX218" fmla="*/ 3861 w 10000"/>
              <a:gd name="connsiteY218" fmla="*/ 3314 h 10000"/>
              <a:gd name="connsiteX219" fmla="*/ 3698 w 10000"/>
              <a:gd name="connsiteY219" fmla="*/ 3383 h 10000"/>
              <a:gd name="connsiteX220" fmla="*/ 3208 w 10000"/>
              <a:gd name="connsiteY220" fmla="*/ 3337 h 10000"/>
              <a:gd name="connsiteX221" fmla="*/ 2871 w 10000"/>
              <a:gd name="connsiteY221" fmla="*/ 3363 h 10000"/>
              <a:gd name="connsiteX222" fmla="*/ 2601 w 10000"/>
              <a:gd name="connsiteY222" fmla="*/ 3419 h 10000"/>
              <a:gd name="connsiteX223" fmla="*/ 2163 w 10000"/>
              <a:gd name="connsiteY223" fmla="*/ 3592 h 10000"/>
              <a:gd name="connsiteX224" fmla="*/ 1931 w 10000"/>
              <a:gd name="connsiteY224" fmla="*/ 3802 h 10000"/>
              <a:gd name="connsiteX225" fmla="*/ 1951 w 10000"/>
              <a:gd name="connsiteY225" fmla="*/ 3919 h 10000"/>
              <a:gd name="connsiteX226" fmla="*/ 2032 w 10000"/>
              <a:gd name="connsiteY226" fmla="*/ 4009 h 10000"/>
              <a:gd name="connsiteX227" fmla="*/ 2093 w 10000"/>
              <a:gd name="connsiteY227" fmla="*/ 4045 h 10000"/>
              <a:gd name="connsiteX228" fmla="*/ 1979 w 10000"/>
              <a:gd name="connsiteY228" fmla="*/ 4103 h 10000"/>
              <a:gd name="connsiteX229" fmla="*/ 1731 w 10000"/>
              <a:gd name="connsiteY229" fmla="*/ 4497 h 10000"/>
              <a:gd name="connsiteX230" fmla="*/ 1779 w 10000"/>
              <a:gd name="connsiteY230" fmla="*/ 4520 h 10000"/>
              <a:gd name="connsiteX231" fmla="*/ 1815 w 10000"/>
              <a:gd name="connsiteY231" fmla="*/ 4620 h 10000"/>
              <a:gd name="connsiteX232" fmla="*/ 1700 w 10000"/>
              <a:gd name="connsiteY232" fmla="*/ 5035 h 10000"/>
              <a:gd name="connsiteX233" fmla="*/ 1815 w 10000"/>
              <a:gd name="connsiteY233" fmla="*/ 5141 h 10000"/>
              <a:gd name="connsiteX234" fmla="*/ 2131 w 10000"/>
              <a:gd name="connsiteY234" fmla="*/ 5257 h 10000"/>
              <a:gd name="connsiteX235" fmla="*/ 2145 w 10000"/>
              <a:gd name="connsiteY235" fmla="*/ 5399 h 10000"/>
              <a:gd name="connsiteX236" fmla="*/ 2010 w 10000"/>
              <a:gd name="connsiteY236" fmla="*/ 5517 h 10000"/>
              <a:gd name="connsiteX237" fmla="*/ 1815 w 10000"/>
              <a:gd name="connsiteY237" fmla="*/ 5588 h 10000"/>
              <a:gd name="connsiteX238" fmla="*/ 1557 w 10000"/>
              <a:gd name="connsiteY238" fmla="*/ 5617 h 10000"/>
              <a:gd name="connsiteX239" fmla="*/ 1490 w 10000"/>
              <a:gd name="connsiteY239" fmla="*/ 5658 h 10000"/>
              <a:gd name="connsiteX240" fmla="*/ 1640 w 10000"/>
              <a:gd name="connsiteY240" fmla="*/ 5755 h 10000"/>
              <a:gd name="connsiteX241" fmla="*/ 1726 w 10000"/>
              <a:gd name="connsiteY241" fmla="*/ 5987 h 10000"/>
              <a:gd name="connsiteX242" fmla="*/ 1531 w 10000"/>
              <a:gd name="connsiteY242" fmla="*/ 6185 h 10000"/>
              <a:gd name="connsiteX243" fmla="*/ 1599 w 10000"/>
              <a:gd name="connsiteY243" fmla="*/ 6247 h 10000"/>
              <a:gd name="connsiteX244" fmla="*/ 1537 w 10000"/>
              <a:gd name="connsiteY244" fmla="*/ 6351 h 10000"/>
              <a:gd name="connsiteX245" fmla="*/ 1412 w 10000"/>
              <a:gd name="connsiteY245" fmla="*/ 6422 h 10000"/>
              <a:gd name="connsiteX246" fmla="*/ 915 w 10000"/>
              <a:gd name="connsiteY246" fmla="*/ 6477 h 10000"/>
              <a:gd name="connsiteX247" fmla="*/ 885 w 10000"/>
              <a:gd name="connsiteY247" fmla="*/ 6573 h 10000"/>
              <a:gd name="connsiteX248" fmla="*/ 617 w 10000"/>
              <a:gd name="connsiteY248" fmla="*/ 6716 h 10000"/>
              <a:gd name="connsiteX249" fmla="*/ 652 w 10000"/>
              <a:gd name="connsiteY249" fmla="*/ 6921 h 10000"/>
              <a:gd name="connsiteX250" fmla="*/ 427 w 10000"/>
              <a:gd name="connsiteY250" fmla="*/ 7184 h 10000"/>
              <a:gd name="connsiteX251" fmla="*/ 274 w 10000"/>
              <a:gd name="connsiteY251" fmla="*/ 7215 h 10000"/>
              <a:gd name="connsiteX252" fmla="*/ 210 w 10000"/>
              <a:gd name="connsiteY252" fmla="*/ 7152 h 10000"/>
              <a:gd name="connsiteX253" fmla="*/ 132 w 10000"/>
              <a:gd name="connsiteY253" fmla="*/ 7247 h 10000"/>
              <a:gd name="connsiteX254" fmla="*/ 183 w 10000"/>
              <a:gd name="connsiteY254" fmla="*/ 7084 h 10000"/>
              <a:gd name="connsiteX255" fmla="*/ 151 w 10000"/>
              <a:gd name="connsiteY255"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5098 w 10000"/>
              <a:gd name="connsiteY209" fmla="*/ 1750 h 10000"/>
              <a:gd name="connsiteX210" fmla="*/ 4837 w 10000"/>
              <a:gd name="connsiteY210" fmla="*/ 1818 h 10000"/>
              <a:gd name="connsiteX211" fmla="*/ 4671 w 10000"/>
              <a:gd name="connsiteY211" fmla="*/ 1814 h 10000"/>
              <a:gd name="connsiteX212" fmla="*/ 4571 w 10000"/>
              <a:gd name="connsiteY212" fmla="*/ 1838 h 10000"/>
              <a:gd name="connsiteX213" fmla="*/ 4298 w 10000"/>
              <a:gd name="connsiteY213" fmla="*/ 2503 h 10000"/>
              <a:gd name="connsiteX214" fmla="*/ 3668 w 10000"/>
              <a:gd name="connsiteY214" fmla="*/ 2891 h 10000"/>
              <a:gd name="connsiteX215" fmla="*/ 3672 w 10000"/>
              <a:gd name="connsiteY215" fmla="*/ 2952 h 10000"/>
              <a:gd name="connsiteX216" fmla="*/ 3952 w 10000"/>
              <a:gd name="connsiteY216" fmla="*/ 3126 h 10000"/>
              <a:gd name="connsiteX217" fmla="*/ 3861 w 10000"/>
              <a:gd name="connsiteY217" fmla="*/ 3314 h 10000"/>
              <a:gd name="connsiteX218" fmla="*/ 3698 w 10000"/>
              <a:gd name="connsiteY218" fmla="*/ 3383 h 10000"/>
              <a:gd name="connsiteX219" fmla="*/ 3208 w 10000"/>
              <a:gd name="connsiteY219" fmla="*/ 3337 h 10000"/>
              <a:gd name="connsiteX220" fmla="*/ 2871 w 10000"/>
              <a:gd name="connsiteY220" fmla="*/ 3363 h 10000"/>
              <a:gd name="connsiteX221" fmla="*/ 2601 w 10000"/>
              <a:gd name="connsiteY221" fmla="*/ 3419 h 10000"/>
              <a:gd name="connsiteX222" fmla="*/ 2163 w 10000"/>
              <a:gd name="connsiteY222" fmla="*/ 3592 h 10000"/>
              <a:gd name="connsiteX223" fmla="*/ 1931 w 10000"/>
              <a:gd name="connsiteY223" fmla="*/ 3802 h 10000"/>
              <a:gd name="connsiteX224" fmla="*/ 1951 w 10000"/>
              <a:gd name="connsiteY224" fmla="*/ 3919 h 10000"/>
              <a:gd name="connsiteX225" fmla="*/ 2032 w 10000"/>
              <a:gd name="connsiteY225" fmla="*/ 4009 h 10000"/>
              <a:gd name="connsiteX226" fmla="*/ 2093 w 10000"/>
              <a:gd name="connsiteY226" fmla="*/ 4045 h 10000"/>
              <a:gd name="connsiteX227" fmla="*/ 1979 w 10000"/>
              <a:gd name="connsiteY227" fmla="*/ 4103 h 10000"/>
              <a:gd name="connsiteX228" fmla="*/ 1731 w 10000"/>
              <a:gd name="connsiteY228" fmla="*/ 4497 h 10000"/>
              <a:gd name="connsiteX229" fmla="*/ 1779 w 10000"/>
              <a:gd name="connsiteY229" fmla="*/ 4520 h 10000"/>
              <a:gd name="connsiteX230" fmla="*/ 1815 w 10000"/>
              <a:gd name="connsiteY230" fmla="*/ 4620 h 10000"/>
              <a:gd name="connsiteX231" fmla="*/ 1700 w 10000"/>
              <a:gd name="connsiteY231" fmla="*/ 5035 h 10000"/>
              <a:gd name="connsiteX232" fmla="*/ 1815 w 10000"/>
              <a:gd name="connsiteY232" fmla="*/ 5141 h 10000"/>
              <a:gd name="connsiteX233" fmla="*/ 2131 w 10000"/>
              <a:gd name="connsiteY233" fmla="*/ 5257 h 10000"/>
              <a:gd name="connsiteX234" fmla="*/ 2145 w 10000"/>
              <a:gd name="connsiteY234" fmla="*/ 5399 h 10000"/>
              <a:gd name="connsiteX235" fmla="*/ 2010 w 10000"/>
              <a:gd name="connsiteY235" fmla="*/ 5517 h 10000"/>
              <a:gd name="connsiteX236" fmla="*/ 1815 w 10000"/>
              <a:gd name="connsiteY236" fmla="*/ 5588 h 10000"/>
              <a:gd name="connsiteX237" fmla="*/ 1557 w 10000"/>
              <a:gd name="connsiteY237" fmla="*/ 5617 h 10000"/>
              <a:gd name="connsiteX238" fmla="*/ 1490 w 10000"/>
              <a:gd name="connsiteY238" fmla="*/ 5658 h 10000"/>
              <a:gd name="connsiteX239" fmla="*/ 1640 w 10000"/>
              <a:gd name="connsiteY239" fmla="*/ 5755 h 10000"/>
              <a:gd name="connsiteX240" fmla="*/ 1726 w 10000"/>
              <a:gd name="connsiteY240" fmla="*/ 5987 h 10000"/>
              <a:gd name="connsiteX241" fmla="*/ 1531 w 10000"/>
              <a:gd name="connsiteY241" fmla="*/ 6185 h 10000"/>
              <a:gd name="connsiteX242" fmla="*/ 1599 w 10000"/>
              <a:gd name="connsiteY242" fmla="*/ 6247 h 10000"/>
              <a:gd name="connsiteX243" fmla="*/ 1537 w 10000"/>
              <a:gd name="connsiteY243" fmla="*/ 6351 h 10000"/>
              <a:gd name="connsiteX244" fmla="*/ 1412 w 10000"/>
              <a:gd name="connsiteY244" fmla="*/ 6422 h 10000"/>
              <a:gd name="connsiteX245" fmla="*/ 915 w 10000"/>
              <a:gd name="connsiteY245" fmla="*/ 6477 h 10000"/>
              <a:gd name="connsiteX246" fmla="*/ 885 w 10000"/>
              <a:gd name="connsiteY246" fmla="*/ 6573 h 10000"/>
              <a:gd name="connsiteX247" fmla="*/ 617 w 10000"/>
              <a:gd name="connsiteY247" fmla="*/ 6716 h 10000"/>
              <a:gd name="connsiteX248" fmla="*/ 652 w 10000"/>
              <a:gd name="connsiteY248" fmla="*/ 6921 h 10000"/>
              <a:gd name="connsiteX249" fmla="*/ 427 w 10000"/>
              <a:gd name="connsiteY249" fmla="*/ 7184 h 10000"/>
              <a:gd name="connsiteX250" fmla="*/ 274 w 10000"/>
              <a:gd name="connsiteY250" fmla="*/ 7215 h 10000"/>
              <a:gd name="connsiteX251" fmla="*/ 210 w 10000"/>
              <a:gd name="connsiteY251" fmla="*/ 7152 h 10000"/>
              <a:gd name="connsiteX252" fmla="*/ 132 w 10000"/>
              <a:gd name="connsiteY252" fmla="*/ 7247 h 10000"/>
              <a:gd name="connsiteX253" fmla="*/ 183 w 10000"/>
              <a:gd name="connsiteY253" fmla="*/ 7084 h 10000"/>
              <a:gd name="connsiteX254" fmla="*/ 151 w 10000"/>
              <a:gd name="connsiteY254"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5098 w 10000"/>
              <a:gd name="connsiteY208" fmla="*/ 1750 h 10000"/>
              <a:gd name="connsiteX209" fmla="*/ 4837 w 10000"/>
              <a:gd name="connsiteY209" fmla="*/ 1818 h 10000"/>
              <a:gd name="connsiteX210" fmla="*/ 4671 w 10000"/>
              <a:gd name="connsiteY210" fmla="*/ 1814 h 10000"/>
              <a:gd name="connsiteX211" fmla="*/ 4571 w 10000"/>
              <a:gd name="connsiteY211" fmla="*/ 1838 h 10000"/>
              <a:gd name="connsiteX212" fmla="*/ 4298 w 10000"/>
              <a:gd name="connsiteY212" fmla="*/ 2503 h 10000"/>
              <a:gd name="connsiteX213" fmla="*/ 3668 w 10000"/>
              <a:gd name="connsiteY213" fmla="*/ 2891 h 10000"/>
              <a:gd name="connsiteX214" fmla="*/ 3672 w 10000"/>
              <a:gd name="connsiteY214" fmla="*/ 2952 h 10000"/>
              <a:gd name="connsiteX215" fmla="*/ 3952 w 10000"/>
              <a:gd name="connsiteY215" fmla="*/ 3126 h 10000"/>
              <a:gd name="connsiteX216" fmla="*/ 3861 w 10000"/>
              <a:gd name="connsiteY216" fmla="*/ 3314 h 10000"/>
              <a:gd name="connsiteX217" fmla="*/ 3698 w 10000"/>
              <a:gd name="connsiteY217" fmla="*/ 3383 h 10000"/>
              <a:gd name="connsiteX218" fmla="*/ 3208 w 10000"/>
              <a:gd name="connsiteY218" fmla="*/ 3337 h 10000"/>
              <a:gd name="connsiteX219" fmla="*/ 2871 w 10000"/>
              <a:gd name="connsiteY219" fmla="*/ 3363 h 10000"/>
              <a:gd name="connsiteX220" fmla="*/ 2601 w 10000"/>
              <a:gd name="connsiteY220" fmla="*/ 3419 h 10000"/>
              <a:gd name="connsiteX221" fmla="*/ 2163 w 10000"/>
              <a:gd name="connsiteY221" fmla="*/ 3592 h 10000"/>
              <a:gd name="connsiteX222" fmla="*/ 1931 w 10000"/>
              <a:gd name="connsiteY222" fmla="*/ 3802 h 10000"/>
              <a:gd name="connsiteX223" fmla="*/ 1951 w 10000"/>
              <a:gd name="connsiteY223" fmla="*/ 3919 h 10000"/>
              <a:gd name="connsiteX224" fmla="*/ 2032 w 10000"/>
              <a:gd name="connsiteY224" fmla="*/ 4009 h 10000"/>
              <a:gd name="connsiteX225" fmla="*/ 2093 w 10000"/>
              <a:gd name="connsiteY225" fmla="*/ 4045 h 10000"/>
              <a:gd name="connsiteX226" fmla="*/ 1979 w 10000"/>
              <a:gd name="connsiteY226" fmla="*/ 4103 h 10000"/>
              <a:gd name="connsiteX227" fmla="*/ 1731 w 10000"/>
              <a:gd name="connsiteY227" fmla="*/ 4497 h 10000"/>
              <a:gd name="connsiteX228" fmla="*/ 1779 w 10000"/>
              <a:gd name="connsiteY228" fmla="*/ 4520 h 10000"/>
              <a:gd name="connsiteX229" fmla="*/ 1815 w 10000"/>
              <a:gd name="connsiteY229" fmla="*/ 4620 h 10000"/>
              <a:gd name="connsiteX230" fmla="*/ 1700 w 10000"/>
              <a:gd name="connsiteY230" fmla="*/ 5035 h 10000"/>
              <a:gd name="connsiteX231" fmla="*/ 1815 w 10000"/>
              <a:gd name="connsiteY231" fmla="*/ 5141 h 10000"/>
              <a:gd name="connsiteX232" fmla="*/ 2131 w 10000"/>
              <a:gd name="connsiteY232" fmla="*/ 5257 h 10000"/>
              <a:gd name="connsiteX233" fmla="*/ 2145 w 10000"/>
              <a:gd name="connsiteY233" fmla="*/ 5399 h 10000"/>
              <a:gd name="connsiteX234" fmla="*/ 2010 w 10000"/>
              <a:gd name="connsiteY234" fmla="*/ 5517 h 10000"/>
              <a:gd name="connsiteX235" fmla="*/ 1815 w 10000"/>
              <a:gd name="connsiteY235" fmla="*/ 5588 h 10000"/>
              <a:gd name="connsiteX236" fmla="*/ 1557 w 10000"/>
              <a:gd name="connsiteY236" fmla="*/ 5617 h 10000"/>
              <a:gd name="connsiteX237" fmla="*/ 1490 w 10000"/>
              <a:gd name="connsiteY237" fmla="*/ 5658 h 10000"/>
              <a:gd name="connsiteX238" fmla="*/ 1640 w 10000"/>
              <a:gd name="connsiteY238" fmla="*/ 5755 h 10000"/>
              <a:gd name="connsiteX239" fmla="*/ 1726 w 10000"/>
              <a:gd name="connsiteY239" fmla="*/ 5987 h 10000"/>
              <a:gd name="connsiteX240" fmla="*/ 1531 w 10000"/>
              <a:gd name="connsiteY240" fmla="*/ 6185 h 10000"/>
              <a:gd name="connsiteX241" fmla="*/ 1599 w 10000"/>
              <a:gd name="connsiteY241" fmla="*/ 6247 h 10000"/>
              <a:gd name="connsiteX242" fmla="*/ 1537 w 10000"/>
              <a:gd name="connsiteY242" fmla="*/ 6351 h 10000"/>
              <a:gd name="connsiteX243" fmla="*/ 1412 w 10000"/>
              <a:gd name="connsiteY243" fmla="*/ 6422 h 10000"/>
              <a:gd name="connsiteX244" fmla="*/ 915 w 10000"/>
              <a:gd name="connsiteY244" fmla="*/ 6477 h 10000"/>
              <a:gd name="connsiteX245" fmla="*/ 885 w 10000"/>
              <a:gd name="connsiteY245" fmla="*/ 6573 h 10000"/>
              <a:gd name="connsiteX246" fmla="*/ 617 w 10000"/>
              <a:gd name="connsiteY246" fmla="*/ 6716 h 10000"/>
              <a:gd name="connsiteX247" fmla="*/ 652 w 10000"/>
              <a:gd name="connsiteY247" fmla="*/ 6921 h 10000"/>
              <a:gd name="connsiteX248" fmla="*/ 427 w 10000"/>
              <a:gd name="connsiteY248" fmla="*/ 7184 h 10000"/>
              <a:gd name="connsiteX249" fmla="*/ 274 w 10000"/>
              <a:gd name="connsiteY249" fmla="*/ 7215 h 10000"/>
              <a:gd name="connsiteX250" fmla="*/ 210 w 10000"/>
              <a:gd name="connsiteY250" fmla="*/ 7152 h 10000"/>
              <a:gd name="connsiteX251" fmla="*/ 132 w 10000"/>
              <a:gd name="connsiteY251" fmla="*/ 7247 h 10000"/>
              <a:gd name="connsiteX252" fmla="*/ 183 w 10000"/>
              <a:gd name="connsiteY252" fmla="*/ 7084 h 10000"/>
              <a:gd name="connsiteX253" fmla="*/ 151 w 10000"/>
              <a:gd name="connsiteY253" fmla="*/ 7052 h 10000"/>
              <a:gd name="connsiteX0" fmla="*/ 151 w 10000"/>
              <a:gd name="connsiteY0" fmla="*/ 5302 h 8250"/>
              <a:gd name="connsiteX1" fmla="*/ 0 w 10000"/>
              <a:gd name="connsiteY1" fmla="*/ 5387 h 8250"/>
              <a:gd name="connsiteX2" fmla="*/ 0 w 10000"/>
              <a:gd name="connsiteY2" fmla="*/ 5807 h 8250"/>
              <a:gd name="connsiteX3" fmla="*/ 83 w 10000"/>
              <a:gd name="connsiteY3" fmla="*/ 5819 h 8250"/>
              <a:gd name="connsiteX4" fmla="*/ 103 w 10000"/>
              <a:gd name="connsiteY4" fmla="*/ 5851 h 8250"/>
              <a:gd name="connsiteX5" fmla="*/ 99 w 10000"/>
              <a:gd name="connsiteY5" fmla="*/ 5908 h 8250"/>
              <a:gd name="connsiteX6" fmla="*/ 68 w 10000"/>
              <a:gd name="connsiteY6" fmla="*/ 5933 h 8250"/>
              <a:gd name="connsiteX7" fmla="*/ 195 w 10000"/>
              <a:gd name="connsiteY7" fmla="*/ 5885 h 8250"/>
              <a:gd name="connsiteX8" fmla="*/ 249 w 10000"/>
              <a:gd name="connsiteY8" fmla="*/ 5837 h 8250"/>
              <a:gd name="connsiteX9" fmla="*/ 315 w 10000"/>
              <a:gd name="connsiteY9" fmla="*/ 5870 h 8250"/>
              <a:gd name="connsiteX10" fmla="*/ 242 w 10000"/>
              <a:gd name="connsiteY10" fmla="*/ 5938 h 8250"/>
              <a:gd name="connsiteX11" fmla="*/ 320 w 10000"/>
              <a:gd name="connsiteY11" fmla="*/ 5940 h 8250"/>
              <a:gd name="connsiteX12" fmla="*/ 358 w 10000"/>
              <a:gd name="connsiteY12" fmla="*/ 5957 h 8250"/>
              <a:gd name="connsiteX13" fmla="*/ 257 w 10000"/>
              <a:gd name="connsiteY13" fmla="*/ 5980 h 8250"/>
              <a:gd name="connsiteX14" fmla="*/ 99 w 10000"/>
              <a:gd name="connsiteY14" fmla="*/ 6050 h 8250"/>
              <a:gd name="connsiteX15" fmla="*/ 381 w 10000"/>
              <a:gd name="connsiteY15" fmla="*/ 6105 h 8250"/>
              <a:gd name="connsiteX16" fmla="*/ 416 w 10000"/>
              <a:gd name="connsiteY16" fmla="*/ 6184 h 8250"/>
              <a:gd name="connsiteX17" fmla="*/ 320 w 10000"/>
              <a:gd name="connsiteY17" fmla="*/ 6300 h 8250"/>
              <a:gd name="connsiteX18" fmla="*/ 526 w 10000"/>
              <a:gd name="connsiteY18" fmla="*/ 6292 h 8250"/>
              <a:gd name="connsiteX19" fmla="*/ 541 w 10000"/>
              <a:gd name="connsiteY19" fmla="*/ 6380 h 8250"/>
              <a:gd name="connsiteX20" fmla="*/ 404 w 10000"/>
              <a:gd name="connsiteY20" fmla="*/ 6439 h 8250"/>
              <a:gd name="connsiteX21" fmla="*/ 427 w 10000"/>
              <a:gd name="connsiteY21" fmla="*/ 6555 h 8250"/>
              <a:gd name="connsiteX22" fmla="*/ 374 w 10000"/>
              <a:gd name="connsiteY22" fmla="*/ 6644 h 8250"/>
              <a:gd name="connsiteX23" fmla="*/ 536 w 10000"/>
              <a:gd name="connsiteY23" fmla="*/ 6652 h 8250"/>
              <a:gd name="connsiteX24" fmla="*/ 695 w 10000"/>
              <a:gd name="connsiteY24" fmla="*/ 6994 h 8250"/>
              <a:gd name="connsiteX25" fmla="*/ 878 w 10000"/>
              <a:gd name="connsiteY25" fmla="*/ 7081 h 8250"/>
              <a:gd name="connsiteX26" fmla="*/ 958 w 10000"/>
              <a:gd name="connsiteY26" fmla="*/ 7173 h 8250"/>
              <a:gd name="connsiteX27" fmla="*/ 1157 w 10000"/>
              <a:gd name="connsiteY27" fmla="*/ 7240 h 8250"/>
              <a:gd name="connsiteX28" fmla="*/ 1285 w 10000"/>
              <a:gd name="connsiteY28" fmla="*/ 7327 h 8250"/>
              <a:gd name="connsiteX29" fmla="*/ 1269 w 10000"/>
              <a:gd name="connsiteY29" fmla="*/ 7388 h 8250"/>
              <a:gd name="connsiteX30" fmla="*/ 1142 w 10000"/>
              <a:gd name="connsiteY30" fmla="*/ 7411 h 8250"/>
              <a:gd name="connsiteX31" fmla="*/ 1004 w 10000"/>
              <a:gd name="connsiteY31" fmla="*/ 7396 h 8250"/>
              <a:gd name="connsiteX32" fmla="*/ 962 w 10000"/>
              <a:gd name="connsiteY32" fmla="*/ 7422 h 8250"/>
              <a:gd name="connsiteX33" fmla="*/ 1067 w 10000"/>
              <a:gd name="connsiteY33" fmla="*/ 7555 h 8250"/>
              <a:gd name="connsiteX34" fmla="*/ 920 w 10000"/>
              <a:gd name="connsiteY34" fmla="*/ 7544 h 8250"/>
              <a:gd name="connsiteX35" fmla="*/ 795 w 10000"/>
              <a:gd name="connsiteY35" fmla="*/ 7512 h 8250"/>
              <a:gd name="connsiteX36" fmla="*/ 772 w 10000"/>
              <a:gd name="connsiteY36" fmla="*/ 7561 h 8250"/>
              <a:gd name="connsiteX37" fmla="*/ 1188 w 10000"/>
              <a:gd name="connsiteY37" fmla="*/ 8017 h 8250"/>
              <a:gd name="connsiteX38" fmla="*/ 1122 w 10000"/>
              <a:gd name="connsiteY38" fmla="*/ 8060 h 8250"/>
              <a:gd name="connsiteX39" fmla="*/ 1075 w 10000"/>
              <a:gd name="connsiteY39" fmla="*/ 8148 h 8250"/>
              <a:gd name="connsiteX40" fmla="*/ 1015 w 10000"/>
              <a:gd name="connsiteY40" fmla="*/ 8155 h 8250"/>
              <a:gd name="connsiteX41" fmla="*/ 978 w 10000"/>
              <a:gd name="connsiteY41" fmla="*/ 8193 h 8250"/>
              <a:gd name="connsiteX42" fmla="*/ 1229 w 10000"/>
              <a:gd name="connsiteY42" fmla="*/ 8197 h 8250"/>
              <a:gd name="connsiteX43" fmla="*/ 1451 w 10000"/>
              <a:gd name="connsiteY43" fmla="*/ 8235 h 8250"/>
              <a:gd name="connsiteX44" fmla="*/ 1820 w 10000"/>
              <a:gd name="connsiteY44" fmla="*/ 8195 h 8250"/>
              <a:gd name="connsiteX45" fmla="*/ 2151 w 10000"/>
              <a:gd name="connsiteY45" fmla="*/ 8201 h 8250"/>
              <a:gd name="connsiteX46" fmla="*/ 2346 w 10000"/>
              <a:gd name="connsiteY46" fmla="*/ 8250 h 8250"/>
              <a:gd name="connsiteX47" fmla="*/ 2454 w 10000"/>
              <a:gd name="connsiteY47" fmla="*/ 8218 h 8250"/>
              <a:gd name="connsiteX48" fmla="*/ 2557 w 10000"/>
              <a:gd name="connsiteY48" fmla="*/ 8113 h 8250"/>
              <a:gd name="connsiteX49" fmla="*/ 2530 w 10000"/>
              <a:gd name="connsiteY49" fmla="*/ 7941 h 8250"/>
              <a:gd name="connsiteX50" fmla="*/ 2782 w 10000"/>
              <a:gd name="connsiteY50" fmla="*/ 7748 h 8250"/>
              <a:gd name="connsiteX51" fmla="*/ 2966 w 10000"/>
              <a:gd name="connsiteY51" fmla="*/ 7778 h 8250"/>
              <a:gd name="connsiteX52" fmla="*/ 3073 w 10000"/>
              <a:gd name="connsiteY52" fmla="*/ 7701 h 8250"/>
              <a:gd name="connsiteX53" fmla="*/ 3278 w 10000"/>
              <a:gd name="connsiteY53" fmla="*/ 7658 h 8250"/>
              <a:gd name="connsiteX54" fmla="*/ 3557 w 10000"/>
              <a:gd name="connsiteY54" fmla="*/ 7668 h 8250"/>
              <a:gd name="connsiteX55" fmla="*/ 3724 w 10000"/>
              <a:gd name="connsiteY55" fmla="*/ 7699 h 8250"/>
              <a:gd name="connsiteX56" fmla="*/ 3948 w 10000"/>
              <a:gd name="connsiteY56" fmla="*/ 7685 h 8250"/>
              <a:gd name="connsiteX57" fmla="*/ 4173 w 10000"/>
              <a:gd name="connsiteY57" fmla="*/ 7719 h 8250"/>
              <a:gd name="connsiteX58" fmla="*/ 4398 w 10000"/>
              <a:gd name="connsiteY58" fmla="*/ 7723 h 8250"/>
              <a:gd name="connsiteX59" fmla="*/ 4902 w 10000"/>
              <a:gd name="connsiteY59" fmla="*/ 7274 h 8250"/>
              <a:gd name="connsiteX60" fmla="*/ 5030 w 10000"/>
              <a:gd name="connsiteY60" fmla="*/ 6909 h 8250"/>
              <a:gd name="connsiteX61" fmla="*/ 5235 w 10000"/>
              <a:gd name="connsiteY61" fmla="*/ 6746 h 8250"/>
              <a:gd name="connsiteX62" fmla="*/ 5235 w 10000"/>
              <a:gd name="connsiteY62" fmla="*/ 6660 h 8250"/>
              <a:gd name="connsiteX63" fmla="*/ 5160 w 10000"/>
              <a:gd name="connsiteY63" fmla="*/ 6612 h 8250"/>
              <a:gd name="connsiteX64" fmla="*/ 5281 w 10000"/>
              <a:gd name="connsiteY64" fmla="*/ 6536 h 8250"/>
              <a:gd name="connsiteX65" fmla="*/ 5259 w 10000"/>
              <a:gd name="connsiteY65" fmla="*/ 6471 h 8250"/>
              <a:gd name="connsiteX66" fmla="*/ 5177 w 10000"/>
              <a:gd name="connsiteY66" fmla="*/ 6415 h 8250"/>
              <a:gd name="connsiteX67" fmla="*/ 5160 w 10000"/>
              <a:gd name="connsiteY67" fmla="*/ 6376 h 8250"/>
              <a:gd name="connsiteX68" fmla="*/ 5181 w 10000"/>
              <a:gd name="connsiteY68" fmla="*/ 6345 h 8250"/>
              <a:gd name="connsiteX69" fmla="*/ 5292 w 10000"/>
              <a:gd name="connsiteY69" fmla="*/ 6370 h 8250"/>
              <a:gd name="connsiteX70" fmla="*/ 5381 w 10000"/>
              <a:gd name="connsiteY70" fmla="*/ 6368 h 8250"/>
              <a:gd name="connsiteX71" fmla="*/ 5333 w 10000"/>
              <a:gd name="connsiteY71" fmla="*/ 6315 h 8250"/>
              <a:gd name="connsiteX72" fmla="*/ 5348 w 10000"/>
              <a:gd name="connsiteY72" fmla="*/ 6286 h 8250"/>
              <a:gd name="connsiteX73" fmla="*/ 5414 w 10000"/>
              <a:gd name="connsiteY73" fmla="*/ 6241 h 8250"/>
              <a:gd name="connsiteX74" fmla="*/ 5401 w 10000"/>
              <a:gd name="connsiteY74" fmla="*/ 6205 h 8250"/>
              <a:gd name="connsiteX75" fmla="*/ 5462 w 10000"/>
              <a:gd name="connsiteY75" fmla="*/ 6083 h 8250"/>
              <a:gd name="connsiteX76" fmla="*/ 5445 w 10000"/>
              <a:gd name="connsiteY76" fmla="*/ 6045 h 8250"/>
              <a:gd name="connsiteX77" fmla="*/ 5140 w 10000"/>
              <a:gd name="connsiteY77" fmla="*/ 5953 h 8250"/>
              <a:gd name="connsiteX78" fmla="*/ 5181 w 10000"/>
              <a:gd name="connsiteY78" fmla="*/ 5949 h 8250"/>
              <a:gd name="connsiteX79" fmla="*/ 5344 w 10000"/>
              <a:gd name="connsiteY79" fmla="*/ 5974 h 8250"/>
              <a:gd name="connsiteX80" fmla="*/ 5520 w 10000"/>
              <a:gd name="connsiteY80" fmla="*/ 5965 h 8250"/>
              <a:gd name="connsiteX81" fmla="*/ 5571 w 10000"/>
              <a:gd name="connsiteY81" fmla="*/ 5931 h 8250"/>
              <a:gd name="connsiteX82" fmla="*/ 5401 w 10000"/>
              <a:gd name="connsiteY82" fmla="*/ 5868 h 8250"/>
              <a:gd name="connsiteX83" fmla="*/ 4898 w 10000"/>
              <a:gd name="connsiteY83" fmla="*/ 5826 h 8250"/>
              <a:gd name="connsiteX84" fmla="*/ 4932 w 10000"/>
              <a:gd name="connsiteY84" fmla="*/ 5807 h 8250"/>
              <a:gd name="connsiteX85" fmla="*/ 5344 w 10000"/>
              <a:gd name="connsiteY85" fmla="*/ 5794 h 8250"/>
              <a:gd name="connsiteX86" fmla="*/ 5571 w 10000"/>
              <a:gd name="connsiteY86" fmla="*/ 5832 h 8250"/>
              <a:gd name="connsiteX87" fmla="*/ 5702 w 10000"/>
              <a:gd name="connsiteY87" fmla="*/ 5807 h 8250"/>
              <a:gd name="connsiteX88" fmla="*/ 5750 w 10000"/>
              <a:gd name="connsiteY88" fmla="*/ 5741 h 8250"/>
              <a:gd name="connsiteX89" fmla="*/ 5987 w 10000"/>
              <a:gd name="connsiteY89" fmla="*/ 5741 h 8250"/>
              <a:gd name="connsiteX90" fmla="*/ 6308 w 10000"/>
              <a:gd name="connsiteY90" fmla="*/ 5609 h 8250"/>
              <a:gd name="connsiteX91" fmla="*/ 6319 w 10000"/>
              <a:gd name="connsiteY91" fmla="*/ 5522 h 8250"/>
              <a:gd name="connsiteX92" fmla="*/ 6455 w 10000"/>
              <a:gd name="connsiteY92" fmla="*/ 5542 h 8250"/>
              <a:gd name="connsiteX93" fmla="*/ 6449 w 10000"/>
              <a:gd name="connsiteY93" fmla="*/ 5630 h 8250"/>
              <a:gd name="connsiteX94" fmla="*/ 6665 w 10000"/>
              <a:gd name="connsiteY94" fmla="*/ 5624 h 8250"/>
              <a:gd name="connsiteX95" fmla="*/ 6807 w 10000"/>
              <a:gd name="connsiteY95" fmla="*/ 5533 h 8250"/>
              <a:gd name="connsiteX96" fmla="*/ 7070 w 10000"/>
              <a:gd name="connsiteY96" fmla="*/ 5451 h 8250"/>
              <a:gd name="connsiteX97" fmla="*/ 7029 w 10000"/>
              <a:gd name="connsiteY97" fmla="*/ 5357 h 8250"/>
              <a:gd name="connsiteX98" fmla="*/ 7107 w 10000"/>
              <a:gd name="connsiteY98" fmla="*/ 5394 h 8250"/>
              <a:gd name="connsiteX99" fmla="*/ 7227 w 10000"/>
              <a:gd name="connsiteY99" fmla="*/ 5394 h 8250"/>
              <a:gd name="connsiteX100" fmla="*/ 7227 w 10000"/>
              <a:gd name="connsiteY100" fmla="*/ 5351 h 8250"/>
              <a:gd name="connsiteX101" fmla="*/ 7340 w 10000"/>
              <a:gd name="connsiteY101" fmla="*/ 5318 h 8250"/>
              <a:gd name="connsiteX102" fmla="*/ 7324 w 10000"/>
              <a:gd name="connsiteY102" fmla="*/ 5284 h 8250"/>
              <a:gd name="connsiteX103" fmla="*/ 6377 w 10000"/>
              <a:gd name="connsiteY103" fmla="*/ 5353 h 8250"/>
              <a:gd name="connsiteX104" fmla="*/ 6155 w 10000"/>
              <a:gd name="connsiteY104" fmla="*/ 5332 h 8250"/>
              <a:gd name="connsiteX105" fmla="*/ 6065 w 10000"/>
              <a:gd name="connsiteY105" fmla="*/ 5357 h 8250"/>
              <a:gd name="connsiteX106" fmla="*/ 6035 w 10000"/>
              <a:gd name="connsiteY106" fmla="*/ 5310 h 8250"/>
              <a:gd name="connsiteX107" fmla="*/ 5930 w 10000"/>
              <a:gd name="connsiteY107" fmla="*/ 5267 h 8250"/>
              <a:gd name="connsiteX108" fmla="*/ 5508 w 10000"/>
              <a:gd name="connsiteY108" fmla="*/ 5183 h 8250"/>
              <a:gd name="connsiteX109" fmla="*/ 5259 w 10000"/>
              <a:gd name="connsiteY109" fmla="*/ 5196 h 8250"/>
              <a:gd name="connsiteX110" fmla="*/ 5160 w 10000"/>
              <a:gd name="connsiteY110" fmla="*/ 5173 h 8250"/>
              <a:gd name="connsiteX111" fmla="*/ 5265 w 10000"/>
              <a:gd name="connsiteY111" fmla="*/ 5152 h 8250"/>
              <a:gd name="connsiteX112" fmla="*/ 5344 w 10000"/>
              <a:gd name="connsiteY112" fmla="*/ 5107 h 8250"/>
              <a:gd name="connsiteX113" fmla="*/ 5462 w 10000"/>
              <a:gd name="connsiteY113" fmla="*/ 5122 h 8250"/>
              <a:gd name="connsiteX114" fmla="*/ 5602 w 10000"/>
              <a:gd name="connsiteY114" fmla="*/ 5109 h 8250"/>
              <a:gd name="connsiteX115" fmla="*/ 5813 w 10000"/>
              <a:gd name="connsiteY115" fmla="*/ 5124 h 8250"/>
              <a:gd name="connsiteX116" fmla="*/ 5838 w 10000"/>
              <a:gd name="connsiteY116" fmla="*/ 5118 h 8250"/>
              <a:gd name="connsiteX117" fmla="*/ 6002 w 10000"/>
              <a:gd name="connsiteY117" fmla="*/ 5187 h 8250"/>
              <a:gd name="connsiteX118" fmla="*/ 6122 w 10000"/>
              <a:gd name="connsiteY118" fmla="*/ 5162 h 8250"/>
              <a:gd name="connsiteX119" fmla="*/ 6133 w 10000"/>
              <a:gd name="connsiteY119" fmla="*/ 5139 h 8250"/>
              <a:gd name="connsiteX120" fmla="*/ 6244 w 10000"/>
              <a:gd name="connsiteY120" fmla="*/ 5179 h 8250"/>
              <a:gd name="connsiteX121" fmla="*/ 6391 w 10000"/>
              <a:gd name="connsiteY121" fmla="*/ 5201 h 8250"/>
              <a:gd name="connsiteX122" fmla="*/ 6449 w 10000"/>
              <a:gd name="connsiteY122" fmla="*/ 5160 h 8250"/>
              <a:gd name="connsiteX123" fmla="*/ 6496 w 10000"/>
              <a:gd name="connsiteY123" fmla="*/ 5183 h 8250"/>
              <a:gd name="connsiteX124" fmla="*/ 6565 w 10000"/>
              <a:gd name="connsiteY124" fmla="*/ 5261 h 8250"/>
              <a:gd name="connsiteX125" fmla="*/ 6707 w 10000"/>
              <a:gd name="connsiteY125" fmla="*/ 5279 h 8250"/>
              <a:gd name="connsiteX126" fmla="*/ 7286 w 10000"/>
              <a:gd name="connsiteY126" fmla="*/ 5164 h 8250"/>
              <a:gd name="connsiteX127" fmla="*/ 7571 w 10000"/>
              <a:gd name="connsiteY127" fmla="*/ 5003 h 8250"/>
              <a:gd name="connsiteX128" fmla="*/ 7637 w 10000"/>
              <a:gd name="connsiteY128" fmla="*/ 4885 h 8250"/>
              <a:gd name="connsiteX129" fmla="*/ 7534 w 10000"/>
              <a:gd name="connsiteY129" fmla="*/ 4778 h 8250"/>
              <a:gd name="connsiteX130" fmla="*/ 7318 w 10000"/>
              <a:gd name="connsiteY130" fmla="*/ 4715 h 8250"/>
              <a:gd name="connsiteX131" fmla="*/ 7164 w 10000"/>
              <a:gd name="connsiteY131" fmla="*/ 4611 h 8250"/>
              <a:gd name="connsiteX132" fmla="*/ 7307 w 10000"/>
              <a:gd name="connsiteY132" fmla="*/ 4607 h 8250"/>
              <a:gd name="connsiteX133" fmla="*/ 7297 w 10000"/>
              <a:gd name="connsiteY133" fmla="*/ 4582 h 8250"/>
              <a:gd name="connsiteX134" fmla="*/ 6925 w 10000"/>
              <a:gd name="connsiteY134" fmla="*/ 4509 h 8250"/>
              <a:gd name="connsiteX135" fmla="*/ 6909 w 10000"/>
              <a:gd name="connsiteY135" fmla="*/ 4441 h 8250"/>
              <a:gd name="connsiteX136" fmla="*/ 6837 w 10000"/>
              <a:gd name="connsiteY136" fmla="*/ 4372 h 8250"/>
              <a:gd name="connsiteX137" fmla="*/ 6543 w 10000"/>
              <a:gd name="connsiteY137" fmla="*/ 4384 h 8250"/>
              <a:gd name="connsiteX138" fmla="*/ 6438 w 10000"/>
              <a:gd name="connsiteY138" fmla="*/ 4310 h 8250"/>
              <a:gd name="connsiteX139" fmla="*/ 6377 w 10000"/>
              <a:gd name="connsiteY139" fmla="*/ 4306 h 8250"/>
              <a:gd name="connsiteX140" fmla="*/ 6377 w 10000"/>
              <a:gd name="connsiteY140" fmla="*/ 4336 h 8250"/>
              <a:gd name="connsiteX141" fmla="*/ 6244 w 10000"/>
              <a:gd name="connsiteY141" fmla="*/ 4462 h 8250"/>
              <a:gd name="connsiteX142" fmla="*/ 6101 w 10000"/>
              <a:gd name="connsiteY142" fmla="*/ 4536 h 8250"/>
              <a:gd name="connsiteX143" fmla="*/ 5653 w 10000"/>
              <a:gd name="connsiteY143" fmla="*/ 4662 h 8250"/>
              <a:gd name="connsiteX144" fmla="*/ 5496 w 10000"/>
              <a:gd name="connsiteY144" fmla="*/ 4658 h 8250"/>
              <a:gd name="connsiteX145" fmla="*/ 5281 w 10000"/>
              <a:gd name="connsiteY145" fmla="*/ 4677 h 8250"/>
              <a:gd name="connsiteX146" fmla="*/ 5160 w 10000"/>
              <a:gd name="connsiteY146" fmla="*/ 4658 h 8250"/>
              <a:gd name="connsiteX147" fmla="*/ 5318 w 10000"/>
              <a:gd name="connsiteY147" fmla="*/ 4623 h 8250"/>
              <a:gd name="connsiteX148" fmla="*/ 5524 w 10000"/>
              <a:gd name="connsiteY148" fmla="*/ 4607 h 8250"/>
              <a:gd name="connsiteX149" fmla="*/ 5693 w 10000"/>
              <a:gd name="connsiteY149" fmla="*/ 4548 h 8250"/>
              <a:gd name="connsiteX150" fmla="*/ 5859 w 10000"/>
              <a:gd name="connsiteY150" fmla="*/ 4521 h 8250"/>
              <a:gd name="connsiteX151" fmla="*/ 6171 w 10000"/>
              <a:gd name="connsiteY151" fmla="*/ 4418 h 8250"/>
              <a:gd name="connsiteX152" fmla="*/ 6230 w 10000"/>
              <a:gd name="connsiteY152" fmla="*/ 4351 h 8250"/>
              <a:gd name="connsiteX153" fmla="*/ 6235 w 10000"/>
              <a:gd name="connsiteY153" fmla="*/ 4264 h 8250"/>
              <a:gd name="connsiteX154" fmla="*/ 6092 w 10000"/>
              <a:gd name="connsiteY154" fmla="*/ 4249 h 8250"/>
              <a:gd name="connsiteX155" fmla="*/ 6155 w 10000"/>
              <a:gd name="connsiteY155" fmla="*/ 4196 h 8250"/>
              <a:gd name="connsiteX156" fmla="*/ 6175 w 10000"/>
              <a:gd name="connsiteY156" fmla="*/ 4129 h 8250"/>
              <a:gd name="connsiteX157" fmla="*/ 6115 w 10000"/>
              <a:gd name="connsiteY157" fmla="*/ 4066 h 8250"/>
              <a:gd name="connsiteX158" fmla="*/ 6081 w 10000"/>
              <a:gd name="connsiteY158" fmla="*/ 3603 h 8250"/>
              <a:gd name="connsiteX159" fmla="*/ 6166 w 10000"/>
              <a:gd name="connsiteY159" fmla="*/ 3503 h 8250"/>
              <a:gd name="connsiteX160" fmla="*/ 6144 w 10000"/>
              <a:gd name="connsiteY160" fmla="*/ 3463 h 8250"/>
              <a:gd name="connsiteX161" fmla="*/ 6391 w 10000"/>
              <a:gd name="connsiteY161" fmla="*/ 3522 h 8250"/>
              <a:gd name="connsiteX162" fmla="*/ 6408 w 10000"/>
              <a:gd name="connsiteY162" fmla="*/ 3467 h 8250"/>
              <a:gd name="connsiteX163" fmla="*/ 6354 w 10000"/>
              <a:gd name="connsiteY163" fmla="*/ 3324 h 8250"/>
              <a:gd name="connsiteX164" fmla="*/ 6532 w 10000"/>
              <a:gd name="connsiteY164" fmla="*/ 3068 h 8250"/>
              <a:gd name="connsiteX165" fmla="*/ 6423 w 10000"/>
              <a:gd name="connsiteY165" fmla="*/ 3007 h 8250"/>
              <a:gd name="connsiteX166" fmla="*/ 6381 w 10000"/>
              <a:gd name="connsiteY166" fmla="*/ 2950 h 8250"/>
              <a:gd name="connsiteX167" fmla="*/ 6395 w 10000"/>
              <a:gd name="connsiteY167" fmla="*/ 2857 h 8250"/>
              <a:gd name="connsiteX168" fmla="*/ 6656 w 10000"/>
              <a:gd name="connsiteY168" fmla="*/ 2919 h 8250"/>
              <a:gd name="connsiteX169" fmla="*/ 6665 w 10000"/>
              <a:gd name="connsiteY169" fmla="*/ 2901 h 8250"/>
              <a:gd name="connsiteX170" fmla="*/ 6737 w 10000"/>
              <a:gd name="connsiteY170" fmla="*/ 2885 h 8250"/>
              <a:gd name="connsiteX171" fmla="*/ 6837 w 10000"/>
              <a:gd name="connsiteY171" fmla="*/ 2825 h 8250"/>
              <a:gd name="connsiteX172" fmla="*/ 6854 w 10000"/>
              <a:gd name="connsiteY172" fmla="*/ 2808 h 8250"/>
              <a:gd name="connsiteX173" fmla="*/ 6832 w 10000"/>
              <a:gd name="connsiteY173" fmla="*/ 2786 h 8250"/>
              <a:gd name="connsiteX174" fmla="*/ 6886 w 10000"/>
              <a:gd name="connsiteY174" fmla="*/ 2681 h 8250"/>
              <a:gd name="connsiteX175" fmla="*/ 6822 w 10000"/>
              <a:gd name="connsiteY175" fmla="*/ 2613 h 8250"/>
              <a:gd name="connsiteX176" fmla="*/ 6832 w 10000"/>
              <a:gd name="connsiteY176" fmla="*/ 2558 h 8250"/>
              <a:gd name="connsiteX177" fmla="*/ 6868 w 10000"/>
              <a:gd name="connsiteY177" fmla="*/ 2622 h 8250"/>
              <a:gd name="connsiteX178" fmla="*/ 7011 w 10000"/>
              <a:gd name="connsiteY178" fmla="*/ 2670 h 8250"/>
              <a:gd name="connsiteX179" fmla="*/ 7070 w 10000"/>
              <a:gd name="connsiteY179" fmla="*/ 2664 h 8250"/>
              <a:gd name="connsiteX180" fmla="*/ 7164 w 10000"/>
              <a:gd name="connsiteY180" fmla="*/ 2600 h 8250"/>
              <a:gd name="connsiteX181" fmla="*/ 7265 w 10000"/>
              <a:gd name="connsiteY181" fmla="*/ 2626 h 8250"/>
              <a:gd name="connsiteX182" fmla="*/ 7292 w 10000"/>
              <a:gd name="connsiteY182" fmla="*/ 2576 h 8250"/>
              <a:gd name="connsiteX183" fmla="*/ 7360 w 10000"/>
              <a:gd name="connsiteY183" fmla="*/ 2541 h 8250"/>
              <a:gd name="connsiteX184" fmla="*/ 7175 w 10000"/>
              <a:gd name="connsiteY184" fmla="*/ 2505 h 8250"/>
              <a:gd name="connsiteX185" fmla="*/ 7307 w 10000"/>
              <a:gd name="connsiteY185" fmla="*/ 2512 h 8250"/>
              <a:gd name="connsiteX186" fmla="*/ 7442 w 10000"/>
              <a:gd name="connsiteY186" fmla="*/ 2474 h 8250"/>
              <a:gd name="connsiteX187" fmla="*/ 7437 w 10000"/>
              <a:gd name="connsiteY187" fmla="*/ 2447 h 8250"/>
              <a:gd name="connsiteX188" fmla="*/ 7565 w 10000"/>
              <a:gd name="connsiteY188" fmla="*/ 2422 h 8250"/>
              <a:gd name="connsiteX189" fmla="*/ 7576 w 10000"/>
              <a:gd name="connsiteY189" fmla="*/ 2359 h 8250"/>
              <a:gd name="connsiteX190" fmla="*/ 7676 w 10000"/>
              <a:gd name="connsiteY190" fmla="*/ 2346 h 8250"/>
              <a:gd name="connsiteX191" fmla="*/ 7684 w 10000"/>
              <a:gd name="connsiteY191" fmla="*/ 2272 h 8250"/>
              <a:gd name="connsiteX192" fmla="*/ 7790 w 10000"/>
              <a:gd name="connsiteY192" fmla="*/ 2263 h 8250"/>
              <a:gd name="connsiteX193" fmla="*/ 7953 w 10000"/>
              <a:gd name="connsiteY193" fmla="*/ 2279 h 8250"/>
              <a:gd name="connsiteX194" fmla="*/ 8132 w 10000"/>
              <a:gd name="connsiteY194" fmla="*/ 2219 h 8250"/>
              <a:gd name="connsiteX195" fmla="*/ 8195 w 10000"/>
              <a:gd name="connsiteY195" fmla="*/ 2151 h 8250"/>
              <a:gd name="connsiteX196" fmla="*/ 8417 w 10000"/>
              <a:gd name="connsiteY196" fmla="*/ 2082 h 8250"/>
              <a:gd name="connsiteX197" fmla="*/ 8527 w 10000"/>
              <a:gd name="connsiteY197" fmla="*/ 2124 h 8250"/>
              <a:gd name="connsiteX198" fmla="*/ 8695 w 10000"/>
              <a:gd name="connsiteY198" fmla="*/ 2078 h 8250"/>
              <a:gd name="connsiteX199" fmla="*/ 8736 w 10000"/>
              <a:gd name="connsiteY199" fmla="*/ 2017 h 8250"/>
              <a:gd name="connsiteX200" fmla="*/ 8864 w 10000"/>
              <a:gd name="connsiteY200" fmla="*/ 1977 h 8250"/>
              <a:gd name="connsiteX201" fmla="*/ 8973 w 10000"/>
              <a:gd name="connsiteY201" fmla="*/ 1995 h 8250"/>
              <a:gd name="connsiteX202" fmla="*/ 9042 w 10000"/>
              <a:gd name="connsiteY202" fmla="*/ 1964 h 8250"/>
              <a:gd name="connsiteX203" fmla="*/ 9231 w 10000"/>
              <a:gd name="connsiteY203" fmla="*/ 1922 h 8250"/>
              <a:gd name="connsiteX204" fmla="*/ 9310 w 10000"/>
              <a:gd name="connsiteY204" fmla="*/ 1867 h 8250"/>
              <a:gd name="connsiteX205" fmla="*/ 9417 w 10000"/>
              <a:gd name="connsiteY205" fmla="*/ 1844 h 8250"/>
              <a:gd name="connsiteX206" fmla="*/ 10000 w 10000"/>
              <a:gd name="connsiteY206" fmla="*/ 1511 h 8250"/>
              <a:gd name="connsiteX207" fmla="*/ 5098 w 10000"/>
              <a:gd name="connsiteY207" fmla="*/ 0 h 8250"/>
              <a:gd name="connsiteX208" fmla="*/ 4837 w 10000"/>
              <a:gd name="connsiteY208" fmla="*/ 68 h 8250"/>
              <a:gd name="connsiteX209" fmla="*/ 4671 w 10000"/>
              <a:gd name="connsiteY209" fmla="*/ 64 h 8250"/>
              <a:gd name="connsiteX210" fmla="*/ 4571 w 10000"/>
              <a:gd name="connsiteY210" fmla="*/ 88 h 8250"/>
              <a:gd name="connsiteX211" fmla="*/ 4298 w 10000"/>
              <a:gd name="connsiteY211" fmla="*/ 753 h 8250"/>
              <a:gd name="connsiteX212" fmla="*/ 3668 w 10000"/>
              <a:gd name="connsiteY212" fmla="*/ 1141 h 8250"/>
              <a:gd name="connsiteX213" fmla="*/ 3672 w 10000"/>
              <a:gd name="connsiteY213" fmla="*/ 1202 h 8250"/>
              <a:gd name="connsiteX214" fmla="*/ 3952 w 10000"/>
              <a:gd name="connsiteY214" fmla="*/ 1376 h 8250"/>
              <a:gd name="connsiteX215" fmla="*/ 3861 w 10000"/>
              <a:gd name="connsiteY215" fmla="*/ 1564 h 8250"/>
              <a:gd name="connsiteX216" fmla="*/ 3698 w 10000"/>
              <a:gd name="connsiteY216" fmla="*/ 1633 h 8250"/>
              <a:gd name="connsiteX217" fmla="*/ 3208 w 10000"/>
              <a:gd name="connsiteY217" fmla="*/ 1587 h 8250"/>
              <a:gd name="connsiteX218" fmla="*/ 2871 w 10000"/>
              <a:gd name="connsiteY218" fmla="*/ 1613 h 8250"/>
              <a:gd name="connsiteX219" fmla="*/ 2601 w 10000"/>
              <a:gd name="connsiteY219" fmla="*/ 1669 h 8250"/>
              <a:gd name="connsiteX220" fmla="*/ 2163 w 10000"/>
              <a:gd name="connsiteY220" fmla="*/ 1842 h 8250"/>
              <a:gd name="connsiteX221" fmla="*/ 1931 w 10000"/>
              <a:gd name="connsiteY221" fmla="*/ 2052 h 8250"/>
              <a:gd name="connsiteX222" fmla="*/ 1951 w 10000"/>
              <a:gd name="connsiteY222" fmla="*/ 2169 h 8250"/>
              <a:gd name="connsiteX223" fmla="*/ 2032 w 10000"/>
              <a:gd name="connsiteY223" fmla="*/ 2259 h 8250"/>
              <a:gd name="connsiteX224" fmla="*/ 2093 w 10000"/>
              <a:gd name="connsiteY224" fmla="*/ 2295 h 8250"/>
              <a:gd name="connsiteX225" fmla="*/ 1979 w 10000"/>
              <a:gd name="connsiteY225" fmla="*/ 2353 h 8250"/>
              <a:gd name="connsiteX226" fmla="*/ 1731 w 10000"/>
              <a:gd name="connsiteY226" fmla="*/ 2747 h 8250"/>
              <a:gd name="connsiteX227" fmla="*/ 1779 w 10000"/>
              <a:gd name="connsiteY227" fmla="*/ 2770 h 8250"/>
              <a:gd name="connsiteX228" fmla="*/ 1815 w 10000"/>
              <a:gd name="connsiteY228" fmla="*/ 2870 h 8250"/>
              <a:gd name="connsiteX229" fmla="*/ 1700 w 10000"/>
              <a:gd name="connsiteY229" fmla="*/ 3285 h 8250"/>
              <a:gd name="connsiteX230" fmla="*/ 1815 w 10000"/>
              <a:gd name="connsiteY230" fmla="*/ 3391 h 8250"/>
              <a:gd name="connsiteX231" fmla="*/ 2131 w 10000"/>
              <a:gd name="connsiteY231" fmla="*/ 3507 h 8250"/>
              <a:gd name="connsiteX232" fmla="*/ 2145 w 10000"/>
              <a:gd name="connsiteY232" fmla="*/ 3649 h 8250"/>
              <a:gd name="connsiteX233" fmla="*/ 2010 w 10000"/>
              <a:gd name="connsiteY233" fmla="*/ 3767 h 8250"/>
              <a:gd name="connsiteX234" fmla="*/ 1815 w 10000"/>
              <a:gd name="connsiteY234" fmla="*/ 3838 h 8250"/>
              <a:gd name="connsiteX235" fmla="*/ 1557 w 10000"/>
              <a:gd name="connsiteY235" fmla="*/ 3867 h 8250"/>
              <a:gd name="connsiteX236" fmla="*/ 1490 w 10000"/>
              <a:gd name="connsiteY236" fmla="*/ 3908 h 8250"/>
              <a:gd name="connsiteX237" fmla="*/ 1640 w 10000"/>
              <a:gd name="connsiteY237" fmla="*/ 4005 h 8250"/>
              <a:gd name="connsiteX238" fmla="*/ 1726 w 10000"/>
              <a:gd name="connsiteY238" fmla="*/ 4237 h 8250"/>
              <a:gd name="connsiteX239" fmla="*/ 1531 w 10000"/>
              <a:gd name="connsiteY239" fmla="*/ 4435 h 8250"/>
              <a:gd name="connsiteX240" fmla="*/ 1599 w 10000"/>
              <a:gd name="connsiteY240" fmla="*/ 4497 h 8250"/>
              <a:gd name="connsiteX241" fmla="*/ 1537 w 10000"/>
              <a:gd name="connsiteY241" fmla="*/ 4601 h 8250"/>
              <a:gd name="connsiteX242" fmla="*/ 1412 w 10000"/>
              <a:gd name="connsiteY242" fmla="*/ 4672 h 8250"/>
              <a:gd name="connsiteX243" fmla="*/ 915 w 10000"/>
              <a:gd name="connsiteY243" fmla="*/ 4727 h 8250"/>
              <a:gd name="connsiteX244" fmla="*/ 885 w 10000"/>
              <a:gd name="connsiteY244" fmla="*/ 4823 h 8250"/>
              <a:gd name="connsiteX245" fmla="*/ 617 w 10000"/>
              <a:gd name="connsiteY245" fmla="*/ 4966 h 8250"/>
              <a:gd name="connsiteX246" fmla="*/ 652 w 10000"/>
              <a:gd name="connsiteY246" fmla="*/ 5171 h 8250"/>
              <a:gd name="connsiteX247" fmla="*/ 427 w 10000"/>
              <a:gd name="connsiteY247" fmla="*/ 5434 h 8250"/>
              <a:gd name="connsiteX248" fmla="*/ 274 w 10000"/>
              <a:gd name="connsiteY248" fmla="*/ 5465 h 8250"/>
              <a:gd name="connsiteX249" fmla="*/ 210 w 10000"/>
              <a:gd name="connsiteY249" fmla="*/ 5402 h 8250"/>
              <a:gd name="connsiteX250" fmla="*/ 132 w 10000"/>
              <a:gd name="connsiteY250" fmla="*/ 5497 h 8250"/>
              <a:gd name="connsiteX251" fmla="*/ 183 w 10000"/>
              <a:gd name="connsiteY251" fmla="*/ 5334 h 8250"/>
              <a:gd name="connsiteX252" fmla="*/ 151 w 10000"/>
              <a:gd name="connsiteY252" fmla="*/ 5302 h 825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181 w 10000"/>
              <a:gd name="connsiteY207" fmla="*/ 353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413 w 10000"/>
              <a:gd name="connsiteY207" fmla="*/ 332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012 w 10000"/>
              <a:gd name="connsiteY207" fmla="*/ 590 h 10000"/>
              <a:gd name="connsiteX208" fmla="*/ 6413 w 10000"/>
              <a:gd name="connsiteY208" fmla="*/ 332 h 10000"/>
              <a:gd name="connsiteX209" fmla="*/ 5098 w 10000"/>
              <a:gd name="connsiteY209" fmla="*/ 0 h 10000"/>
              <a:gd name="connsiteX210" fmla="*/ 4837 w 10000"/>
              <a:gd name="connsiteY210" fmla="*/ 82 h 10000"/>
              <a:gd name="connsiteX211" fmla="*/ 4671 w 10000"/>
              <a:gd name="connsiteY211" fmla="*/ 78 h 10000"/>
              <a:gd name="connsiteX212" fmla="*/ 4571 w 10000"/>
              <a:gd name="connsiteY212" fmla="*/ 107 h 10000"/>
              <a:gd name="connsiteX213" fmla="*/ 4298 w 10000"/>
              <a:gd name="connsiteY213" fmla="*/ 913 h 10000"/>
              <a:gd name="connsiteX214" fmla="*/ 3668 w 10000"/>
              <a:gd name="connsiteY214" fmla="*/ 1383 h 10000"/>
              <a:gd name="connsiteX215" fmla="*/ 3672 w 10000"/>
              <a:gd name="connsiteY215" fmla="*/ 1457 h 10000"/>
              <a:gd name="connsiteX216" fmla="*/ 3952 w 10000"/>
              <a:gd name="connsiteY216" fmla="*/ 1668 h 10000"/>
              <a:gd name="connsiteX217" fmla="*/ 3861 w 10000"/>
              <a:gd name="connsiteY217" fmla="*/ 1896 h 10000"/>
              <a:gd name="connsiteX218" fmla="*/ 3698 w 10000"/>
              <a:gd name="connsiteY218" fmla="*/ 1979 h 10000"/>
              <a:gd name="connsiteX219" fmla="*/ 3208 w 10000"/>
              <a:gd name="connsiteY219" fmla="*/ 1924 h 10000"/>
              <a:gd name="connsiteX220" fmla="*/ 2871 w 10000"/>
              <a:gd name="connsiteY220" fmla="*/ 1955 h 10000"/>
              <a:gd name="connsiteX221" fmla="*/ 2601 w 10000"/>
              <a:gd name="connsiteY221" fmla="*/ 2023 h 10000"/>
              <a:gd name="connsiteX222" fmla="*/ 2163 w 10000"/>
              <a:gd name="connsiteY222" fmla="*/ 2233 h 10000"/>
              <a:gd name="connsiteX223" fmla="*/ 1931 w 10000"/>
              <a:gd name="connsiteY223" fmla="*/ 2487 h 10000"/>
              <a:gd name="connsiteX224" fmla="*/ 1951 w 10000"/>
              <a:gd name="connsiteY224" fmla="*/ 2629 h 10000"/>
              <a:gd name="connsiteX225" fmla="*/ 2032 w 10000"/>
              <a:gd name="connsiteY225" fmla="*/ 2738 h 10000"/>
              <a:gd name="connsiteX226" fmla="*/ 2093 w 10000"/>
              <a:gd name="connsiteY226" fmla="*/ 2782 h 10000"/>
              <a:gd name="connsiteX227" fmla="*/ 1979 w 10000"/>
              <a:gd name="connsiteY227" fmla="*/ 2852 h 10000"/>
              <a:gd name="connsiteX228" fmla="*/ 1731 w 10000"/>
              <a:gd name="connsiteY228" fmla="*/ 3330 h 10000"/>
              <a:gd name="connsiteX229" fmla="*/ 1779 w 10000"/>
              <a:gd name="connsiteY229" fmla="*/ 3358 h 10000"/>
              <a:gd name="connsiteX230" fmla="*/ 1815 w 10000"/>
              <a:gd name="connsiteY230" fmla="*/ 3479 h 10000"/>
              <a:gd name="connsiteX231" fmla="*/ 1700 w 10000"/>
              <a:gd name="connsiteY231" fmla="*/ 3982 h 10000"/>
              <a:gd name="connsiteX232" fmla="*/ 1815 w 10000"/>
              <a:gd name="connsiteY232" fmla="*/ 4110 h 10000"/>
              <a:gd name="connsiteX233" fmla="*/ 2131 w 10000"/>
              <a:gd name="connsiteY233" fmla="*/ 4251 h 10000"/>
              <a:gd name="connsiteX234" fmla="*/ 2145 w 10000"/>
              <a:gd name="connsiteY234" fmla="*/ 4423 h 10000"/>
              <a:gd name="connsiteX235" fmla="*/ 2010 w 10000"/>
              <a:gd name="connsiteY235" fmla="*/ 4566 h 10000"/>
              <a:gd name="connsiteX236" fmla="*/ 1815 w 10000"/>
              <a:gd name="connsiteY236" fmla="*/ 4652 h 10000"/>
              <a:gd name="connsiteX237" fmla="*/ 1557 w 10000"/>
              <a:gd name="connsiteY237" fmla="*/ 4687 h 10000"/>
              <a:gd name="connsiteX238" fmla="*/ 1490 w 10000"/>
              <a:gd name="connsiteY238" fmla="*/ 4737 h 10000"/>
              <a:gd name="connsiteX239" fmla="*/ 1640 w 10000"/>
              <a:gd name="connsiteY239" fmla="*/ 4855 h 10000"/>
              <a:gd name="connsiteX240" fmla="*/ 1726 w 10000"/>
              <a:gd name="connsiteY240" fmla="*/ 5136 h 10000"/>
              <a:gd name="connsiteX241" fmla="*/ 1531 w 10000"/>
              <a:gd name="connsiteY241" fmla="*/ 5376 h 10000"/>
              <a:gd name="connsiteX242" fmla="*/ 1599 w 10000"/>
              <a:gd name="connsiteY242" fmla="*/ 5451 h 10000"/>
              <a:gd name="connsiteX243" fmla="*/ 1537 w 10000"/>
              <a:gd name="connsiteY243" fmla="*/ 5577 h 10000"/>
              <a:gd name="connsiteX244" fmla="*/ 1412 w 10000"/>
              <a:gd name="connsiteY244" fmla="*/ 5663 h 10000"/>
              <a:gd name="connsiteX245" fmla="*/ 915 w 10000"/>
              <a:gd name="connsiteY245" fmla="*/ 5730 h 10000"/>
              <a:gd name="connsiteX246" fmla="*/ 885 w 10000"/>
              <a:gd name="connsiteY246" fmla="*/ 5846 h 10000"/>
              <a:gd name="connsiteX247" fmla="*/ 617 w 10000"/>
              <a:gd name="connsiteY247" fmla="*/ 6019 h 10000"/>
              <a:gd name="connsiteX248" fmla="*/ 652 w 10000"/>
              <a:gd name="connsiteY248" fmla="*/ 6268 h 10000"/>
              <a:gd name="connsiteX249" fmla="*/ 427 w 10000"/>
              <a:gd name="connsiteY249" fmla="*/ 6587 h 10000"/>
              <a:gd name="connsiteX250" fmla="*/ 274 w 10000"/>
              <a:gd name="connsiteY250" fmla="*/ 6624 h 10000"/>
              <a:gd name="connsiteX251" fmla="*/ 210 w 10000"/>
              <a:gd name="connsiteY251" fmla="*/ 6548 h 10000"/>
              <a:gd name="connsiteX252" fmla="*/ 132 w 10000"/>
              <a:gd name="connsiteY252" fmla="*/ 6663 h 10000"/>
              <a:gd name="connsiteX253" fmla="*/ 183 w 10000"/>
              <a:gd name="connsiteY253" fmla="*/ 6465 h 10000"/>
              <a:gd name="connsiteX254" fmla="*/ 151 w 10000"/>
              <a:gd name="connsiteY25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289 w 10000"/>
              <a:gd name="connsiteY207" fmla="*/ 669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28 w 10000"/>
              <a:gd name="connsiteY207" fmla="*/ 616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38 w 10000"/>
              <a:gd name="connsiteY207" fmla="*/ 568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377 w 10000"/>
              <a:gd name="connsiteY207" fmla="*/ 560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47 w 10000"/>
              <a:gd name="connsiteY207" fmla="*/ 682 h 10000"/>
              <a:gd name="connsiteX208" fmla="*/ 7377 w 10000"/>
              <a:gd name="connsiteY208" fmla="*/ 560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497 w 10000"/>
              <a:gd name="connsiteY207" fmla="*/ 923 h 10000"/>
              <a:gd name="connsiteX208" fmla="*/ 7377 w 10000"/>
              <a:gd name="connsiteY208" fmla="*/ 560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890 w 10000"/>
              <a:gd name="connsiteY207" fmla="*/ 1074 h 10000"/>
              <a:gd name="connsiteX208" fmla="*/ 7497 w 10000"/>
              <a:gd name="connsiteY208" fmla="*/ 923 h 10000"/>
              <a:gd name="connsiteX209" fmla="*/ 7377 w 10000"/>
              <a:gd name="connsiteY209" fmla="*/ 560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7497 w 10000"/>
              <a:gd name="connsiteY208" fmla="*/ 923 h 10000"/>
              <a:gd name="connsiteX209" fmla="*/ 7377 w 10000"/>
              <a:gd name="connsiteY209" fmla="*/ 560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9237 w 10000"/>
              <a:gd name="connsiteY208" fmla="*/ 1500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8068 w 10000"/>
              <a:gd name="connsiteY208" fmla="*/ 1164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126 w 10000"/>
              <a:gd name="connsiteY207" fmla="*/ 1671 h 10000"/>
              <a:gd name="connsiteX208" fmla="*/ 8068 w 10000"/>
              <a:gd name="connsiteY208" fmla="*/ 1164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126 w 10000"/>
              <a:gd name="connsiteY207" fmla="*/ 1671 h 10000"/>
              <a:gd name="connsiteX208" fmla="*/ 8367 w 10000"/>
              <a:gd name="connsiteY208" fmla="*/ 1293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075 w 10000"/>
              <a:gd name="connsiteY207" fmla="*/ 1603 h 10000"/>
              <a:gd name="connsiteX208" fmla="*/ 8367 w 10000"/>
              <a:gd name="connsiteY208" fmla="*/ 1293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939 w 10000"/>
              <a:gd name="connsiteY207" fmla="*/ 1680 h 10000"/>
              <a:gd name="connsiteX208" fmla="*/ 8075 w 10000"/>
              <a:gd name="connsiteY208" fmla="*/ 1603 h 10000"/>
              <a:gd name="connsiteX209" fmla="*/ 8367 w 10000"/>
              <a:gd name="connsiteY209" fmla="*/ 1293 h 10000"/>
              <a:gd name="connsiteX210" fmla="*/ 7497 w 10000"/>
              <a:gd name="connsiteY210" fmla="*/ 923 h 10000"/>
              <a:gd name="connsiteX211" fmla="*/ 7377 w 10000"/>
              <a:gd name="connsiteY211" fmla="*/ 560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8075 w 10000"/>
              <a:gd name="connsiteY208" fmla="*/ 1603 h 10000"/>
              <a:gd name="connsiteX209" fmla="*/ 8367 w 10000"/>
              <a:gd name="connsiteY209" fmla="*/ 1293 h 10000"/>
              <a:gd name="connsiteX210" fmla="*/ 7497 w 10000"/>
              <a:gd name="connsiteY210" fmla="*/ 923 h 10000"/>
              <a:gd name="connsiteX211" fmla="*/ 7377 w 10000"/>
              <a:gd name="connsiteY211" fmla="*/ 560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9171 w 10000"/>
              <a:gd name="connsiteY208" fmla="*/ 1822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9713 w 10000"/>
              <a:gd name="connsiteY208" fmla="*/ 172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277"/>
              <a:gd name="connsiteY0" fmla="*/ 6427 h 10000"/>
              <a:gd name="connsiteX1" fmla="*/ 0 w 10277"/>
              <a:gd name="connsiteY1" fmla="*/ 6530 h 10000"/>
              <a:gd name="connsiteX2" fmla="*/ 0 w 10277"/>
              <a:gd name="connsiteY2" fmla="*/ 7039 h 10000"/>
              <a:gd name="connsiteX3" fmla="*/ 83 w 10277"/>
              <a:gd name="connsiteY3" fmla="*/ 7053 h 10000"/>
              <a:gd name="connsiteX4" fmla="*/ 103 w 10277"/>
              <a:gd name="connsiteY4" fmla="*/ 7092 h 10000"/>
              <a:gd name="connsiteX5" fmla="*/ 99 w 10277"/>
              <a:gd name="connsiteY5" fmla="*/ 7161 h 10000"/>
              <a:gd name="connsiteX6" fmla="*/ 68 w 10277"/>
              <a:gd name="connsiteY6" fmla="*/ 7192 h 10000"/>
              <a:gd name="connsiteX7" fmla="*/ 195 w 10277"/>
              <a:gd name="connsiteY7" fmla="*/ 7133 h 10000"/>
              <a:gd name="connsiteX8" fmla="*/ 249 w 10277"/>
              <a:gd name="connsiteY8" fmla="*/ 7075 h 10000"/>
              <a:gd name="connsiteX9" fmla="*/ 315 w 10277"/>
              <a:gd name="connsiteY9" fmla="*/ 7115 h 10000"/>
              <a:gd name="connsiteX10" fmla="*/ 242 w 10277"/>
              <a:gd name="connsiteY10" fmla="*/ 7198 h 10000"/>
              <a:gd name="connsiteX11" fmla="*/ 320 w 10277"/>
              <a:gd name="connsiteY11" fmla="*/ 7200 h 10000"/>
              <a:gd name="connsiteX12" fmla="*/ 358 w 10277"/>
              <a:gd name="connsiteY12" fmla="*/ 7221 h 10000"/>
              <a:gd name="connsiteX13" fmla="*/ 257 w 10277"/>
              <a:gd name="connsiteY13" fmla="*/ 7248 h 10000"/>
              <a:gd name="connsiteX14" fmla="*/ 99 w 10277"/>
              <a:gd name="connsiteY14" fmla="*/ 7333 h 10000"/>
              <a:gd name="connsiteX15" fmla="*/ 381 w 10277"/>
              <a:gd name="connsiteY15" fmla="*/ 7400 h 10000"/>
              <a:gd name="connsiteX16" fmla="*/ 416 w 10277"/>
              <a:gd name="connsiteY16" fmla="*/ 7496 h 10000"/>
              <a:gd name="connsiteX17" fmla="*/ 320 w 10277"/>
              <a:gd name="connsiteY17" fmla="*/ 7636 h 10000"/>
              <a:gd name="connsiteX18" fmla="*/ 526 w 10277"/>
              <a:gd name="connsiteY18" fmla="*/ 7627 h 10000"/>
              <a:gd name="connsiteX19" fmla="*/ 541 w 10277"/>
              <a:gd name="connsiteY19" fmla="*/ 7733 h 10000"/>
              <a:gd name="connsiteX20" fmla="*/ 404 w 10277"/>
              <a:gd name="connsiteY20" fmla="*/ 7805 h 10000"/>
              <a:gd name="connsiteX21" fmla="*/ 427 w 10277"/>
              <a:gd name="connsiteY21" fmla="*/ 7945 h 10000"/>
              <a:gd name="connsiteX22" fmla="*/ 374 w 10277"/>
              <a:gd name="connsiteY22" fmla="*/ 8053 h 10000"/>
              <a:gd name="connsiteX23" fmla="*/ 536 w 10277"/>
              <a:gd name="connsiteY23" fmla="*/ 8063 h 10000"/>
              <a:gd name="connsiteX24" fmla="*/ 695 w 10277"/>
              <a:gd name="connsiteY24" fmla="*/ 8478 h 10000"/>
              <a:gd name="connsiteX25" fmla="*/ 878 w 10277"/>
              <a:gd name="connsiteY25" fmla="*/ 8583 h 10000"/>
              <a:gd name="connsiteX26" fmla="*/ 958 w 10277"/>
              <a:gd name="connsiteY26" fmla="*/ 8695 h 10000"/>
              <a:gd name="connsiteX27" fmla="*/ 1157 w 10277"/>
              <a:gd name="connsiteY27" fmla="*/ 8776 h 10000"/>
              <a:gd name="connsiteX28" fmla="*/ 1285 w 10277"/>
              <a:gd name="connsiteY28" fmla="*/ 8881 h 10000"/>
              <a:gd name="connsiteX29" fmla="*/ 1269 w 10277"/>
              <a:gd name="connsiteY29" fmla="*/ 8955 h 10000"/>
              <a:gd name="connsiteX30" fmla="*/ 1142 w 10277"/>
              <a:gd name="connsiteY30" fmla="*/ 8983 h 10000"/>
              <a:gd name="connsiteX31" fmla="*/ 1004 w 10277"/>
              <a:gd name="connsiteY31" fmla="*/ 8965 h 10000"/>
              <a:gd name="connsiteX32" fmla="*/ 962 w 10277"/>
              <a:gd name="connsiteY32" fmla="*/ 8996 h 10000"/>
              <a:gd name="connsiteX33" fmla="*/ 1067 w 10277"/>
              <a:gd name="connsiteY33" fmla="*/ 9158 h 10000"/>
              <a:gd name="connsiteX34" fmla="*/ 920 w 10277"/>
              <a:gd name="connsiteY34" fmla="*/ 9144 h 10000"/>
              <a:gd name="connsiteX35" fmla="*/ 795 w 10277"/>
              <a:gd name="connsiteY35" fmla="*/ 9105 h 10000"/>
              <a:gd name="connsiteX36" fmla="*/ 772 w 10277"/>
              <a:gd name="connsiteY36" fmla="*/ 9165 h 10000"/>
              <a:gd name="connsiteX37" fmla="*/ 1188 w 10277"/>
              <a:gd name="connsiteY37" fmla="*/ 9718 h 10000"/>
              <a:gd name="connsiteX38" fmla="*/ 1122 w 10277"/>
              <a:gd name="connsiteY38" fmla="*/ 9770 h 10000"/>
              <a:gd name="connsiteX39" fmla="*/ 1075 w 10277"/>
              <a:gd name="connsiteY39" fmla="*/ 9876 h 10000"/>
              <a:gd name="connsiteX40" fmla="*/ 1015 w 10277"/>
              <a:gd name="connsiteY40" fmla="*/ 9885 h 10000"/>
              <a:gd name="connsiteX41" fmla="*/ 978 w 10277"/>
              <a:gd name="connsiteY41" fmla="*/ 9931 h 10000"/>
              <a:gd name="connsiteX42" fmla="*/ 1229 w 10277"/>
              <a:gd name="connsiteY42" fmla="*/ 9936 h 10000"/>
              <a:gd name="connsiteX43" fmla="*/ 1451 w 10277"/>
              <a:gd name="connsiteY43" fmla="*/ 9982 h 10000"/>
              <a:gd name="connsiteX44" fmla="*/ 1820 w 10277"/>
              <a:gd name="connsiteY44" fmla="*/ 9933 h 10000"/>
              <a:gd name="connsiteX45" fmla="*/ 2151 w 10277"/>
              <a:gd name="connsiteY45" fmla="*/ 9941 h 10000"/>
              <a:gd name="connsiteX46" fmla="*/ 2346 w 10277"/>
              <a:gd name="connsiteY46" fmla="*/ 10000 h 10000"/>
              <a:gd name="connsiteX47" fmla="*/ 2454 w 10277"/>
              <a:gd name="connsiteY47" fmla="*/ 9961 h 10000"/>
              <a:gd name="connsiteX48" fmla="*/ 2557 w 10277"/>
              <a:gd name="connsiteY48" fmla="*/ 9834 h 10000"/>
              <a:gd name="connsiteX49" fmla="*/ 2530 w 10277"/>
              <a:gd name="connsiteY49" fmla="*/ 9625 h 10000"/>
              <a:gd name="connsiteX50" fmla="*/ 2782 w 10277"/>
              <a:gd name="connsiteY50" fmla="*/ 9392 h 10000"/>
              <a:gd name="connsiteX51" fmla="*/ 2966 w 10277"/>
              <a:gd name="connsiteY51" fmla="*/ 9428 h 10000"/>
              <a:gd name="connsiteX52" fmla="*/ 3073 w 10277"/>
              <a:gd name="connsiteY52" fmla="*/ 9335 h 10000"/>
              <a:gd name="connsiteX53" fmla="*/ 3278 w 10277"/>
              <a:gd name="connsiteY53" fmla="*/ 9282 h 10000"/>
              <a:gd name="connsiteX54" fmla="*/ 3557 w 10277"/>
              <a:gd name="connsiteY54" fmla="*/ 9295 h 10000"/>
              <a:gd name="connsiteX55" fmla="*/ 3724 w 10277"/>
              <a:gd name="connsiteY55" fmla="*/ 9332 h 10000"/>
              <a:gd name="connsiteX56" fmla="*/ 3948 w 10277"/>
              <a:gd name="connsiteY56" fmla="*/ 9315 h 10000"/>
              <a:gd name="connsiteX57" fmla="*/ 4173 w 10277"/>
              <a:gd name="connsiteY57" fmla="*/ 9356 h 10000"/>
              <a:gd name="connsiteX58" fmla="*/ 4398 w 10277"/>
              <a:gd name="connsiteY58" fmla="*/ 9361 h 10000"/>
              <a:gd name="connsiteX59" fmla="*/ 4902 w 10277"/>
              <a:gd name="connsiteY59" fmla="*/ 8817 h 10000"/>
              <a:gd name="connsiteX60" fmla="*/ 5030 w 10277"/>
              <a:gd name="connsiteY60" fmla="*/ 8375 h 10000"/>
              <a:gd name="connsiteX61" fmla="*/ 5235 w 10277"/>
              <a:gd name="connsiteY61" fmla="*/ 8177 h 10000"/>
              <a:gd name="connsiteX62" fmla="*/ 5235 w 10277"/>
              <a:gd name="connsiteY62" fmla="*/ 8073 h 10000"/>
              <a:gd name="connsiteX63" fmla="*/ 5160 w 10277"/>
              <a:gd name="connsiteY63" fmla="*/ 8015 h 10000"/>
              <a:gd name="connsiteX64" fmla="*/ 5281 w 10277"/>
              <a:gd name="connsiteY64" fmla="*/ 7922 h 10000"/>
              <a:gd name="connsiteX65" fmla="*/ 5259 w 10277"/>
              <a:gd name="connsiteY65" fmla="*/ 7844 h 10000"/>
              <a:gd name="connsiteX66" fmla="*/ 5177 w 10277"/>
              <a:gd name="connsiteY66" fmla="*/ 7776 h 10000"/>
              <a:gd name="connsiteX67" fmla="*/ 5160 w 10277"/>
              <a:gd name="connsiteY67" fmla="*/ 7728 h 10000"/>
              <a:gd name="connsiteX68" fmla="*/ 5181 w 10277"/>
              <a:gd name="connsiteY68" fmla="*/ 7691 h 10000"/>
              <a:gd name="connsiteX69" fmla="*/ 5292 w 10277"/>
              <a:gd name="connsiteY69" fmla="*/ 7721 h 10000"/>
              <a:gd name="connsiteX70" fmla="*/ 5381 w 10277"/>
              <a:gd name="connsiteY70" fmla="*/ 7719 h 10000"/>
              <a:gd name="connsiteX71" fmla="*/ 5333 w 10277"/>
              <a:gd name="connsiteY71" fmla="*/ 7655 h 10000"/>
              <a:gd name="connsiteX72" fmla="*/ 5348 w 10277"/>
              <a:gd name="connsiteY72" fmla="*/ 7619 h 10000"/>
              <a:gd name="connsiteX73" fmla="*/ 5414 w 10277"/>
              <a:gd name="connsiteY73" fmla="*/ 7565 h 10000"/>
              <a:gd name="connsiteX74" fmla="*/ 5401 w 10277"/>
              <a:gd name="connsiteY74" fmla="*/ 7521 h 10000"/>
              <a:gd name="connsiteX75" fmla="*/ 5462 w 10277"/>
              <a:gd name="connsiteY75" fmla="*/ 7373 h 10000"/>
              <a:gd name="connsiteX76" fmla="*/ 5445 w 10277"/>
              <a:gd name="connsiteY76" fmla="*/ 7327 h 10000"/>
              <a:gd name="connsiteX77" fmla="*/ 5140 w 10277"/>
              <a:gd name="connsiteY77" fmla="*/ 7216 h 10000"/>
              <a:gd name="connsiteX78" fmla="*/ 5181 w 10277"/>
              <a:gd name="connsiteY78" fmla="*/ 7211 h 10000"/>
              <a:gd name="connsiteX79" fmla="*/ 5344 w 10277"/>
              <a:gd name="connsiteY79" fmla="*/ 7241 h 10000"/>
              <a:gd name="connsiteX80" fmla="*/ 5520 w 10277"/>
              <a:gd name="connsiteY80" fmla="*/ 7230 h 10000"/>
              <a:gd name="connsiteX81" fmla="*/ 5571 w 10277"/>
              <a:gd name="connsiteY81" fmla="*/ 7189 h 10000"/>
              <a:gd name="connsiteX82" fmla="*/ 5401 w 10277"/>
              <a:gd name="connsiteY82" fmla="*/ 7113 h 10000"/>
              <a:gd name="connsiteX83" fmla="*/ 4898 w 10277"/>
              <a:gd name="connsiteY83" fmla="*/ 7062 h 10000"/>
              <a:gd name="connsiteX84" fmla="*/ 4932 w 10277"/>
              <a:gd name="connsiteY84" fmla="*/ 7039 h 10000"/>
              <a:gd name="connsiteX85" fmla="*/ 5344 w 10277"/>
              <a:gd name="connsiteY85" fmla="*/ 7023 h 10000"/>
              <a:gd name="connsiteX86" fmla="*/ 5571 w 10277"/>
              <a:gd name="connsiteY86" fmla="*/ 7069 h 10000"/>
              <a:gd name="connsiteX87" fmla="*/ 5702 w 10277"/>
              <a:gd name="connsiteY87" fmla="*/ 7039 h 10000"/>
              <a:gd name="connsiteX88" fmla="*/ 5750 w 10277"/>
              <a:gd name="connsiteY88" fmla="*/ 6959 h 10000"/>
              <a:gd name="connsiteX89" fmla="*/ 5987 w 10277"/>
              <a:gd name="connsiteY89" fmla="*/ 6959 h 10000"/>
              <a:gd name="connsiteX90" fmla="*/ 6308 w 10277"/>
              <a:gd name="connsiteY90" fmla="*/ 6799 h 10000"/>
              <a:gd name="connsiteX91" fmla="*/ 6319 w 10277"/>
              <a:gd name="connsiteY91" fmla="*/ 6693 h 10000"/>
              <a:gd name="connsiteX92" fmla="*/ 6455 w 10277"/>
              <a:gd name="connsiteY92" fmla="*/ 6718 h 10000"/>
              <a:gd name="connsiteX93" fmla="*/ 6449 w 10277"/>
              <a:gd name="connsiteY93" fmla="*/ 6824 h 10000"/>
              <a:gd name="connsiteX94" fmla="*/ 6665 w 10277"/>
              <a:gd name="connsiteY94" fmla="*/ 6817 h 10000"/>
              <a:gd name="connsiteX95" fmla="*/ 6807 w 10277"/>
              <a:gd name="connsiteY95" fmla="*/ 6707 h 10000"/>
              <a:gd name="connsiteX96" fmla="*/ 7070 w 10277"/>
              <a:gd name="connsiteY96" fmla="*/ 6607 h 10000"/>
              <a:gd name="connsiteX97" fmla="*/ 7029 w 10277"/>
              <a:gd name="connsiteY97" fmla="*/ 6493 h 10000"/>
              <a:gd name="connsiteX98" fmla="*/ 7107 w 10277"/>
              <a:gd name="connsiteY98" fmla="*/ 6538 h 10000"/>
              <a:gd name="connsiteX99" fmla="*/ 7227 w 10277"/>
              <a:gd name="connsiteY99" fmla="*/ 6538 h 10000"/>
              <a:gd name="connsiteX100" fmla="*/ 7227 w 10277"/>
              <a:gd name="connsiteY100" fmla="*/ 6486 h 10000"/>
              <a:gd name="connsiteX101" fmla="*/ 7340 w 10277"/>
              <a:gd name="connsiteY101" fmla="*/ 6446 h 10000"/>
              <a:gd name="connsiteX102" fmla="*/ 7324 w 10277"/>
              <a:gd name="connsiteY102" fmla="*/ 6405 h 10000"/>
              <a:gd name="connsiteX103" fmla="*/ 6377 w 10277"/>
              <a:gd name="connsiteY103" fmla="*/ 6488 h 10000"/>
              <a:gd name="connsiteX104" fmla="*/ 6155 w 10277"/>
              <a:gd name="connsiteY104" fmla="*/ 6463 h 10000"/>
              <a:gd name="connsiteX105" fmla="*/ 6065 w 10277"/>
              <a:gd name="connsiteY105" fmla="*/ 6493 h 10000"/>
              <a:gd name="connsiteX106" fmla="*/ 6035 w 10277"/>
              <a:gd name="connsiteY106" fmla="*/ 6436 h 10000"/>
              <a:gd name="connsiteX107" fmla="*/ 5930 w 10277"/>
              <a:gd name="connsiteY107" fmla="*/ 6384 h 10000"/>
              <a:gd name="connsiteX108" fmla="*/ 5508 w 10277"/>
              <a:gd name="connsiteY108" fmla="*/ 6282 h 10000"/>
              <a:gd name="connsiteX109" fmla="*/ 5259 w 10277"/>
              <a:gd name="connsiteY109" fmla="*/ 6298 h 10000"/>
              <a:gd name="connsiteX110" fmla="*/ 5160 w 10277"/>
              <a:gd name="connsiteY110" fmla="*/ 6270 h 10000"/>
              <a:gd name="connsiteX111" fmla="*/ 5265 w 10277"/>
              <a:gd name="connsiteY111" fmla="*/ 6245 h 10000"/>
              <a:gd name="connsiteX112" fmla="*/ 5344 w 10277"/>
              <a:gd name="connsiteY112" fmla="*/ 6190 h 10000"/>
              <a:gd name="connsiteX113" fmla="*/ 5462 w 10277"/>
              <a:gd name="connsiteY113" fmla="*/ 6208 h 10000"/>
              <a:gd name="connsiteX114" fmla="*/ 5602 w 10277"/>
              <a:gd name="connsiteY114" fmla="*/ 6193 h 10000"/>
              <a:gd name="connsiteX115" fmla="*/ 5813 w 10277"/>
              <a:gd name="connsiteY115" fmla="*/ 6211 h 10000"/>
              <a:gd name="connsiteX116" fmla="*/ 5838 w 10277"/>
              <a:gd name="connsiteY116" fmla="*/ 6204 h 10000"/>
              <a:gd name="connsiteX117" fmla="*/ 6002 w 10277"/>
              <a:gd name="connsiteY117" fmla="*/ 6287 h 10000"/>
              <a:gd name="connsiteX118" fmla="*/ 6122 w 10277"/>
              <a:gd name="connsiteY118" fmla="*/ 6257 h 10000"/>
              <a:gd name="connsiteX119" fmla="*/ 6133 w 10277"/>
              <a:gd name="connsiteY119" fmla="*/ 6229 h 10000"/>
              <a:gd name="connsiteX120" fmla="*/ 6244 w 10277"/>
              <a:gd name="connsiteY120" fmla="*/ 6278 h 10000"/>
              <a:gd name="connsiteX121" fmla="*/ 6391 w 10277"/>
              <a:gd name="connsiteY121" fmla="*/ 6304 h 10000"/>
              <a:gd name="connsiteX122" fmla="*/ 6449 w 10277"/>
              <a:gd name="connsiteY122" fmla="*/ 6255 h 10000"/>
              <a:gd name="connsiteX123" fmla="*/ 6496 w 10277"/>
              <a:gd name="connsiteY123" fmla="*/ 6282 h 10000"/>
              <a:gd name="connsiteX124" fmla="*/ 6565 w 10277"/>
              <a:gd name="connsiteY124" fmla="*/ 6377 h 10000"/>
              <a:gd name="connsiteX125" fmla="*/ 6707 w 10277"/>
              <a:gd name="connsiteY125" fmla="*/ 6399 h 10000"/>
              <a:gd name="connsiteX126" fmla="*/ 7286 w 10277"/>
              <a:gd name="connsiteY126" fmla="*/ 6259 h 10000"/>
              <a:gd name="connsiteX127" fmla="*/ 7571 w 10277"/>
              <a:gd name="connsiteY127" fmla="*/ 6064 h 10000"/>
              <a:gd name="connsiteX128" fmla="*/ 7637 w 10277"/>
              <a:gd name="connsiteY128" fmla="*/ 5921 h 10000"/>
              <a:gd name="connsiteX129" fmla="*/ 7534 w 10277"/>
              <a:gd name="connsiteY129" fmla="*/ 5792 h 10000"/>
              <a:gd name="connsiteX130" fmla="*/ 7318 w 10277"/>
              <a:gd name="connsiteY130" fmla="*/ 5715 h 10000"/>
              <a:gd name="connsiteX131" fmla="*/ 7164 w 10277"/>
              <a:gd name="connsiteY131" fmla="*/ 5589 h 10000"/>
              <a:gd name="connsiteX132" fmla="*/ 7307 w 10277"/>
              <a:gd name="connsiteY132" fmla="*/ 5584 h 10000"/>
              <a:gd name="connsiteX133" fmla="*/ 7297 w 10277"/>
              <a:gd name="connsiteY133" fmla="*/ 5554 h 10000"/>
              <a:gd name="connsiteX134" fmla="*/ 6925 w 10277"/>
              <a:gd name="connsiteY134" fmla="*/ 5465 h 10000"/>
              <a:gd name="connsiteX135" fmla="*/ 6909 w 10277"/>
              <a:gd name="connsiteY135" fmla="*/ 5383 h 10000"/>
              <a:gd name="connsiteX136" fmla="*/ 6837 w 10277"/>
              <a:gd name="connsiteY136" fmla="*/ 5299 h 10000"/>
              <a:gd name="connsiteX137" fmla="*/ 6543 w 10277"/>
              <a:gd name="connsiteY137" fmla="*/ 5314 h 10000"/>
              <a:gd name="connsiteX138" fmla="*/ 6438 w 10277"/>
              <a:gd name="connsiteY138" fmla="*/ 5224 h 10000"/>
              <a:gd name="connsiteX139" fmla="*/ 6377 w 10277"/>
              <a:gd name="connsiteY139" fmla="*/ 5219 h 10000"/>
              <a:gd name="connsiteX140" fmla="*/ 6377 w 10277"/>
              <a:gd name="connsiteY140" fmla="*/ 5256 h 10000"/>
              <a:gd name="connsiteX141" fmla="*/ 6244 w 10277"/>
              <a:gd name="connsiteY141" fmla="*/ 5408 h 10000"/>
              <a:gd name="connsiteX142" fmla="*/ 6101 w 10277"/>
              <a:gd name="connsiteY142" fmla="*/ 5498 h 10000"/>
              <a:gd name="connsiteX143" fmla="*/ 5653 w 10277"/>
              <a:gd name="connsiteY143" fmla="*/ 5651 h 10000"/>
              <a:gd name="connsiteX144" fmla="*/ 5496 w 10277"/>
              <a:gd name="connsiteY144" fmla="*/ 5646 h 10000"/>
              <a:gd name="connsiteX145" fmla="*/ 5281 w 10277"/>
              <a:gd name="connsiteY145" fmla="*/ 5669 h 10000"/>
              <a:gd name="connsiteX146" fmla="*/ 5160 w 10277"/>
              <a:gd name="connsiteY146" fmla="*/ 5646 h 10000"/>
              <a:gd name="connsiteX147" fmla="*/ 5318 w 10277"/>
              <a:gd name="connsiteY147" fmla="*/ 5604 h 10000"/>
              <a:gd name="connsiteX148" fmla="*/ 5524 w 10277"/>
              <a:gd name="connsiteY148" fmla="*/ 5584 h 10000"/>
              <a:gd name="connsiteX149" fmla="*/ 5693 w 10277"/>
              <a:gd name="connsiteY149" fmla="*/ 5513 h 10000"/>
              <a:gd name="connsiteX150" fmla="*/ 5859 w 10277"/>
              <a:gd name="connsiteY150" fmla="*/ 5480 h 10000"/>
              <a:gd name="connsiteX151" fmla="*/ 6171 w 10277"/>
              <a:gd name="connsiteY151" fmla="*/ 5355 h 10000"/>
              <a:gd name="connsiteX152" fmla="*/ 6230 w 10277"/>
              <a:gd name="connsiteY152" fmla="*/ 5274 h 10000"/>
              <a:gd name="connsiteX153" fmla="*/ 6235 w 10277"/>
              <a:gd name="connsiteY153" fmla="*/ 5168 h 10000"/>
              <a:gd name="connsiteX154" fmla="*/ 6092 w 10277"/>
              <a:gd name="connsiteY154" fmla="*/ 5150 h 10000"/>
              <a:gd name="connsiteX155" fmla="*/ 6155 w 10277"/>
              <a:gd name="connsiteY155" fmla="*/ 5086 h 10000"/>
              <a:gd name="connsiteX156" fmla="*/ 6175 w 10277"/>
              <a:gd name="connsiteY156" fmla="*/ 5005 h 10000"/>
              <a:gd name="connsiteX157" fmla="*/ 6115 w 10277"/>
              <a:gd name="connsiteY157" fmla="*/ 4928 h 10000"/>
              <a:gd name="connsiteX158" fmla="*/ 6081 w 10277"/>
              <a:gd name="connsiteY158" fmla="*/ 4367 h 10000"/>
              <a:gd name="connsiteX159" fmla="*/ 6166 w 10277"/>
              <a:gd name="connsiteY159" fmla="*/ 4246 h 10000"/>
              <a:gd name="connsiteX160" fmla="*/ 6144 w 10277"/>
              <a:gd name="connsiteY160" fmla="*/ 4198 h 10000"/>
              <a:gd name="connsiteX161" fmla="*/ 6391 w 10277"/>
              <a:gd name="connsiteY161" fmla="*/ 4269 h 10000"/>
              <a:gd name="connsiteX162" fmla="*/ 6408 w 10277"/>
              <a:gd name="connsiteY162" fmla="*/ 4202 h 10000"/>
              <a:gd name="connsiteX163" fmla="*/ 6354 w 10277"/>
              <a:gd name="connsiteY163" fmla="*/ 4029 h 10000"/>
              <a:gd name="connsiteX164" fmla="*/ 6532 w 10277"/>
              <a:gd name="connsiteY164" fmla="*/ 3719 h 10000"/>
              <a:gd name="connsiteX165" fmla="*/ 6423 w 10277"/>
              <a:gd name="connsiteY165" fmla="*/ 3645 h 10000"/>
              <a:gd name="connsiteX166" fmla="*/ 6381 w 10277"/>
              <a:gd name="connsiteY166" fmla="*/ 3576 h 10000"/>
              <a:gd name="connsiteX167" fmla="*/ 6395 w 10277"/>
              <a:gd name="connsiteY167" fmla="*/ 3463 h 10000"/>
              <a:gd name="connsiteX168" fmla="*/ 6656 w 10277"/>
              <a:gd name="connsiteY168" fmla="*/ 3538 h 10000"/>
              <a:gd name="connsiteX169" fmla="*/ 6665 w 10277"/>
              <a:gd name="connsiteY169" fmla="*/ 3516 h 10000"/>
              <a:gd name="connsiteX170" fmla="*/ 6737 w 10277"/>
              <a:gd name="connsiteY170" fmla="*/ 3497 h 10000"/>
              <a:gd name="connsiteX171" fmla="*/ 6837 w 10277"/>
              <a:gd name="connsiteY171" fmla="*/ 3424 h 10000"/>
              <a:gd name="connsiteX172" fmla="*/ 6854 w 10277"/>
              <a:gd name="connsiteY172" fmla="*/ 3404 h 10000"/>
              <a:gd name="connsiteX173" fmla="*/ 6832 w 10277"/>
              <a:gd name="connsiteY173" fmla="*/ 3377 h 10000"/>
              <a:gd name="connsiteX174" fmla="*/ 6886 w 10277"/>
              <a:gd name="connsiteY174" fmla="*/ 3250 h 10000"/>
              <a:gd name="connsiteX175" fmla="*/ 6822 w 10277"/>
              <a:gd name="connsiteY175" fmla="*/ 3167 h 10000"/>
              <a:gd name="connsiteX176" fmla="*/ 6832 w 10277"/>
              <a:gd name="connsiteY176" fmla="*/ 3101 h 10000"/>
              <a:gd name="connsiteX177" fmla="*/ 6868 w 10277"/>
              <a:gd name="connsiteY177" fmla="*/ 3178 h 10000"/>
              <a:gd name="connsiteX178" fmla="*/ 7011 w 10277"/>
              <a:gd name="connsiteY178" fmla="*/ 3236 h 10000"/>
              <a:gd name="connsiteX179" fmla="*/ 7070 w 10277"/>
              <a:gd name="connsiteY179" fmla="*/ 3229 h 10000"/>
              <a:gd name="connsiteX180" fmla="*/ 7164 w 10277"/>
              <a:gd name="connsiteY180" fmla="*/ 3152 h 10000"/>
              <a:gd name="connsiteX181" fmla="*/ 7265 w 10277"/>
              <a:gd name="connsiteY181" fmla="*/ 3183 h 10000"/>
              <a:gd name="connsiteX182" fmla="*/ 7292 w 10277"/>
              <a:gd name="connsiteY182" fmla="*/ 3122 h 10000"/>
              <a:gd name="connsiteX183" fmla="*/ 7360 w 10277"/>
              <a:gd name="connsiteY183" fmla="*/ 3080 h 10000"/>
              <a:gd name="connsiteX184" fmla="*/ 7175 w 10277"/>
              <a:gd name="connsiteY184" fmla="*/ 3036 h 10000"/>
              <a:gd name="connsiteX185" fmla="*/ 7307 w 10277"/>
              <a:gd name="connsiteY185" fmla="*/ 3045 h 10000"/>
              <a:gd name="connsiteX186" fmla="*/ 7442 w 10277"/>
              <a:gd name="connsiteY186" fmla="*/ 2999 h 10000"/>
              <a:gd name="connsiteX187" fmla="*/ 7437 w 10277"/>
              <a:gd name="connsiteY187" fmla="*/ 2966 h 10000"/>
              <a:gd name="connsiteX188" fmla="*/ 7565 w 10277"/>
              <a:gd name="connsiteY188" fmla="*/ 2936 h 10000"/>
              <a:gd name="connsiteX189" fmla="*/ 7576 w 10277"/>
              <a:gd name="connsiteY189" fmla="*/ 2859 h 10000"/>
              <a:gd name="connsiteX190" fmla="*/ 7676 w 10277"/>
              <a:gd name="connsiteY190" fmla="*/ 2844 h 10000"/>
              <a:gd name="connsiteX191" fmla="*/ 7684 w 10277"/>
              <a:gd name="connsiteY191" fmla="*/ 2754 h 10000"/>
              <a:gd name="connsiteX192" fmla="*/ 7790 w 10277"/>
              <a:gd name="connsiteY192" fmla="*/ 2743 h 10000"/>
              <a:gd name="connsiteX193" fmla="*/ 7953 w 10277"/>
              <a:gd name="connsiteY193" fmla="*/ 2762 h 10000"/>
              <a:gd name="connsiteX194" fmla="*/ 8132 w 10277"/>
              <a:gd name="connsiteY194" fmla="*/ 2690 h 10000"/>
              <a:gd name="connsiteX195" fmla="*/ 8195 w 10277"/>
              <a:gd name="connsiteY195" fmla="*/ 2607 h 10000"/>
              <a:gd name="connsiteX196" fmla="*/ 8417 w 10277"/>
              <a:gd name="connsiteY196" fmla="*/ 2524 h 10000"/>
              <a:gd name="connsiteX197" fmla="*/ 8527 w 10277"/>
              <a:gd name="connsiteY197" fmla="*/ 2575 h 10000"/>
              <a:gd name="connsiteX198" fmla="*/ 8695 w 10277"/>
              <a:gd name="connsiteY198" fmla="*/ 2519 h 10000"/>
              <a:gd name="connsiteX199" fmla="*/ 8736 w 10277"/>
              <a:gd name="connsiteY199" fmla="*/ 2445 h 10000"/>
              <a:gd name="connsiteX200" fmla="*/ 8864 w 10277"/>
              <a:gd name="connsiteY200" fmla="*/ 2396 h 10000"/>
              <a:gd name="connsiteX201" fmla="*/ 8973 w 10277"/>
              <a:gd name="connsiteY201" fmla="*/ 2418 h 10000"/>
              <a:gd name="connsiteX202" fmla="*/ 9042 w 10277"/>
              <a:gd name="connsiteY202" fmla="*/ 2381 h 10000"/>
              <a:gd name="connsiteX203" fmla="*/ 9231 w 10277"/>
              <a:gd name="connsiteY203" fmla="*/ 2330 h 10000"/>
              <a:gd name="connsiteX204" fmla="*/ 9310 w 10277"/>
              <a:gd name="connsiteY204" fmla="*/ 2263 h 10000"/>
              <a:gd name="connsiteX205" fmla="*/ 9417 w 10277"/>
              <a:gd name="connsiteY205" fmla="*/ 2235 h 10000"/>
              <a:gd name="connsiteX206" fmla="*/ 10000 w 10277"/>
              <a:gd name="connsiteY206" fmla="*/ 1832 h 10000"/>
              <a:gd name="connsiteX207" fmla="*/ 10277 w 10277"/>
              <a:gd name="connsiteY207" fmla="*/ 1829 h 10000"/>
              <a:gd name="connsiteX208" fmla="*/ 9713 w 10277"/>
              <a:gd name="connsiteY208" fmla="*/ 1720 h 10000"/>
              <a:gd name="connsiteX209" fmla="*/ 8075 w 10277"/>
              <a:gd name="connsiteY209" fmla="*/ 1603 h 10000"/>
              <a:gd name="connsiteX210" fmla="*/ 8367 w 10277"/>
              <a:gd name="connsiteY210" fmla="*/ 1293 h 10000"/>
              <a:gd name="connsiteX211" fmla="*/ 7497 w 10277"/>
              <a:gd name="connsiteY211" fmla="*/ 923 h 10000"/>
              <a:gd name="connsiteX212" fmla="*/ 7377 w 10277"/>
              <a:gd name="connsiteY212" fmla="*/ 560 h 10000"/>
              <a:gd name="connsiteX213" fmla="*/ 7012 w 10277"/>
              <a:gd name="connsiteY213" fmla="*/ 590 h 10000"/>
              <a:gd name="connsiteX214" fmla="*/ 6413 w 10277"/>
              <a:gd name="connsiteY214" fmla="*/ 332 h 10000"/>
              <a:gd name="connsiteX215" fmla="*/ 5098 w 10277"/>
              <a:gd name="connsiteY215" fmla="*/ 0 h 10000"/>
              <a:gd name="connsiteX216" fmla="*/ 4837 w 10277"/>
              <a:gd name="connsiteY216" fmla="*/ 82 h 10000"/>
              <a:gd name="connsiteX217" fmla="*/ 4671 w 10277"/>
              <a:gd name="connsiteY217" fmla="*/ 78 h 10000"/>
              <a:gd name="connsiteX218" fmla="*/ 4571 w 10277"/>
              <a:gd name="connsiteY218" fmla="*/ 107 h 10000"/>
              <a:gd name="connsiteX219" fmla="*/ 4298 w 10277"/>
              <a:gd name="connsiteY219" fmla="*/ 913 h 10000"/>
              <a:gd name="connsiteX220" fmla="*/ 3668 w 10277"/>
              <a:gd name="connsiteY220" fmla="*/ 1383 h 10000"/>
              <a:gd name="connsiteX221" fmla="*/ 3672 w 10277"/>
              <a:gd name="connsiteY221" fmla="*/ 1457 h 10000"/>
              <a:gd name="connsiteX222" fmla="*/ 3952 w 10277"/>
              <a:gd name="connsiteY222" fmla="*/ 1668 h 10000"/>
              <a:gd name="connsiteX223" fmla="*/ 3861 w 10277"/>
              <a:gd name="connsiteY223" fmla="*/ 1896 h 10000"/>
              <a:gd name="connsiteX224" fmla="*/ 3698 w 10277"/>
              <a:gd name="connsiteY224" fmla="*/ 1979 h 10000"/>
              <a:gd name="connsiteX225" fmla="*/ 3208 w 10277"/>
              <a:gd name="connsiteY225" fmla="*/ 1924 h 10000"/>
              <a:gd name="connsiteX226" fmla="*/ 2871 w 10277"/>
              <a:gd name="connsiteY226" fmla="*/ 1955 h 10000"/>
              <a:gd name="connsiteX227" fmla="*/ 2601 w 10277"/>
              <a:gd name="connsiteY227" fmla="*/ 2023 h 10000"/>
              <a:gd name="connsiteX228" fmla="*/ 2163 w 10277"/>
              <a:gd name="connsiteY228" fmla="*/ 2233 h 10000"/>
              <a:gd name="connsiteX229" fmla="*/ 1931 w 10277"/>
              <a:gd name="connsiteY229" fmla="*/ 2487 h 10000"/>
              <a:gd name="connsiteX230" fmla="*/ 1951 w 10277"/>
              <a:gd name="connsiteY230" fmla="*/ 2629 h 10000"/>
              <a:gd name="connsiteX231" fmla="*/ 2032 w 10277"/>
              <a:gd name="connsiteY231" fmla="*/ 2738 h 10000"/>
              <a:gd name="connsiteX232" fmla="*/ 2093 w 10277"/>
              <a:gd name="connsiteY232" fmla="*/ 2782 h 10000"/>
              <a:gd name="connsiteX233" fmla="*/ 1979 w 10277"/>
              <a:gd name="connsiteY233" fmla="*/ 2852 h 10000"/>
              <a:gd name="connsiteX234" fmla="*/ 1731 w 10277"/>
              <a:gd name="connsiteY234" fmla="*/ 3330 h 10000"/>
              <a:gd name="connsiteX235" fmla="*/ 1779 w 10277"/>
              <a:gd name="connsiteY235" fmla="*/ 3358 h 10000"/>
              <a:gd name="connsiteX236" fmla="*/ 1815 w 10277"/>
              <a:gd name="connsiteY236" fmla="*/ 3479 h 10000"/>
              <a:gd name="connsiteX237" fmla="*/ 1700 w 10277"/>
              <a:gd name="connsiteY237" fmla="*/ 3982 h 10000"/>
              <a:gd name="connsiteX238" fmla="*/ 1815 w 10277"/>
              <a:gd name="connsiteY238" fmla="*/ 4110 h 10000"/>
              <a:gd name="connsiteX239" fmla="*/ 2131 w 10277"/>
              <a:gd name="connsiteY239" fmla="*/ 4251 h 10000"/>
              <a:gd name="connsiteX240" fmla="*/ 2145 w 10277"/>
              <a:gd name="connsiteY240" fmla="*/ 4423 h 10000"/>
              <a:gd name="connsiteX241" fmla="*/ 2010 w 10277"/>
              <a:gd name="connsiteY241" fmla="*/ 4566 h 10000"/>
              <a:gd name="connsiteX242" fmla="*/ 1815 w 10277"/>
              <a:gd name="connsiteY242" fmla="*/ 4652 h 10000"/>
              <a:gd name="connsiteX243" fmla="*/ 1557 w 10277"/>
              <a:gd name="connsiteY243" fmla="*/ 4687 h 10000"/>
              <a:gd name="connsiteX244" fmla="*/ 1490 w 10277"/>
              <a:gd name="connsiteY244" fmla="*/ 4737 h 10000"/>
              <a:gd name="connsiteX245" fmla="*/ 1640 w 10277"/>
              <a:gd name="connsiteY245" fmla="*/ 4855 h 10000"/>
              <a:gd name="connsiteX246" fmla="*/ 1726 w 10277"/>
              <a:gd name="connsiteY246" fmla="*/ 5136 h 10000"/>
              <a:gd name="connsiteX247" fmla="*/ 1531 w 10277"/>
              <a:gd name="connsiteY247" fmla="*/ 5376 h 10000"/>
              <a:gd name="connsiteX248" fmla="*/ 1599 w 10277"/>
              <a:gd name="connsiteY248" fmla="*/ 5451 h 10000"/>
              <a:gd name="connsiteX249" fmla="*/ 1537 w 10277"/>
              <a:gd name="connsiteY249" fmla="*/ 5577 h 10000"/>
              <a:gd name="connsiteX250" fmla="*/ 1412 w 10277"/>
              <a:gd name="connsiteY250" fmla="*/ 5663 h 10000"/>
              <a:gd name="connsiteX251" fmla="*/ 915 w 10277"/>
              <a:gd name="connsiteY251" fmla="*/ 5730 h 10000"/>
              <a:gd name="connsiteX252" fmla="*/ 885 w 10277"/>
              <a:gd name="connsiteY252" fmla="*/ 5846 h 10000"/>
              <a:gd name="connsiteX253" fmla="*/ 617 w 10277"/>
              <a:gd name="connsiteY253" fmla="*/ 6019 h 10000"/>
              <a:gd name="connsiteX254" fmla="*/ 652 w 10277"/>
              <a:gd name="connsiteY254" fmla="*/ 6268 h 10000"/>
              <a:gd name="connsiteX255" fmla="*/ 427 w 10277"/>
              <a:gd name="connsiteY255" fmla="*/ 6587 h 10000"/>
              <a:gd name="connsiteX256" fmla="*/ 274 w 10277"/>
              <a:gd name="connsiteY256" fmla="*/ 6624 h 10000"/>
              <a:gd name="connsiteX257" fmla="*/ 210 w 10277"/>
              <a:gd name="connsiteY257" fmla="*/ 6548 h 10000"/>
              <a:gd name="connsiteX258" fmla="*/ 132 w 10277"/>
              <a:gd name="connsiteY258" fmla="*/ 6663 h 10000"/>
              <a:gd name="connsiteX259" fmla="*/ 183 w 10277"/>
              <a:gd name="connsiteY259" fmla="*/ 6465 h 10000"/>
              <a:gd name="connsiteX260" fmla="*/ 151 w 10277"/>
              <a:gd name="connsiteY260" fmla="*/ 6427 h 10000"/>
              <a:gd name="connsiteX0" fmla="*/ 151 w 10277"/>
              <a:gd name="connsiteY0" fmla="*/ 6427 h 10000"/>
              <a:gd name="connsiteX1" fmla="*/ 0 w 10277"/>
              <a:gd name="connsiteY1" fmla="*/ 6530 h 10000"/>
              <a:gd name="connsiteX2" fmla="*/ 0 w 10277"/>
              <a:gd name="connsiteY2" fmla="*/ 7039 h 10000"/>
              <a:gd name="connsiteX3" fmla="*/ 83 w 10277"/>
              <a:gd name="connsiteY3" fmla="*/ 7053 h 10000"/>
              <a:gd name="connsiteX4" fmla="*/ 103 w 10277"/>
              <a:gd name="connsiteY4" fmla="*/ 7092 h 10000"/>
              <a:gd name="connsiteX5" fmla="*/ 99 w 10277"/>
              <a:gd name="connsiteY5" fmla="*/ 7161 h 10000"/>
              <a:gd name="connsiteX6" fmla="*/ 68 w 10277"/>
              <a:gd name="connsiteY6" fmla="*/ 7192 h 10000"/>
              <a:gd name="connsiteX7" fmla="*/ 195 w 10277"/>
              <a:gd name="connsiteY7" fmla="*/ 7133 h 10000"/>
              <a:gd name="connsiteX8" fmla="*/ 249 w 10277"/>
              <a:gd name="connsiteY8" fmla="*/ 7075 h 10000"/>
              <a:gd name="connsiteX9" fmla="*/ 315 w 10277"/>
              <a:gd name="connsiteY9" fmla="*/ 7115 h 10000"/>
              <a:gd name="connsiteX10" fmla="*/ 242 w 10277"/>
              <a:gd name="connsiteY10" fmla="*/ 7198 h 10000"/>
              <a:gd name="connsiteX11" fmla="*/ 320 w 10277"/>
              <a:gd name="connsiteY11" fmla="*/ 7200 h 10000"/>
              <a:gd name="connsiteX12" fmla="*/ 358 w 10277"/>
              <a:gd name="connsiteY12" fmla="*/ 7221 h 10000"/>
              <a:gd name="connsiteX13" fmla="*/ 257 w 10277"/>
              <a:gd name="connsiteY13" fmla="*/ 7248 h 10000"/>
              <a:gd name="connsiteX14" fmla="*/ 99 w 10277"/>
              <a:gd name="connsiteY14" fmla="*/ 7333 h 10000"/>
              <a:gd name="connsiteX15" fmla="*/ 381 w 10277"/>
              <a:gd name="connsiteY15" fmla="*/ 7400 h 10000"/>
              <a:gd name="connsiteX16" fmla="*/ 416 w 10277"/>
              <a:gd name="connsiteY16" fmla="*/ 7496 h 10000"/>
              <a:gd name="connsiteX17" fmla="*/ 320 w 10277"/>
              <a:gd name="connsiteY17" fmla="*/ 7636 h 10000"/>
              <a:gd name="connsiteX18" fmla="*/ 526 w 10277"/>
              <a:gd name="connsiteY18" fmla="*/ 7627 h 10000"/>
              <a:gd name="connsiteX19" fmla="*/ 541 w 10277"/>
              <a:gd name="connsiteY19" fmla="*/ 7733 h 10000"/>
              <a:gd name="connsiteX20" fmla="*/ 404 w 10277"/>
              <a:gd name="connsiteY20" fmla="*/ 7805 h 10000"/>
              <a:gd name="connsiteX21" fmla="*/ 427 w 10277"/>
              <a:gd name="connsiteY21" fmla="*/ 7945 h 10000"/>
              <a:gd name="connsiteX22" fmla="*/ 374 w 10277"/>
              <a:gd name="connsiteY22" fmla="*/ 8053 h 10000"/>
              <a:gd name="connsiteX23" fmla="*/ 536 w 10277"/>
              <a:gd name="connsiteY23" fmla="*/ 8063 h 10000"/>
              <a:gd name="connsiteX24" fmla="*/ 695 w 10277"/>
              <a:gd name="connsiteY24" fmla="*/ 8478 h 10000"/>
              <a:gd name="connsiteX25" fmla="*/ 878 w 10277"/>
              <a:gd name="connsiteY25" fmla="*/ 8583 h 10000"/>
              <a:gd name="connsiteX26" fmla="*/ 958 w 10277"/>
              <a:gd name="connsiteY26" fmla="*/ 8695 h 10000"/>
              <a:gd name="connsiteX27" fmla="*/ 1157 w 10277"/>
              <a:gd name="connsiteY27" fmla="*/ 8776 h 10000"/>
              <a:gd name="connsiteX28" fmla="*/ 1285 w 10277"/>
              <a:gd name="connsiteY28" fmla="*/ 8881 h 10000"/>
              <a:gd name="connsiteX29" fmla="*/ 1269 w 10277"/>
              <a:gd name="connsiteY29" fmla="*/ 8955 h 10000"/>
              <a:gd name="connsiteX30" fmla="*/ 1142 w 10277"/>
              <a:gd name="connsiteY30" fmla="*/ 8983 h 10000"/>
              <a:gd name="connsiteX31" fmla="*/ 1004 w 10277"/>
              <a:gd name="connsiteY31" fmla="*/ 8965 h 10000"/>
              <a:gd name="connsiteX32" fmla="*/ 962 w 10277"/>
              <a:gd name="connsiteY32" fmla="*/ 8996 h 10000"/>
              <a:gd name="connsiteX33" fmla="*/ 1067 w 10277"/>
              <a:gd name="connsiteY33" fmla="*/ 9158 h 10000"/>
              <a:gd name="connsiteX34" fmla="*/ 920 w 10277"/>
              <a:gd name="connsiteY34" fmla="*/ 9144 h 10000"/>
              <a:gd name="connsiteX35" fmla="*/ 795 w 10277"/>
              <a:gd name="connsiteY35" fmla="*/ 9105 h 10000"/>
              <a:gd name="connsiteX36" fmla="*/ 772 w 10277"/>
              <a:gd name="connsiteY36" fmla="*/ 9165 h 10000"/>
              <a:gd name="connsiteX37" fmla="*/ 1188 w 10277"/>
              <a:gd name="connsiteY37" fmla="*/ 9718 h 10000"/>
              <a:gd name="connsiteX38" fmla="*/ 1122 w 10277"/>
              <a:gd name="connsiteY38" fmla="*/ 9770 h 10000"/>
              <a:gd name="connsiteX39" fmla="*/ 1075 w 10277"/>
              <a:gd name="connsiteY39" fmla="*/ 9876 h 10000"/>
              <a:gd name="connsiteX40" fmla="*/ 1015 w 10277"/>
              <a:gd name="connsiteY40" fmla="*/ 9885 h 10000"/>
              <a:gd name="connsiteX41" fmla="*/ 978 w 10277"/>
              <a:gd name="connsiteY41" fmla="*/ 9931 h 10000"/>
              <a:gd name="connsiteX42" fmla="*/ 1229 w 10277"/>
              <a:gd name="connsiteY42" fmla="*/ 9936 h 10000"/>
              <a:gd name="connsiteX43" fmla="*/ 1451 w 10277"/>
              <a:gd name="connsiteY43" fmla="*/ 9982 h 10000"/>
              <a:gd name="connsiteX44" fmla="*/ 1820 w 10277"/>
              <a:gd name="connsiteY44" fmla="*/ 9933 h 10000"/>
              <a:gd name="connsiteX45" fmla="*/ 2151 w 10277"/>
              <a:gd name="connsiteY45" fmla="*/ 9941 h 10000"/>
              <a:gd name="connsiteX46" fmla="*/ 2346 w 10277"/>
              <a:gd name="connsiteY46" fmla="*/ 10000 h 10000"/>
              <a:gd name="connsiteX47" fmla="*/ 2454 w 10277"/>
              <a:gd name="connsiteY47" fmla="*/ 9961 h 10000"/>
              <a:gd name="connsiteX48" fmla="*/ 2557 w 10277"/>
              <a:gd name="connsiteY48" fmla="*/ 9834 h 10000"/>
              <a:gd name="connsiteX49" fmla="*/ 2530 w 10277"/>
              <a:gd name="connsiteY49" fmla="*/ 9625 h 10000"/>
              <a:gd name="connsiteX50" fmla="*/ 2782 w 10277"/>
              <a:gd name="connsiteY50" fmla="*/ 9392 h 10000"/>
              <a:gd name="connsiteX51" fmla="*/ 2966 w 10277"/>
              <a:gd name="connsiteY51" fmla="*/ 9428 h 10000"/>
              <a:gd name="connsiteX52" fmla="*/ 3073 w 10277"/>
              <a:gd name="connsiteY52" fmla="*/ 9335 h 10000"/>
              <a:gd name="connsiteX53" fmla="*/ 3278 w 10277"/>
              <a:gd name="connsiteY53" fmla="*/ 9282 h 10000"/>
              <a:gd name="connsiteX54" fmla="*/ 3557 w 10277"/>
              <a:gd name="connsiteY54" fmla="*/ 9295 h 10000"/>
              <a:gd name="connsiteX55" fmla="*/ 3724 w 10277"/>
              <a:gd name="connsiteY55" fmla="*/ 9332 h 10000"/>
              <a:gd name="connsiteX56" fmla="*/ 3948 w 10277"/>
              <a:gd name="connsiteY56" fmla="*/ 9315 h 10000"/>
              <a:gd name="connsiteX57" fmla="*/ 4173 w 10277"/>
              <a:gd name="connsiteY57" fmla="*/ 9356 h 10000"/>
              <a:gd name="connsiteX58" fmla="*/ 4398 w 10277"/>
              <a:gd name="connsiteY58" fmla="*/ 9361 h 10000"/>
              <a:gd name="connsiteX59" fmla="*/ 4902 w 10277"/>
              <a:gd name="connsiteY59" fmla="*/ 8817 h 10000"/>
              <a:gd name="connsiteX60" fmla="*/ 5030 w 10277"/>
              <a:gd name="connsiteY60" fmla="*/ 8375 h 10000"/>
              <a:gd name="connsiteX61" fmla="*/ 5235 w 10277"/>
              <a:gd name="connsiteY61" fmla="*/ 8177 h 10000"/>
              <a:gd name="connsiteX62" fmla="*/ 5235 w 10277"/>
              <a:gd name="connsiteY62" fmla="*/ 8073 h 10000"/>
              <a:gd name="connsiteX63" fmla="*/ 5160 w 10277"/>
              <a:gd name="connsiteY63" fmla="*/ 8015 h 10000"/>
              <a:gd name="connsiteX64" fmla="*/ 5281 w 10277"/>
              <a:gd name="connsiteY64" fmla="*/ 7922 h 10000"/>
              <a:gd name="connsiteX65" fmla="*/ 5259 w 10277"/>
              <a:gd name="connsiteY65" fmla="*/ 7844 h 10000"/>
              <a:gd name="connsiteX66" fmla="*/ 5177 w 10277"/>
              <a:gd name="connsiteY66" fmla="*/ 7776 h 10000"/>
              <a:gd name="connsiteX67" fmla="*/ 5160 w 10277"/>
              <a:gd name="connsiteY67" fmla="*/ 7728 h 10000"/>
              <a:gd name="connsiteX68" fmla="*/ 5181 w 10277"/>
              <a:gd name="connsiteY68" fmla="*/ 7691 h 10000"/>
              <a:gd name="connsiteX69" fmla="*/ 5292 w 10277"/>
              <a:gd name="connsiteY69" fmla="*/ 7721 h 10000"/>
              <a:gd name="connsiteX70" fmla="*/ 5381 w 10277"/>
              <a:gd name="connsiteY70" fmla="*/ 7719 h 10000"/>
              <a:gd name="connsiteX71" fmla="*/ 5333 w 10277"/>
              <a:gd name="connsiteY71" fmla="*/ 7655 h 10000"/>
              <a:gd name="connsiteX72" fmla="*/ 5348 w 10277"/>
              <a:gd name="connsiteY72" fmla="*/ 7619 h 10000"/>
              <a:gd name="connsiteX73" fmla="*/ 5414 w 10277"/>
              <a:gd name="connsiteY73" fmla="*/ 7565 h 10000"/>
              <a:gd name="connsiteX74" fmla="*/ 5401 w 10277"/>
              <a:gd name="connsiteY74" fmla="*/ 7521 h 10000"/>
              <a:gd name="connsiteX75" fmla="*/ 5462 w 10277"/>
              <a:gd name="connsiteY75" fmla="*/ 7373 h 10000"/>
              <a:gd name="connsiteX76" fmla="*/ 5445 w 10277"/>
              <a:gd name="connsiteY76" fmla="*/ 7327 h 10000"/>
              <a:gd name="connsiteX77" fmla="*/ 5140 w 10277"/>
              <a:gd name="connsiteY77" fmla="*/ 7216 h 10000"/>
              <a:gd name="connsiteX78" fmla="*/ 5181 w 10277"/>
              <a:gd name="connsiteY78" fmla="*/ 7211 h 10000"/>
              <a:gd name="connsiteX79" fmla="*/ 5344 w 10277"/>
              <a:gd name="connsiteY79" fmla="*/ 7241 h 10000"/>
              <a:gd name="connsiteX80" fmla="*/ 5520 w 10277"/>
              <a:gd name="connsiteY80" fmla="*/ 7230 h 10000"/>
              <a:gd name="connsiteX81" fmla="*/ 5571 w 10277"/>
              <a:gd name="connsiteY81" fmla="*/ 7189 h 10000"/>
              <a:gd name="connsiteX82" fmla="*/ 5401 w 10277"/>
              <a:gd name="connsiteY82" fmla="*/ 7113 h 10000"/>
              <a:gd name="connsiteX83" fmla="*/ 4898 w 10277"/>
              <a:gd name="connsiteY83" fmla="*/ 7062 h 10000"/>
              <a:gd name="connsiteX84" fmla="*/ 4932 w 10277"/>
              <a:gd name="connsiteY84" fmla="*/ 7039 h 10000"/>
              <a:gd name="connsiteX85" fmla="*/ 5344 w 10277"/>
              <a:gd name="connsiteY85" fmla="*/ 7023 h 10000"/>
              <a:gd name="connsiteX86" fmla="*/ 5571 w 10277"/>
              <a:gd name="connsiteY86" fmla="*/ 7069 h 10000"/>
              <a:gd name="connsiteX87" fmla="*/ 5702 w 10277"/>
              <a:gd name="connsiteY87" fmla="*/ 7039 h 10000"/>
              <a:gd name="connsiteX88" fmla="*/ 5750 w 10277"/>
              <a:gd name="connsiteY88" fmla="*/ 6959 h 10000"/>
              <a:gd name="connsiteX89" fmla="*/ 5987 w 10277"/>
              <a:gd name="connsiteY89" fmla="*/ 6959 h 10000"/>
              <a:gd name="connsiteX90" fmla="*/ 6308 w 10277"/>
              <a:gd name="connsiteY90" fmla="*/ 6799 h 10000"/>
              <a:gd name="connsiteX91" fmla="*/ 6319 w 10277"/>
              <a:gd name="connsiteY91" fmla="*/ 6693 h 10000"/>
              <a:gd name="connsiteX92" fmla="*/ 6455 w 10277"/>
              <a:gd name="connsiteY92" fmla="*/ 6718 h 10000"/>
              <a:gd name="connsiteX93" fmla="*/ 6449 w 10277"/>
              <a:gd name="connsiteY93" fmla="*/ 6824 h 10000"/>
              <a:gd name="connsiteX94" fmla="*/ 6665 w 10277"/>
              <a:gd name="connsiteY94" fmla="*/ 6817 h 10000"/>
              <a:gd name="connsiteX95" fmla="*/ 6807 w 10277"/>
              <a:gd name="connsiteY95" fmla="*/ 6707 h 10000"/>
              <a:gd name="connsiteX96" fmla="*/ 7070 w 10277"/>
              <a:gd name="connsiteY96" fmla="*/ 6607 h 10000"/>
              <a:gd name="connsiteX97" fmla="*/ 7029 w 10277"/>
              <a:gd name="connsiteY97" fmla="*/ 6493 h 10000"/>
              <a:gd name="connsiteX98" fmla="*/ 7107 w 10277"/>
              <a:gd name="connsiteY98" fmla="*/ 6538 h 10000"/>
              <a:gd name="connsiteX99" fmla="*/ 7227 w 10277"/>
              <a:gd name="connsiteY99" fmla="*/ 6538 h 10000"/>
              <a:gd name="connsiteX100" fmla="*/ 7227 w 10277"/>
              <a:gd name="connsiteY100" fmla="*/ 6486 h 10000"/>
              <a:gd name="connsiteX101" fmla="*/ 7340 w 10277"/>
              <a:gd name="connsiteY101" fmla="*/ 6446 h 10000"/>
              <a:gd name="connsiteX102" fmla="*/ 7324 w 10277"/>
              <a:gd name="connsiteY102" fmla="*/ 6405 h 10000"/>
              <a:gd name="connsiteX103" fmla="*/ 6377 w 10277"/>
              <a:gd name="connsiteY103" fmla="*/ 6488 h 10000"/>
              <a:gd name="connsiteX104" fmla="*/ 6155 w 10277"/>
              <a:gd name="connsiteY104" fmla="*/ 6463 h 10000"/>
              <a:gd name="connsiteX105" fmla="*/ 6065 w 10277"/>
              <a:gd name="connsiteY105" fmla="*/ 6493 h 10000"/>
              <a:gd name="connsiteX106" fmla="*/ 6035 w 10277"/>
              <a:gd name="connsiteY106" fmla="*/ 6436 h 10000"/>
              <a:gd name="connsiteX107" fmla="*/ 5930 w 10277"/>
              <a:gd name="connsiteY107" fmla="*/ 6384 h 10000"/>
              <a:gd name="connsiteX108" fmla="*/ 5508 w 10277"/>
              <a:gd name="connsiteY108" fmla="*/ 6282 h 10000"/>
              <a:gd name="connsiteX109" fmla="*/ 5259 w 10277"/>
              <a:gd name="connsiteY109" fmla="*/ 6298 h 10000"/>
              <a:gd name="connsiteX110" fmla="*/ 5160 w 10277"/>
              <a:gd name="connsiteY110" fmla="*/ 6270 h 10000"/>
              <a:gd name="connsiteX111" fmla="*/ 5265 w 10277"/>
              <a:gd name="connsiteY111" fmla="*/ 6245 h 10000"/>
              <a:gd name="connsiteX112" fmla="*/ 5344 w 10277"/>
              <a:gd name="connsiteY112" fmla="*/ 6190 h 10000"/>
              <a:gd name="connsiteX113" fmla="*/ 5462 w 10277"/>
              <a:gd name="connsiteY113" fmla="*/ 6208 h 10000"/>
              <a:gd name="connsiteX114" fmla="*/ 5602 w 10277"/>
              <a:gd name="connsiteY114" fmla="*/ 6193 h 10000"/>
              <a:gd name="connsiteX115" fmla="*/ 5813 w 10277"/>
              <a:gd name="connsiteY115" fmla="*/ 6211 h 10000"/>
              <a:gd name="connsiteX116" fmla="*/ 5838 w 10277"/>
              <a:gd name="connsiteY116" fmla="*/ 6204 h 10000"/>
              <a:gd name="connsiteX117" fmla="*/ 6002 w 10277"/>
              <a:gd name="connsiteY117" fmla="*/ 6287 h 10000"/>
              <a:gd name="connsiteX118" fmla="*/ 6122 w 10277"/>
              <a:gd name="connsiteY118" fmla="*/ 6257 h 10000"/>
              <a:gd name="connsiteX119" fmla="*/ 6133 w 10277"/>
              <a:gd name="connsiteY119" fmla="*/ 6229 h 10000"/>
              <a:gd name="connsiteX120" fmla="*/ 6244 w 10277"/>
              <a:gd name="connsiteY120" fmla="*/ 6278 h 10000"/>
              <a:gd name="connsiteX121" fmla="*/ 6391 w 10277"/>
              <a:gd name="connsiteY121" fmla="*/ 6304 h 10000"/>
              <a:gd name="connsiteX122" fmla="*/ 6449 w 10277"/>
              <a:gd name="connsiteY122" fmla="*/ 6255 h 10000"/>
              <a:gd name="connsiteX123" fmla="*/ 6496 w 10277"/>
              <a:gd name="connsiteY123" fmla="*/ 6282 h 10000"/>
              <a:gd name="connsiteX124" fmla="*/ 6565 w 10277"/>
              <a:gd name="connsiteY124" fmla="*/ 6377 h 10000"/>
              <a:gd name="connsiteX125" fmla="*/ 6707 w 10277"/>
              <a:gd name="connsiteY125" fmla="*/ 6399 h 10000"/>
              <a:gd name="connsiteX126" fmla="*/ 7286 w 10277"/>
              <a:gd name="connsiteY126" fmla="*/ 6259 h 10000"/>
              <a:gd name="connsiteX127" fmla="*/ 7571 w 10277"/>
              <a:gd name="connsiteY127" fmla="*/ 6064 h 10000"/>
              <a:gd name="connsiteX128" fmla="*/ 7637 w 10277"/>
              <a:gd name="connsiteY128" fmla="*/ 5921 h 10000"/>
              <a:gd name="connsiteX129" fmla="*/ 7534 w 10277"/>
              <a:gd name="connsiteY129" fmla="*/ 5792 h 10000"/>
              <a:gd name="connsiteX130" fmla="*/ 7318 w 10277"/>
              <a:gd name="connsiteY130" fmla="*/ 5715 h 10000"/>
              <a:gd name="connsiteX131" fmla="*/ 7164 w 10277"/>
              <a:gd name="connsiteY131" fmla="*/ 5589 h 10000"/>
              <a:gd name="connsiteX132" fmla="*/ 7307 w 10277"/>
              <a:gd name="connsiteY132" fmla="*/ 5584 h 10000"/>
              <a:gd name="connsiteX133" fmla="*/ 7297 w 10277"/>
              <a:gd name="connsiteY133" fmla="*/ 5554 h 10000"/>
              <a:gd name="connsiteX134" fmla="*/ 6925 w 10277"/>
              <a:gd name="connsiteY134" fmla="*/ 5465 h 10000"/>
              <a:gd name="connsiteX135" fmla="*/ 6909 w 10277"/>
              <a:gd name="connsiteY135" fmla="*/ 5383 h 10000"/>
              <a:gd name="connsiteX136" fmla="*/ 6837 w 10277"/>
              <a:gd name="connsiteY136" fmla="*/ 5299 h 10000"/>
              <a:gd name="connsiteX137" fmla="*/ 6543 w 10277"/>
              <a:gd name="connsiteY137" fmla="*/ 5314 h 10000"/>
              <a:gd name="connsiteX138" fmla="*/ 6438 w 10277"/>
              <a:gd name="connsiteY138" fmla="*/ 5224 h 10000"/>
              <a:gd name="connsiteX139" fmla="*/ 6377 w 10277"/>
              <a:gd name="connsiteY139" fmla="*/ 5219 h 10000"/>
              <a:gd name="connsiteX140" fmla="*/ 6377 w 10277"/>
              <a:gd name="connsiteY140" fmla="*/ 5256 h 10000"/>
              <a:gd name="connsiteX141" fmla="*/ 6244 w 10277"/>
              <a:gd name="connsiteY141" fmla="*/ 5408 h 10000"/>
              <a:gd name="connsiteX142" fmla="*/ 6101 w 10277"/>
              <a:gd name="connsiteY142" fmla="*/ 5498 h 10000"/>
              <a:gd name="connsiteX143" fmla="*/ 5653 w 10277"/>
              <a:gd name="connsiteY143" fmla="*/ 5651 h 10000"/>
              <a:gd name="connsiteX144" fmla="*/ 5496 w 10277"/>
              <a:gd name="connsiteY144" fmla="*/ 5646 h 10000"/>
              <a:gd name="connsiteX145" fmla="*/ 5281 w 10277"/>
              <a:gd name="connsiteY145" fmla="*/ 5669 h 10000"/>
              <a:gd name="connsiteX146" fmla="*/ 5160 w 10277"/>
              <a:gd name="connsiteY146" fmla="*/ 5646 h 10000"/>
              <a:gd name="connsiteX147" fmla="*/ 5318 w 10277"/>
              <a:gd name="connsiteY147" fmla="*/ 5604 h 10000"/>
              <a:gd name="connsiteX148" fmla="*/ 5524 w 10277"/>
              <a:gd name="connsiteY148" fmla="*/ 5584 h 10000"/>
              <a:gd name="connsiteX149" fmla="*/ 5693 w 10277"/>
              <a:gd name="connsiteY149" fmla="*/ 5513 h 10000"/>
              <a:gd name="connsiteX150" fmla="*/ 5859 w 10277"/>
              <a:gd name="connsiteY150" fmla="*/ 5480 h 10000"/>
              <a:gd name="connsiteX151" fmla="*/ 6171 w 10277"/>
              <a:gd name="connsiteY151" fmla="*/ 5355 h 10000"/>
              <a:gd name="connsiteX152" fmla="*/ 6230 w 10277"/>
              <a:gd name="connsiteY152" fmla="*/ 5274 h 10000"/>
              <a:gd name="connsiteX153" fmla="*/ 6235 w 10277"/>
              <a:gd name="connsiteY153" fmla="*/ 5168 h 10000"/>
              <a:gd name="connsiteX154" fmla="*/ 6092 w 10277"/>
              <a:gd name="connsiteY154" fmla="*/ 5150 h 10000"/>
              <a:gd name="connsiteX155" fmla="*/ 6155 w 10277"/>
              <a:gd name="connsiteY155" fmla="*/ 5086 h 10000"/>
              <a:gd name="connsiteX156" fmla="*/ 6175 w 10277"/>
              <a:gd name="connsiteY156" fmla="*/ 5005 h 10000"/>
              <a:gd name="connsiteX157" fmla="*/ 6115 w 10277"/>
              <a:gd name="connsiteY157" fmla="*/ 4928 h 10000"/>
              <a:gd name="connsiteX158" fmla="*/ 6081 w 10277"/>
              <a:gd name="connsiteY158" fmla="*/ 4367 h 10000"/>
              <a:gd name="connsiteX159" fmla="*/ 6166 w 10277"/>
              <a:gd name="connsiteY159" fmla="*/ 4246 h 10000"/>
              <a:gd name="connsiteX160" fmla="*/ 6144 w 10277"/>
              <a:gd name="connsiteY160" fmla="*/ 4198 h 10000"/>
              <a:gd name="connsiteX161" fmla="*/ 6391 w 10277"/>
              <a:gd name="connsiteY161" fmla="*/ 4269 h 10000"/>
              <a:gd name="connsiteX162" fmla="*/ 6408 w 10277"/>
              <a:gd name="connsiteY162" fmla="*/ 4202 h 10000"/>
              <a:gd name="connsiteX163" fmla="*/ 6354 w 10277"/>
              <a:gd name="connsiteY163" fmla="*/ 4029 h 10000"/>
              <a:gd name="connsiteX164" fmla="*/ 6532 w 10277"/>
              <a:gd name="connsiteY164" fmla="*/ 3719 h 10000"/>
              <a:gd name="connsiteX165" fmla="*/ 6423 w 10277"/>
              <a:gd name="connsiteY165" fmla="*/ 3645 h 10000"/>
              <a:gd name="connsiteX166" fmla="*/ 6381 w 10277"/>
              <a:gd name="connsiteY166" fmla="*/ 3576 h 10000"/>
              <a:gd name="connsiteX167" fmla="*/ 6395 w 10277"/>
              <a:gd name="connsiteY167" fmla="*/ 3463 h 10000"/>
              <a:gd name="connsiteX168" fmla="*/ 6656 w 10277"/>
              <a:gd name="connsiteY168" fmla="*/ 3538 h 10000"/>
              <a:gd name="connsiteX169" fmla="*/ 6665 w 10277"/>
              <a:gd name="connsiteY169" fmla="*/ 3516 h 10000"/>
              <a:gd name="connsiteX170" fmla="*/ 6737 w 10277"/>
              <a:gd name="connsiteY170" fmla="*/ 3497 h 10000"/>
              <a:gd name="connsiteX171" fmla="*/ 6837 w 10277"/>
              <a:gd name="connsiteY171" fmla="*/ 3424 h 10000"/>
              <a:gd name="connsiteX172" fmla="*/ 6854 w 10277"/>
              <a:gd name="connsiteY172" fmla="*/ 3404 h 10000"/>
              <a:gd name="connsiteX173" fmla="*/ 6832 w 10277"/>
              <a:gd name="connsiteY173" fmla="*/ 3377 h 10000"/>
              <a:gd name="connsiteX174" fmla="*/ 6886 w 10277"/>
              <a:gd name="connsiteY174" fmla="*/ 3250 h 10000"/>
              <a:gd name="connsiteX175" fmla="*/ 6822 w 10277"/>
              <a:gd name="connsiteY175" fmla="*/ 3167 h 10000"/>
              <a:gd name="connsiteX176" fmla="*/ 6832 w 10277"/>
              <a:gd name="connsiteY176" fmla="*/ 3101 h 10000"/>
              <a:gd name="connsiteX177" fmla="*/ 6868 w 10277"/>
              <a:gd name="connsiteY177" fmla="*/ 3178 h 10000"/>
              <a:gd name="connsiteX178" fmla="*/ 7011 w 10277"/>
              <a:gd name="connsiteY178" fmla="*/ 3236 h 10000"/>
              <a:gd name="connsiteX179" fmla="*/ 7070 w 10277"/>
              <a:gd name="connsiteY179" fmla="*/ 3229 h 10000"/>
              <a:gd name="connsiteX180" fmla="*/ 7164 w 10277"/>
              <a:gd name="connsiteY180" fmla="*/ 3152 h 10000"/>
              <a:gd name="connsiteX181" fmla="*/ 7265 w 10277"/>
              <a:gd name="connsiteY181" fmla="*/ 3183 h 10000"/>
              <a:gd name="connsiteX182" fmla="*/ 7292 w 10277"/>
              <a:gd name="connsiteY182" fmla="*/ 3122 h 10000"/>
              <a:gd name="connsiteX183" fmla="*/ 7360 w 10277"/>
              <a:gd name="connsiteY183" fmla="*/ 3080 h 10000"/>
              <a:gd name="connsiteX184" fmla="*/ 7175 w 10277"/>
              <a:gd name="connsiteY184" fmla="*/ 3036 h 10000"/>
              <a:gd name="connsiteX185" fmla="*/ 7307 w 10277"/>
              <a:gd name="connsiteY185" fmla="*/ 3045 h 10000"/>
              <a:gd name="connsiteX186" fmla="*/ 7442 w 10277"/>
              <a:gd name="connsiteY186" fmla="*/ 2999 h 10000"/>
              <a:gd name="connsiteX187" fmla="*/ 7437 w 10277"/>
              <a:gd name="connsiteY187" fmla="*/ 2966 h 10000"/>
              <a:gd name="connsiteX188" fmla="*/ 7565 w 10277"/>
              <a:gd name="connsiteY188" fmla="*/ 2936 h 10000"/>
              <a:gd name="connsiteX189" fmla="*/ 7576 w 10277"/>
              <a:gd name="connsiteY189" fmla="*/ 2859 h 10000"/>
              <a:gd name="connsiteX190" fmla="*/ 7676 w 10277"/>
              <a:gd name="connsiteY190" fmla="*/ 2844 h 10000"/>
              <a:gd name="connsiteX191" fmla="*/ 7684 w 10277"/>
              <a:gd name="connsiteY191" fmla="*/ 2754 h 10000"/>
              <a:gd name="connsiteX192" fmla="*/ 7790 w 10277"/>
              <a:gd name="connsiteY192" fmla="*/ 2743 h 10000"/>
              <a:gd name="connsiteX193" fmla="*/ 7953 w 10277"/>
              <a:gd name="connsiteY193" fmla="*/ 2762 h 10000"/>
              <a:gd name="connsiteX194" fmla="*/ 8132 w 10277"/>
              <a:gd name="connsiteY194" fmla="*/ 2690 h 10000"/>
              <a:gd name="connsiteX195" fmla="*/ 8195 w 10277"/>
              <a:gd name="connsiteY195" fmla="*/ 2607 h 10000"/>
              <a:gd name="connsiteX196" fmla="*/ 8417 w 10277"/>
              <a:gd name="connsiteY196" fmla="*/ 2524 h 10000"/>
              <a:gd name="connsiteX197" fmla="*/ 8527 w 10277"/>
              <a:gd name="connsiteY197" fmla="*/ 2575 h 10000"/>
              <a:gd name="connsiteX198" fmla="*/ 8695 w 10277"/>
              <a:gd name="connsiteY198" fmla="*/ 2519 h 10000"/>
              <a:gd name="connsiteX199" fmla="*/ 8736 w 10277"/>
              <a:gd name="connsiteY199" fmla="*/ 2445 h 10000"/>
              <a:gd name="connsiteX200" fmla="*/ 8864 w 10277"/>
              <a:gd name="connsiteY200" fmla="*/ 2396 h 10000"/>
              <a:gd name="connsiteX201" fmla="*/ 8973 w 10277"/>
              <a:gd name="connsiteY201" fmla="*/ 2418 h 10000"/>
              <a:gd name="connsiteX202" fmla="*/ 9042 w 10277"/>
              <a:gd name="connsiteY202" fmla="*/ 2381 h 10000"/>
              <a:gd name="connsiteX203" fmla="*/ 9231 w 10277"/>
              <a:gd name="connsiteY203" fmla="*/ 2330 h 10000"/>
              <a:gd name="connsiteX204" fmla="*/ 9310 w 10277"/>
              <a:gd name="connsiteY204" fmla="*/ 2263 h 10000"/>
              <a:gd name="connsiteX205" fmla="*/ 9417 w 10277"/>
              <a:gd name="connsiteY205" fmla="*/ 2235 h 10000"/>
              <a:gd name="connsiteX206" fmla="*/ 10000 w 10277"/>
              <a:gd name="connsiteY206" fmla="*/ 1832 h 10000"/>
              <a:gd name="connsiteX207" fmla="*/ 10277 w 10277"/>
              <a:gd name="connsiteY207" fmla="*/ 1829 h 10000"/>
              <a:gd name="connsiteX208" fmla="*/ 8680 w 10277"/>
              <a:gd name="connsiteY208" fmla="*/ 1830 h 10000"/>
              <a:gd name="connsiteX209" fmla="*/ 8075 w 10277"/>
              <a:gd name="connsiteY209" fmla="*/ 1603 h 10000"/>
              <a:gd name="connsiteX210" fmla="*/ 8367 w 10277"/>
              <a:gd name="connsiteY210" fmla="*/ 1293 h 10000"/>
              <a:gd name="connsiteX211" fmla="*/ 7497 w 10277"/>
              <a:gd name="connsiteY211" fmla="*/ 923 h 10000"/>
              <a:gd name="connsiteX212" fmla="*/ 7377 w 10277"/>
              <a:gd name="connsiteY212" fmla="*/ 560 h 10000"/>
              <a:gd name="connsiteX213" fmla="*/ 7012 w 10277"/>
              <a:gd name="connsiteY213" fmla="*/ 590 h 10000"/>
              <a:gd name="connsiteX214" fmla="*/ 6413 w 10277"/>
              <a:gd name="connsiteY214" fmla="*/ 332 h 10000"/>
              <a:gd name="connsiteX215" fmla="*/ 5098 w 10277"/>
              <a:gd name="connsiteY215" fmla="*/ 0 h 10000"/>
              <a:gd name="connsiteX216" fmla="*/ 4837 w 10277"/>
              <a:gd name="connsiteY216" fmla="*/ 82 h 10000"/>
              <a:gd name="connsiteX217" fmla="*/ 4671 w 10277"/>
              <a:gd name="connsiteY217" fmla="*/ 78 h 10000"/>
              <a:gd name="connsiteX218" fmla="*/ 4571 w 10277"/>
              <a:gd name="connsiteY218" fmla="*/ 107 h 10000"/>
              <a:gd name="connsiteX219" fmla="*/ 4298 w 10277"/>
              <a:gd name="connsiteY219" fmla="*/ 913 h 10000"/>
              <a:gd name="connsiteX220" fmla="*/ 3668 w 10277"/>
              <a:gd name="connsiteY220" fmla="*/ 1383 h 10000"/>
              <a:gd name="connsiteX221" fmla="*/ 3672 w 10277"/>
              <a:gd name="connsiteY221" fmla="*/ 1457 h 10000"/>
              <a:gd name="connsiteX222" fmla="*/ 3952 w 10277"/>
              <a:gd name="connsiteY222" fmla="*/ 1668 h 10000"/>
              <a:gd name="connsiteX223" fmla="*/ 3861 w 10277"/>
              <a:gd name="connsiteY223" fmla="*/ 1896 h 10000"/>
              <a:gd name="connsiteX224" fmla="*/ 3698 w 10277"/>
              <a:gd name="connsiteY224" fmla="*/ 1979 h 10000"/>
              <a:gd name="connsiteX225" fmla="*/ 3208 w 10277"/>
              <a:gd name="connsiteY225" fmla="*/ 1924 h 10000"/>
              <a:gd name="connsiteX226" fmla="*/ 2871 w 10277"/>
              <a:gd name="connsiteY226" fmla="*/ 1955 h 10000"/>
              <a:gd name="connsiteX227" fmla="*/ 2601 w 10277"/>
              <a:gd name="connsiteY227" fmla="*/ 2023 h 10000"/>
              <a:gd name="connsiteX228" fmla="*/ 2163 w 10277"/>
              <a:gd name="connsiteY228" fmla="*/ 2233 h 10000"/>
              <a:gd name="connsiteX229" fmla="*/ 1931 w 10277"/>
              <a:gd name="connsiteY229" fmla="*/ 2487 h 10000"/>
              <a:gd name="connsiteX230" fmla="*/ 1951 w 10277"/>
              <a:gd name="connsiteY230" fmla="*/ 2629 h 10000"/>
              <a:gd name="connsiteX231" fmla="*/ 2032 w 10277"/>
              <a:gd name="connsiteY231" fmla="*/ 2738 h 10000"/>
              <a:gd name="connsiteX232" fmla="*/ 2093 w 10277"/>
              <a:gd name="connsiteY232" fmla="*/ 2782 h 10000"/>
              <a:gd name="connsiteX233" fmla="*/ 1979 w 10277"/>
              <a:gd name="connsiteY233" fmla="*/ 2852 h 10000"/>
              <a:gd name="connsiteX234" fmla="*/ 1731 w 10277"/>
              <a:gd name="connsiteY234" fmla="*/ 3330 h 10000"/>
              <a:gd name="connsiteX235" fmla="*/ 1779 w 10277"/>
              <a:gd name="connsiteY235" fmla="*/ 3358 h 10000"/>
              <a:gd name="connsiteX236" fmla="*/ 1815 w 10277"/>
              <a:gd name="connsiteY236" fmla="*/ 3479 h 10000"/>
              <a:gd name="connsiteX237" fmla="*/ 1700 w 10277"/>
              <a:gd name="connsiteY237" fmla="*/ 3982 h 10000"/>
              <a:gd name="connsiteX238" fmla="*/ 1815 w 10277"/>
              <a:gd name="connsiteY238" fmla="*/ 4110 h 10000"/>
              <a:gd name="connsiteX239" fmla="*/ 2131 w 10277"/>
              <a:gd name="connsiteY239" fmla="*/ 4251 h 10000"/>
              <a:gd name="connsiteX240" fmla="*/ 2145 w 10277"/>
              <a:gd name="connsiteY240" fmla="*/ 4423 h 10000"/>
              <a:gd name="connsiteX241" fmla="*/ 2010 w 10277"/>
              <a:gd name="connsiteY241" fmla="*/ 4566 h 10000"/>
              <a:gd name="connsiteX242" fmla="*/ 1815 w 10277"/>
              <a:gd name="connsiteY242" fmla="*/ 4652 h 10000"/>
              <a:gd name="connsiteX243" fmla="*/ 1557 w 10277"/>
              <a:gd name="connsiteY243" fmla="*/ 4687 h 10000"/>
              <a:gd name="connsiteX244" fmla="*/ 1490 w 10277"/>
              <a:gd name="connsiteY244" fmla="*/ 4737 h 10000"/>
              <a:gd name="connsiteX245" fmla="*/ 1640 w 10277"/>
              <a:gd name="connsiteY245" fmla="*/ 4855 h 10000"/>
              <a:gd name="connsiteX246" fmla="*/ 1726 w 10277"/>
              <a:gd name="connsiteY246" fmla="*/ 5136 h 10000"/>
              <a:gd name="connsiteX247" fmla="*/ 1531 w 10277"/>
              <a:gd name="connsiteY247" fmla="*/ 5376 h 10000"/>
              <a:gd name="connsiteX248" fmla="*/ 1599 w 10277"/>
              <a:gd name="connsiteY248" fmla="*/ 5451 h 10000"/>
              <a:gd name="connsiteX249" fmla="*/ 1537 w 10277"/>
              <a:gd name="connsiteY249" fmla="*/ 5577 h 10000"/>
              <a:gd name="connsiteX250" fmla="*/ 1412 w 10277"/>
              <a:gd name="connsiteY250" fmla="*/ 5663 h 10000"/>
              <a:gd name="connsiteX251" fmla="*/ 915 w 10277"/>
              <a:gd name="connsiteY251" fmla="*/ 5730 h 10000"/>
              <a:gd name="connsiteX252" fmla="*/ 885 w 10277"/>
              <a:gd name="connsiteY252" fmla="*/ 5846 h 10000"/>
              <a:gd name="connsiteX253" fmla="*/ 617 w 10277"/>
              <a:gd name="connsiteY253" fmla="*/ 6019 h 10000"/>
              <a:gd name="connsiteX254" fmla="*/ 652 w 10277"/>
              <a:gd name="connsiteY254" fmla="*/ 6268 h 10000"/>
              <a:gd name="connsiteX255" fmla="*/ 427 w 10277"/>
              <a:gd name="connsiteY255" fmla="*/ 6587 h 10000"/>
              <a:gd name="connsiteX256" fmla="*/ 274 w 10277"/>
              <a:gd name="connsiteY256" fmla="*/ 6624 h 10000"/>
              <a:gd name="connsiteX257" fmla="*/ 210 w 10277"/>
              <a:gd name="connsiteY257" fmla="*/ 6548 h 10000"/>
              <a:gd name="connsiteX258" fmla="*/ 132 w 10277"/>
              <a:gd name="connsiteY258" fmla="*/ 6663 h 10000"/>
              <a:gd name="connsiteX259" fmla="*/ 183 w 10277"/>
              <a:gd name="connsiteY259" fmla="*/ 6465 h 10000"/>
              <a:gd name="connsiteX260" fmla="*/ 151 w 10277"/>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571 w 10000"/>
              <a:gd name="connsiteY208" fmla="*/ 1727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571 w 10000"/>
              <a:gd name="connsiteY208" fmla="*/ 1727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1 w 10000"/>
              <a:gd name="connsiteY208" fmla="*/ 1668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1 w 10000"/>
              <a:gd name="connsiteY208" fmla="*/ 1668 h 10000"/>
              <a:gd name="connsiteX209" fmla="*/ 8420 w 10000"/>
              <a:gd name="connsiteY209" fmla="*/ 1507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4 w 10000"/>
              <a:gd name="connsiteY208" fmla="*/ 1652 h 10000"/>
              <a:gd name="connsiteX209" fmla="*/ 8420 w 10000"/>
              <a:gd name="connsiteY209" fmla="*/ 1507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4 w 10000"/>
              <a:gd name="connsiteY208" fmla="*/ 1652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729 w 10000"/>
              <a:gd name="connsiteY208" fmla="*/ 1589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349 w 10000"/>
              <a:gd name="connsiteY207" fmla="*/ 1586 h 10000"/>
              <a:gd name="connsiteX208" fmla="*/ 8729 w 10000"/>
              <a:gd name="connsiteY208" fmla="*/ 1589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349 w 10000"/>
              <a:gd name="connsiteY207" fmla="*/ 1586 h 10000"/>
              <a:gd name="connsiteX208" fmla="*/ 8651 w 10000"/>
              <a:gd name="connsiteY208" fmla="*/ 1650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8651 w 10000"/>
              <a:gd name="connsiteY208" fmla="*/ 1650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784 w 10000"/>
              <a:gd name="connsiteY209" fmla="*/ 1639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784 w 10000"/>
              <a:gd name="connsiteY209" fmla="*/ 1639 h 10000"/>
              <a:gd name="connsiteX210" fmla="*/ 8850 w 10000"/>
              <a:gd name="connsiteY210" fmla="*/ 1480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166 w 10000"/>
              <a:gd name="connsiteY158" fmla="*/ 4246 h 10000"/>
              <a:gd name="connsiteX159" fmla="*/ 6144 w 10000"/>
              <a:gd name="connsiteY159" fmla="*/ 4198 h 10000"/>
              <a:gd name="connsiteX160" fmla="*/ 6391 w 10000"/>
              <a:gd name="connsiteY160" fmla="*/ 4269 h 10000"/>
              <a:gd name="connsiteX161" fmla="*/ 6408 w 10000"/>
              <a:gd name="connsiteY161" fmla="*/ 4202 h 10000"/>
              <a:gd name="connsiteX162" fmla="*/ 6354 w 10000"/>
              <a:gd name="connsiteY162" fmla="*/ 4029 h 10000"/>
              <a:gd name="connsiteX163" fmla="*/ 6532 w 10000"/>
              <a:gd name="connsiteY163" fmla="*/ 3719 h 10000"/>
              <a:gd name="connsiteX164" fmla="*/ 6423 w 10000"/>
              <a:gd name="connsiteY164" fmla="*/ 3645 h 10000"/>
              <a:gd name="connsiteX165" fmla="*/ 6381 w 10000"/>
              <a:gd name="connsiteY165" fmla="*/ 3576 h 10000"/>
              <a:gd name="connsiteX166" fmla="*/ 6395 w 10000"/>
              <a:gd name="connsiteY166" fmla="*/ 3463 h 10000"/>
              <a:gd name="connsiteX167" fmla="*/ 6656 w 10000"/>
              <a:gd name="connsiteY167" fmla="*/ 3538 h 10000"/>
              <a:gd name="connsiteX168" fmla="*/ 6665 w 10000"/>
              <a:gd name="connsiteY168" fmla="*/ 3516 h 10000"/>
              <a:gd name="connsiteX169" fmla="*/ 6737 w 10000"/>
              <a:gd name="connsiteY169" fmla="*/ 3497 h 10000"/>
              <a:gd name="connsiteX170" fmla="*/ 6837 w 10000"/>
              <a:gd name="connsiteY170" fmla="*/ 3424 h 10000"/>
              <a:gd name="connsiteX171" fmla="*/ 6854 w 10000"/>
              <a:gd name="connsiteY171" fmla="*/ 3404 h 10000"/>
              <a:gd name="connsiteX172" fmla="*/ 6832 w 10000"/>
              <a:gd name="connsiteY172" fmla="*/ 3377 h 10000"/>
              <a:gd name="connsiteX173" fmla="*/ 6886 w 10000"/>
              <a:gd name="connsiteY173" fmla="*/ 3250 h 10000"/>
              <a:gd name="connsiteX174" fmla="*/ 6822 w 10000"/>
              <a:gd name="connsiteY174" fmla="*/ 3167 h 10000"/>
              <a:gd name="connsiteX175" fmla="*/ 6832 w 10000"/>
              <a:gd name="connsiteY175" fmla="*/ 3101 h 10000"/>
              <a:gd name="connsiteX176" fmla="*/ 6868 w 10000"/>
              <a:gd name="connsiteY176" fmla="*/ 3178 h 10000"/>
              <a:gd name="connsiteX177" fmla="*/ 7011 w 10000"/>
              <a:gd name="connsiteY177" fmla="*/ 3236 h 10000"/>
              <a:gd name="connsiteX178" fmla="*/ 7070 w 10000"/>
              <a:gd name="connsiteY178" fmla="*/ 3229 h 10000"/>
              <a:gd name="connsiteX179" fmla="*/ 7164 w 10000"/>
              <a:gd name="connsiteY179" fmla="*/ 3152 h 10000"/>
              <a:gd name="connsiteX180" fmla="*/ 7265 w 10000"/>
              <a:gd name="connsiteY180" fmla="*/ 3183 h 10000"/>
              <a:gd name="connsiteX181" fmla="*/ 7292 w 10000"/>
              <a:gd name="connsiteY181" fmla="*/ 3122 h 10000"/>
              <a:gd name="connsiteX182" fmla="*/ 7360 w 10000"/>
              <a:gd name="connsiteY182" fmla="*/ 3080 h 10000"/>
              <a:gd name="connsiteX183" fmla="*/ 7175 w 10000"/>
              <a:gd name="connsiteY183" fmla="*/ 3036 h 10000"/>
              <a:gd name="connsiteX184" fmla="*/ 7307 w 10000"/>
              <a:gd name="connsiteY184" fmla="*/ 3045 h 10000"/>
              <a:gd name="connsiteX185" fmla="*/ 7442 w 10000"/>
              <a:gd name="connsiteY185" fmla="*/ 2999 h 10000"/>
              <a:gd name="connsiteX186" fmla="*/ 7437 w 10000"/>
              <a:gd name="connsiteY186" fmla="*/ 2966 h 10000"/>
              <a:gd name="connsiteX187" fmla="*/ 7565 w 10000"/>
              <a:gd name="connsiteY187" fmla="*/ 2936 h 10000"/>
              <a:gd name="connsiteX188" fmla="*/ 7576 w 10000"/>
              <a:gd name="connsiteY188" fmla="*/ 2859 h 10000"/>
              <a:gd name="connsiteX189" fmla="*/ 7676 w 10000"/>
              <a:gd name="connsiteY189" fmla="*/ 2844 h 10000"/>
              <a:gd name="connsiteX190" fmla="*/ 7684 w 10000"/>
              <a:gd name="connsiteY190" fmla="*/ 2754 h 10000"/>
              <a:gd name="connsiteX191" fmla="*/ 7790 w 10000"/>
              <a:gd name="connsiteY191" fmla="*/ 2743 h 10000"/>
              <a:gd name="connsiteX192" fmla="*/ 7953 w 10000"/>
              <a:gd name="connsiteY192" fmla="*/ 2762 h 10000"/>
              <a:gd name="connsiteX193" fmla="*/ 8132 w 10000"/>
              <a:gd name="connsiteY193" fmla="*/ 2690 h 10000"/>
              <a:gd name="connsiteX194" fmla="*/ 8195 w 10000"/>
              <a:gd name="connsiteY194" fmla="*/ 2607 h 10000"/>
              <a:gd name="connsiteX195" fmla="*/ 8417 w 10000"/>
              <a:gd name="connsiteY195" fmla="*/ 2524 h 10000"/>
              <a:gd name="connsiteX196" fmla="*/ 8527 w 10000"/>
              <a:gd name="connsiteY196" fmla="*/ 2575 h 10000"/>
              <a:gd name="connsiteX197" fmla="*/ 8695 w 10000"/>
              <a:gd name="connsiteY197" fmla="*/ 2519 h 10000"/>
              <a:gd name="connsiteX198" fmla="*/ 8736 w 10000"/>
              <a:gd name="connsiteY198" fmla="*/ 2445 h 10000"/>
              <a:gd name="connsiteX199" fmla="*/ 8864 w 10000"/>
              <a:gd name="connsiteY199" fmla="*/ 2396 h 10000"/>
              <a:gd name="connsiteX200" fmla="*/ 8973 w 10000"/>
              <a:gd name="connsiteY200" fmla="*/ 2418 h 10000"/>
              <a:gd name="connsiteX201" fmla="*/ 9042 w 10000"/>
              <a:gd name="connsiteY201" fmla="*/ 2381 h 10000"/>
              <a:gd name="connsiteX202" fmla="*/ 9231 w 10000"/>
              <a:gd name="connsiteY202" fmla="*/ 2330 h 10000"/>
              <a:gd name="connsiteX203" fmla="*/ 9310 w 10000"/>
              <a:gd name="connsiteY203" fmla="*/ 2263 h 10000"/>
              <a:gd name="connsiteX204" fmla="*/ 9417 w 10000"/>
              <a:gd name="connsiteY204" fmla="*/ 2235 h 10000"/>
              <a:gd name="connsiteX205" fmla="*/ 10000 w 10000"/>
              <a:gd name="connsiteY205" fmla="*/ 1832 h 10000"/>
              <a:gd name="connsiteX206" fmla="*/ 9652 w 10000"/>
              <a:gd name="connsiteY206" fmla="*/ 1699 h 10000"/>
              <a:gd name="connsiteX207" fmla="*/ 9147 w 10000"/>
              <a:gd name="connsiteY207" fmla="*/ 1773 h 10000"/>
              <a:gd name="connsiteX208" fmla="*/ 8784 w 10000"/>
              <a:gd name="connsiteY208" fmla="*/ 1639 h 10000"/>
              <a:gd name="connsiteX209" fmla="*/ 8850 w 10000"/>
              <a:gd name="connsiteY209" fmla="*/ 1480 h 10000"/>
              <a:gd name="connsiteX210" fmla="*/ 7497 w 10000"/>
              <a:gd name="connsiteY210" fmla="*/ 923 h 10000"/>
              <a:gd name="connsiteX211" fmla="*/ 7522 w 10000"/>
              <a:gd name="connsiteY211" fmla="*/ 649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144 w 10000"/>
              <a:gd name="connsiteY158" fmla="*/ 4198 h 10000"/>
              <a:gd name="connsiteX159" fmla="*/ 6391 w 10000"/>
              <a:gd name="connsiteY159" fmla="*/ 4269 h 10000"/>
              <a:gd name="connsiteX160" fmla="*/ 6408 w 10000"/>
              <a:gd name="connsiteY160" fmla="*/ 4202 h 10000"/>
              <a:gd name="connsiteX161" fmla="*/ 6354 w 10000"/>
              <a:gd name="connsiteY161" fmla="*/ 4029 h 10000"/>
              <a:gd name="connsiteX162" fmla="*/ 6532 w 10000"/>
              <a:gd name="connsiteY162" fmla="*/ 3719 h 10000"/>
              <a:gd name="connsiteX163" fmla="*/ 6423 w 10000"/>
              <a:gd name="connsiteY163" fmla="*/ 3645 h 10000"/>
              <a:gd name="connsiteX164" fmla="*/ 6381 w 10000"/>
              <a:gd name="connsiteY164" fmla="*/ 3576 h 10000"/>
              <a:gd name="connsiteX165" fmla="*/ 6395 w 10000"/>
              <a:gd name="connsiteY165" fmla="*/ 3463 h 10000"/>
              <a:gd name="connsiteX166" fmla="*/ 6656 w 10000"/>
              <a:gd name="connsiteY166" fmla="*/ 3538 h 10000"/>
              <a:gd name="connsiteX167" fmla="*/ 6665 w 10000"/>
              <a:gd name="connsiteY167" fmla="*/ 3516 h 10000"/>
              <a:gd name="connsiteX168" fmla="*/ 6737 w 10000"/>
              <a:gd name="connsiteY168" fmla="*/ 3497 h 10000"/>
              <a:gd name="connsiteX169" fmla="*/ 6837 w 10000"/>
              <a:gd name="connsiteY169" fmla="*/ 3424 h 10000"/>
              <a:gd name="connsiteX170" fmla="*/ 6854 w 10000"/>
              <a:gd name="connsiteY170" fmla="*/ 3404 h 10000"/>
              <a:gd name="connsiteX171" fmla="*/ 6832 w 10000"/>
              <a:gd name="connsiteY171" fmla="*/ 3377 h 10000"/>
              <a:gd name="connsiteX172" fmla="*/ 6886 w 10000"/>
              <a:gd name="connsiteY172" fmla="*/ 3250 h 10000"/>
              <a:gd name="connsiteX173" fmla="*/ 6822 w 10000"/>
              <a:gd name="connsiteY173" fmla="*/ 3167 h 10000"/>
              <a:gd name="connsiteX174" fmla="*/ 6832 w 10000"/>
              <a:gd name="connsiteY174" fmla="*/ 3101 h 10000"/>
              <a:gd name="connsiteX175" fmla="*/ 6868 w 10000"/>
              <a:gd name="connsiteY175" fmla="*/ 3178 h 10000"/>
              <a:gd name="connsiteX176" fmla="*/ 7011 w 10000"/>
              <a:gd name="connsiteY176" fmla="*/ 3236 h 10000"/>
              <a:gd name="connsiteX177" fmla="*/ 7070 w 10000"/>
              <a:gd name="connsiteY177" fmla="*/ 3229 h 10000"/>
              <a:gd name="connsiteX178" fmla="*/ 7164 w 10000"/>
              <a:gd name="connsiteY178" fmla="*/ 3152 h 10000"/>
              <a:gd name="connsiteX179" fmla="*/ 7265 w 10000"/>
              <a:gd name="connsiteY179" fmla="*/ 3183 h 10000"/>
              <a:gd name="connsiteX180" fmla="*/ 7292 w 10000"/>
              <a:gd name="connsiteY180" fmla="*/ 3122 h 10000"/>
              <a:gd name="connsiteX181" fmla="*/ 7360 w 10000"/>
              <a:gd name="connsiteY181" fmla="*/ 3080 h 10000"/>
              <a:gd name="connsiteX182" fmla="*/ 7175 w 10000"/>
              <a:gd name="connsiteY182" fmla="*/ 3036 h 10000"/>
              <a:gd name="connsiteX183" fmla="*/ 7307 w 10000"/>
              <a:gd name="connsiteY183" fmla="*/ 3045 h 10000"/>
              <a:gd name="connsiteX184" fmla="*/ 7442 w 10000"/>
              <a:gd name="connsiteY184" fmla="*/ 2999 h 10000"/>
              <a:gd name="connsiteX185" fmla="*/ 7437 w 10000"/>
              <a:gd name="connsiteY185" fmla="*/ 2966 h 10000"/>
              <a:gd name="connsiteX186" fmla="*/ 7565 w 10000"/>
              <a:gd name="connsiteY186" fmla="*/ 2936 h 10000"/>
              <a:gd name="connsiteX187" fmla="*/ 7576 w 10000"/>
              <a:gd name="connsiteY187" fmla="*/ 2859 h 10000"/>
              <a:gd name="connsiteX188" fmla="*/ 7676 w 10000"/>
              <a:gd name="connsiteY188" fmla="*/ 2844 h 10000"/>
              <a:gd name="connsiteX189" fmla="*/ 7684 w 10000"/>
              <a:gd name="connsiteY189" fmla="*/ 2754 h 10000"/>
              <a:gd name="connsiteX190" fmla="*/ 7790 w 10000"/>
              <a:gd name="connsiteY190" fmla="*/ 2743 h 10000"/>
              <a:gd name="connsiteX191" fmla="*/ 7953 w 10000"/>
              <a:gd name="connsiteY191" fmla="*/ 2762 h 10000"/>
              <a:gd name="connsiteX192" fmla="*/ 8132 w 10000"/>
              <a:gd name="connsiteY192" fmla="*/ 2690 h 10000"/>
              <a:gd name="connsiteX193" fmla="*/ 8195 w 10000"/>
              <a:gd name="connsiteY193" fmla="*/ 2607 h 10000"/>
              <a:gd name="connsiteX194" fmla="*/ 8417 w 10000"/>
              <a:gd name="connsiteY194" fmla="*/ 2524 h 10000"/>
              <a:gd name="connsiteX195" fmla="*/ 8527 w 10000"/>
              <a:gd name="connsiteY195" fmla="*/ 2575 h 10000"/>
              <a:gd name="connsiteX196" fmla="*/ 8695 w 10000"/>
              <a:gd name="connsiteY196" fmla="*/ 2519 h 10000"/>
              <a:gd name="connsiteX197" fmla="*/ 8736 w 10000"/>
              <a:gd name="connsiteY197" fmla="*/ 2445 h 10000"/>
              <a:gd name="connsiteX198" fmla="*/ 8864 w 10000"/>
              <a:gd name="connsiteY198" fmla="*/ 2396 h 10000"/>
              <a:gd name="connsiteX199" fmla="*/ 8973 w 10000"/>
              <a:gd name="connsiteY199" fmla="*/ 2418 h 10000"/>
              <a:gd name="connsiteX200" fmla="*/ 9042 w 10000"/>
              <a:gd name="connsiteY200" fmla="*/ 2381 h 10000"/>
              <a:gd name="connsiteX201" fmla="*/ 9231 w 10000"/>
              <a:gd name="connsiteY201" fmla="*/ 2330 h 10000"/>
              <a:gd name="connsiteX202" fmla="*/ 9310 w 10000"/>
              <a:gd name="connsiteY202" fmla="*/ 2263 h 10000"/>
              <a:gd name="connsiteX203" fmla="*/ 9417 w 10000"/>
              <a:gd name="connsiteY203" fmla="*/ 2235 h 10000"/>
              <a:gd name="connsiteX204" fmla="*/ 10000 w 10000"/>
              <a:gd name="connsiteY204" fmla="*/ 1832 h 10000"/>
              <a:gd name="connsiteX205" fmla="*/ 9652 w 10000"/>
              <a:gd name="connsiteY205" fmla="*/ 1699 h 10000"/>
              <a:gd name="connsiteX206" fmla="*/ 9147 w 10000"/>
              <a:gd name="connsiteY206" fmla="*/ 1773 h 10000"/>
              <a:gd name="connsiteX207" fmla="*/ 8784 w 10000"/>
              <a:gd name="connsiteY207" fmla="*/ 1639 h 10000"/>
              <a:gd name="connsiteX208" fmla="*/ 8850 w 10000"/>
              <a:gd name="connsiteY208" fmla="*/ 1480 h 10000"/>
              <a:gd name="connsiteX209" fmla="*/ 7497 w 10000"/>
              <a:gd name="connsiteY209" fmla="*/ 923 h 10000"/>
              <a:gd name="connsiteX210" fmla="*/ 7522 w 10000"/>
              <a:gd name="connsiteY210" fmla="*/ 649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391 w 10000"/>
              <a:gd name="connsiteY158" fmla="*/ 4269 h 10000"/>
              <a:gd name="connsiteX159" fmla="*/ 6408 w 10000"/>
              <a:gd name="connsiteY159" fmla="*/ 4202 h 10000"/>
              <a:gd name="connsiteX160" fmla="*/ 6354 w 10000"/>
              <a:gd name="connsiteY160" fmla="*/ 4029 h 10000"/>
              <a:gd name="connsiteX161" fmla="*/ 6532 w 10000"/>
              <a:gd name="connsiteY161" fmla="*/ 3719 h 10000"/>
              <a:gd name="connsiteX162" fmla="*/ 6423 w 10000"/>
              <a:gd name="connsiteY162" fmla="*/ 3645 h 10000"/>
              <a:gd name="connsiteX163" fmla="*/ 6381 w 10000"/>
              <a:gd name="connsiteY163" fmla="*/ 3576 h 10000"/>
              <a:gd name="connsiteX164" fmla="*/ 6395 w 10000"/>
              <a:gd name="connsiteY164" fmla="*/ 3463 h 10000"/>
              <a:gd name="connsiteX165" fmla="*/ 6656 w 10000"/>
              <a:gd name="connsiteY165" fmla="*/ 3538 h 10000"/>
              <a:gd name="connsiteX166" fmla="*/ 6665 w 10000"/>
              <a:gd name="connsiteY166" fmla="*/ 3516 h 10000"/>
              <a:gd name="connsiteX167" fmla="*/ 6737 w 10000"/>
              <a:gd name="connsiteY167" fmla="*/ 3497 h 10000"/>
              <a:gd name="connsiteX168" fmla="*/ 6837 w 10000"/>
              <a:gd name="connsiteY168" fmla="*/ 3424 h 10000"/>
              <a:gd name="connsiteX169" fmla="*/ 6854 w 10000"/>
              <a:gd name="connsiteY169" fmla="*/ 3404 h 10000"/>
              <a:gd name="connsiteX170" fmla="*/ 6832 w 10000"/>
              <a:gd name="connsiteY170" fmla="*/ 3377 h 10000"/>
              <a:gd name="connsiteX171" fmla="*/ 6886 w 10000"/>
              <a:gd name="connsiteY171" fmla="*/ 3250 h 10000"/>
              <a:gd name="connsiteX172" fmla="*/ 6822 w 10000"/>
              <a:gd name="connsiteY172" fmla="*/ 3167 h 10000"/>
              <a:gd name="connsiteX173" fmla="*/ 6832 w 10000"/>
              <a:gd name="connsiteY173" fmla="*/ 3101 h 10000"/>
              <a:gd name="connsiteX174" fmla="*/ 6868 w 10000"/>
              <a:gd name="connsiteY174" fmla="*/ 3178 h 10000"/>
              <a:gd name="connsiteX175" fmla="*/ 7011 w 10000"/>
              <a:gd name="connsiteY175" fmla="*/ 3236 h 10000"/>
              <a:gd name="connsiteX176" fmla="*/ 7070 w 10000"/>
              <a:gd name="connsiteY176" fmla="*/ 3229 h 10000"/>
              <a:gd name="connsiteX177" fmla="*/ 7164 w 10000"/>
              <a:gd name="connsiteY177" fmla="*/ 3152 h 10000"/>
              <a:gd name="connsiteX178" fmla="*/ 7265 w 10000"/>
              <a:gd name="connsiteY178" fmla="*/ 3183 h 10000"/>
              <a:gd name="connsiteX179" fmla="*/ 7292 w 10000"/>
              <a:gd name="connsiteY179" fmla="*/ 3122 h 10000"/>
              <a:gd name="connsiteX180" fmla="*/ 7360 w 10000"/>
              <a:gd name="connsiteY180" fmla="*/ 3080 h 10000"/>
              <a:gd name="connsiteX181" fmla="*/ 7175 w 10000"/>
              <a:gd name="connsiteY181" fmla="*/ 3036 h 10000"/>
              <a:gd name="connsiteX182" fmla="*/ 7307 w 10000"/>
              <a:gd name="connsiteY182" fmla="*/ 3045 h 10000"/>
              <a:gd name="connsiteX183" fmla="*/ 7442 w 10000"/>
              <a:gd name="connsiteY183" fmla="*/ 2999 h 10000"/>
              <a:gd name="connsiteX184" fmla="*/ 7437 w 10000"/>
              <a:gd name="connsiteY184" fmla="*/ 2966 h 10000"/>
              <a:gd name="connsiteX185" fmla="*/ 7565 w 10000"/>
              <a:gd name="connsiteY185" fmla="*/ 2936 h 10000"/>
              <a:gd name="connsiteX186" fmla="*/ 7576 w 10000"/>
              <a:gd name="connsiteY186" fmla="*/ 2859 h 10000"/>
              <a:gd name="connsiteX187" fmla="*/ 7676 w 10000"/>
              <a:gd name="connsiteY187" fmla="*/ 2844 h 10000"/>
              <a:gd name="connsiteX188" fmla="*/ 7684 w 10000"/>
              <a:gd name="connsiteY188" fmla="*/ 2754 h 10000"/>
              <a:gd name="connsiteX189" fmla="*/ 7790 w 10000"/>
              <a:gd name="connsiteY189" fmla="*/ 2743 h 10000"/>
              <a:gd name="connsiteX190" fmla="*/ 7953 w 10000"/>
              <a:gd name="connsiteY190" fmla="*/ 2762 h 10000"/>
              <a:gd name="connsiteX191" fmla="*/ 8132 w 10000"/>
              <a:gd name="connsiteY191" fmla="*/ 2690 h 10000"/>
              <a:gd name="connsiteX192" fmla="*/ 8195 w 10000"/>
              <a:gd name="connsiteY192" fmla="*/ 2607 h 10000"/>
              <a:gd name="connsiteX193" fmla="*/ 8417 w 10000"/>
              <a:gd name="connsiteY193" fmla="*/ 2524 h 10000"/>
              <a:gd name="connsiteX194" fmla="*/ 8527 w 10000"/>
              <a:gd name="connsiteY194" fmla="*/ 2575 h 10000"/>
              <a:gd name="connsiteX195" fmla="*/ 8695 w 10000"/>
              <a:gd name="connsiteY195" fmla="*/ 2519 h 10000"/>
              <a:gd name="connsiteX196" fmla="*/ 8736 w 10000"/>
              <a:gd name="connsiteY196" fmla="*/ 2445 h 10000"/>
              <a:gd name="connsiteX197" fmla="*/ 8864 w 10000"/>
              <a:gd name="connsiteY197" fmla="*/ 2396 h 10000"/>
              <a:gd name="connsiteX198" fmla="*/ 8973 w 10000"/>
              <a:gd name="connsiteY198" fmla="*/ 2418 h 10000"/>
              <a:gd name="connsiteX199" fmla="*/ 9042 w 10000"/>
              <a:gd name="connsiteY199" fmla="*/ 2381 h 10000"/>
              <a:gd name="connsiteX200" fmla="*/ 9231 w 10000"/>
              <a:gd name="connsiteY200" fmla="*/ 2330 h 10000"/>
              <a:gd name="connsiteX201" fmla="*/ 9310 w 10000"/>
              <a:gd name="connsiteY201" fmla="*/ 2263 h 10000"/>
              <a:gd name="connsiteX202" fmla="*/ 9417 w 10000"/>
              <a:gd name="connsiteY202" fmla="*/ 2235 h 10000"/>
              <a:gd name="connsiteX203" fmla="*/ 10000 w 10000"/>
              <a:gd name="connsiteY203" fmla="*/ 1832 h 10000"/>
              <a:gd name="connsiteX204" fmla="*/ 9652 w 10000"/>
              <a:gd name="connsiteY204" fmla="*/ 1699 h 10000"/>
              <a:gd name="connsiteX205" fmla="*/ 9147 w 10000"/>
              <a:gd name="connsiteY205" fmla="*/ 1773 h 10000"/>
              <a:gd name="connsiteX206" fmla="*/ 8784 w 10000"/>
              <a:gd name="connsiteY206" fmla="*/ 1639 h 10000"/>
              <a:gd name="connsiteX207" fmla="*/ 8850 w 10000"/>
              <a:gd name="connsiteY207" fmla="*/ 1480 h 10000"/>
              <a:gd name="connsiteX208" fmla="*/ 7497 w 10000"/>
              <a:gd name="connsiteY208" fmla="*/ 923 h 10000"/>
              <a:gd name="connsiteX209" fmla="*/ 7522 w 10000"/>
              <a:gd name="connsiteY209" fmla="*/ 649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391 w 10000"/>
              <a:gd name="connsiteY158" fmla="*/ 4269 h 10000"/>
              <a:gd name="connsiteX159" fmla="*/ 6354 w 10000"/>
              <a:gd name="connsiteY159" fmla="*/ 4029 h 10000"/>
              <a:gd name="connsiteX160" fmla="*/ 6532 w 10000"/>
              <a:gd name="connsiteY160" fmla="*/ 3719 h 10000"/>
              <a:gd name="connsiteX161" fmla="*/ 6423 w 10000"/>
              <a:gd name="connsiteY161" fmla="*/ 3645 h 10000"/>
              <a:gd name="connsiteX162" fmla="*/ 6381 w 10000"/>
              <a:gd name="connsiteY162" fmla="*/ 3576 h 10000"/>
              <a:gd name="connsiteX163" fmla="*/ 6395 w 10000"/>
              <a:gd name="connsiteY163" fmla="*/ 3463 h 10000"/>
              <a:gd name="connsiteX164" fmla="*/ 6656 w 10000"/>
              <a:gd name="connsiteY164" fmla="*/ 3538 h 10000"/>
              <a:gd name="connsiteX165" fmla="*/ 6665 w 10000"/>
              <a:gd name="connsiteY165" fmla="*/ 3516 h 10000"/>
              <a:gd name="connsiteX166" fmla="*/ 6737 w 10000"/>
              <a:gd name="connsiteY166" fmla="*/ 3497 h 10000"/>
              <a:gd name="connsiteX167" fmla="*/ 6837 w 10000"/>
              <a:gd name="connsiteY167" fmla="*/ 3424 h 10000"/>
              <a:gd name="connsiteX168" fmla="*/ 6854 w 10000"/>
              <a:gd name="connsiteY168" fmla="*/ 3404 h 10000"/>
              <a:gd name="connsiteX169" fmla="*/ 6832 w 10000"/>
              <a:gd name="connsiteY169" fmla="*/ 3377 h 10000"/>
              <a:gd name="connsiteX170" fmla="*/ 6886 w 10000"/>
              <a:gd name="connsiteY170" fmla="*/ 3250 h 10000"/>
              <a:gd name="connsiteX171" fmla="*/ 6822 w 10000"/>
              <a:gd name="connsiteY171" fmla="*/ 3167 h 10000"/>
              <a:gd name="connsiteX172" fmla="*/ 6832 w 10000"/>
              <a:gd name="connsiteY172" fmla="*/ 3101 h 10000"/>
              <a:gd name="connsiteX173" fmla="*/ 6868 w 10000"/>
              <a:gd name="connsiteY173" fmla="*/ 3178 h 10000"/>
              <a:gd name="connsiteX174" fmla="*/ 7011 w 10000"/>
              <a:gd name="connsiteY174" fmla="*/ 3236 h 10000"/>
              <a:gd name="connsiteX175" fmla="*/ 7070 w 10000"/>
              <a:gd name="connsiteY175" fmla="*/ 3229 h 10000"/>
              <a:gd name="connsiteX176" fmla="*/ 7164 w 10000"/>
              <a:gd name="connsiteY176" fmla="*/ 3152 h 10000"/>
              <a:gd name="connsiteX177" fmla="*/ 7265 w 10000"/>
              <a:gd name="connsiteY177" fmla="*/ 3183 h 10000"/>
              <a:gd name="connsiteX178" fmla="*/ 7292 w 10000"/>
              <a:gd name="connsiteY178" fmla="*/ 3122 h 10000"/>
              <a:gd name="connsiteX179" fmla="*/ 7360 w 10000"/>
              <a:gd name="connsiteY179" fmla="*/ 3080 h 10000"/>
              <a:gd name="connsiteX180" fmla="*/ 7175 w 10000"/>
              <a:gd name="connsiteY180" fmla="*/ 3036 h 10000"/>
              <a:gd name="connsiteX181" fmla="*/ 7307 w 10000"/>
              <a:gd name="connsiteY181" fmla="*/ 3045 h 10000"/>
              <a:gd name="connsiteX182" fmla="*/ 7442 w 10000"/>
              <a:gd name="connsiteY182" fmla="*/ 2999 h 10000"/>
              <a:gd name="connsiteX183" fmla="*/ 7437 w 10000"/>
              <a:gd name="connsiteY183" fmla="*/ 2966 h 10000"/>
              <a:gd name="connsiteX184" fmla="*/ 7565 w 10000"/>
              <a:gd name="connsiteY184" fmla="*/ 2936 h 10000"/>
              <a:gd name="connsiteX185" fmla="*/ 7576 w 10000"/>
              <a:gd name="connsiteY185" fmla="*/ 2859 h 10000"/>
              <a:gd name="connsiteX186" fmla="*/ 7676 w 10000"/>
              <a:gd name="connsiteY186" fmla="*/ 2844 h 10000"/>
              <a:gd name="connsiteX187" fmla="*/ 7684 w 10000"/>
              <a:gd name="connsiteY187" fmla="*/ 2754 h 10000"/>
              <a:gd name="connsiteX188" fmla="*/ 7790 w 10000"/>
              <a:gd name="connsiteY188" fmla="*/ 2743 h 10000"/>
              <a:gd name="connsiteX189" fmla="*/ 7953 w 10000"/>
              <a:gd name="connsiteY189" fmla="*/ 2762 h 10000"/>
              <a:gd name="connsiteX190" fmla="*/ 8132 w 10000"/>
              <a:gd name="connsiteY190" fmla="*/ 2690 h 10000"/>
              <a:gd name="connsiteX191" fmla="*/ 8195 w 10000"/>
              <a:gd name="connsiteY191" fmla="*/ 2607 h 10000"/>
              <a:gd name="connsiteX192" fmla="*/ 8417 w 10000"/>
              <a:gd name="connsiteY192" fmla="*/ 2524 h 10000"/>
              <a:gd name="connsiteX193" fmla="*/ 8527 w 10000"/>
              <a:gd name="connsiteY193" fmla="*/ 2575 h 10000"/>
              <a:gd name="connsiteX194" fmla="*/ 8695 w 10000"/>
              <a:gd name="connsiteY194" fmla="*/ 2519 h 10000"/>
              <a:gd name="connsiteX195" fmla="*/ 8736 w 10000"/>
              <a:gd name="connsiteY195" fmla="*/ 2445 h 10000"/>
              <a:gd name="connsiteX196" fmla="*/ 8864 w 10000"/>
              <a:gd name="connsiteY196" fmla="*/ 2396 h 10000"/>
              <a:gd name="connsiteX197" fmla="*/ 8973 w 10000"/>
              <a:gd name="connsiteY197" fmla="*/ 2418 h 10000"/>
              <a:gd name="connsiteX198" fmla="*/ 9042 w 10000"/>
              <a:gd name="connsiteY198" fmla="*/ 2381 h 10000"/>
              <a:gd name="connsiteX199" fmla="*/ 9231 w 10000"/>
              <a:gd name="connsiteY199" fmla="*/ 2330 h 10000"/>
              <a:gd name="connsiteX200" fmla="*/ 9310 w 10000"/>
              <a:gd name="connsiteY200" fmla="*/ 2263 h 10000"/>
              <a:gd name="connsiteX201" fmla="*/ 9417 w 10000"/>
              <a:gd name="connsiteY201" fmla="*/ 2235 h 10000"/>
              <a:gd name="connsiteX202" fmla="*/ 10000 w 10000"/>
              <a:gd name="connsiteY202" fmla="*/ 1832 h 10000"/>
              <a:gd name="connsiteX203" fmla="*/ 9652 w 10000"/>
              <a:gd name="connsiteY203" fmla="*/ 1699 h 10000"/>
              <a:gd name="connsiteX204" fmla="*/ 9147 w 10000"/>
              <a:gd name="connsiteY204" fmla="*/ 1773 h 10000"/>
              <a:gd name="connsiteX205" fmla="*/ 8784 w 10000"/>
              <a:gd name="connsiteY205" fmla="*/ 1639 h 10000"/>
              <a:gd name="connsiteX206" fmla="*/ 8850 w 10000"/>
              <a:gd name="connsiteY206" fmla="*/ 1480 h 10000"/>
              <a:gd name="connsiteX207" fmla="*/ 7497 w 10000"/>
              <a:gd name="connsiteY207" fmla="*/ 923 h 10000"/>
              <a:gd name="connsiteX208" fmla="*/ 7522 w 10000"/>
              <a:gd name="connsiteY208" fmla="*/ 649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354 w 10000"/>
              <a:gd name="connsiteY158" fmla="*/ 4029 h 10000"/>
              <a:gd name="connsiteX159" fmla="*/ 6532 w 10000"/>
              <a:gd name="connsiteY159" fmla="*/ 3719 h 10000"/>
              <a:gd name="connsiteX160" fmla="*/ 6423 w 10000"/>
              <a:gd name="connsiteY160" fmla="*/ 3645 h 10000"/>
              <a:gd name="connsiteX161" fmla="*/ 6381 w 10000"/>
              <a:gd name="connsiteY161" fmla="*/ 3576 h 10000"/>
              <a:gd name="connsiteX162" fmla="*/ 6395 w 10000"/>
              <a:gd name="connsiteY162" fmla="*/ 3463 h 10000"/>
              <a:gd name="connsiteX163" fmla="*/ 6656 w 10000"/>
              <a:gd name="connsiteY163" fmla="*/ 3538 h 10000"/>
              <a:gd name="connsiteX164" fmla="*/ 6665 w 10000"/>
              <a:gd name="connsiteY164" fmla="*/ 3516 h 10000"/>
              <a:gd name="connsiteX165" fmla="*/ 6737 w 10000"/>
              <a:gd name="connsiteY165" fmla="*/ 3497 h 10000"/>
              <a:gd name="connsiteX166" fmla="*/ 6837 w 10000"/>
              <a:gd name="connsiteY166" fmla="*/ 3424 h 10000"/>
              <a:gd name="connsiteX167" fmla="*/ 6854 w 10000"/>
              <a:gd name="connsiteY167" fmla="*/ 3404 h 10000"/>
              <a:gd name="connsiteX168" fmla="*/ 6832 w 10000"/>
              <a:gd name="connsiteY168" fmla="*/ 3377 h 10000"/>
              <a:gd name="connsiteX169" fmla="*/ 6886 w 10000"/>
              <a:gd name="connsiteY169" fmla="*/ 3250 h 10000"/>
              <a:gd name="connsiteX170" fmla="*/ 6822 w 10000"/>
              <a:gd name="connsiteY170" fmla="*/ 3167 h 10000"/>
              <a:gd name="connsiteX171" fmla="*/ 6832 w 10000"/>
              <a:gd name="connsiteY171" fmla="*/ 3101 h 10000"/>
              <a:gd name="connsiteX172" fmla="*/ 6868 w 10000"/>
              <a:gd name="connsiteY172" fmla="*/ 3178 h 10000"/>
              <a:gd name="connsiteX173" fmla="*/ 7011 w 10000"/>
              <a:gd name="connsiteY173" fmla="*/ 3236 h 10000"/>
              <a:gd name="connsiteX174" fmla="*/ 7070 w 10000"/>
              <a:gd name="connsiteY174" fmla="*/ 3229 h 10000"/>
              <a:gd name="connsiteX175" fmla="*/ 7164 w 10000"/>
              <a:gd name="connsiteY175" fmla="*/ 3152 h 10000"/>
              <a:gd name="connsiteX176" fmla="*/ 7265 w 10000"/>
              <a:gd name="connsiteY176" fmla="*/ 3183 h 10000"/>
              <a:gd name="connsiteX177" fmla="*/ 7292 w 10000"/>
              <a:gd name="connsiteY177" fmla="*/ 3122 h 10000"/>
              <a:gd name="connsiteX178" fmla="*/ 7360 w 10000"/>
              <a:gd name="connsiteY178" fmla="*/ 3080 h 10000"/>
              <a:gd name="connsiteX179" fmla="*/ 7175 w 10000"/>
              <a:gd name="connsiteY179" fmla="*/ 3036 h 10000"/>
              <a:gd name="connsiteX180" fmla="*/ 7307 w 10000"/>
              <a:gd name="connsiteY180" fmla="*/ 3045 h 10000"/>
              <a:gd name="connsiteX181" fmla="*/ 7442 w 10000"/>
              <a:gd name="connsiteY181" fmla="*/ 2999 h 10000"/>
              <a:gd name="connsiteX182" fmla="*/ 7437 w 10000"/>
              <a:gd name="connsiteY182" fmla="*/ 2966 h 10000"/>
              <a:gd name="connsiteX183" fmla="*/ 7565 w 10000"/>
              <a:gd name="connsiteY183" fmla="*/ 2936 h 10000"/>
              <a:gd name="connsiteX184" fmla="*/ 7576 w 10000"/>
              <a:gd name="connsiteY184" fmla="*/ 2859 h 10000"/>
              <a:gd name="connsiteX185" fmla="*/ 7676 w 10000"/>
              <a:gd name="connsiteY185" fmla="*/ 2844 h 10000"/>
              <a:gd name="connsiteX186" fmla="*/ 7684 w 10000"/>
              <a:gd name="connsiteY186" fmla="*/ 2754 h 10000"/>
              <a:gd name="connsiteX187" fmla="*/ 7790 w 10000"/>
              <a:gd name="connsiteY187" fmla="*/ 2743 h 10000"/>
              <a:gd name="connsiteX188" fmla="*/ 7953 w 10000"/>
              <a:gd name="connsiteY188" fmla="*/ 2762 h 10000"/>
              <a:gd name="connsiteX189" fmla="*/ 8132 w 10000"/>
              <a:gd name="connsiteY189" fmla="*/ 2690 h 10000"/>
              <a:gd name="connsiteX190" fmla="*/ 8195 w 10000"/>
              <a:gd name="connsiteY190" fmla="*/ 2607 h 10000"/>
              <a:gd name="connsiteX191" fmla="*/ 8417 w 10000"/>
              <a:gd name="connsiteY191" fmla="*/ 2524 h 10000"/>
              <a:gd name="connsiteX192" fmla="*/ 8527 w 10000"/>
              <a:gd name="connsiteY192" fmla="*/ 2575 h 10000"/>
              <a:gd name="connsiteX193" fmla="*/ 8695 w 10000"/>
              <a:gd name="connsiteY193" fmla="*/ 2519 h 10000"/>
              <a:gd name="connsiteX194" fmla="*/ 8736 w 10000"/>
              <a:gd name="connsiteY194" fmla="*/ 2445 h 10000"/>
              <a:gd name="connsiteX195" fmla="*/ 8864 w 10000"/>
              <a:gd name="connsiteY195" fmla="*/ 2396 h 10000"/>
              <a:gd name="connsiteX196" fmla="*/ 8973 w 10000"/>
              <a:gd name="connsiteY196" fmla="*/ 2418 h 10000"/>
              <a:gd name="connsiteX197" fmla="*/ 9042 w 10000"/>
              <a:gd name="connsiteY197" fmla="*/ 2381 h 10000"/>
              <a:gd name="connsiteX198" fmla="*/ 9231 w 10000"/>
              <a:gd name="connsiteY198" fmla="*/ 2330 h 10000"/>
              <a:gd name="connsiteX199" fmla="*/ 9310 w 10000"/>
              <a:gd name="connsiteY199" fmla="*/ 2263 h 10000"/>
              <a:gd name="connsiteX200" fmla="*/ 9417 w 10000"/>
              <a:gd name="connsiteY200" fmla="*/ 2235 h 10000"/>
              <a:gd name="connsiteX201" fmla="*/ 10000 w 10000"/>
              <a:gd name="connsiteY201" fmla="*/ 1832 h 10000"/>
              <a:gd name="connsiteX202" fmla="*/ 9652 w 10000"/>
              <a:gd name="connsiteY202" fmla="*/ 1699 h 10000"/>
              <a:gd name="connsiteX203" fmla="*/ 9147 w 10000"/>
              <a:gd name="connsiteY203" fmla="*/ 1773 h 10000"/>
              <a:gd name="connsiteX204" fmla="*/ 8784 w 10000"/>
              <a:gd name="connsiteY204" fmla="*/ 1639 h 10000"/>
              <a:gd name="connsiteX205" fmla="*/ 8850 w 10000"/>
              <a:gd name="connsiteY205" fmla="*/ 1480 h 10000"/>
              <a:gd name="connsiteX206" fmla="*/ 7497 w 10000"/>
              <a:gd name="connsiteY206" fmla="*/ 923 h 10000"/>
              <a:gd name="connsiteX207" fmla="*/ 7522 w 10000"/>
              <a:gd name="connsiteY207" fmla="*/ 649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532 w 10000"/>
              <a:gd name="connsiteY158" fmla="*/ 3719 h 10000"/>
              <a:gd name="connsiteX159" fmla="*/ 6423 w 10000"/>
              <a:gd name="connsiteY159" fmla="*/ 3645 h 10000"/>
              <a:gd name="connsiteX160" fmla="*/ 6381 w 10000"/>
              <a:gd name="connsiteY160" fmla="*/ 3576 h 10000"/>
              <a:gd name="connsiteX161" fmla="*/ 6395 w 10000"/>
              <a:gd name="connsiteY161" fmla="*/ 3463 h 10000"/>
              <a:gd name="connsiteX162" fmla="*/ 6656 w 10000"/>
              <a:gd name="connsiteY162" fmla="*/ 3538 h 10000"/>
              <a:gd name="connsiteX163" fmla="*/ 6665 w 10000"/>
              <a:gd name="connsiteY163" fmla="*/ 3516 h 10000"/>
              <a:gd name="connsiteX164" fmla="*/ 6737 w 10000"/>
              <a:gd name="connsiteY164" fmla="*/ 3497 h 10000"/>
              <a:gd name="connsiteX165" fmla="*/ 6837 w 10000"/>
              <a:gd name="connsiteY165" fmla="*/ 3424 h 10000"/>
              <a:gd name="connsiteX166" fmla="*/ 6854 w 10000"/>
              <a:gd name="connsiteY166" fmla="*/ 3404 h 10000"/>
              <a:gd name="connsiteX167" fmla="*/ 6832 w 10000"/>
              <a:gd name="connsiteY167" fmla="*/ 3377 h 10000"/>
              <a:gd name="connsiteX168" fmla="*/ 6886 w 10000"/>
              <a:gd name="connsiteY168" fmla="*/ 3250 h 10000"/>
              <a:gd name="connsiteX169" fmla="*/ 6822 w 10000"/>
              <a:gd name="connsiteY169" fmla="*/ 3167 h 10000"/>
              <a:gd name="connsiteX170" fmla="*/ 6832 w 10000"/>
              <a:gd name="connsiteY170" fmla="*/ 3101 h 10000"/>
              <a:gd name="connsiteX171" fmla="*/ 6868 w 10000"/>
              <a:gd name="connsiteY171" fmla="*/ 3178 h 10000"/>
              <a:gd name="connsiteX172" fmla="*/ 7011 w 10000"/>
              <a:gd name="connsiteY172" fmla="*/ 3236 h 10000"/>
              <a:gd name="connsiteX173" fmla="*/ 7070 w 10000"/>
              <a:gd name="connsiteY173" fmla="*/ 3229 h 10000"/>
              <a:gd name="connsiteX174" fmla="*/ 7164 w 10000"/>
              <a:gd name="connsiteY174" fmla="*/ 3152 h 10000"/>
              <a:gd name="connsiteX175" fmla="*/ 7265 w 10000"/>
              <a:gd name="connsiteY175" fmla="*/ 3183 h 10000"/>
              <a:gd name="connsiteX176" fmla="*/ 7292 w 10000"/>
              <a:gd name="connsiteY176" fmla="*/ 3122 h 10000"/>
              <a:gd name="connsiteX177" fmla="*/ 7360 w 10000"/>
              <a:gd name="connsiteY177" fmla="*/ 3080 h 10000"/>
              <a:gd name="connsiteX178" fmla="*/ 7175 w 10000"/>
              <a:gd name="connsiteY178" fmla="*/ 3036 h 10000"/>
              <a:gd name="connsiteX179" fmla="*/ 7307 w 10000"/>
              <a:gd name="connsiteY179" fmla="*/ 3045 h 10000"/>
              <a:gd name="connsiteX180" fmla="*/ 7442 w 10000"/>
              <a:gd name="connsiteY180" fmla="*/ 2999 h 10000"/>
              <a:gd name="connsiteX181" fmla="*/ 7437 w 10000"/>
              <a:gd name="connsiteY181" fmla="*/ 2966 h 10000"/>
              <a:gd name="connsiteX182" fmla="*/ 7565 w 10000"/>
              <a:gd name="connsiteY182" fmla="*/ 2936 h 10000"/>
              <a:gd name="connsiteX183" fmla="*/ 7576 w 10000"/>
              <a:gd name="connsiteY183" fmla="*/ 2859 h 10000"/>
              <a:gd name="connsiteX184" fmla="*/ 7676 w 10000"/>
              <a:gd name="connsiteY184" fmla="*/ 2844 h 10000"/>
              <a:gd name="connsiteX185" fmla="*/ 7684 w 10000"/>
              <a:gd name="connsiteY185" fmla="*/ 2754 h 10000"/>
              <a:gd name="connsiteX186" fmla="*/ 7790 w 10000"/>
              <a:gd name="connsiteY186" fmla="*/ 2743 h 10000"/>
              <a:gd name="connsiteX187" fmla="*/ 7953 w 10000"/>
              <a:gd name="connsiteY187" fmla="*/ 2762 h 10000"/>
              <a:gd name="connsiteX188" fmla="*/ 8132 w 10000"/>
              <a:gd name="connsiteY188" fmla="*/ 2690 h 10000"/>
              <a:gd name="connsiteX189" fmla="*/ 8195 w 10000"/>
              <a:gd name="connsiteY189" fmla="*/ 2607 h 10000"/>
              <a:gd name="connsiteX190" fmla="*/ 8417 w 10000"/>
              <a:gd name="connsiteY190" fmla="*/ 2524 h 10000"/>
              <a:gd name="connsiteX191" fmla="*/ 8527 w 10000"/>
              <a:gd name="connsiteY191" fmla="*/ 2575 h 10000"/>
              <a:gd name="connsiteX192" fmla="*/ 8695 w 10000"/>
              <a:gd name="connsiteY192" fmla="*/ 2519 h 10000"/>
              <a:gd name="connsiteX193" fmla="*/ 8736 w 10000"/>
              <a:gd name="connsiteY193" fmla="*/ 2445 h 10000"/>
              <a:gd name="connsiteX194" fmla="*/ 8864 w 10000"/>
              <a:gd name="connsiteY194" fmla="*/ 2396 h 10000"/>
              <a:gd name="connsiteX195" fmla="*/ 8973 w 10000"/>
              <a:gd name="connsiteY195" fmla="*/ 2418 h 10000"/>
              <a:gd name="connsiteX196" fmla="*/ 9042 w 10000"/>
              <a:gd name="connsiteY196" fmla="*/ 2381 h 10000"/>
              <a:gd name="connsiteX197" fmla="*/ 9231 w 10000"/>
              <a:gd name="connsiteY197" fmla="*/ 2330 h 10000"/>
              <a:gd name="connsiteX198" fmla="*/ 9310 w 10000"/>
              <a:gd name="connsiteY198" fmla="*/ 2263 h 10000"/>
              <a:gd name="connsiteX199" fmla="*/ 9417 w 10000"/>
              <a:gd name="connsiteY199" fmla="*/ 2235 h 10000"/>
              <a:gd name="connsiteX200" fmla="*/ 10000 w 10000"/>
              <a:gd name="connsiteY200" fmla="*/ 1832 h 10000"/>
              <a:gd name="connsiteX201" fmla="*/ 9652 w 10000"/>
              <a:gd name="connsiteY201" fmla="*/ 1699 h 10000"/>
              <a:gd name="connsiteX202" fmla="*/ 9147 w 10000"/>
              <a:gd name="connsiteY202" fmla="*/ 1773 h 10000"/>
              <a:gd name="connsiteX203" fmla="*/ 8784 w 10000"/>
              <a:gd name="connsiteY203" fmla="*/ 1639 h 10000"/>
              <a:gd name="connsiteX204" fmla="*/ 8850 w 10000"/>
              <a:gd name="connsiteY204" fmla="*/ 1480 h 10000"/>
              <a:gd name="connsiteX205" fmla="*/ 7497 w 10000"/>
              <a:gd name="connsiteY205" fmla="*/ 923 h 10000"/>
              <a:gd name="connsiteX206" fmla="*/ 7522 w 10000"/>
              <a:gd name="connsiteY206" fmla="*/ 649 h 10000"/>
              <a:gd name="connsiteX207" fmla="*/ 7012 w 10000"/>
              <a:gd name="connsiteY207" fmla="*/ 590 h 10000"/>
              <a:gd name="connsiteX208" fmla="*/ 6413 w 10000"/>
              <a:gd name="connsiteY208" fmla="*/ 332 h 10000"/>
              <a:gd name="connsiteX209" fmla="*/ 5098 w 10000"/>
              <a:gd name="connsiteY209" fmla="*/ 0 h 10000"/>
              <a:gd name="connsiteX210" fmla="*/ 4837 w 10000"/>
              <a:gd name="connsiteY210" fmla="*/ 82 h 10000"/>
              <a:gd name="connsiteX211" fmla="*/ 4671 w 10000"/>
              <a:gd name="connsiteY211" fmla="*/ 78 h 10000"/>
              <a:gd name="connsiteX212" fmla="*/ 4571 w 10000"/>
              <a:gd name="connsiteY212" fmla="*/ 107 h 10000"/>
              <a:gd name="connsiteX213" fmla="*/ 4298 w 10000"/>
              <a:gd name="connsiteY213" fmla="*/ 913 h 10000"/>
              <a:gd name="connsiteX214" fmla="*/ 3668 w 10000"/>
              <a:gd name="connsiteY214" fmla="*/ 1383 h 10000"/>
              <a:gd name="connsiteX215" fmla="*/ 3672 w 10000"/>
              <a:gd name="connsiteY215" fmla="*/ 1457 h 10000"/>
              <a:gd name="connsiteX216" fmla="*/ 3952 w 10000"/>
              <a:gd name="connsiteY216" fmla="*/ 1668 h 10000"/>
              <a:gd name="connsiteX217" fmla="*/ 3861 w 10000"/>
              <a:gd name="connsiteY217" fmla="*/ 1896 h 10000"/>
              <a:gd name="connsiteX218" fmla="*/ 3698 w 10000"/>
              <a:gd name="connsiteY218" fmla="*/ 1979 h 10000"/>
              <a:gd name="connsiteX219" fmla="*/ 3208 w 10000"/>
              <a:gd name="connsiteY219" fmla="*/ 1924 h 10000"/>
              <a:gd name="connsiteX220" fmla="*/ 2871 w 10000"/>
              <a:gd name="connsiteY220" fmla="*/ 1955 h 10000"/>
              <a:gd name="connsiteX221" fmla="*/ 2601 w 10000"/>
              <a:gd name="connsiteY221" fmla="*/ 2023 h 10000"/>
              <a:gd name="connsiteX222" fmla="*/ 2163 w 10000"/>
              <a:gd name="connsiteY222" fmla="*/ 2233 h 10000"/>
              <a:gd name="connsiteX223" fmla="*/ 1931 w 10000"/>
              <a:gd name="connsiteY223" fmla="*/ 2487 h 10000"/>
              <a:gd name="connsiteX224" fmla="*/ 1951 w 10000"/>
              <a:gd name="connsiteY224" fmla="*/ 2629 h 10000"/>
              <a:gd name="connsiteX225" fmla="*/ 2032 w 10000"/>
              <a:gd name="connsiteY225" fmla="*/ 2738 h 10000"/>
              <a:gd name="connsiteX226" fmla="*/ 2093 w 10000"/>
              <a:gd name="connsiteY226" fmla="*/ 2782 h 10000"/>
              <a:gd name="connsiteX227" fmla="*/ 1979 w 10000"/>
              <a:gd name="connsiteY227" fmla="*/ 2852 h 10000"/>
              <a:gd name="connsiteX228" fmla="*/ 1731 w 10000"/>
              <a:gd name="connsiteY228" fmla="*/ 3330 h 10000"/>
              <a:gd name="connsiteX229" fmla="*/ 1779 w 10000"/>
              <a:gd name="connsiteY229" fmla="*/ 3358 h 10000"/>
              <a:gd name="connsiteX230" fmla="*/ 1815 w 10000"/>
              <a:gd name="connsiteY230" fmla="*/ 3479 h 10000"/>
              <a:gd name="connsiteX231" fmla="*/ 1700 w 10000"/>
              <a:gd name="connsiteY231" fmla="*/ 3982 h 10000"/>
              <a:gd name="connsiteX232" fmla="*/ 1815 w 10000"/>
              <a:gd name="connsiteY232" fmla="*/ 4110 h 10000"/>
              <a:gd name="connsiteX233" fmla="*/ 2131 w 10000"/>
              <a:gd name="connsiteY233" fmla="*/ 4251 h 10000"/>
              <a:gd name="connsiteX234" fmla="*/ 2145 w 10000"/>
              <a:gd name="connsiteY234" fmla="*/ 4423 h 10000"/>
              <a:gd name="connsiteX235" fmla="*/ 2010 w 10000"/>
              <a:gd name="connsiteY235" fmla="*/ 4566 h 10000"/>
              <a:gd name="connsiteX236" fmla="*/ 1815 w 10000"/>
              <a:gd name="connsiteY236" fmla="*/ 4652 h 10000"/>
              <a:gd name="connsiteX237" fmla="*/ 1557 w 10000"/>
              <a:gd name="connsiteY237" fmla="*/ 4687 h 10000"/>
              <a:gd name="connsiteX238" fmla="*/ 1490 w 10000"/>
              <a:gd name="connsiteY238" fmla="*/ 4737 h 10000"/>
              <a:gd name="connsiteX239" fmla="*/ 1640 w 10000"/>
              <a:gd name="connsiteY239" fmla="*/ 4855 h 10000"/>
              <a:gd name="connsiteX240" fmla="*/ 1726 w 10000"/>
              <a:gd name="connsiteY240" fmla="*/ 5136 h 10000"/>
              <a:gd name="connsiteX241" fmla="*/ 1531 w 10000"/>
              <a:gd name="connsiteY241" fmla="*/ 5376 h 10000"/>
              <a:gd name="connsiteX242" fmla="*/ 1599 w 10000"/>
              <a:gd name="connsiteY242" fmla="*/ 5451 h 10000"/>
              <a:gd name="connsiteX243" fmla="*/ 1537 w 10000"/>
              <a:gd name="connsiteY243" fmla="*/ 5577 h 10000"/>
              <a:gd name="connsiteX244" fmla="*/ 1412 w 10000"/>
              <a:gd name="connsiteY244" fmla="*/ 5663 h 10000"/>
              <a:gd name="connsiteX245" fmla="*/ 915 w 10000"/>
              <a:gd name="connsiteY245" fmla="*/ 5730 h 10000"/>
              <a:gd name="connsiteX246" fmla="*/ 885 w 10000"/>
              <a:gd name="connsiteY246" fmla="*/ 5846 h 10000"/>
              <a:gd name="connsiteX247" fmla="*/ 617 w 10000"/>
              <a:gd name="connsiteY247" fmla="*/ 6019 h 10000"/>
              <a:gd name="connsiteX248" fmla="*/ 652 w 10000"/>
              <a:gd name="connsiteY248" fmla="*/ 6268 h 10000"/>
              <a:gd name="connsiteX249" fmla="*/ 427 w 10000"/>
              <a:gd name="connsiteY249" fmla="*/ 6587 h 10000"/>
              <a:gd name="connsiteX250" fmla="*/ 274 w 10000"/>
              <a:gd name="connsiteY250" fmla="*/ 6624 h 10000"/>
              <a:gd name="connsiteX251" fmla="*/ 210 w 10000"/>
              <a:gd name="connsiteY251" fmla="*/ 6548 h 10000"/>
              <a:gd name="connsiteX252" fmla="*/ 132 w 10000"/>
              <a:gd name="connsiteY252" fmla="*/ 6663 h 10000"/>
              <a:gd name="connsiteX253" fmla="*/ 183 w 10000"/>
              <a:gd name="connsiteY253" fmla="*/ 6465 h 10000"/>
              <a:gd name="connsiteX254" fmla="*/ 151 w 10000"/>
              <a:gd name="connsiteY25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381 w 10000"/>
              <a:gd name="connsiteY159" fmla="*/ 3576 h 10000"/>
              <a:gd name="connsiteX160" fmla="*/ 6395 w 10000"/>
              <a:gd name="connsiteY160" fmla="*/ 3463 h 10000"/>
              <a:gd name="connsiteX161" fmla="*/ 6656 w 10000"/>
              <a:gd name="connsiteY161" fmla="*/ 3538 h 10000"/>
              <a:gd name="connsiteX162" fmla="*/ 6665 w 10000"/>
              <a:gd name="connsiteY162" fmla="*/ 3516 h 10000"/>
              <a:gd name="connsiteX163" fmla="*/ 6737 w 10000"/>
              <a:gd name="connsiteY163" fmla="*/ 3497 h 10000"/>
              <a:gd name="connsiteX164" fmla="*/ 6837 w 10000"/>
              <a:gd name="connsiteY164" fmla="*/ 3424 h 10000"/>
              <a:gd name="connsiteX165" fmla="*/ 6854 w 10000"/>
              <a:gd name="connsiteY165" fmla="*/ 3404 h 10000"/>
              <a:gd name="connsiteX166" fmla="*/ 6832 w 10000"/>
              <a:gd name="connsiteY166" fmla="*/ 3377 h 10000"/>
              <a:gd name="connsiteX167" fmla="*/ 6886 w 10000"/>
              <a:gd name="connsiteY167" fmla="*/ 3250 h 10000"/>
              <a:gd name="connsiteX168" fmla="*/ 6822 w 10000"/>
              <a:gd name="connsiteY168" fmla="*/ 3167 h 10000"/>
              <a:gd name="connsiteX169" fmla="*/ 6832 w 10000"/>
              <a:gd name="connsiteY169" fmla="*/ 3101 h 10000"/>
              <a:gd name="connsiteX170" fmla="*/ 6868 w 10000"/>
              <a:gd name="connsiteY170" fmla="*/ 3178 h 10000"/>
              <a:gd name="connsiteX171" fmla="*/ 7011 w 10000"/>
              <a:gd name="connsiteY171" fmla="*/ 3236 h 10000"/>
              <a:gd name="connsiteX172" fmla="*/ 7070 w 10000"/>
              <a:gd name="connsiteY172" fmla="*/ 3229 h 10000"/>
              <a:gd name="connsiteX173" fmla="*/ 7164 w 10000"/>
              <a:gd name="connsiteY173" fmla="*/ 3152 h 10000"/>
              <a:gd name="connsiteX174" fmla="*/ 7265 w 10000"/>
              <a:gd name="connsiteY174" fmla="*/ 3183 h 10000"/>
              <a:gd name="connsiteX175" fmla="*/ 7292 w 10000"/>
              <a:gd name="connsiteY175" fmla="*/ 3122 h 10000"/>
              <a:gd name="connsiteX176" fmla="*/ 7360 w 10000"/>
              <a:gd name="connsiteY176" fmla="*/ 3080 h 10000"/>
              <a:gd name="connsiteX177" fmla="*/ 7175 w 10000"/>
              <a:gd name="connsiteY177" fmla="*/ 3036 h 10000"/>
              <a:gd name="connsiteX178" fmla="*/ 7307 w 10000"/>
              <a:gd name="connsiteY178" fmla="*/ 3045 h 10000"/>
              <a:gd name="connsiteX179" fmla="*/ 7442 w 10000"/>
              <a:gd name="connsiteY179" fmla="*/ 2999 h 10000"/>
              <a:gd name="connsiteX180" fmla="*/ 7437 w 10000"/>
              <a:gd name="connsiteY180" fmla="*/ 2966 h 10000"/>
              <a:gd name="connsiteX181" fmla="*/ 7565 w 10000"/>
              <a:gd name="connsiteY181" fmla="*/ 2936 h 10000"/>
              <a:gd name="connsiteX182" fmla="*/ 7576 w 10000"/>
              <a:gd name="connsiteY182" fmla="*/ 2859 h 10000"/>
              <a:gd name="connsiteX183" fmla="*/ 7676 w 10000"/>
              <a:gd name="connsiteY183" fmla="*/ 2844 h 10000"/>
              <a:gd name="connsiteX184" fmla="*/ 7684 w 10000"/>
              <a:gd name="connsiteY184" fmla="*/ 2754 h 10000"/>
              <a:gd name="connsiteX185" fmla="*/ 7790 w 10000"/>
              <a:gd name="connsiteY185" fmla="*/ 2743 h 10000"/>
              <a:gd name="connsiteX186" fmla="*/ 7953 w 10000"/>
              <a:gd name="connsiteY186" fmla="*/ 2762 h 10000"/>
              <a:gd name="connsiteX187" fmla="*/ 8132 w 10000"/>
              <a:gd name="connsiteY187" fmla="*/ 2690 h 10000"/>
              <a:gd name="connsiteX188" fmla="*/ 8195 w 10000"/>
              <a:gd name="connsiteY188" fmla="*/ 2607 h 10000"/>
              <a:gd name="connsiteX189" fmla="*/ 8417 w 10000"/>
              <a:gd name="connsiteY189" fmla="*/ 2524 h 10000"/>
              <a:gd name="connsiteX190" fmla="*/ 8527 w 10000"/>
              <a:gd name="connsiteY190" fmla="*/ 2575 h 10000"/>
              <a:gd name="connsiteX191" fmla="*/ 8695 w 10000"/>
              <a:gd name="connsiteY191" fmla="*/ 2519 h 10000"/>
              <a:gd name="connsiteX192" fmla="*/ 8736 w 10000"/>
              <a:gd name="connsiteY192" fmla="*/ 2445 h 10000"/>
              <a:gd name="connsiteX193" fmla="*/ 8864 w 10000"/>
              <a:gd name="connsiteY193" fmla="*/ 2396 h 10000"/>
              <a:gd name="connsiteX194" fmla="*/ 8973 w 10000"/>
              <a:gd name="connsiteY194" fmla="*/ 2418 h 10000"/>
              <a:gd name="connsiteX195" fmla="*/ 9042 w 10000"/>
              <a:gd name="connsiteY195" fmla="*/ 2381 h 10000"/>
              <a:gd name="connsiteX196" fmla="*/ 9231 w 10000"/>
              <a:gd name="connsiteY196" fmla="*/ 2330 h 10000"/>
              <a:gd name="connsiteX197" fmla="*/ 9310 w 10000"/>
              <a:gd name="connsiteY197" fmla="*/ 2263 h 10000"/>
              <a:gd name="connsiteX198" fmla="*/ 9417 w 10000"/>
              <a:gd name="connsiteY198" fmla="*/ 2235 h 10000"/>
              <a:gd name="connsiteX199" fmla="*/ 10000 w 10000"/>
              <a:gd name="connsiteY199" fmla="*/ 1832 h 10000"/>
              <a:gd name="connsiteX200" fmla="*/ 9652 w 10000"/>
              <a:gd name="connsiteY200" fmla="*/ 1699 h 10000"/>
              <a:gd name="connsiteX201" fmla="*/ 9147 w 10000"/>
              <a:gd name="connsiteY201" fmla="*/ 1773 h 10000"/>
              <a:gd name="connsiteX202" fmla="*/ 8784 w 10000"/>
              <a:gd name="connsiteY202" fmla="*/ 1639 h 10000"/>
              <a:gd name="connsiteX203" fmla="*/ 8850 w 10000"/>
              <a:gd name="connsiteY203" fmla="*/ 1480 h 10000"/>
              <a:gd name="connsiteX204" fmla="*/ 7497 w 10000"/>
              <a:gd name="connsiteY204" fmla="*/ 923 h 10000"/>
              <a:gd name="connsiteX205" fmla="*/ 7522 w 10000"/>
              <a:gd name="connsiteY205" fmla="*/ 649 h 10000"/>
              <a:gd name="connsiteX206" fmla="*/ 7012 w 10000"/>
              <a:gd name="connsiteY206" fmla="*/ 590 h 10000"/>
              <a:gd name="connsiteX207" fmla="*/ 6413 w 10000"/>
              <a:gd name="connsiteY207" fmla="*/ 332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395 w 10000"/>
              <a:gd name="connsiteY159" fmla="*/ 3463 h 10000"/>
              <a:gd name="connsiteX160" fmla="*/ 6656 w 10000"/>
              <a:gd name="connsiteY160" fmla="*/ 3538 h 10000"/>
              <a:gd name="connsiteX161" fmla="*/ 6665 w 10000"/>
              <a:gd name="connsiteY161" fmla="*/ 3516 h 10000"/>
              <a:gd name="connsiteX162" fmla="*/ 6737 w 10000"/>
              <a:gd name="connsiteY162" fmla="*/ 3497 h 10000"/>
              <a:gd name="connsiteX163" fmla="*/ 6837 w 10000"/>
              <a:gd name="connsiteY163" fmla="*/ 3424 h 10000"/>
              <a:gd name="connsiteX164" fmla="*/ 6854 w 10000"/>
              <a:gd name="connsiteY164" fmla="*/ 3404 h 10000"/>
              <a:gd name="connsiteX165" fmla="*/ 6832 w 10000"/>
              <a:gd name="connsiteY165" fmla="*/ 3377 h 10000"/>
              <a:gd name="connsiteX166" fmla="*/ 6886 w 10000"/>
              <a:gd name="connsiteY166" fmla="*/ 3250 h 10000"/>
              <a:gd name="connsiteX167" fmla="*/ 6822 w 10000"/>
              <a:gd name="connsiteY167" fmla="*/ 3167 h 10000"/>
              <a:gd name="connsiteX168" fmla="*/ 6832 w 10000"/>
              <a:gd name="connsiteY168" fmla="*/ 3101 h 10000"/>
              <a:gd name="connsiteX169" fmla="*/ 6868 w 10000"/>
              <a:gd name="connsiteY169" fmla="*/ 3178 h 10000"/>
              <a:gd name="connsiteX170" fmla="*/ 7011 w 10000"/>
              <a:gd name="connsiteY170" fmla="*/ 3236 h 10000"/>
              <a:gd name="connsiteX171" fmla="*/ 7070 w 10000"/>
              <a:gd name="connsiteY171" fmla="*/ 3229 h 10000"/>
              <a:gd name="connsiteX172" fmla="*/ 7164 w 10000"/>
              <a:gd name="connsiteY172" fmla="*/ 3152 h 10000"/>
              <a:gd name="connsiteX173" fmla="*/ 7265 w 10000"/>
              <a:gd name="connsiteY173" fmla="*/ 3183 h 10000"/>
              <a:gd name="connsiteX174" fmla="*/ 7292 w 10000"/>
              <a:gd name="connsiteY174" fmla="*/ 3122 h 10000"/>
              <a:gd name="connsiteX175" fmla="*/ 7360 w 10000"/>
              <a:gd name="connsiteY175" fmla="*/ 3080 h 10000"/>
              <a:gd name="connsiteX176" fmla="*/ 7175 w 10000"/>
              <a:gd name="connsiteY176" fmla="*/ 3036 h 10000"/>
              <a:gd name="connsiteX177" fmla="*/ 7307 w 10000"/>
              <a:gd name="connsiteY177" fmla="*/ 3045 h 10000"/>
              <a:gd name="connsiteX178" fmla="*/ 7442 w 10000"/>
              <a:gd name="connsiteY178" fmla="*/ 2999 h 10000"/>
              <a:gd name="connsiteX179" fmla="*/ 7437 w 10000"/>
              <a:gd name="connsiteY179" fmla="*/ 2966 h 10000"/>
              <a:gd name="connsiteX180" fmla="*/ 7565 w 10000"/>
              <a:gd name="connsiteY180" fmla="*/ 2936 h 10000"/>
              <a:gd name="connsiteX181" fmla="*/ 7576 w 10000"/>
              <a:gd name="connsiteY181" fmla="*/ 2859 h 10000"/>
              <a:gd name="connsiteX182" fmla="*/ 7676 w 10000"/>
              <a:gd name="connsiteY182" fmla="*/ 2844 h 10000"/>
              <a:gd name="connsiteX183" fmla="*/ 7684 w 10000"/>
              <a:gd name="connsiteY183" fmla="*/ 2754 h 10000"/>
              <a:gd name="connsiteX184" fmla="*/ 7790 w 10000"/>
              <a:gd name="connsiteY184" fmla="*/ 2743 h 10000"/>
              <a:gd name="connsiteX185" fmla="*/ 7953 w 10000"/>
              <a:gd name="connsiteY185" fmla="*/ 2762 h 10000"/>
              <a:gd name="connsiteX186" fmla="*/ 8132 w 10000"/>
              <a:gd name="connsiteY186" fmla="*/ 2690 h 10000"/>
              <a:gd name="connsiteX187" fmla="*/ 8195 w 10000"/>
              <a:gd name="connsiteY187" fmla="*/ 2607 h 10000"/>
              <a:gd name="connsiteX188" fmla="*/ 8417 w 10000"/>
              <a:gd name="connsiteY188" fmla="*/ 2524 h 10000"/>
              <a:gd name="connsiteX189" fmla="*/ 8527 w 10000"/>
              <a:gd name="connsiteY189" fmla="*/ 2575 h 10000"/>
              <a:gd name="connsiteX190" fmla="*/ 8695 w 10000"/>
              <a:gd name="connsiteY190" fmla="*/ 2519 h 10000"/>
              <a:gd name="connsiteX191" fmla="*/ 8736 w 10000"/>
              <a:gd name="connsiteY191" fmla="*/ 2445 h 10000"/>
              <a:gd name="connsiteX192" fmla="*/ 8864 w 10000"/>
              <a:gd name="connsiteY192" fmla="*/ 2396 h 10000"/>
              <a:gd name="connsiteX193" fmla="*/ 8973 w 10000"/>
              <a:gd name="connsiteY193" fmla="*/ 2418 h 10000"/>
              <a:gd name="connsiteX194" fmla="*/ 9042 w 10000"/>
              <a:gd name="connsiteY194" fmla="*/ 2381 h 10000"/>
              <a:gd name="connsiteX195" fmla="*/ 9231 w 10000"/>
              <a:gd name="connsiteY195" fmla="*/ 2330 h 10000"/>
              <a:gd name="connsiteX196" fmla="*/ 9310 w 10000"/>
              <a:gd name="connsiteY196" fmla="*/ 2263 h 10000"/>
              <a:gd name="connsiteX197" fmla="*/ 9417 w 10000"/>
              <a:gd name="connsiteY197" fmla="*/ 2235 h 10000"/>
              <a:gd name="connsiteX198" fmla="*/ 10000 w 10000"/>
              <a:gd name="connsiteY198" fmla="*/ 1832 h 10000"/>
              <a:gd name="connsiteX199" fmla="*/ 9652 w 10000"/>
              <a:gd name="connsiteY199" fmla="*/ 1699 h 10000"/>
              <a:gd name="connsiteX200" fmla="*/ 9147 w 10000"/>
              <a:gd name="connsiteY200" fmla="*/ 1773 h 10000"/>
              <a:gd name="connsiteX201" fmla="*/ 8784 w 10000"/>
              <a:gd name="connsiteY201" fmla="*/ 1639 h 10000"/>
              <a:gd name="connsiteX202" fmla="*/ 8850 w 10000"/>
              <a:gd name="connsiteY202" fmla="*/ 1480 h 10000"/>
              <a:gd name="connsiteX203" fmla="*/ 7497 w 10000"/>
              <a:gd name="connsiteY203" fmla="*/ 923 h 10000"/>
              <a:gd name="connsiteX204" fmla="*/ 7522 w 10000"/>
              <a:gd name="connsiteY204" fmla="*/ 649 h 10000"/>
              <a:gd name="connsiteX205" fmla="*/ 7012 w 10000"/>
              <a:gd name="connsiteY205" fmla="*/ 590 h 10000"/>
              <a:gd name="connsiteX206" fmla="*/ 6413 w 10000"/>
              <a:gd name="connsiteY206" fmla="*/ 332 h 10000"/>
              <a:gd name="connsiteX207" fmla="*/ 5098 w 10000"/>
              <a:gd name="connsiteY207" fmla="*/ 0 h 10000"/>
              <a:gd name="connsiteX208" fmla="*/ 4837 w 10000"/>
              <a:gd name="connsiteY208" fmla="*/ 82 h 10000"/>
              <a:gd name="connsiteX209" fmla="*/ 4671 w 10000"/>
              <a:gd name="connsiteY209" fmla="*/ 78 h 10000"/>
              <a:gd name="connsiteX210" fmla="*/ 4571 w 10000"/>
              <a:gd name="connsiteY210" fmla="*/ 107 h 10000"/>
              <a:gd name="connsiteX211" fmla="*/ 4298 w 10000"/>
              <a:gd name="connsiteY211" fmla="*/ 913 h 10000"/>
              <a:gd name="connsiteX212" fmla="*/ 3668 w 10000"/>
              <a:gd name="connsiteY212" fmla="*/ 1383 h 10000"/>
              <a:gd name="connsiteX213" fmla="*/ 3672 w 10000"/>
              <a:gd name="connsiteY213" fmla="*/ 1457 h 10000"/>
              <a:gd name="connsiteX214" fmla="*/ 3952 w 10000"/>
              <a:gd name="connsiteY214" fmla="*/ 1668 h 10000"/>
              <a:gd name="connsiteX215" fmla="*/ 3861 w 10000"/>
              <a:gd name="connsiteY215" fmla="*/ 1896 h 10000"/>
              <a:gd name="connsiteX216" fmla="*/ 3698 w 10000"/>
              <a:gd name="connsiteY216" fmla="*/ 1979 h 10000"/>
              <a:gd name="connsiteX217" fmla="*/ 3208 w 10000"/>
              <a:gd name="connsiteY217" fmla="*/ 1924 h 10000"/>
              <a:gd name="connsiteX218" fmla="*/ 2871 w 10000"/>
              <a:gd name="connsiteY218" fmla="*/ 1955 h 10000"/>
              <a:gd name="connsiteX219" fmla="*/ 2601 w 10000"/>
              <a:gd name="connsiteY219" fmla="*/ 2023 h 10000"/>
              <a:gd name="connsiteX220" fmla="*/ 2163 w 10000"/>
              <a:gd name="connsiteY220" fmla="*/ 2233 h 10000"/>
              <a:gd name="connsiteX221" fmla="*/ 1931 w 10000"/>
              <a:gd name="connsiteY221" fmla="*/ 2487 h 10000"/>
              <a:gd name="connsiteX222" fmla="*/ 1951 w 10000"/>
              <a:gd name="connsiteY222" fmla="*/ 2629 h 10000"/>
              <a:gd name="connsiteX223" fmla="*/ 2032 w 10000"/>
              <a:gd name="connsiteY223" fmla="*/ 2738 h 10000"/>
              <a:gd name="connsiteX224" fmla="*/ 2093 w 10000"/>
              <a:gd name="connsiteY224" fmla="*/ 2782 h 10000"/>
              <a:gd name="connsiteX225" fmla="*/ 1979 w 10000"/>
              <a:gd name="connsiteY225" fmla="*/ 2852 h 10000"/>
              <a:gd name="connsiteX226" fmla="*/ 1731 w 10000"/>
              <a:gd name="connsiteY226" fmla="*/ 3330 h 10000"/>
              <a:gd name="connsiteX227" fmla="*/ 1779 w 10000"/>
              <a:gd name="connsiteY227" fmla="*/ 3358 h 10000"/>
              <a:gd name="connsiteX228" fmla="*/ 1815 w 10000"/>
              <a:gd name="connsiteY228" fmla="*/ 3479 h 10000"/>
              <a:gd name="connsiteX229" fmla="*/ 1700 w 10000"/>
              <a:gd name="connsiteY229" fmla="*/ 3982 h 10000"/>
              <a:gd name="connsiteX230" fmla="*/ 1815 w 10000"/>
              <a:gd name="connsiteY230" fmla="*/ 4110 h 10000"/>
              <a:gd name="connsiteX231" fmla="*/ 2131 w 10000"/>
              <a:gd name="connsiteY231" fmla="*/ 4251 h 10000"/>
              <a:gd name="connsiteX232" fmla="*/ 2145 w 10000"/>
              <a:gd name="connsiteY232" fmla="*/ 4423 h 10000"/>
              <a:gd name="connsiteX233" fmla="*/ 2010 w 10000"/>
              <a:gd name="connsiteY233" fmla="*/ 4566 h 10000"/>
              <a:gd name="connsiteX234" fmla="*/ 1815 w 10000"/>
              <a:gd name="connsiteY234" fmla="*/ 4652 h 10000"/>
              <a:gd name="connsiteX235" fmla="*/ 1557 w 10000"/>
              <a:gd name="connsiteY235" fmla="*/ 4687 h 10000"/>
              <a:gd name="connsiteX236" fmla="*/ 1490 w 10000"/>
              <a:gd name="connsiteY236" fmla="*/ 4737 h 10000"/>
              <a:gd name="connsiteX237" fmla="*/ 1640 w 10000"/>
              <a:gd name="connsiteY237" fmla="*/ 4855 h 10000"/>
              <a:gd name="connsiteX238" fmla="*/ 1726 w 10000"/>
              <a:gd name="connsiteY238" fmla="*/ 5136 h 10000"/>
              <a:gd name="connsiteX239" fmla="*/ 1531 w 10000"/>
              <a:gd name="connsiteY239" fmla="*/ 5376 h 10000"/>
              <a:gd name="connsiteX240" fmla="*/ 1599 w 10000"/>
              <a:gd name="connsiteY240" fmla="*/ 5451 h 10000"/>
              <a:gd name="connsiteX241" fmla="*/ 1537 w 10000"/>
              <a:gd name="connsiteY241" fmla="*/ 5577 h 10000"/>
              <a:gd name="connsiteX242" fmla="*/ 1412 w 10000"/>
              <a:gd name="connsiteY242" fmla="*/ 5663 h 10000"/>
              <a:gd name="connsiteX243" fmla="*/ 915 w 10000"/>
              <a:gd name="connsiteY243" fmla="*/ 5730 h 10000"/>
              <a:gd name="connsiteX244" fmla="*/ 885 w 10000"/>
              <a:gd name="connsiteY244" fmla="*/ 5846 h 10000"/>
              <a:gd name="connsiteX245" fmla="*/ 617 w 10000"/>
              <a:gd name="connsiteY245" fmla="*/ 6019 h 10000"/>
              <a:gd name="connsiteX246" fmla="*/ 652 w 10000"/>
              <a:gd name="connsiteY246" fmla="*/ 6268 h 10000"/>
              <a:gd name="connsiteX247" fmla="*/ 427 w 10000"/>
              <a:gd name="connsiteY247" fmla="*/ 6587 h 10000"/>
              <a:gd name="connsiteX248" fmla="*/ 274 w 10000"/>
              <a:gd name="connsiteY248" fmla="*/ 6624 h 10000"/>
              <a:gd name="connsiteX249" fmla="*/ 210 w 10000"/>
              <a:gd name="connsiteY249" fmla="*/ 6548 h 10000"/>
              <a:gd name="connsiteX250" fmla="*/ 132 w 10000"/>
              <a:gd name="connsiteY250" fmla="*/ 6663 h 10000"/>
              <a:gd name="connsiteX251" fmla="*/ 183 w 10000"/>
              <a:gd name="connsiteY251" fmla="*/ 6465 h 10000"/>
              <a:gd name="connsiteX252" fmla="*/ 151 w 10000"/>
              <a:gd name="connsiteY252"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32 w 10000"/>
              <a:gd name="connsiteY164" fmla="*/ 3377 h 10000"/>
              <a:gd name="connsiteX165" fmla="*/ 6886 w 10000"/>
              <a:gd name="connsiteY165" fmla="*/ 3250 h 10000"/>
              <a:gd name="connsiteX166" fmla="*/ 6822 w 10000"/>
              <a:gd name="connsiteY166" fmla="*/ 3167 h 10000"/>
              <a:gd name="connsiteX167" fmla="*/ 6832 w 10000"/>
              <a:gd name="connsiteY167" fmla="*/ 3101 h 10000"/>
              <a:gd name="connsiteX168" fmla="*/ 6868 w 10000"/>
              <a:gd name="connsiteY168" fmla="*/ 3178 h 10000"/>
              <a:gd name="connsiteX169" fmla="*/ 7011 w 10000"/>
              <a:gd name="connsiteY169" fmla="*/ 3236 h 10000"/>
              <a:gd name="connsiteX170" fmla="*/ 7070 w 10000"/>
              <a:gd name="connsiteY170" fmla="*/ 3229 h 10000"/>
              <a:gd name="connsiteX171" fmla="*/ 7164 w 10000"/>
              <a:gd name="connsiteY171" fmla="*/ 3152 h 10000"/>
              <a:gd name="connsiteX172" fmla="*/ 7265 w 10000"/>
              <a:gd name="connsiteY172" fmla="*/ 3183 h 10000"/>
              <a:gd name="connsiteX173" fmla="*/ 7292 w 10000"/>
              <a:gd name="connsiteY173" fmla="*/ 3122 h 10000"/>
              <a:gd name="connsiteX174" fmla="*/ 7360 w 10000"/>
              <a:gd name="connsiteY174" fmla="*/ 3080 h 10000"/>
              <a:gd name="connsiteX175" fmla="*/ 7175 w 10000"/>
              <a:gd name="connsiteY175" fmla="*/ 3036 h 10000"/>
              <a:gd name="connsiteX176" fmla="*/ 7307 w 10000"/>
              <a:gd name="connsiteY176" fmla="*/ 3045 h 10000"/>
              <a:gd name="connsiteX177" fmla="*/ 7442 w 10000"/>
              <a:gd name="connsiteY177" fmla="*/ 2999 h 10000"/>
              <a:gd name="connsiteX178" fmla="*/ 7437 w 10000"/>
              <a:gd name="connsiteY178" fmla="*/ 2966 h 10000"/>
              <a:gd name="connsiteX179" fmla="*/ 7565 w 10000"/>
              <a:gd name="connsiteY179" fmla="*/ 2936 h 10000"/>
              <a:gd name="connsiteX180" fmla="*/ 7576 w 10000"/>
              <a:gd name="connsiteY180" fmla="*/ 2859 h 10000"/>
              <a:gd name="connsiteX181" fmla="*/ 7676 w 10000"/>
              <a:gd name="connsiteY181" fmla="*/ 2844 h 10000"/>
              <a:gd name="connsiteX182" fmla="*/ 7684 w 10000"/>
              <a:gd name="connsiteY182" fmla="*/ 2754 h 10000"/>
              <a:gd name="connsiteX183" fmla="*/ 7790 w 10000"/>
              <a:gd name="connsiteY183" fmla="*/ 2743 h 10000"/>
              <a:gd name="connsiteX184" fmla="*/ 7953 w 10000"/>
              <a:gd name="connsiteY184" fmla="*/ 2762 h 10000"/>
              <a:gd name="connsiteX185" fmla="*/ 8132 w 10000"/>
              <a:gd name="connsiteY185" fmla="*/ 2690 h 10000"/>
              <a:gd name="connsiteX186" fmla="*/ 8195 w 10000"/>
              <a:gd name="connsiteY186" fmla="*/ 2607 h 10000"/>
              <a:gd name="connsiteX187" fmla="*/ 8417 w 10000"/>
              <a:gd name="connsiteY187" fmla="*/ 2524 h 10000"/>
              <a:gd name="connsiteX188" fmla="*/ 8527 w 10000"/>
              <a:gd name="connsiteY188" fmla="*/ 2575 h 10000"/>
              <a:gd name="connsiteX189" fmla="*/ 8695 w 10000"/>
              <a:gd name="connsiteY189" fmla="*/ 2519 h 10000"/>
              <a:gd name="connsiteX190" fmla="*/ 8736 w 10000"/>
              <a:gd name="connsiteY190" fmla="*/ 2445 h 10000"/>
              <a:gd name="connsiteX191" fmla="*/ 8864 w 10000"/>
              <a:gd name="connsiteY191" fmla="*/ 2396 h 10000"/>
              <a:gd name="connsiteX192" fmla="*/ 8973 w 10000"/>
              <a:gd name="connsiteY192" fmla="*/ 2418 h 10000"/>
              <a:gd name="connsiteX193" fmla="*/ 9042 w 10000"/>
              <a:gd name="connsiteY193" fmla="*/ 2381 h 10000"/>
              <a:gd name="connsiteX194" fmla="*/ 9231 w 10000"/>
              <a:gd name="connsiteY194" fmla="*/ 2330 h 10000"/>
              <a:gd name="connsiteX195" fmla="*/ 9310 w 10000"/>
              <a:gd name="connsiteY195" fmla="*/ 2263 h 10000"/>
              <a:gd name="connsiteX196" fmla="*/ 9417 w 10000"/>
              <a:gd name="connsiteY196" fmla="*/ 2235 h 10000"/>
              <a:gd name="connsiteX197" fmla="*/ 10000 w 10000"/>
              <a:gd name="connsiteY197" fmla="*/ 1832 h 10000"/>
              <a:gd name="connsiteX198" fmla="*/ 9652 w 10000"/>
              <a:gd name="connsiteY198" fmla="*/ 1699 h 10000"/>
              <a:gd name="connsiteX199" fmla="*/ 9147 w 10000"/>
              <a:gd name="connsiteY199" fmla="*/ 1773 h 10000"/>
              <a:gd name="connsiteX200" fmla="*/ 8784 w 10000"/>
              <a:gd name="connsiteY200" fmla="*/ 1639 h 10000"/>
              <a:gd name="connsiteX201" fmla="*/ 8850 w 10000"/>
              <a:gd name="connsiteY201" fmla="*/ 1480 h 10000"/>
              <a:gd name="connsiteX202" fmla="*/ 7497 w 10000"/>
              <a:gd name="connsiteY202" fmla="*/ 923 h 10000"/>
              <a:gd name="connsiteX203" fmla="*/ 7522 w 10000"/>
              <a:gd name="connsiteY203" fmla="*/ 649 h 10000"/>
              <a:gd name="connsiteX204" fmla="*/ 7012 w 10000"/>
              <a:gd name="connsiteY204" fmla="*/ 590 h 10000"/>
              <a:gd name="connsiteX205" fmla="*/ 6413 w 10000"/>
              <a:gd name="connsiteY205" fmla="*/ 332 h 10000"/>
              <a:gd name="connsiteX206" fmla="*/ 5098 w 10000"/>
              <a:gd name="connsiteY206" fmla="*/ 0 h 10000"/>
              <a:gd name="connsiteX207" fmla="*/ 4837 w 10000"/>
              <a:gd name="connsiteY207" fmla="*/ 82 h 10000"/>
              <a:gd name="connsiteX208" fmla="*/ 4671 w 10000"/>
              <a:gd name="connsiteY208" fmla="*/ 78 h 10000"/>
              <a:gd name="connsiteX209" fmla="*/ 4571 w 10000"/>
              <a:gd name="connsiteY209" fmla="*/ 107 h 10000"/>
              <a:gd name="connsiteX210" fmla="*/ 4298 w 10000"/>
              <a:gd name="connsiteY210" fmla="*/ 913 h 10000"/>
              <a:gd name="connsiteX211" fmla="*/ 3668 w 10000"/>
              <a:gd name="connsiteY211" fmla="*/ 1383 h 10000"/>
              <a:gd name="connsiteX212" fmla="*/ 3672 w 10000"/>
              <a:gd name="connsiteY212" fmla="*/ 1457 h 10000"/>
              <a:gd name="connsiteX213" fmla="*/ 3952 w 10000"/>
              <a:gd name="connsiteY213" fmla="*/ 1668 h 10000"/>
              <a:gd name="connsiteX214" fmla="*/ 3861 w 10000"/>
              <a:gd name="connsiteY214" fmla="*/ 1896 h 10000"/>
              <a:gd name="connsiteX215" fmla="*/ 3698 w 10000"/>
              <a:gd name="connsiteY215" fmla="*/ 1979 h 10000"/>
              <a:gd name="connsiteX216" fmla="*/ 3208 w 10000"/>
              <a:gd name="connsiteY216" fmla="*/ 1924 h 10000"/>
              <a:gd name="connsiteX217" fmla="*/ 2871 w 10000"/>
              <a:gd name="connsiteY217" fmla="*/ 1955 h 10000"/>
              <a:gd name="connsiteX218" fmla="*/ 2601 w 10000"/>
              <a:gd name="connsiteY218" fmla="*/ 2023 h 10000"/>
              <a:gd name="connsiteX219" fmla="*/ 2163 w 10000"/>
              <a:gd name="connsiteY219" fmla="*/ 2233 h 10000"/>
              <a:gd name="connsiteX220" fmla="*/ 1931 w 10000"/>
              <a:gd name="connsiteY220" fmla="*/ 2487 h 10000"/>
              <a:gd name="connsiteX221" fmla="*/ 1951 w 10000"/>
              <a:gd name="connsiteY221" fmla="*/ 2629 h 10000"/>
              <a:gd name="connsiteX222" fmla="*/ 2032 w 10000"/>
              <a:gd name="connsiteY222" fmla="*/ 2738 h 10000"/>
              <a:gd name="connsiteX223" fmla="*/ 2093 w 10000"/>
              <a:gd name="connsiteY223" fmla="*/ 2782 h 10000"/>
              <a:gd name="connsiteX224" fmla="*/ 1979 w 10000"/>
              <a:gd name="connsiteY224" fmla="*/ 2852 h 10000"/>
              <a:gd name="connsiteX225" fmla="*/ 1731 w 10000"/>
              <a:gd name="connsiteY225" fmla="*/ 3330 h 10000"/>
              <a:gd name="connsiteX226" fmla="*/ 1779 w 10000"/>
              <a:gd name="connsiteY226" fmla="*/ 3358 h 10000"/>
              <a:gd name="connsiteX227" fmla="*/ 1815 w 10000"/>
              <a:gd name="connsiteY227" fmla="*/ 3479 h 10000"/>
              <a:gd name="connsiteX228" fmla="*/ 1700 w 10000"/>
              <a:gd name="connsiteY228" fmla="*/ 3982 h 10000"/>
              <a:gd name="connsiteX229" fmla="*/ 1815 w 10000"/>
              <a:gd name="connsiteY229" fmla="*/ 4110 h 10000"/>
              <a:gd name="connsiteX230" fmla="*/ 2131 w 10000"/>
              <a:gd name="connsiteY230" fmla="*/ 4251 h 10000"/>
              <a:gd name="connsiteX231" fmla="*/ 2145 w 10000"/>
              <a:gd name="connsiteY231" fmla="*/ 4423 h 10000"/>
              <a:gd name="connsiteX232" fmla="*/ 2010 w 10000"/>
              <a:gd name="connsiteY232" fmla="*/ 4566 h 10000"/>
              <a:gd name="connsiteX233" fmla="*/ 1815 w 10000"/>
              <a:gd name="connsiteY233" fmla="*/ 4652 h 10000"/>
              <a:gd name="connsiteX234" fmla="*/ 1557 w 10000"/>
              <a:gd name="connsiteY234" fmla="*/ 4687 h 10000"/>
              <a:gd name="connsiteX235" fmla="*/ 1490 w 10000"/>
              <a:gd name="connsiteY235" fmla="*/ 4737 h 10000"/>
              <a:gd name="connsiteX236" fmla="*/ 1640 w 10000"/>
              <a:gd name="connsiteY236" fmla="*/ 4855 h 10000"/>
              <a:gd name="connsiteX237" fmla="*/ 1726 w 10000"/>
              <a:gd name="connsiteY237" fmla="*/ 5136 h 10000"/>
              <a:gd name="connsiteX238" fmla="*/ 1531 w 10000"/>
              <a:gd name="connsiteY238" fmla="*/ 5376 h 10000"/>
              <a:gd name="connsiteX239" fmla="*/ 1599 w 10000"/>
              <a:gd name="connsiteY239" fmla="*/ 5451 h 10000"/>
              <a:gd name="connsiteX240" fmla="*/ 1537 w 10000"/>
              <a:gd name="connsiteY240" fmla="*/ 5577 h 10000"/>
              <a:gd name="connsiteX241" fmla="*/ 1412 w 10000"/>
              <a:gd name="connsiteY241" fmla="*/ 5663 h 10000"/>
              <a:gd name="connsiteX242" fmla="*/ 915 w 10000"/>
              <a:gd name="connsiteY242" fmla="*/ 5730 h 10000"/>
              <a:gd name="connsiteX243" fmla="*/ 885 w 10000"/>
              <a:gd name="connsiteY243" fmla="*/ 5846 h 10000"/>
              <a:gd name="connsiteX244" fmla="*/ 617 w 10000"/>
              <a:gd name="connsiteY244" fmla="*/ 6019 h 10000"/>
              <a:gd name="connsiteX245" fmla="*/ 652 w 10000"/>
              <a:gd name="connsiteY245" fmla="*/ 6268 h 10000"/>
              <a:gd name="connsiteX246" fmla="*/ 427 w 10000"/>
              <a:gd name="connsiteY246" fmla="*/ 6587 h 10000"/>
              <a:gd name="connsiteX247" fmla="*/ 274 w 10000"/>
              <a:gd name="connsiteY247" fmla="*/ 6624 h 10000"/>
              <a:gd name="connsiteX248" fmla="*/ 210 w 10000"/>
              <a:gd name="connsiteY248" fmla="*/ 6548 h 10000"/>
              <a:gd name="connsiteX249" fmla="*/ 132 w 10000"/>
              <a:gd name="connsiteY249" fmla="*/ 6663 h 10000"/>
              <a:gd name="connsiteX250" fmla="*/ 183 w 10000"/>
              <a:gd name="connsiteY250" fmla="*/ 6465 h 10000"/>
              <a:gd name="connsiteX251" fmla="*/ 151 w 10000"/>
              <a:gd name="connsiteY251"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65 w 10000"/>
              <a:gd name="connsiteY171" fmla="*/ 3183 h 10000"/>
              <a:gd name="connsiteX172" fmla="*/ 7292 w 10000"/>
              <a:gd name="connsiteY172" fmla="*/ 3122 h 10000"/>
              <a:gd name="connsiteX173" fmla="*/ 7360 w 10000"/>
              <a:gd name="connsiteY173" fmla="*/ 3080 h 10000"/>
              <a:gd name="connsiteX174" fmla="*/ 7175 w 10000"/>
              <a:gd name="connsiteY174" fmla="*/ 3036 h 10000"/>
              <a:gd name="connsiteX175" fmla="*/ 7307 w 10000"/>
              <a:gd name="connsiteY175" fmla="*/ 3045 h 10000"/>
              <a:gd name="connsiteX176" fmla="*/ 7442 w 10000"/>
              <a:gd name="connsiteY176" fmla="*/ 2999 h 10000"/>
              <a:gd name="connsiteX177" fmla="*/ 7437 w 10000"/>
              <a:gd name="connsiteY177" fmla="*/ 2966 h 10000"/>
              <a:gd name="connsiteX178" fmla="*/ 7565 w 10000"/>
              <a:gd name="connsiteY178" fmla="*/ 2936 h 10000"/>
              <a:gd name="connsiteX179" fmla="*/ 7576 w 10000"/>
              <a:gd name="connsiteY179" fmla="*/ 2859 h 10000"/>
              <a:gd name="connsiteX180" fmla="*/ 7676 w 10000"/>
              <a:gd name="connsiteY180" fmla="*/ 2844 h 10000"/>
              <a:gd name="connsiteX181" fmla="*/ 7684 w 10000"/>
              <a:gd name="connsiteY181" fmla="*/ 2754 h 10000"/>
              <a:gd name="connsiteX182" fmla="*/ 7790 w 10000"/>
              <a:gd name="connsiteY182" fmla="*/ 2743 h 10000"/>
              <a:gd name="connsiteX183" fmla="*/ 7953 w 10000"/>
              <a:gd name="connsiteY183" fmla="*/ 2762 h 10000"/>
              <a:gd name="connsiteX184" fmla="*/ 8132 w 10000"/>
              <a:gd name="connsiteY184" fmla="*/ 2690 h 10000"/>
              <a:gd name="connsiteX185" fmla="*/ 8195 w 10000"/>
              <a:gd name="connsiteY185" fmla="*/ 2607 h 10000"/>
              <a:gd name="connsiteX186" fmla="*/ 8417 w 10000"/>
              <a:gd name="connsiteY186" fmla="*/ 2524 h 10000"/>
              <a:gd name="connsiteX187" fmla="*/ 8527 w 10000"/>
              <a:gd name="connsiteY187" fmla="*/ 2575 h 10000"/>
              <a:gd name="connsiteX188" fmla="*/ 8695 w 10000"/>
              <a:gd name="connsiteY188" fmla="*/ 2519 h 10000"/>
              <a:gd name="connsiteX189" fmla="*/ 8736 w 10000"/>
              <a:gd name="connsiteY189" fmla="*/ 2445 h 10000"/>
              <a:gd name="connsiteX190" fmla="*/ 8864 w 10000"/>
              <a:gd name="connsiteY190" fmla="*/ 2396 h 10000"/>
              <a:gd name="connsiteX191" fmla="*/ 8973 w 10000"/>
              <a:gd name="connsiteY191" fmla="*/ 2418 h 10000"/>
              <a:gd name="connsiteX192" fmla="*/ 9042 w 10000"/>
              <a:gd name="connsiteY192" fmla="*/ 2381 h 10000"/>
              <a:gd name="connsiteX193" fmla="*/ 9231 w 10000"/>
              <a:gd name="connsiteY193" fmla="*/ 2330 h 10000"/>
              <a:gd name="connsiteX194" fmla="*/ 9310 w 10000"/>
              <a:gd name="connsiteY194" fmla="*/ 2263 h 10000"/>
              <a:gd name="connsiteX195" fmla="*/ 9417 w 10000"/>
              <a:gd name="connsiteY195" fmla="*/ 2235 h 10000"/>
              <a:gd name="connsiteX196" fmla="*/ 10000 w 10000"/>
              <a:gd name="connsiteY196" fmla="*/ 1832 h 10000"/>
              <a:gd name="connsiteX197" fmla="*/ 9652 w 10000"/>
              <a:gd name="connsiteY197" fmla="*/ 1699 h 10000"/>
              <a:gd name="connsiteX198" fmla="*/ 9147 w 10000"/>
              <a:gd name="connsiteY198" fmla="*/ 1773 h 10000"/>
              <a:gd name="connsiteX199" fmla="*/ 8784 w 10000"/>
              <a:gd name="connsiteY199" fmla="*/ 1639 h 10000"/>
              <a:gd name="connsiteX200" fmla="*/ 8850 w 10000"/>
              <a:gd name="connsiteY200" fmla="*/ 1480 h 10000"/>
              <a:gd name="connsiteX201" fmla="*/ 7497 w 10000"/>
              <a:gd name="connsiteY201" fmla="*/ 923 h 10000"/>
              <a:gd name="connsiteX202" fmla="*/ 7522 w 10000"/>
              <a:gd name="connsiteY202" fmla="*/ 649 h 10000"/>
              <a:gd name="connsiteX203" fmla="*/ 7012 w 10000"/>
              <a:gd name="connsiteY203" fmla="*/ 590 h 10000"/>
              <a:gd name="connsiteX204" fmla="*/ 6413 w 10000"/>
              <a:gd name="connsiteY204" fmla="*/ 332 h 10000"/>
              <a:gd name="connsiteX205" fmla="*/ 5098 w 10000"/>
              <a:gd name="connsiteY205" fmla="*/ 0 h 10000"/>
              <a:gd name="connsiteX206" fmla="*/ 4837 w 10000"/>
              <a:gd name="connsiteY206" fmla="*/ 82 h 10000"/>
              <a:gd name="connsiteX207" fmla="*/ 4671 w 10000"/>
              <a:gd name="connsiteY207" fmla="*/ 78 h 10000"/>
              <a:gd name="connsiteX208" fmla="*/ 4571 w 10000"/>
              <a:gd name="connsiteY208" fmla="*/ 107 h 10000"/>
              <a:gd name="connsiteX209" fmla="*/ 4298 w 10000"/>
              <a:gd name="connsiteY209" fmla="*/ 913 h 10000"/>
              <a:gd name="connsiteX210" fmla="*/ 3668 w 10000"/>
              <a:gd name="connsiteY210" fmla="*/ 1383 h 10000"/>
              <a:gd name="connsiteX211" fmla="*/ 3672 w 10000"/>
              <a:gd name="connsiteY211" fmla="*/ 1457 h 10000"/>
              <a:gd name="connsiteX212" fmla="*/ 3952 w 10000"/>
              <a:gd name="connsiteY212" fmla="*/ 1668 h 10000"/>
              <a:gd name="connsiteX213" fmla="*/ 3861 w 10000"/>
              <a:gd name="connsiteY213" fmla="*/ 1896 h 10000"/>
              <a:gd name="connsiteX214" fmla="*/ 3698 w 10000"/>
              <a:gd name="connsiteY214" fmla="*/ 1979 h 10000"/>
              <a:gd name="connsiteX215" fmla="*/ 3208 w 10000"/>
              <a:gd name="connsiteY215" fmla="*/ 1924 h 10000"/>
              <a:gd name="connsiteX216" fmla="*/ 2871 w 10000"/>
              <a:gd name="connsiteY216" fmla="*/ 1955 h 10000"/>
              <a:gd name="connsiteX217" fmla="*/ 2601 w 10000"/>
              <a:gd name="connsiteY217" fmla="*/ 2023 h 10000"/>
              <a:gd name="connsiteX218" fmla="*/ 2163 w 10000"/>
              <a:gd name="connsiteY218" fmla="*/ 2233 h 10000"/>
              <a:gd name="connsiteX219" fmla="*/ 1931 w 10000"/>
              <a:gd name="connsiteY219" fmla="*/ 2487 h 10000"/>
              <a:gd name="connsiteX220" fmla="*/ 1951 w 10000"/>
              <a:gd name="connsiteY220" fmla="*/ 2629 h 10000"/>
              <a:gd name="connsiteX221" fmla="*/ 2032 w 10000"/>
              <a:gd name="connsiteY221" fmla="*/ 2738 h 10000"/>
              <a:gd name="connsiteX222" fmla="*/ 2093 w 10000"/>
              <a:gd name="connsiteY222" fmla="*/ 2782 h 10000"/>
              <a:gd name="connsiteX223" fmla="*/ 1979 w 10000"/>
              <a:gd name="connsiteY223" fmla="*/ 2852 h 10000"/>
              <a:gd name="connsiteX224" fmla="*/ 1731 w 10000"/>
              <a:gd name="connsiteY224" fmla="*/ 3330 h 10000"/>
              <a:gd name="connsiteX225" fmla="*/ 1779 w 10000"/>
              <a:gd name="connsiteY225" fmla="*/ 3358 h 10000"/>
              <a:gd name="connsiteX226" fmla="*/ 1815 w 10000"/>
              <a:gd name="connsiteY226" fmla="*/ 3479 h 10000"/>
              <a:gd name="connsiteX227" fmla="*/ 1700 w 10000"/>
              <a:gd name="connsiteY227" fmla="*/ 3982 h 10000"/>
              <a:gd name="connsiteX228" fmla="*/ 1815 w 10000"/>
              <a:gd name="connsiteY228" fmla="*/ 4110 h 10000"/>
              <a:gd name="connsiteX229" fmla="*/ 2131 w 10000"/>
              <a:gd name="connsiteY229" fmla="*/ 4251 h 10000"/>
              <a:gd name="connsiteX230" fmla="*/ 2145 w 10000"/>
              <a:gd name="connsiteY230" fmla="*/ 4423 h 10000"/>
              <a:gd name="connsiteX231" fmla="*/ 2010 w 10000"/>
              <a:gd name="connsiteY231" fmla="*/ 4566 h 10000"/>
              <a:gd name="connsiteX232" fmla="*/ 1815 w 10000"/>
              <a:gd name="connsiteY232" fmla="*/ 4652 h 10000"/>
              <a:gd name="connsiteX233" fmla="*/ 1557 w 10000"/>
              <a:gd name="connsiteY233" fmla="*/ 4687 h 10000"/>
              <a:gd name="connsiteX234" fmla="*/ 1490 w 10000"/>
              <a:gd name="connsiteY234" fmla="*/ 4737 h 10000"/>
              <a:gd name="connsiteX235" fmla="*/ 1640 w 10000"/>
              <a:gd name="connsiteY235" fmla="*/ 4855 h 10000"/>
              <a:gd name="connsiteX236" fmla="*/ 1726 w 10000"/>
              <a:gd name="connsiteY236" fmla="*/ 5136 h 10000"/>
              <a:gd name="connsiteX237" fmla="*/ 1531 w 10000"/>
              <a:gd name="connsiteY237" fmla="*/ 5376 h 10000"/>
              <a:gd name="connsiteX238" fmla="*/ 1599 w 10000"/>
              <a:gd name="connsiteY238" fmla="*/ 5451 h 10000"/>
              <a:gd name="connsiteX239" fmla="*/ 1537 w 10000"/>
              <a:gd name="connsiteY239" fmla="*/ 5577 h 10000"/>
              <a:gd name="connsiteX240" fmla="*/ 1412 w 10000"/>
              <a:gd name="connsiteY240" fmla="*/ 5663 h 10000"/>
              <a:gd name="connsiteX241" fmla="*/ 915 w 10000"/>
              <a:gd name="connsiteY241" fmla="*/ 5730 h 10000"/>
              <a:gd name="connsiteX242" fmla="*/ 885 w 10000"/>
              <a:gd name="connsiteY242" fmla="*/ 5846 h 10000"/>
              <a:gd name="connsiteX243" fmla="*/ 617 w 10000"/>
              <a:gd name="connsiteY243" fmla="*/ 6019 h 10000"/>
              <a:gd name="connsiteX244" fmla="*/ 652 w 10000"/>
              <a:gd name="connsiteY244" fmla="*/ 6268 h 10000"/>
              <a:gd name="connsiteX245" fmla="*/ 427 w 10000"/>
              <a:gd name="connsiteY245" fmla="*/ 6587 h 10000"/>
              <a:gd name="connsiteX246" fmla="*/ 274 w 10000"/>
              <a:gd name="connsiteY246" fmla="*/ 6624 h 10000"/>
              <a:gd name="connsiteX247" fmla="*/ 210 w 10000"/>
              <a:gd name="connsiteY247" fmla="*/ 6548 h 10000"/>
              <a:gd name="connsiteX248" fmla="*/ 132 w 10000"/>
              <a:gd name="connsiteY248" fmla="*/ 6663 h 10000"/>
              <a:gd name="connsiteX249" fmla="*/ 183 w 10000"/>
              <a:gd name="connsiteY249" fmla="*/ 6465 h 10000"/>
              <a:gd name="connsiteX250" fmla="*/ 151 w 10000"/>
              <a:gd name="connsiteY25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360 w 10000"/>
              <a:gd name="connsiteY172" fmla="*/ 3080 h 10000"/>
              <a:gd name="connsiteX173" fmla="*/ 7175 w 10000"/>
              <a:gd name="connsiteY173" fmla="*/ 3036 h 10000"/>
              <a:gd name="connsiteX174" fmla="*/ 7307 w 10000"/>
              <a:gd name="connsiteY174" fmla="*/ 3045 h 10000"/>
              <a:gd name="connsiteX175" fmla="*/ 7442 w 10000"/>
              <a:gd name="connsiteY175" fmla="*/ 2999 h 10000"/>
              <a:gd name="connsiteX176" fmla="*/ 7437 w 10000"/>
              <a:gd name="connsiteY176" fmla="*/ 2966 h 10000"/>
              <a:gd name="connsiteX177" fmla="*/ 7565 w 10000"/>
              <a:gd name="connsiteY177" fmla="*/ 2936 h 10000"/>
              <a:gd name="connsiteX178" fmla="*/ 7576 w 10000"/>
              <a:gd name="connsiteY178" fmla="*/ 2859 h 10000"/>
              <a:gd name="connsiteX179" fmla="*/ 7676 w 10000"/>
              <a:gd name="connsiteY179" fmla="*/ 2844 h 10000"/>
              <a:gd name="connsiteX180" fmla="*/ 7684 w 10000"/>
              <a:gd name="connsiteY180" fmla="*/ 2754 h 10000"/>
              <a:gd name="connsiteX181" fmla="*/ 7790 w 10000"/>
              <a:gd name="connsiteY181" fmla="*/ 2743 h 10000"/>
              <a:gd name="connsiteX182" fmla="*/ 7953 w 10000"/>
              <a:gd name="connsiteY182" fmla="*/ 2762 h 10000"/>
              <a:gd name="connsiteX183" fmla="*/ 8132 w 10000"/>
              <a:gd name="connsiteY183" fmla="*/ 2690 h 10000"/>
              <a:gd name="connsiteX184" fmla="*/ 8195 w 10000"/>
              <a:gd name="connsiteY184" fmla="*/ 2607 h 10000"/>
              <a:gd name="connsiteX185" fmla="*/ 8417 w 10000"/>
              <a:gd name="connsiteY185" fmla="*/ 2524 h 10000"/>
              <a:gd name="connsiteX186" fmla="*/ 8527 w 10000"/>
              <a:gd name="connsiteY186" fmla="*/ 2575 h 10000"/>
              <a:gd name="connsiteX187" fmla="*/ 8695 w 10000"/>
              <a:gd name="connsiteY187" fmla="*/ 2519 h 10000"/>
              <a:gd name="connsiteX188" fmla="*/ 8736 w 10000"/>
              <a:gd name="connsiteY188" fmla="*/ 2445 h 10000"/>
              <a:gd name="connsiteX189" fmla="*/ 8864 w 10000"/>
              <a:gd name="connsiteY189" fmla="*/ 2396 h 10000"/>
              <a:gd name="connsiteX190" fmla="*/ 8973 w 10000"/>
              <a:gd name="connsiteY190" fmla="*/ 2418 h 10000"/>
              <a:gd name="connsiteX191" fmla="*/ 9042 w 10000"/>
              <a:gd name="connsiteY191" fmla="*/ 2381 h 10000"/>
              <a:gd name="connsiteX192" fmla="*/ 9231 w 10000"/>
              <a:gd name="connsiteY192" fmla="*/ 2330 h 10000"/>
              <a:gd name="connsiteX193" fmla="*/ 9310 w 10000"/>
              <a:gd name="connsiteY193" fmla="*/ 2263 h 10000"/>
              <a:gd name="connsiteX194" fmla="*/ 9417 w 10000"/>
              <a:gd name="connsiteY194" fmla="*/ 2235 h 10000"/>
              <a:gd name="connsiteX195" fmla="*/ 10000 w 10000"/>
              <a:gd name="connsiteY195" fmla="*/ 1832 h 10000"/>
              <a:gd name="connsiteX196" fmla="*/ 9652 w 10000"/>
              <a:gd name="connsiteY196" fmla="*/ 1699 h 10000"/>
              <a:gd name="connsiteX197" fmla="*/ 9147 w 10000"/>
              <a:gd name="connsiteY197" fmla="*/ 1773 h 10000"/>
              <a:gd name="connsiteX198" fmla="*/ 8784 w 10000"/>
              <a:gd name="connsiteY198" fmla="*/ 1639 h 10000"/>
              <a:gd name="connsiteX199" fmla="*/ 8850 w 10000"/>
              <a:gd name="connsiteY199" fmla="*/ 1480 h 10000"/>
              <a:gd name="connsiteX200" fmla="*/ 7497 w 10000"/>
              <a:gd name="connsiteY200" fmla="*/ 923 h 10000"/>
              <a:gd name="connsiteX201" fmla="*/ 7522 w 10000"/>
              <a:gd name="connsiteY201" fmla="*/ 649 h 10000"/>
              <a:gd name="connsiteX202" fmla="*/ 7012 w 10000"/>
              <a:gd name="connsiteY202" fmla="*/ 590 h 10000"/>
              <a:gd name="connsiteX203" fmla="*/ 6413 w 10000"/>
              <a:gd name="connsiteY203" fmla="*/ 332 h 10000"/>
              <a:gd name="connsiteX204" fmla="*/ 5098 w 10000"/>
              <a:gd name="connsiteY204" fmla="*/ 0 h 10000"/>
              <a:gd name="connsiteX205" fmla="*/ 4837 w 10000"/>
              <a:gd name="connsiteY205" fmla="*/ 82 h 10000"/>
              <a:gd name="connsiteX206" fmla="*/ 4671 w 10000"/>
              <a:gd name="connsiteY206" fmla="*/ 78 h 10000"/>
              <a:gd name="connsiteX207" fmla="*/ 4571 w 10000"/>
              <a:gd name="connsiteY207" fmla="*/ 107 h 10000"/>
              <a:gd name="connsiteX208" fmla="*/ 4298 w 10000"/>
              <a:gd name="connsiteY208" fmla="*/ 913 h 10000"/>
              <a:gd name="connsiteX209" fmla="*/ 3668 w 10000"/>
              <a:gd name="connsiteY209" fmla="*/ 1383 h 10000"/>
              <a:gd name="connsiteX210" fmla="*/ 3672 w 10000"/>
              <a:gd name="connsiteY210" fmla="*/ 1457 h 10000"/>
              <a:gd name="connsiteX211" fmla="*/ 3952 w 10000"/>
              <a:gd name="connsiteY211" fmla="*/ 1668 h 10000"/>
              <a:gd name="connsiteX212" fmla="*/ 3861 w 10000"/>
              <a:gd name="connsiteY212" fmla="*/ 1896 h 10000"/>
              <a:gd name="connsiteX213" fmla="*/ 3698 w 10000"/>
              <a:gd name="connsiteY213" fmla="*/ 1979 h 10000"/>
              <a:gd name="connsiteX214" fmla="*/ 3208 w 10000"/>
              <a:gd name="connsiteY214" fmla="*/ 1924 h 10000"/>
              <a:gd name="connsiteX215" fmla="*/ 2871 w 10000"/>
              <a:gd name="connsiteY215" fmla="*/ 1955 h 10000"/>
              <a:gd name="connsiteX216" fmla="*/ 2601 w 10000"/>
              <a:gd name="connsiteY216" fmla="*/ 2023 h 10000"/>
              <a:gd name="connsiteX217" fmla="*/ 2163 w 10000"/>
              <a:gd name="connsiteY217" fmla="*/ 2233 h 10000"/>
              <a:gd name="connsiteX218" fmla="*/ 1931 w 10000"/>
              <a:gd name="connsiteY218" fmla="*/ 2487 h 10000"/>
              <a:gd name="connsiteX219" fmla="*/ 1951 w 10000"/>
              <a:gd name="connsiteY219" fmla="*/ 2629 h 10000"/>
              <a:gd name="connsiteX220" fmla="*/ 2032 w 10000"/>
              <a:gd name="connsiteY220" fmla="*/ 2738 h 10000"/>
              <a:gd name="connsiteX221" fmla="*/ 2093 w 10000"/>
              <a:gd name="connsiteY221" fmla="*/ 2782 h 10000"/>
              <a:gd name="connsiteX222" fmla="*/ 1979 w 10000"/>
              <a:gd name="connsiteY222" fmla="*/ 2852 h 10000"/>
              <a:gd name="connsiteX223" fmla="*/ 1731 w 10000"/>
              <a:gd name="connsiteY223" fmla="*/ 3330 h 10000"/>
              <a:gd name="connsiteX224" fmla="*/ 1779 w 10000"/>
              <a:gd name="connsiteY224" fmla="*/ 3358 h 10000"/>
              <a:gd name="connsiteX225" fmla="*/ 1815 w 10000"/>
              <a:gd name="connsiteY225" fmla="*/ 3479 h 10000"/>
              <a:gd name="connsiteX226" fmla="*/ 1700 w 10000"/>
              <a:gd name="connsiteY226" fmla="*/ 3982 h 10000"/>
              <a:gd name="connsiteX227" fmla="*/ 1815 w 10000"/>
              <a:gd name="connsiteY227" fmla="*/ 4110 h 10000"/>
              <a:gd name="connsiteX228" fmla="*/ 2131 w 10000"/>
              <a:gd name="connsiteY228" fmla="*/ 4251 h 10000"/>
              <a:gd name="connsiteX229" fmla="*/ 2145 w 10000"/>
              <a:gd name="connsiteY229" fmla="*/ 4423 h 10000"/>
              <a:gd name="connsiteX230" fmla="*/ 2010 w 10000"/>
              <a:gd name="connsiteY230" fmla="*/ 4566 h 10000"/>
              <a:gd name="connsiteX231" fmla="*/ 1815 w 10000"/>
              <a:gd name="connsiteY231" fmla="*/ 4652 h 10000"/>
              <a:gd name="connsiteX232" fmla="*/ 1557 w 10000"/>
              <a:gd name="connsiteY232" fmla="*/ 4687 h 10000"/>
              <a:gd name="connsiteX233" fmla="*/ 1490 w 10000"/>
              <a:gd name="connsiteY233" fmla="*/ 4737 h 10000"/>
              <a:gd name="connsiteX234" fmla="*/ 1640 w 10000"/>
              <a:gd name="connsiteY234" fmla="*/ 4855 h 10000"/>
              <a:gd name="connsiteX235" fmla="*/ 1726 w 10000"/>
              <a:gd name="connsiteY235" fmla="*/ 5136 h 10000"/>
              <a:gd name="connsiteX236" fmla="*/ 1531 w 10000"/>
              <a:gd name="connsiteY236" fmla="*/ 5376 h 10000"/>
              <a:gd name="connsiteX237" fmla="*/ 1599 w 10000"/>
              <a:gd name="connsiteY237" fmla="*/ 5451 h 10000"/>
              <a:gd name="connsiteX238" fmla="*/ 1537 w 10000"/>
              <a:gd name="connsiteY238" fmla="*/ 5577 h 10000"/>
              <a:gd name="connsiteX239" fmla="*/ 1412 w 10000"/>
              <a:gd name="connsiteY239" fmla="*/ 5663 h 10000"/>
              <a:gd name="connsiteX240" fmla="*/ 915 w 10000"/>
              <a:gd name="connsiteY240" fmla="*/ 5730 h 10000"/>
              <a:gd name="connsiteX241" fmla="*/ 885 w 10000"/>
              <a:gd name="connsiteY241" fmla="*/ 5846 h 10000"/>
              <a:gd name="connsiteX242" fmla="*/ 617 w 10000"/>
              <a:gd name="connsiteY242" fmla="*/ 6019 h 10000"/>
              <a:gd name="connsiteX243" fmla="*/ 652 w 10000"/>
              <a:gd name="connsiteY243" fmla="*/ 6268 h 10000"/>
              <a:gd name="connsiteX244" fmla="*/ 427 w 10000"/>
              <a:gd name="connsiteY244" fmla="*/ 6587 h 10000"/>
              <a:gd name="connsiteX245" fmla="*/ 274 w 10000"/>
              <a:gd name="connsiteY245" fmla="*/ 6624 h 10000"/>
              <a:gd name="connsiteX246" fmla="*/ 210 w 10000"/>
              <a:gd name="connsiteY246" fmla="*/ 6548 h 10000"/>
              <a:gd name="connsiteX247" fmla="*/ 132 w 10000"/>
              <a:gd name="connsiteY247" fmla="*/ 6663 h 10000"/>
              <a:gd name="connsiteX248" fmla="*/ 183 w 10000"/>
              <a:gd name="connsiteY248" fmla="*/ 6465 h 10000"/>
              <a:gd name="connsiteX249" fmla="*/ 151 w 10000"/>
              <a:gd name="connsiteY24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437 w 10000"/>
              <a:gd name="connsiteY175" fmla="*/ 2966 h 10000"/>
              <a:gd name="connsiteX176" fmla="*/ 7565 w 10000"/>
              <a:gd name="connsiteY176" fmla="*/ 2936 h 10000"/>
              <a:gd name="connsiteX177" fmla="*/ 7576 w 10000"/>
              <a:gd name="connsiteY177" fmla="*/ 2859 h 10000"/>
              <a:gd name="connsiteX178" fmla="*/ 7676 w 10000"/>
              <a:gd name="connsiteY178" fmla="*/ 2844 h 10000"/>
              <a:gd name="connsiteX179" fmla="*/ 7684 w 10000"/>
              <a:gd name="connsiteY179" fmla="*/ 2754 h 10000"/>
              <a:gd name="connsiteX180" fmla="*/ 7790 w 10000"/>
              <a:gd name="connsiteY180" fmla="*/ 2743 h 10000"/>
              <a:gd name="connsiteX181" fmla="*/ 7953 w 10000"/>
              <a:gd name="connsiteY181" fmla="*/ 2762 h 10000"/>
              <a:gd name="connsiteX182" fmla="*/ 8132 w 10000"/>
              <a:gd name="connsiteY182" fmla="*/ 2690 h 10000"/>
              <a:gd name="connsiteX183" fmla="*/ 8195 w 10000"/>
              <a:gd name="connsiteY183" fmla="*/ 2607 h 10000"/>
              <a:gd name="connsiteX184" fmla="*/ 8417 w 10000"/>
              <a:gd name="connsiteY184" fmla="*/ 2524 h 10000"/>
              <a:gd name="connsiteX185" fmla="*/ 8527 w 10000"/>
              <a:gd name="connsiteY185" fmla="*/ 2575 h 10000"/>
              <a:gd name="connsiteX186" fmla="*/ 8695 w 10000"/>
              <a:gd name="connsiteY186" fmla="*/ 2519 h 10000"/>
              <a:gd name="connsiteX187" fmla="*/ 8736 w 10000"/>
              <a:gd name="connsiteY187" fmla="*/ 2445 h 10000"/>
              <a:gd name="connsiteX188" fmla="*/ 8864 w 10000"/>
              <a:gd name="connsiteY188" fmla="*/ 2396 h 10000"/>
              <a:gd name="connsiteX189" fmla="*/ 8973 w 10000"/>
              <a:gd name="connsiteY189" fmla="*/ 2418 h 10000"/>
              <a:gd name="connsiteX190" fmla="*/ 9042 w 10000"/>
              <a:gd name="connsiteY190" fmla="*/ 2381 h 10000"/>
              <a:gd name="connsiteX191" fmla="*/ 9231 w 10000"/>
              <a:gd name="connsiteY191" fmla="*/ 2330 h 10000"/>
              <a:gd name="connsiteX192" fmla="*/ 9310 w 10000"/>
              <a:gd name="connsiteY192" fmla="*/ 2263 h 10000"/>
              <a:gd name="connsiteX193" fmla="*/ 9417 w 10000"/>
              <a:gd name="connsiteY193" fmla="*/ 2235 h 10000"/>
              <a:gd name="connsiteX194" fmla="*/ 10000 w 10000"/>
              <a:gd name="connsiteY194" fmla="*/ 1832 h 10000"/>
              <a:gd name="connsiteX195" fmla="*/ 9652 w 10000"/>
              <a:gd name="connsiteY195" fmla="*/ 1699 h 10000"/>
              <a:gd name="connsiteX196" fmla="*/ 9147 w 10000"/>
              <a:gd name="connsiteY196" fmla="*/ 1773 h 10000"/>
              <a:gd name="connsiteX197" fmla="*/ 8784 w 10000"/>
              <a:gd name="connsiteY197" fmla="*/ 1639 h 10000"/>
              <a:gd name="connsiteX198" fmla="*/ 8850 w 10000"/>
              <a:gd name="connsiteY198" fmla="*/ 1480 h 10000"/>
              <a:gd name="connsiteX199" fmla="*/ 7497 w 10000"/>
              <a:gd name="connsiteY199" fmla="*/ 923 h 10000"/>
              <a:gd name="connsiteX200" fmla="*/ 7522 w 10000"/>
              <a:gd name="connsiteY200" fmla="*/ 649 h 10000"/>
              <a:gd name="connsiteX201" fmla="*/ 7012 w 10000"/>
              <a:gd name="connsiteY201" fmla="*/ 590 h 10000"/>
              <a:gd name="connsiteX202" fmla="*/ 6413 w 10000"/>
              <a:gd name="connsiteY202" fmla="*/ 332 h 10000"/>
              <a:gd name="connsiteX203" fmla="*/ 5098 w 10000"/>
              <a:gd name="connsiteY203" fmla="*/ 0 h 10000"/>
              <a:gd name="connsiteX204" fmla="*/ 4837 w 10000"/>
              <a:gd name="connsiteY204" fmla="*/ 82 h 10000"/>
              <a:gd name="connsiteX205" fmla="*/ 4671 w 10000"/>
              <a:gd name="connsiteY205" fmla="*/ 78 h 10000"/>
              <a:gd name="connsiteX206" fmla="*/ 4571 w 10000"/>
              <a:gd name="connsiteY206" fmla="*/ 107 h 10000"/>
              <a:gd name="connsiteX207" fmla="*/ 4298 w 10000"/>
              <a:gd name="connsiteY207" fmla="*/ 913 h 10000"/>
              <a:gd name="connsiteX208" fmla="*/ 3668 w 10000"/>
              <a:gd name="connsiteY208" fmla="*/ 1383 h 10000"/>
              <a:gd name="connsiteX209" fmla="*/ 3672 w 10000"/>
              <a:gd name="connsiteY209" fmla="*/ 1457 h 10000"/>
              <a:gd name="connsiteX210" fmla="*/ 3952 w 10000"/>
              <a:gd name="connsiteY210" fmla="*/ 1668 h 10000"/>
              <a:gd name="connsiteX211" fmla="*/ 3861 w 10000"/>
              <a:gd name="connsiteY211" fmla="*/ 1896 h 10000"/>
              <a:gd name="connsiteX212" fmla="*/ 3698 w 10000"/>
              <a:gd name="connsiteY212" fmla="*/ 1979 h 10000"/>
              <a:gd name="connsiteX213" fmla="*/ 3208 w 10000"/>
              <a:gd name="connsiteY213" fmla="*/ 1924 h 10000"/>
              <a:gd name="connsiteX214" fmla="*/ 2871 w 10000"/>
              <a:gd name="connsiteY214" fmla="*/ 1955 h 10000"/>
              <a:gd name="connsiteX215" fmla="*/ 2601 w 10000"/>
              <a:gd name="connsiteY215" fmla="*/ 2023 h 10000"/>
              <a:gd name="connsiteX216" fmla="*/ 2163 w 10000"/>
              <a:gd name="connsiteY216" fmla="*/ 2233 h 10000"/>
              <a:gd name="connsiteX217" fmla="*/ 1931 w 10000"/>
              <a:gd name="connsiteY217" fmla="*/ 2487 h 10000"/>
              <a:gd name="connsiteX218" fmla="*/ 1951 w 10000"/>
              <a:gd name="connsiteY218" fmla="*/ 2629 h 10000"/>
              <a:gd name="connsiteX219" fmla="*/ 2032 w 10000"/>
              <a:gd name="connsiteY219" fmla="*/ 2738 h 10000"/>
              <a:gd name="connsiteX220" fmla="*/ 2093 w 10000"/>
              <a:gd name="connsiteY220" fmla="*/ 2782 h 10000"/>
              <a:gd name="connsiteX221" fmla="*/ 1979 w 10000"/>
              <a:gd name="connsiteY221" fmla="*/ 2852 h 10000"/>
              <a:gd name="connsiteX222" fmla="*/ 1731 w 10000"/>
              <a:gd name="connsiteY222" fmla="*/ 3330 h 10000"/>
              <a:gd name="connsiteX223" fmla="*/ 1779 w 10000"/>
              <a:gd name="connsiteY223" fmla="*/ 3358 h 10000"/>
              <a:gd name="connsiteX224" fmla="*/ 1815 w 10000"/>
              <a:gd name="connsiteY224" fmla="*/ 3479 h 10000"/>
              <a:gd name="connsiteX225" fmla="*/ 1700 w 10000"/>
              <a:gd name="connsiteY225" fmla="*/ 3982 h 10000"/>
              <a:gd name="connsiteX226" fmla="*/ 1815 w 10000"/>
              <a:gd name="connsiteY226" fmla="*/ 4110 h 10000"/>
              <a:gd name="connsiteX227" fmla="*/ 2131 w 10000"/>
              <a:gd name="connsiteY227" fmla="*/ 4251 h 10000"/>
              <a:gd name="connsiteX228" fmla="*/ 2145 w 10000"/>
              <a:gd name="connsiteY228" fmla="*/ 4423 h 10000"/>
              <a:gd name="connsiteX229" fmla="*/ 2010 w 10000"/>
              <a:gd name="connsiteY229" fmla="*/ 4566 h 10000"/>
              <a:gd name="connsiteX230" fmla="*/ 1815 w 10000"/>
              <a:gd name="connsiteY230" fmla="*/ 4652 h 10000"/>
              <a:gd name="connsiteX231" fmla="*/ 1557 w 10000"/>
              <a:gd name="connsiteY231" fmla="*/ 4687 h 10000"/>
              <a:gd name="connsiteX232" fmla="*/ 1490 w 10000"/>
              <a:gd name="connsiteY232" fmla="*/ 4737 h 10000"/>
              <a:gd name="connsiteX233" fmla="*/ 1640 w 10000"/>
              <a:gd name="connsiteY233" fmla="*/ 4855 h 10000"/>
              <a:gd name="connsiteX234" fmla="*/ 1726 w 10000"/>
              <a:gd name="connsiteY234" fmla="*/ 5136 h 10000"/>
              <a:gd name="connsiteX235" fmla="*/ 1531 w 10000"/>
              <a:gd name="connsiteY235" fmla="*/ 5376 h 10000"/>
              <a:gd name="connsiteX236" fmla="*/ 1599 w 10000"/>
              <a:gd name="connsiteY236" fmla="*/ 5451 h 10000"/>
              <a:gd name="connsiteX237" fmla="*/ 1537 w 10000"/>
              <a:gd name="connsiteY237" fmla="*/ 5577 h 10000"/>
              <a:gd name="connsiteX238" fmla="*/ 1412 w 10000"/>
              <a:gd name="connsiteY238" fmla="*/ 5663 h 10000"/>
              <a:gd name="connsiteX239" fmla="*/ 915 w 10000"/>
              <a:gd name="connsiteY239" fmla="*/ 5730 h 10000"/>
              <a:gd name="connsiteX240" fmla="*/ 885 w 10000"/>
              <a:gd name="connsiteY240" fmla="*/ 5846 h 10000"/>
              <a:gd name="connsiteX241" fmla="*/ 617 w 10000"/>
              <a:gd name="connsiteY241" fmla="*/ 6019 h 10000"/>
              <a:gd name="connsiteX242" fmla="*/ 652 w 10000"/>
              <a:gd name="connsiteY242" fmla="*/ 6268 h 10000"/>
              <a:gd name="connsiteX243" fmla="*/ 427 w 10000"/>
              <a:gd name="connsiteY243" fmla="*/ 6587 h 10000"/>
              <a:gd name="connsiteX244" fmla="*/ 274 w 10000"/>
              <a:gd name="connsiteY244" fmla="*/ 6624 h 10000"/>
              <a:gd name="connsiteX245" fmla="*/ 210 w 10000"/>
              <a:gd name="connsiteY245" fmla="*/ 6548 h 10000"/>
              <a:gd name="connsiteX246" fmla="*/ 132 w 10000"/>
              <a:gd name="connsiteY246" fmla="*/ 6663 h 10000"/>
              <a:gd name="connsiteX247" fmla="*/ 183 w 10000"/>
              <a:gd name="connsiteY247" fmla="*/ 6465 h 10000"/>
              <a:gd name="connsiteX248" fmla="*/ 151 w 10000"/>
              <a:gd name="connsiteY24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576 w 10000"/>
              <a:gd name="connsiteY176" fmla="*/ 2859 h 10000"/>
              <a:gd name="connsiteX177" fmla="*/ 7676 w 10000"/>
              <a:gd name="connsiteY177" fmla="*/ 2844 h 10000"/>
              <a:gd name="connsiteX178" fmla="*/ 7684 w 10000"/>
              <a:gd name="connsiteY178" fmla="*/ 2754 h 10000"/>
              <a:gd name="connsiteX179" fmla="*/ 7790 w 10000"/>
              <a:gd name="connsiteY179" fmla="*/ 2743 h 10000"/>
              <a:gd name="connsiteX180" fmla="*/ 7953 w 10000"/>
              <a:gd name="connsiteY180" fmla="*/ 2762 h 10000"/>
              <a:gd name="connsiteX181" fmla="*/ 8132 w 10000"/>
              <a:gd name="connsiteY181" fmla="*/ 2690 h 10000"/>
              <a:gd name="connsiteX182" fmla="*/ 8195 w 10000"/>
              <a:gd name="connsiteY182" fmla="*/ 2607 h 10000"/>
              <a:gd name="connsiteX183" fmla="*/ 8417 w 10000"/>
              <a:gd name="connsiteY183" fmla="*/ 2524 h 10000"/>
              <a:gd name="connsiteX184" fmla="*/ 8527 w 10000"/>
              <a:gd name="connsiteY184" fmla="*/ 2575 h 10000"/>
              <a:gd name="connsiteX185" fmla="*/ 8695 w 10000"/>
              <a:gd name="connsiteY185" fmla="*/ 2519 h 10000"/>
              <a:gd name="connsiteX186" fmla="*/ 8736 w 10000"/>
              <a:gd name="connsiteY186" fmla="*/ 2445 h 10000"/>
              <a:gd name="connsiteX187" fmla="*/ 8864 w 10000"/>
              <a:gd name="connsiteY187" fmla="*/ 2396 h 10000"/>
              <a:gd name="connsiteX188" fmla="*/ 8973 w 10000"/>
              <a:gd name="connsiteY188" fmla="*/ 2418 h 10000"/>
              <a:gd name="connsiteX189" fmla="*/ 9042 w 10000"/>
              <a:gd name="connsiteY189" fmla="*/ 2381 h 10000"/>
              <a:gd name="connsiteX190" fmla="*/ 9231 w 10000"/>
              <a:gd name="connsiteY190" fmla="*/ 2330 h 10000"/>
              <a:gd name="connsiteX191" fmla="*/ 9310 w 10000"/>
              <a:gd name="connsiteY191" fmla="*/ 2263 h 10000"/>
              <a:gd name="connsiteX192" fmla="*/ 9417 w 10000"/>
              <a:gd name="connsiteY192" fmla="*/ 2235 h 10000"/>
              <a:gd name="connsiteX193" fmla="*/ 10000 w 10000"/>
              <a:gd name="connsiteY193" fmla="*/ 1832 h 10000"/>
              <a:gd name="connsiteX194" fmla="*/ 9652 w 10000"/>
              <a:gd name="connsiteY194" fmla="*/ 1699 h 10000"/>
              <a:gd name="connsiteX195" fmla="*/ 9147 w 10000"/>
              <a:gd name="connsiteY195" fmla="*/ 1773 h 10000"/>
              <a:gd name="connsiteX196" fmla="*/ 8784 w 10000"/>
              <a:gd name="connsiteY196" fmla="*/ 1639 h 10000"/>
              <a:gd name="connsiteX197" fmla="*/ 8850 w 10000"/>
              <a:gd name="connsiteY197" fmla="*/ 1480 h 10000"/>
              <a:gd name="connsiteX198" fmla="*/ 7497 w 10000"/>
              <a:gd name="connsiteY198" fmla="*/ 923 h 10000"/>
              <a:gd name="connsiteX199" fmla="*/ 7522 w 10000"/>
              <a:gd name="connsiteY199" fmla="*/ 649 h 10000"/>
              <a:gd name="connsiteX200" fmla="*/ 7012 w 10000"/>
              <a:gd name="connsiteY200" fmla="*/ 590 h 10000"/>
              <a:gd name="connsiteX201" fmla="*/ 6413 w 10000"/>
              <a:gd name="connsiteY201" fmla="*/ 332 h 10000"/>
              <a:gd name="connsiteX202" fmla="*/ 5098 w 10000"/>
              <a:gd name="connsiteY202" fmla="*/ 0 h 10000"/>
              <a:gd name="connsiteX203" fmla="*/ 4837 w 10000"/>
              <a:gd name="connsiteY203" fmla="*/ 82 h 10000"/>
              <a:gd name="connsiteX204" fmla="*/ 4671 w 10000"/>
              <a:gd name="connsiteY204" fmla="*/ 78 h 10000"/>
              <a:gd name="connsiteX205" fmla="*/ 4571 w 10000"/>
              <a:gd name="connsiteY205" fmla="*/ 107 h 10000"/>
              <a:gd name="connsiteX206" fmla="*/ 4298 w 10000"/>
              <a:gd name="connsiteY206" fmla="*/ 913 h 10000"/>
              <a:gd name="connsiteX207" fmla="*/ 3668 w 10000"/>
              <a:gd name="connsiteY207" fmla="*/ 1383 h 10000"/>
              <a:gd name="connsiteX208" fmla="*/ 3672 w 10000"/>
              <a:gd name="connsiteY208" fmla="*/ 1457 h 10000"/>
              <a:gd name="connsiteX209" fmla="*/ 3952 w 10000"/>
              <a:gd name="connsiteY209" fmla="*/ 1668 h 10000"/>
              <a:gd name="connsiteX210" fmla="*/ 3861 w 10000"/>
              <a:gd name="connsiteY210" fmla="*/ 1896 h 10000"/>
              <a:gd name="connsiteX211" fmla="*/ 3698 w 10000"/>
              <a:gd name="connsiteY211" fmla="*/ 1979 h 10000"/>
              <a:gd name="connsiteX212" fmla="*/ 3208 w 10000"/>
              <a:gd name="connsiteY212" fmla="*/ 1924 h 10000"/>
              <a:gd name="connsiteX213" fmla="*/ 2871 w 10000"/>
              <a:gd name="connsiteY213" fmla="*/ 1955 h 10000"/>
              <a:gd name="connsiteX214" fmla="*/ 2601 w 10000"/>
              <a:gd name="connsiteY214" fmla="*/ 2023 h 10000"/>
              <a:gd name="connsiteX215" fmla="*/ 2163 w 10000"/>
              <a:gd name="connsiteY215" fmla="*/ 2233 h 10000"/>
              <a:gd name="connsiteX216" fmla="*/ 1931 w 10000"/>
              <a:gd name="connsiteY216" fmla="*/ 2487 h 10000"/>
              <a:gd name="connsiteX217" fmla="*/ 1951 w 10000"/>
              <a:gd name="connsiteY217" fmla="*/ 2629 h 10000"/>
              <a:gd name="connsiteX218" fmla="*/ 2032 w 10000"/>
              <a:gd name="connsiteY218" fmla="*/ 2738 h 10000"/>
              <a:gd name="connsiteX219" fmla="*/ 2093 w 10000"/>
              <a:gd name="connsiteY219" fmla="*/ 2782 h 10000"/>
              <a:gd name="connsiteX220" fmla="*/ 1979 w 10000"/>
              <a:gd name="connsiteY220" fmla="*/ 2852 h 10000"/>
              <a:gd name="connsiteX221" fmla="*/ 1731 w 10000"/>
              <a:gd name="connsiteY221" fmla="*/ 3330 h 10000"/>
              <a:gd name="connsiteX222" fmla="*/ 1779 w 10000"/>
              <a:gd name="connsiteY222" fmla="*/ 3358 h 10000"/>
              <a:gd name="connsiteX223" fmla="*/ 1815 w 10000"/>
              <a:gd name="connsiteY223" fmla="*/ 3479 h 10000"/>
              <a:gd name="connsiteX224" fmla="*/ 1700 w 10000"/>
              <a:gd name="connsiteY224" fmla="*/ 3982 h 10000"/>
              <a:gd name="connsiteX225" fmla="*/ 1815 w 10000"/>
              <a:gd name="connsiteY225" fmla="*/ 4110 h 10000"/>
              <a:gd name="connsiteX226" fmla="*/ 2131 w 10000"/>
              <a:gd name="connsiteY226" fmla="*/ 4251 h 10000"/>
              <a:gd name="connsiteX227" fmla="*/ 2145 w 10000"/>
              <a:gd name="connsiteY227" fmla="*/ 4423 h 10000"/>
              <a:gd name="connsiteX228" fmla="*/ 2010 w 10000"/>
              <a:gd name="connsiteY228" fmla="*/ 4566 h 10000"/>
              <a:gd name="connsiteX229" fmla="*/ 1815 w 10000"/>
              <a:gd name="connsiteY229" fmla="*/ 4652 h 10000"/>
              <a:gd name="connsiteX230" fmla="*/ 1557 w 10000"/>
              <a:gd name="connsiteY230" fmla="*/ 4687 h 10000"/>
              <a:gd name="connsiteX231" fmla="*/ 1490 w 10000"/>
              <a:gd name="connsiteY231" fmla="*/ 4737 h 10000"/>
              <a:gd name="connsiteX232" fmla="*/ 1640 w 10000"/>
              <a:gd name="connsiteY232" fmla="*/ 4855 h 10000"/>
              <a:gd name="connsiteX233" fmla="*/ 1726 w 10000"/>
              <a:gd name="connsiteY233" fmla="*/ 5136 h 10000"/>
              <a:gd name="connsiteX234" fmla="*/ 1531 w 10000"/>
              <a:gd name="connsiteY234" fmla="*/ 5376 h 10000"/>
              <a:gd name="connsiteX235" fmla="*/ 1599 w 10000"/>
              <a:gd name="connsiteY235" fmla="*/ 5451 h 10000"/>
              <a:gd name="connsiteX236" fmla="*/ 1537 w 10000"/>
              <a:gd name="connsiteY236" fmla="*/ 5577 h 10000"/>
              <a:gd name="connsiteX237" fmla="*/ 1412 w 10000"/>
              <a:gd name="connsiteY237" fmla="*/ 5663 h 10000"/>
              <a:gd name="connsiteX238" fmla="*/ 915 w 10000"/>
              <a:gd name="connsiteY238" fmla="*/ 5730 h 10000"/>
              <a:gd name="connsiteX239" fmla="*/ 885 w 10000"/>
              <a:gd name="connsiteY239" fmla="*/ 5846 h 10000"/>
              <a:gd name="connsiteX240" fmla="*/ 617 w 10000"/>
              <a:gd name="connsiteY240" fmla="*/ 6019 h 10000"/>
              <a:gd name="connsiteX241" fmla="*/ 652 w 10000"/>
              <a:gd name="connsiteY241" fmla="*/ 6268 h 10000"/>
              <a:gd name="connsiteX242" fmla="*/ 427 w 10000"/>
              <a:gd name="connsiteY242" fmla="*/ 6587 h 10000"/>
              <a:gd name="connsiteX243" fmla="*/ 274 w 10000"/>
              <a:gd name="connsiteY243" fmla="*/ 6624 h 10000"/>
              <a:gd name="connsiteX244" fmla="*/ 210 w 10000"/>
              <a:gd name="connsiteY244" fmla="*/ 6548 h 10000"/>
              <a:gd name="connsiteX245" fmla="*/ 132 w 10000"/>
              <a:gd name="connsiteY245" fmla="*/ 6663 h 10000"/>
              <a:gd name="connsiteX246" fmla="*/ 183 w 10000"/>
              <a:gd name="connsiteY246" fmla="*/ 6465 h 10000"/>
              <a:gd name="connsiteX247" fmla="*/ 151 w 10000"/>
              <a:gd name="connsiteY24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76 w 10000"/>
              <a:gd name="connsiteY176" fmla="*/ 2844 h 10000"/>
              <a:gd name="connsiteX177" fmla="*/ 7684 w 10000"/>
              <a:gd name="connsiteY177" fmla="*/ 2754 h 10000"/>
              <a:gd name="connsiteX178" fmla="*/ 7790 w 10000"/>
              <a:gd name="connsiteY178" fmla="*/ 2743 h 10000"/>
              <a:gd name="connsiteX179" fmla="*/ 7953 w 10000"/>
              <a:gd name="connsiteY179" fmla="*/ 2762 h 10000"/>
              <a:gd name="connsiteX180" fmla="*/ 8132 w 10000"/>
              <a:gd name="connsiteY180" fmla="*/ 2690 h 10000"/>
              <a:gd name="connsiteX181" fmla="*/ 8195 w 10000"/>
              <a:gd name="connsiteY181" fmla="*/ 2607 h 10000"/>
              <a:gd name="connsiteX182" fmla="*/ 8417 w 10000"/>
              <a:gd name="connsiteY182" fmla="*/ 2524 h 10000"/>
              <a:gd name="connsiteX183" fmla="*/ 8527 w 10000"/>
              <a:gd name="connsiteY183" fmla="*/ 2575 h 10000"/>
              <a:gd name="connsiteX184" fmla="*/ 8695 w 10000"/>
              <a:gd name="connsiteY184" fmla="*/ 2519 h 10000"/>
              <a:gd name="connsiteX185" fmla="*/ 8736 w 10000"/>
              <a:gd name="connsiteY185" fmla="*/ 2445 h 10000"/>
              <a:gd name="connsiteX186" fmla="*/ 8864 w 10000"/>
              <a:gd name="connsiteY186" fmla="*/ 2396 h 10000"/>
              <a:gd name="connsiteX187" fmla="*/ 8973 w 10000"/>
              <a:gd name="connsiteY187" fmla="*/ 2418 h 10000"/>
              <a:gd name="connsiteX188" fmla="*/ 9042 w 10000"/>
              <a:gd name="connsiteY188" fmla="*/ 2381 h 10000"/>
              <a:gd name="connsiteX189" fmla="*/ 9231 w 10000"/>
              <a:gd name="connsiteY189" fmla="*/ 2330 h 10000"/>
              <a:gd name="connsiteX190" fmla="*/ 9310 w 10000"/>
              <a:gd name="connsiteY190" fmla="*/ 2263 h 10000"/>
              <a:gd name="connsiteX191" fmla="*/ 9417 w 10000"/>
              <a:gd name="connsiteY191" fmla="*/ 2235 h 10000"/>
              <a:gd name="connsiteX192" fmla="*/ 10000 w 10000"/>
              <a:gd name="connsiteY192" fmla="*/ 1832 h 10000"/>
              <a:gd name="connsiteX193" fmla="*/ 9652 w 10000"/>
              <a:gd name="connsiteY193" fmla="*/ 1699 h 10000"/>
              <a:gd name="connsiteX194" fmla="*/ 9147 w 10000"/>
              <a:gd name="connsiteY194" fmla="*/ 1773 h 10000"/>
              <a:gd name="connsiteX195" fmla="*/ 8784 w 10000"/>
              <a:gd name="connsiteY195" fmla="*/ 1639 h 10000"/>
              <a:gd name="connsiteX196" fmla="*/ 8850 w 10000"/>
              <a:gd name="connsiteY196" fmla="*/ 1480 h 10000"/>
              <a:gd name="connsiteX197" fmla="*/ 7497 w 10000"/>
              <a:gd name="connsiteY197" fmla="*/ 923 h 10000"/>
              <a:gd name="connsiteX198" fmla="*/ 7522 w 10000"/>
              <a:gd name="connsiteY198" fmla="*/ 649 h 10000"/>
              <a:gd name="connsiteX199" fmla="*/ 7012 w 10000"/>
              <a:gd name="connsiteY199" fmla="*/ 590 h 10000"/>
              <a:gd name="connsiteX200" fmla="*/ 6413 w 10000"/>
              <a:gd name="connsiteY200" fmla="*/ 332 h 10000"/>
              <a:gd name="connsiteX201" fmla="*/ 5098 w 10000"/>
              <a:gd name="connsiteY201" fmla="*/ 0 h 10000"/>
              <a:gd name="connsiteX202" fmla="*/ 4837 w 10000"/>
              <a:gd name="connsiteY202" fmla="*/ 82 h 10000"/>
              <a:gd name="connsiteX203" fmla="*/ 4671 w 10000"/>
              <a:gd name="connsiteY203" fmla="*/ 78 h 10000"/>
              <a:gd name="connsiteX204" fmla="*/ 4571 w 10000"/>
              <a:gd name="connsiteY204" fmla="*/ 107 h 10000"/>
              <a:gd name="connsiteX205" fmla="*/ 4298 w 10000"/>
              <a:gd name="connsiteY205" fmla="*/ 913 h 10000"/>
              <a:gd name="connsiteX206" fmla="*/ 3668 w 10000"/>
              <a:gd name="connsiteY206" fmla="*/ 1383 h 10000"/>
              <a:gd name="connsiteX207" fmla="*/ 3672 w 10000"/>
              <a:gd name="connsiteY207" fmla="*/ 1457 h 10000"/>
              <a:gd name="connsiteX208" fmla="*/ 3952 w 10000"/>
              <a:gd name="connsiteY208" fmla="*/ 1668 h 10000"/>
              <a:gd name="connsiteX209" fmla="*/ 3861 w 10000"/>
              <a:gd name="connsiteY209" fmla="*/ 1896 h 10000"/>
              <a:gd name="connsiteX210" fmla="*/ 3698 w 10000"/>
              <a:gd name="connsiteY210" fmla="*/ 1979 h 10000"/>
              <a:gd name="connsiteX211" fmla="*/ 3208 w 10000"/>
              <a:gd name="connsiteY211" fmla="*/ 1924 h 10000"/>
              <a:gd name="connsiteX212" fmla="*/ 2871 w 10000"/>
              <a:gd name="connsiteY212" fmla="*/ 1955 h 10000"/>
              <a:gd name="connsiteX213" fmla="*/ 2601 w 10000"/>
              <a:gd name="connsiteY213" fmla="*/ 2023 h 10000"/>
              <a:gd name="connsiteX214" fmla="*/ 2163 w 10000"/>
              <a:gd name="connsiteY214" fmla="*/ 2233 h 10000"/>
              <a:gd name="connsiteX215" fmla="*/ 1931 w 10000"/>
              <a:gd name="connsiteY215" fmla="*/ 2487 h 10000"/>
              <a:gd name="connsiteX216" fmla="*/ 1951 w 10000"/>
              <a:gd name="connsiteY216" fmla="*/ 2629 h 10000"/>
              <a:gd name="connsiteX217" fmla="*/ 2032 w 10000"/>
              <a:gd name="connsiteY217" fmla="*/ 2738 h 10000"/>
              <a:gd name="connsiteX218" fmla="*/ 2093 w 10000"/>
              <a:gd name="connsiteY218" fmla="*/ 2782 h 10000"/>
              <a:gd name="connsiteX219" fmla="*/ 1979 w 10000"/>
              <a:gd name="connsiteY219" fmla="*/ 2852 h 10000"/>
              <a:gd name="connsiteX220" fmla="*/ 1731 w 10000"/>
              <a:gd name="connsiteY220" fmla="*/ 3330 h 10000"/>
              <a:gd name="connsiteX221" fmla="*/ 1779 w 10000"/>
              <a:gd name="connsiteY221" fmla="*/ 3358 h 10000"/>
              <a:gd name="connsiteX222" fmla="*/ 1815 w 10000"/>
              <a:gd name="connsiteY222" fmla="*/ 3479 h 10000"/>
              <a:gd name="connsiteX223" fmla="*/ 1700 w 10000"/>
              <a:gd name="connsiteY223" fmla="*/ 3982 h 10000"/>
              <a:gd name="connsiteX224" fmla="*/ 1815 w 10000"/>
              <a:gd name="connsiteY224" fmla="*/ 4110 h 10000"/>
              <a:gd name="connsiteX225" fmla="*/ 2131 w 10000"/>
              <a:gd name="connsiteY225" fmla="*/ 4251 h 10000"/>
              <a:gd name="connsiteX226" fmla="*/ 2145 w 10000"/>
              <a:gd name="connsiteY226" fmla="*/ 4423 h 10000"/>
              <a:gd name="connsiteX227" fmla="*/ 2010 w 10000"/>
              <a:gd name="connsiteY227" fmla="*/ 4566 h 10000"/>
              <a:gd name="connsiteX228" fmla="*/ 1815 w 10000"/>
              <a:gd name="connsiteY228" fmla="*/ 4652 h 10000"/>
              <a:gd name="connsiteX229" fmla="*/ 1557 w 10000"/>
              <a:gd name="connsiteY229" fmla="*/ 4687 h 10000"/>
              <a:gd name="connsiteX230" fmla="*/ 1490 w 10000"/>
              <a:gd name="connsiteY230" fmla="*/ 4737 h 10000"/>
              <a:gd name="connsiteX231" fmla="*/ 1640 w 10000"/>
              <a:gd name="connsiteY231" fmla="*/ 4855 h 10000"/>
              <a:gd name="connsiteX232" fmla="*/ 1726 w 10000"/>
              <a:gd name="connsiteY232" fmla="*/ 5136 h 10000"/>
              <a:gd name="connsiteX233" fmla="*/ 1531 w 10000"/>
              <a:gd name="connsiteY233" fmla="*/ 5376 h 10000"/>
              <a:gd name="connsiteX234" fmla="*/ 1599 w 10000"/>
              <a:gd name="connsiteY234" fmla="*/ 5451 h 10000"/>
              <a:gd name="connsiteX235" fmla="*/ 1537 w 10000"/>
              <a:gd name="connsiteY235" fmla="*/ 5577 h 10000"/>
              <a:gd name="connsiteX236" fmla="*/ 1412 w 10000"/>
              <a:gd name="connsiteY236" fmla="*/ 5663 h 10000"/>
              <a:gd name="connsiteX237" fmla="*/ 915 w 10000"/>
              <a:gd name="connsiteY237" fmla="*/ 5730 h 10000"/>
              <a:gd name="connsiteX238" fmla="*/ 885 w 10000"/>
              <a:gd name="connsiteY238" fmla="*/ 5846 h 10000"/>
              <a:gd name="connsiteX239" fmla="*/ 617 w 10000"/>
              <a:gd name="connsiteY239" fmla="*/ 6019 h 10000"/>
              <a:gd name="connsiteX240" fmla="*/ 652 w 10000"/>
              <a:gd name="connsiteY240" fmla="*/ 6268 h 10000"/>
              <a:gd name="connsiteX241" fmla="*/ 427 w 10000"/>
              <a:gd name="connsiteY241" fmla="*/ 6587 h 10000"/>
              <a:gd name="connsiteX242" fmla="*/ 274 w 10000"/>
              <a:gd name="connsiteY242" fmla="*/ 6624 h 10000"/>
              <a:gd name="connsiteX243" fmla="*/ 210 w 10000"/>
              <a:gd name="connsiteY243" fmla="*/ 6548 h 10000"/>
              <a:gd name="connsiteX244" fmla="*/ 132 w 10000"/>
              <a:gd name="connsiteY244" fmla="*/ 6663 h 10000"/>
              <a:gd name="connsiteX245" fmla="*/ 183 w 10000"/>
              <a:gd name="connsiteY245" fmla="*/ 6465 h 10000"/>
              <a:gd name="connsiteX246" fmla="*/ 151 w 10000"/>
              <a:gd name="connsiteY24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7790 w 10000"/>
              <a:gd name="connsiteY177" fmla="*/ 2743 h 10000"/>
              <a:gd name="connsiteX178" fmla="*/ 7953 w 10000"/>
              <a:gd name="connsiteY178" fmla="*/ 2762 h 10000"/>
              <a:gd name="connsiteX179" fmla="*/ 8132 w 10000"/>
              <a:gd name="connsiteY179" fmla="*/ 2690 h 10000"/>
              <a:gd name="connsiteX180" fmla="*/ 8195 w 10000"/>
              <a:gd name="connsiteY180" fmla="*/ 2607 h 10000"/>
              <a:gd name="connsiteX181" fmla="*/ 8417 w 10000"/>
              <a:gd name="connsiteY181" fmla="*/ 2524 h 10000"/>
              <a:gd name="connsiteX182" fmla="*/ 8527 w 10000"/>
              <a:gd name="connsiteY182" fmla="*/ 2575 h 10000"/>
              <a:gd name="connsiteX183" fmla="*/ 8695 w 10000"/>
              <a:gd name="connsiteY183" fmla="*/ 2519 h 10000"/>
              <a:gd name="connsiteX184" fmla="*/ 8736 w 10000"/>
              <a:gd name="connsiteY184" fmla="*/ 2445 h 10000"/>
              <a:gd name="connsiteX185" fmla="*/ 8864 w 10000"/>
              <a:gd name="connsiteY185" fmla="*/ 2396 h 10000"/>
              <a:gd name="connsiteX186" fmla="*/ 8973 w 10000"/>
              <a:gd name="connsiteY186" fmla="*/ 2418 h 10000"/>
              <a:gd name="connsiteX187" fmla="*/ 9042 w 10000"/>
              <a:gd name="connsiteY187" fmla="*/ 2381 h 10000"/>
              <a:gd name="connsiteX188" fmla="*/ 9231 w 10000"/>
              <a:gd name="connsiteY188" fmla="*/ 2330 h 10000"/>
              <a:gd name="connsiteX189" fmla="*/ 9310 w 10000"/>
              <a:gd name="connsiteY189" fmla="*/ 2263 h 10000"/>
              <a:gd name="connsiteX190" fmla="*/ 9417 w 10000"/>
              <a:gd name="connsiteY190" fmla="*/ 2235 h 10000"/>
              <a:gd name="connsiteX191" fmla="*/ 10000 w 10000"/>
              <a:gd name="connsiteY191" fmla="*/ 1832 h 10000"/>
              <a:gd name="connsiteX192" fmla="*/ 9652 w 10000"/>
              <a:gd name="connsiteY192" fmla="*/ 1699 h 10000"/>
              <a:gd name="connsiteX193" fmla="*/ 9147 w 10000"/>
              <a:gd name="connsiteY193" fmla="*/ 1773 h 10000"/>
              <a:gd name="connsiteX194" fmla="*/ 8784 w 10000"/>
              <a:gd name="connsiteY194" fmla="*/ 1639 h 10000"/>
              <a:gd name="connsiteX195" fmla="*/ 8850 w 10000"/>
              <a:gd name="connsiteY195" fmla="*/ 1480 h 10000"/>
              <a:gd name="connsiteX196" fmla="*/ 7497 w 10000"/>
              <a:gd name="connsiteY196" fmla="*/ 923 h 10000"/>
              <a:gd name="connsiteX197" fmla="*/ 7522 w 10000"/>
              <a:gd name="connsiteY197" fmla="*/ 649 h 10000"/>
              <a:gd name="connsiteX198" fmla="*/ 7012 w 10000"/>
              <a:gd name="connsiteY198" fmla="*/ 590 h 10000"/>
              <a:gd name="connsiteX199" fmla="*/ 6413 w 10000"/>
              <a:gd name="connsiteY199" fmla="*/ 332 h 10000"/>
              <a:gd name="connsiteX200" fmla="*/ 5098 w 10000"/>
              <a:gd name="connsiteY200" fmla="*/ 0 h 10000"/>
              <a:gd name="connsiteX201" fmla="*/ 4837 w 10000"/>
              <a:gd name="connsiteY201" fmla="*/ 82 h 10000"/>
              <a:gd name="connsiteX202" fmla="*/ 4671 w 10000"/>
              <a:gd name="connsiteY202" fmla="*/ 78 h 10000"/>
              <a:gd name="connsiteX203" fmla="*/ 4571 w 10000"/>
              <a:gd name="connsiteY203" fmla="*/ 107 h 10000"/>
              <a:gd name="connsiteX204" fmla="*/ 4298 w 10000"/>
              <a:gd name="connsiteY204" fmla="*/ 913 h 10000"/>
              <a:gd name="connsiteX205" fmla="*/ 3668 w 10000"/>
              <a:gd name="connsiteY205" fmla="*/ 1383 h 10000"/>
              <a:gd name="connsiteX206" fmla="*/ 3672 w 10000"/>
              <a:gd name="connsiteY206" fmla="*/ 1457 h 10000"/>
              <a:gd name="connsiteX207" fmla="*/ 3952 w 10000"/>
              <a:gd name="connsiteY207" fmla="*/ 1668 h 10000"/>
              <a:gd name="connsiteX208" fmla="*/ 3861 w 10000"/>
              <a:gd name="connsiteY208" fmla="*/ 1896 h 10000"/>
              <a:gd name="connsiteX209" fmla="*/ 3698 w 10000"/>
              <a:gd name="connsiteY209" fmla="*/ 1979 h 10000"/>
              <a:gd name="connsiteX210" fmla="*/ 3208 w 10000"/>
              <a:gd name="connsiteY210" fmla="*/ 1924 h 10000"/>
              <a:gd name="connsiteX211" fmla="*/ 2871 w 10000"/>
              <a:gd name="connsiteY211" fmla="*/ 1955 h 10000"/>
              <a:gd name="connsiteX212" fmla="*/ 2601 w 10000"/>
              <a:gd name="connsiteY212" fmla="*/ 2023 h 10000"/>
              <a:gd name="connsiteX213" fmla="*/ 2163 w 10000"/>
              <a:gd name="connsiteY213" fmla="*/ 2233 h 10000"/>
              <a:gd name="connsiteX214" fmla="*/ 1931 w 10000"/>
              <a:gd name="connsiteY214" fmla="*/ 2487 h 10000"/>
              <a:gd name="connsiteX215" fmla="*/ 1951 w 10000"/>
              <a:gd name="connsiteY215" fmla="*/ 2629 h 10000"/>
              <a:gd name="connsiteX216" fmla="*/ 2032 w 10000"/>
              <a:gd name="connsiteY216" fmla="*/ 2738 h 10000"/>
              <a:gd name="connsiteX217" fmla="*/ 2093 w 10000"/>
              <a:gd name="connsiteY217" fmla="*/ 2782 h 10000"/>
              <a:gd name="connsiteX218" fmla="*/ 1979 w 10000"/>
              <a:gd name="connsiteY218" fmla="*/ 2852 h 10000"/>
              <a:gd name="connsiteX219" fmla="*/ 1731 w 10000"/>
              <a:gd name="connsiteY219" fmla="*/ 3330 h 10000"/>
              <a:gd name="connsiteX220" fmla="*/ 1779 w 10000"/>
              <a:gd name="connsiteY220" fmla="*/ 3358 h 10000"/>
              <a:gd name="connsiteX221" fmla="*/ 1815 w 10000"/>
              <a:gd name="connsiteY221" fmla="*/ 3479 h 10000"/>
              <a:gd name="connsiteX222" fmla="*/ 1700 w 10000"/>
              <a:gd name="connsiteY222" fmla="*/ 3982 h 10000"/>
              <a:gd name="connsiteX223" fmla="*/ 1815 w 10000"/>
              <a:gd name="connsiteY223" fmla="*/ 4110 h 10000"/>
              <a:gd name="connsiteX224" fmla="*/ 2131 w 10000"/>
              <a:gd name="connsiteY224" fmla="*/ 4251 h 10000"/>
              <a:gd name="connsiteX225" fmla="*/ 2145 w 10000"/>
              <a:gd name="connsiteY225" fmla="*/ 4423 h 10000"/>
              <a:gd name="connsiteX226" fmla="*/ 2010 w 10000"/>
              <a:gd name="connsiteY226" fmla="*/ 4566 h 10000"/>
              <a:gd name="connsiteX227" fmla="*/ 1815 w 10000"/>
              <a:gd name="connsiteY227" fmla="*/ 4652 h 10000"/>
              <a:gd name="connsiteX228" fmla="*/ 1557 w 10000"/>
              <a:gd name="connsiteY228" fmla="*/ 4687 h 10000"/>
              <a:gd name="connsiteX229" fmla="*/ 1490 w 10000"/>
              <a:gd name="connsiteY229" fmla="*/ 4737 h 10000"/>
              <a:gd name="connsiteX230" fmla="*/ 1640 w 10000"/>
              <a:gd name="connsiteY230" fmla="*/ 4855 h 10000"/>
              <a:gd name="connsiteX231" fmla="*/ 1726 w 10000"/>
              <a:gd name="connsiteY231" fmla="*/ 5136 h 10000"/>
              <a:gd name="connsiteX232" fmla="*/ 1531 w 10000"/>
              <a:gd name="connsiteY232" fmla="*/ 5376 h 10000"/>
              <a:gd name="connsiteX233" fmla="*/ 1599 w 10000"/>
              <a:gd name="connsiteY233" fmla="*/ 5451 h 10000"/>
              <a:gd name="connsiteX234" fmla="*/ 1537 w 10000"/>
              <a:gd name="connsiteY234" fmla="*/ 5577 h 10000"/>
              <a:gd name="connsiteX235" fmla="*/ 1412 w 10000"/>
              <a:gd name="connsiteY235" fmla="*/ 5663 h 10000"/>
              <a:gd name="connsiteX236" fmla="*/ 915 w 10000"/>
              <a:gd name="connsiteY236" fmla="*/ 5730 h 10000"/>
              <a:gd name="connsiteX237" fmla="*/ 885 w 10000"/>
              <a:gd name="connsiteY237" fmla="*/ 5846 h 10000"/>
              <a:gd name="connsiteX238" fmla="*/ 617 w 10000"/>
              <a:gd name="connsiteY238" fmla="*/ 6019 h 10000"/>
              <a:gd name="connsiteX239" fmla="*/ 652 w 10000"/>
              <a:gd name="connsiteY239" fmla="*/ 6268 h 10000"/>
              <a:gd name="connsiteX240" fmla="*/ 427 w 10000"/>
              <a:gd name="connsiteY240" fmla="*/ 6587 h 10000"/>
              <a:gd name="connsiteX241" fmla="*/ 274 w 10000"/>
              <a:gd name="connsiteY241" fmla="*/ 6624 h 10000"/>
              <a:gd name="connsiteX242" fmla="*/ 210 w 10000"/>
              <a:gd name="connsiteY242" fmla="*/ 6548 h 10000"/>
              <a:gd name="connsiteX243" fmla="*/ 132 w 10000"/>
              <a:gd name="connsiteY243" fmla="*/ 6663 h 10000"/>
              <a:gd name="connsiteX244" fmla="*/ 183 w 10000"/>
              <a:gd name="connsiteY244" fmla="*/ 6465 h 10000"/>
              <a:gd name="connsiteX245" fmla="*/ 151 w 10000"/>
              <a:gd name="connsiteY24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7790 w 10000"/>
              <a:gd name="connsiteY177" fmla="*/ 2743 h 10000"/>
              <a:gd name="connsiteX178" fmla="*/ 8132 w 10000"/>
              <a:gd name="connsiteY178" fmla="*/ 2690 h 10000"/>
              <a:gd name="connsiteX179" fmla="*/ 8195 w 10000"/>
              <a:gd name="connsiteY179" fmla="*/ 2607 h 10000"/>
              <a:gd name="connsiteX180" fmla="*/ 8417 w 10000"/>
              <a:gd name="connsiteY180" fmla="*/ 2524 h 10000"/>
              <a:gd name="connsiteX181" fmla="*/ 8527 w 10000"/>
              <a:gd name="connsiteY181" fmla="*/ 2575 h 10000"/>
              <a:gd name="connsiteX182" fmla="*/ 8695 w 10000"/>
              <a:gd name="connsiteY182" fmla="*/ 2519 h 10000"/>
              <a:gd name="connsiteX183" fmla="*/ 8736 w 10000"/>
              <a:gd name="connsiteY183" fmla="*/ 2445 h 10000"/>
              <a:gd name="connsiteX184" fmla="*/ 8864 w 10000"/>
              <a:gd name="connsiteY184" fmla="*/ 2396 h 10000"/>
              <a:gd name="connsiteX185" fmla="*/ 8973 w 10000"/>
              <a:gd name="connsiteY185" fmla="*/ 2418 h 10000"/>
              <a:gd name="connsiteX186" fmla="*/ 9042 w 10000"/>
              <a:gd name="connsiteY186" fmla="*/ 2381 h 10000"/>
              <a:gd name="connsiteX187" fmla="*/ 9231 w 10000"/>
              <a:gd name="connsiteY187" fmla="*/ 2330 h 10000"/>
              <a:gd name="connsiteX188" fmla="*/ 9310 w 10000"/>
              <a:gd name="connsiteY188" fmla="*/ 2263 h 10000"/>
              <a:gd name="connsiteX189" fmla="*/ 9417 w 10000"/>
              <a:gd name="connsiteY189" fmla="*/ 2235 h 10000"/>
              <a:gd name="connsiteX190" fmla="*/ 10000 w 10000"/>
              <a:gd name="connsiteY190" fmla="*/ 1832 h 10000"/>
              <a:gd name="connsiteX191" fmla="*/ 9652 w 10000"/>
              <a:gd name="connsiteY191" fmla="*/ 1699 h 10000"/>
              <a:gd name="connsiteX192" fmla="*/ 9147 w 10000"/>
              <a:gd name="connsiteY192" fmla="*/ 1773 h 10000"/>
              <a:gd name="connsiteX193" fmla="*/ 8784 w 10000"/>
              <a:gd name="connsiteY193" fmla="*/ 1639 h 10000"/>
              <a:gd name="connsiteX194" fmla="*/ 8850 w 10000"/>
              <a:gd name="connsiteY194" fmla="*/ 1480 h 10000"/>
              <a:gd name="connsiteX195" fmla="*/ 7497 w 10000"/>
              <a:gd name="connsiteY195" fmla="*/ 923 h 10000"/>
              <a:gd name="connsiteX196" fmla="*/ 7522 w 10000"/>
              <a:gd name="connsiteY196" fmla="*/ 649 h 10000"/>
              <a:gd name="connsiteX197" fmla="*/ 7012 w 10000"/>
              <a:gd name="connsiteY197" fmla="*/ 590 h 10000"/>
              <a:gd name="connsiteX198" fmla="*/ 6413 w 10000"/>
              <a:gd name="connsiteY198" fmla="*/ 332 h 10000"/>
              <a:gd name="connsiteX199" fmla="*/ 5098 w 10000"/>
              <a:gd name="connsiteY199" fmla="*/ 0 h 10000"/>
              <a:gd name="connsiteX200" fmla="*/ 4837 w 10000"/>
              <a:gd name="connsiteY200" fmla="*/ 82 h 10000"/>
              <a:gd name="connsiteX201" fmla="*/ 4671 w 10000"/>
              <a:gd name="connsiteY201" fmla="*/ 78 h 10000"/>
              <a:gd name="connsiteX202" fmla="*/ 4571 w 10000"/>
              <a:gd name="connsiteY202" fmla="*/ 107 h 10000"/>
              <a:gd name="connsiteX203" fmla="*/ 4298 w 10000"/>
              <a:gd name="connsiteY203" fmla="*/ 913 h 10000"/>
              <a:gd name="connsiteX204" fmla="*/ 3668 w 10000"/>
              <a:gd name="connsiteY204" fmla="*/ 1383 h 10000"/>
              <a:gd name="connsiteX205" fmla="*/ 3672 w 10000"/>
              <a:gd name="connsiteY205" fmla="*/ 1457 h 10000"/>
              <a:gd name="connsiteX206" fmla="*/ 3952 w 10000"/>
              <a:gd name="connsiteY206" fmla="*/ 1668 h 10000"/>
              <a:gd name="connsiteX207" fmla="*/ 3861 w 10000"/>
              <a:gd name="connsiteY207" fmla="*/ 1896 h 10000"/>
              <a:gd name="connsiteX208" fmla="*/ 3698 w 10000"/>
              <a:gd name="connsiteY208" fmla="*/ 1979 h 10000"/>
              <a:gd name="connsiteX209" fmla="*/ 3208 w 10000"/>
              <a:gd name="connsiteY209" fmla="*/ 1924 h 10000"/>
              <a:gd name="connsiteX210" fmla="*/ 2871 w 10000"/>
              <a:gd name="connsiteY210" fmla="*/ 1955 h 10000"/>
              <a:gd name="connsiteX211" fmla="*/ 2601 w 10000"/>
              <a:gd name="connsiteY211" fmla="*/ 2023 h 10000"/>
              <a:gd name="connsiteX212" fmla="*/ 2163 w 10000"/>
              <a:gd name="connsiteY212" fmla="*/ 2233 h 10000"/>
              <a:gd name="connsiteX213" fmla="*/ 1931 w 10000"/>
              <a:gd name="connsiteY213" fmla="*/ 2487 h 10000"/>
              <a:gd name="connsiteX214" fmla="*/ 1951 w 10000"/>
              <a:gd name="connsiteY214" fmla="*/ 2629 h 10000"/>
              <a:gd name="connsiteX215" fmla="*/ 2032 w 10000"/>
              <a:gd name="connsiteY215" fmla="*/ 2738 h 10000"/>
              <a:gd name="connsiteX216" fmla="*/ 2093 w 10000"/>
              <a:gd name="connsiteY216" fmla="*/ 2782 h 10000"/>
              <a:gd name="connsiteX217" fmla="*/ 1979 w 10000"/>
              <a:gd name="connsiteY217" fmla="*/ 2852 h 10000"/>
              <a:gd name="connsiteX218" fmla="*/ 1731 w 10000"/>
              <a:gd name="connsiteY218" fmla="*/ 3330 h 10000"/>
              <a:gd name="connsiteX219" fmla="*/ 1779 w 10000"/>
              <a:gd name="connsiteY219" fmla="*/ 3358 h 10000"/>
              <a:gd name="connsiteX220" fmla="*/ 1815 w 10000"/>
              <a:gd name="connsiteY220" fmla="*/ 3479 h 10000"/>
              <a:gd name="connsiteX221" fmla="*/ 1700 w 10000"/>
              <a:gd name="connsiteY221" fmla="*/ 3982 h 10000"/>
              <a:gd name="connsiteX222" fmla="*/ 1815 w 10000"/>
              <a:gd name="connsiteY222" fmla="*/ 4110 h 10000"/>
              <a:gd name="connsiteX223" fmla="*/ 2131 w 10000"/>
              <a:gd name="connsiteY223" fmla="*/ 4251 h 10000"/>
              <a:gd name="connsiteX224" fmla="*/ 2145 w 10000"/>
              <a:gd name="connsiteY224" fmla="*/ 4423 h 10000"/>
              <a:gd name="connsiteX225" fmla="*/ 2010 w 10000"/>
              <a:gd name="connsiteY225" fmla="*/ 4566 h 10000"/>
              <a:gd name="connsiteX226" fmla="*/ 1815 w 10000"/>
              <a:gd name="connsiteY226" fmla="*/ 4652 h 10000"/>
              <a:gd name="connsiteX227" fmla="*/ 1557 w 10000"/>
              <a:gd name="connsiteY227" fmla="*/ 4687 h 10000"/>
              <a:gd name="connsiteX228" fmla="*/ 1490 w 10000"/>
              <a:gd name="connsiteY228" fmla="*/ 4737 h 10000"/>
              <a:gd name="connsiteX229" fmla="*/ 1640 w 10000"/>
              <a:gd name="connsiteY229" fmla="*/ 4855 h 10000"/>
              <a:gd name="connsiteX230" fmla="*/ 1726 w 10000"/>
              <a:gd name="connsiteY230" fmla="*/ 5136 h 10000"/>
              <a:gd name="connsiteX231" fmla="*/ 1531 w 10000"/>
              <a:gd name="connsiteY231" fmla="*/ 5376 h 10000"/>
              <a:gd name="connsiteX232" fmla="*/ 1599 w 10000"/>
              <a:gd name="connsiteY232" fmla="*/ 5451 h 10000"/>
              <a:gd name="connsiteX233" fmla="*/ 1537 w 10000"/>
              <a:gd name="connsiteY233" fmla="*/ 5577 h 10000"/>
              <a:gd name="connsiteX234" fmla="*/ 1412 w 10000"/>
              <a:gd name="connsiteY234" fmla="*/ 5663 h 10000"/>
              <a:gd name="connsiteX235" fmla="*/ 915 w 10000"/>
              <a:gd name="connsiteY235" fmla="*/ 5730 h 10000"/>
              <a:gd name="connsiteX236" fmla="*/ 885 w 10000"/>
              <a:gd name="connsiteY236" fmla="*/ 5846 h 10000"/>
              <a:gd name="connsiteX237" fmla="*/ 617 w 10000"/>
              <a:gd name="connsiteY237" fmla="*/ 6019 h 10000"/>
              <a:gd name="connsiteX238" fmla="*/ 652 w 10000"/>
              <a:gd name="connsiteY238" fmla="*/ 6268 h 10000"/>
              <a:gd name="connsiteX239" fmla="*/ 427 w 10000"/>
              <a:gd name="connsiteY239" fmla="*/ 6587 h 10000"/>
              <a:gd name="connsiteX240" fmla="*/ 274 w 10000"/>
              <a:gd name="connsiteY240" fmla="*/ 6624 h 10000"/>
              <a:gd name="connsiteX241" fmla="*/ 210 w 10000"/>
              <a:gd name="connsiteY241" fmla="*/ 6548 h 10000"/>
              <a:gd name="connsiteX242" fmla="*/ 132 w 10000"/>
              <a:gd name="connsiteY242" fmla="*/ 6663 h 10000"/>
              <a:gd name="connsiteX243" fmla="*/ 183 w 10000"/>
              <a:gd name="connsiteY243" fmla="*/ 6465 h 10000"/>
              <a:gd name="connsiteX244" fmla="*/ 151 w 10000"/>
              <a:gd name="connsiteY24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195 w 10000"/>
              <a:gd name="connsiteY178" fmla="*/ 2607 h 10000"/>
              <a:gd name="connsiteX179" fmla="*/ 8417 w 10000"/>
              <a:gd name="connsiteY179" fmla="*/ 2524 h 10000"/>
              <a:gd name="connsiteX180" fmla="*/ 8527 w 10000"/>
              <a:gd name="connsiteY180" fmla="*/ 2575 h 10000"/>
              <a:gd name="connsiteX181" fmla="*/ 8695 w 10000"/>
              <a:gd name="connsiteY181" fmla="*/ 2519 h 10000"/>
              <a:gd name="connsiteX182" fmla="*/ 8736 w 10000"/>
              <a:gd name="connsiteY182" fmla="*/ 2445 h 10000"/>
              <a:gd name="connsiteX183" fmla="*/ 8864 w 10000"/>
              <a:gd name="connsiteY183" fmla="*/ 2396 h 10000"/>
              <a:gd name="connsiteX184" fmla="*/ 8973 w 10000"/>
              <a:gd name="connsiteY184" fmla="*/ 2418 h 10000"/>
              <a:gd name="connsiteX185" fmla="*/ 9042 w 10000"/>
              <a:gd name="connsiteY185" fmla="*/ 2381 h 10000"/>
              <a:gd name="connsiteX186" fmla="*/ 9231 w 10000"/>
              <a:gd name="connsiteY186" fmla="*/ 2330 h 10000"/>
              <a:gd name="connsiteX187" fmla="*/ 9310 w 10000"/>
              <a:gd name="connsiteY187" fmla="*/ 2263 h 10000"/>
              <a:gd name="connsiteX188" fmla="*/ 9417 w 10000"/>
              <a:gd name="connsiteY188" fmla="*/ 2235 h 10000"/>
              <a:gd name="connsiteX189" fmla="*/ 10000 w 10000"/>
              <a:gd name="connsiteY189" fmla="*/ 1832 h 10000"/>
              <a:gd name="connsiteX190" fmla="*/ 9652 w 10000"/>
              <a:gd name="connsiteY190" fmla="*/ 1699 h 10000"/>
              <a:gd name="connsiteX191" fmla="*/ 9147 w 10000"/>
              <a:gd name="connsiteY191" fmla="*/ 1773 h 10000"/>
              <a:gd name="connsiteX192" fmla="*/ 8784 w 10000"/>
              <a:gd name="connsiteY192" fmla="*/ 1639 h 10000"/>
              <a:gd name="connsiteX193" fmla="*/ 8850 w 10000"/>
              <a:gd name="connsiteY193" fmla="*/ 1480 h 10000"/>
              <a:gd name="connsiteX194" fmla="*/ 7497 w 10000"/>
              <a:gd name="connsiteY194" fmla="*/ 923 h 10000"/>
              <a:gd name="connsiteX195" fmla="*/ 7522 w 10000"/>
              <a:gd name="connsiteY195" fmla="*/ 649 h 10000"/>
              <a:gd name="connsiteX196" fmla="*/ 7012 w 10000"/>
              <a:gd name="connsiteY196" fmla="*/ 590 h 10000"/>
              <a:gd name="connsiteX197" fmla="*/ 6413 w 10000"/>
              <a:gd name="connsiteY197" fmla="*/ 332 h 10000"/>
              <a:gd name="connsiteX198" fmla="*/ 5098 w 10000"/>
              <a:gd name="connsiteY198" fmla="*/ 0 h 10000"/>
              <a:gd name="connsiteX199" fmla="*/ 4837 w 10000"/>
              <a:gd name="connsiteY199" fmla="*/ 82 h 10000"/>
              <a:gd name="connsiteX200" fmla="*/ 4671 w 10000"/>
              <a:gd name="connsiteY200" fmla="*/ 78 h 10000"/>
              <a:gd name="connsiteX201" fmla="*/ 4571 w 10000"/>
              <a:gd name="connsiteY201" fmla="*/ 107 h 10000"/>
              <a:gd name="connsiteX202" fmla="*/ 4298 w 10000"/>
              <a:gd name="connsiteY202" fmla="*/ 913 h 10000"/>
              <a:gd name="connsiteX203" fmla="*/ 3668 w 10000"/>
              <a:gd name="connsiteY203" fmla="*/ 1383 h 10000"/>
              <a:gd name="connsiteX204" fmla="*/ 3672 w 10000"/>
              <a:gd name="connsiteY204" fmla="*/ 1457 h 10000"/>
              <a:gd name="connsiteX205" fmla="*/ 3952 w 10000"/>
              <a:gd name="connsiteY205" fmla="*/ 1668 h 10000"/>
              <a:gd name="connsiteX206" fmla="*/ 3861 w 10000"/>
              <a:gd name="connsiteY206" fmla="*/ 1896 h 10000"/>
              <a:gd name="connsiteX207" fmla="*/ 3698 w 10000"/>
              <a:gd name="connsiteY207" fmla="*/ 1979 h 10000"/>
              <a:gd name="connsiteX208" fmla="*/ 3208 w 10000"/>
              <a:gd name="connsiteY208" fmla="*/ 1924 h 10000"/>
              <a:gd name="connsiteX209" fmla="*/ 2871 w 10000"/>
              <a:gd name="connsiteY209" fmla="*/ 1955 h 10000"/>
              <a:gd name="connsiteX210" fmla="*/ 2601 w 10000"/>
              <a:gd name="connsiteY210" fmla="*/ 2023 h 10000"/>
              <a:gd name="connsiteX211" fmla="*/ 2163 w 10000"/>
              <a:gd name="connsiteY211" fmla="*/ 2233 h 10000"/>
              <a:gd name="connsiteX212" fmla="*/ 1931 w 10000"/>
              <a:gd name="connsiteY212" fmla="*/ 2487 h 10000"/>
              <a:gd name="connsiteX213" fmla="*/ 1951 w 10000"/>
              <a:gd name="connsiteY213" fmla="*/ 2629 h 10000"/>
              <a:gd name="connsiteX214" fmla="*/ 2032 w 10000"/>
              <a:gd name="connsiteY214" fmla="*/ 2738 h 10000"/>
              <a:gd name="connsiteX215" fmla="*/ 2093 w 10000"/>
              <a:gd name="connsiteY215" fmla="*/ 2782 h 10000"/>
              <a:gd name="connsiteX216" fmla="*/ 1979 w 10000"/>
              <a:gd name="connsiteY216" fmla="*/ 2852 h 10000"/>
              <a:gd name="connsiteX217" fmla="*/ 1731 w 10000"/>
              <a:gd name="connsiteY217" fmla="*/ 3330 h 10000"/>
              <a:gd name="connsiteX218" fmla="*/ 1779 w 10000"/>
              <a:gd name="connsiteY218" fmla="*/ 3358 h 10000"/>
              <a:gd name="connsiteX219" fmla="*/ 1815 w 10000"/>
              <a:gd name="connsiteY219" fmla="*/ 3479 h 10000"/>
              <a:gd name="connsiteX220" fmla="*/ 1700 w 10000"/>
              <a:gd name="connsiteY220" fmla="*/ 3982 h 10000"/>
              <a:gd name="connsiteX221" fmla="*/ 1815 w 10000"/>
              <a:gd name="connsiteY221" fmla="*/ 4110 h 10000"/>
              <a:gd name="connsiteX222" fmla="*/ 2131 w 10000"/>
              <a:gd name="connsiteY222" fmla="*/ 4251 h 10000"/>
              <a:gd name="connsiteX223" fmla="*/ 2145 w 10000"/>
              <a:gd name="connsiteY223" fmla="*/ 4423 h 10000"/>
              <a:gd name="connsiteX224" fmla="*/ 2010 w 10000"/>
              <a:gd name="connsiteY224" fmla="*/ 4566 h 10000"/>
              <a:gd name="connsiteX225" fmla="*/ 1815 w 10000"/>
              <a:gd name="connsiteY225" fmla="*/ 4652 h 10000"/>
              <a:gd name="connsiteX226" fmla="*/ 1557 w 10000"/>
              <a:gd name="connsiteY226" fmla="*/ 4687 h 10000"/>
              <a:gd name="connsiteX227" fmla="*/ 1490 w 10000"/>
              <a:gd name="connsiteY227" fmla="*/ 4737 h 10000"/>
              <a:gd name="connsiteX228" fmla="*/ 1640 w 10000"/>
              <a:gd name="connsiteY228" fmla="*/ 4855 h 10000"/>
              <a:gd name="connsiteX229" fmla="*/ 1726 w 10000"/>
              <a:gd name="connsiteY229" fmla="*/ 5136 h 10000"/>
              <a:gd name="connsiteX230" fmla="*/ 1531 w 10000"/>
              <a:gd name="connsiteY230" fmla="*/ 5376 h 10000"/>
              <a:gd name="connsiteX231" fmla="*/ 1599 w 10000"/>
              <a:gd name="connsiteY231" fmla="*/ 5451 h 10000"/>
              <a:gd name="connsiteX232" fmla="*/ 1537 w 10000"/>
              <a:gd name="connsiteY232" fmla="*/ 5577 h 10000"/>
              <a:gd name="connsiteX233" fmla="*/ 1412 w 10000"/>
              <a:gd name="connsiteY233" fmla="*/ 5663 h 10000"/>
              <a:gd name="connsiteX234" fmla="*/ 915 w 10000"/>
              <a:gd name="connsiteY234" fmla="*/ 5730 h 10000"/>
              <a:gd name="connsiteX235" fmla="*/ 885 w 10000"/>
              <a:gd name="connsiteY235" fmla="*/ 5846 h 10000"/>
              <a:gd name="connsiteX236" fmla="*/ 617 w 10000"/>
              <a:gd name="connsiteY236" fmla="*/ 6019 h 10000"/>
              <a:gd name="connsiteX237" fmla="*/ 652 w 10000"/>
              <a:gd name="connsiteY237" fmla="*/ 6268 h 10000"/>
              <a:gd name="connsiteX238" fmla="*/ 427 w 10000"/>
              <a:gd name="connsiteY238" fmla="*/ 6587 h 10000"/>
              <a:gd name="connsiteX239" fmla="*/ 274 w 10000"/>
              <a:gd name="connsiteY239" fmla="*/ 6624 h 10000"/>
              <a:gd name="connsiteX240" fmla="*/ 210 w 10000"/>
              <a:gd name="connsiteY240" fmla="*/ 6548 h 10000"/>
              <a:gd name="connsiteX241" fmla="*/ 132 w 10000"/>
              <a:gd name="connsiteY241" fmla="*/ 6663 h 10000"/>
              <a:gd name="connsiteX242" fmla="*/ 183 w 10000"/>
              <a:gd name="connsiteY242" fmla="*/ 6465 h 10000"/>
              <a:gd name="connsiteX243" fmla="*/ 151 w 10000"/>
              <a:gd name="connsiteY24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695 w 10000"/>
              <a:gd name="connsiteY180" fmla="*/ 2519 h 10000"/>
              <a:gd name="connsiteX181" fmla="*/ 8736 w 10000"/>
              <a:gd name="connsiteY181" fmla="*/ 2445 h 10000"/>
              <a:gd name="connsiteX182" fmla="*/ 8864 w 10000"/>
              <a:gd name="connsiteY182" fmla="*/ 2396 h 10000"/>
              <a:gd name="connsiteX183" fmla="*/ 8973 w 10000"/>
              <a:gd name="connsiteY183" fmla="*/ 2418 h 10000"/>
              <a:gd name="connsiteX184" fmla="*/ 9042 w 10000"/>
              <a:gd name="connsiteY184" fmla="*/ 2381 h 10000"/>
              <a:gd name="connsiteX185" fmla="*/ 9231 w 10000"/>
              <a:gd name="connsiteY185" fmla="*/ 2330 h 10000"/>
              <a:gd name="connsiteX186" fmla="*/ 9310 w 10000"/>
              <a:gd name="connsiteY186" fmla="*/ 2263 h 10000"/>
              <a:gd name="connsiteX187" fmla="*/ 9417 w 10000"/>
              <a:gd name="connsiteY187" fmla="*/ 2235 h 10000"/>
              <a:gd name="connsiteX188" fmla="*/ 10000 w 10000"/>
              <a:gd name="connsiteY188" fmla="*/ 1832 h 10000"/>
              <a:gd name="connsiteX189" fmla="*/ 9652 w 10000"/>
              <a:gd name="connsiteY189" fmla="*/ 1699 h 10000"/>
              <a:gd name="connsiteX190" fmla="*/ 9147 w 10000"/>
              <a:gd name="connsiteY190" fmla="*/ 1773 h 10000"/>
              <a:gd name="connsiteX191" fmla="*/ 8784 w 10000"/>
              <a:gd name="connsiteY191" fmla="*/ 1639 h 10000"/>
              <a:gd name="connsiteX192" fmla="*/ 8850 w 10000"/>
              <a:gd name="connsiteY192" fmla="*/ 1480 h 10000"/>
              <a:gd name="connsiteX193" fmla="*/ 7497 w 10000"/>
              <a:gd name="connsiteY193" fmla="*/ 923 h 10000"/>
              <a:gd name="connsiteX194" fmla="*/ 7522 w 10000"/>
              <a:gd name="connsiteY194" fmla="*/ 649 h 10000"/>
              <a:gd name="connsiteX195" fmla="*/ 7012 w 10000"/>
              <a:gd name="connsiteY195" fmla="*/ 590 h 10000"/>
              <a:gd name="connsiteX196" fmla="*/ 6413 w 10000"/>
              <a:gd name="connsiteY196" fmla="*/ 332 h 10000"/>
              <a:gd name="connsiteX197" fmla="*/ 5098 w 10000"/>
              <a:gd name="connsiteY197" fmla="*/ 0 h 10000"/>
              <a:gd name="connsiteX198" fmla="*/ 4837 w 10000"/>
              <a:gd name="connsiteY198" fmla="*/ 82 h 10000"/>
              <a:gd name="connsiteX199" fmla="*/ 4671 w 10000"/>
              <a:gd name="connsiteY199" fmla="*/ 78 h 10000"/>
              <a:gd name="connsiteX200" fmla="*/ 4571 w 10000"/>
              <a:gd name="connsiteY200" fmla="*/ 107 h 10000"/>
              <a:gd name="connsiteX201" fmla="*/ 4298 w 10000"/>
              <a:gd name="connsiteY201" fmla="*/ 913 h 10000"/>
              <a:gd name="connsiteX202" fmla="*/ 3668 w 10000"/>
              <a:gd name="connsiteY202" fmla="*/ 1383 h 10000"/>
              <a:gd name="connsiteX203" fmla="*/ 3672 w 10000"/>
              <a:gd name="connsiteY203" fmla="*/ 1457 h 10000"/>
              <a:gd name="connsiteX204" fmla="*/ 3952 w 10000"/>
              <a:gd name="connsiteY204" fmla="*/ 1668 h 10000"/>
              <a:gd name="connsiteX205" fmla="*/ 3861 w 10000"/>
              <a:gd name="connsiteY205" fmla="*/ 1896 h 10000"/>
              <a:gd name="connsiteX206" fmla="*/ 3698 w 10000"/>
              <a:gd name="connsiteY206" fmla="*/ 1979 h 10000"/>
              <a:gd name="connsiteX207" fmla="*/ 3208 w 10000"/>
              <a:gd name="connsiteY207" fmla="*/ 1924 h 10000"/>
              <a:gd name="connsiteX208" fmla="*/ 2871 w 10000"/>
              <a:gd name="connsiteY208" fmla="*/ 1955 h 10000"/>
              <a:gd name="connsiteX209" fmla="*/ 2601 w 10000"/>
              <a:gd name="connsiteY209" fmla="*/ 2023 h 10000"/>
              <a:gd name="connsiteX210" fmla="*/ 2163 w 10000"/>
              <a:gd name="connsiteY210" fmla="*/ 2233 h 10000"/>
              <a:gd name="connsiteX211" fmla="*/ 1931 w 10000"/>
              <a:gd name="connsiteY211" fmla="*/ 2487 h 10000"/>
              <a:gd name="connsiteX212" fmla="*/ 1951 w 10000"/>
              <a:gd name="connsiteY212" fmla="*/ 2629 h 10000"/>
              <a:gd name="connsiteX213" fmla="*/ 2032 w 10000"/>
              <a:gd name="connsiteY213" fmla="*/ 2738 h 10000"/>
              <a:gd name="connsiteX214" fmla="*/ 2093 w 10000"/>
              <a:gd name="connsiteY214" fmla="*/ 2782 h 10000"/>
              <a:gd name="connsiteX215" fmla="*/ 1979 w 10000"/>
              <a:gd name="connsiteY215" fmla="*/ 2852 h 10000"/>
              <a:gd name="connsiteX216" fmla="*/ 1731 w 10000"/>
              <a:gd name="connsiteY216" fmla="*/ 3330 h 10000"/>
              <a:gd name="connsiteX217" fmla="*/ 1779 w 10000"/>
              <a:gd name="connsiteY217" fmla="*/ 3358 h 10000"/>
              <a:gd name="connsiteX218" fmla="*/ 1815 w 10000"/>
              <a:gd name="connsiteY218" fmla="*/ 3479 h 10000"/>
              <a:gd name="connsiteX219" fmla="*/ 1700 w 10000"/>
              <a:gd name="connsiteY219" fmla="*/ 3982 h 10000"/>
              <a:gd name="connsiteX220" fmla="*/ 1815 w 10000"/>
              <a:gd name="connsiteY220" fmla="*/ 4110 h 10000"/>
              <a:gd name="connsiteX221" fmla="*/ 2131 w 10000"/>
              <a:gd name="connsiteY221" fmla="*/ 4251 h 10000"/>
              <a:gd name="connsiteX222" fmla="*/ 2145 w 10000"/>
              <a:gd name="connsiteY222" fmla="*/ 4423 h 10000"/>
              <a:gd name="connsiteX223" fmla="*/ 2010 w 10000"/>
              <a:gd name="connsiteY223" fmla="*/ 4566 h 10000"/>
              <a:gd name="connsiteX224" fmla="*/ 1815 w 10000"/>
              <a:gd name="connsiteY224" fmla="*/ 4652 h 10000"/>
              <a:gd name="connsiteX225" fmla="*/ 1557 w 10000"/>
              <a:gd name="connsiteY225" fmla="*/ 4687 h 10000"/>
              <a:gd name="connsiteX226" fmla="*/ 1490 w 10000"/>
              <a:gd name="connsiteY226" fmla="*/ 4737 h 10000"/>
              <a:gd name="connsiteX227" fmla="*/ 1640 w 10000"/>
              <a:gd name="connsiteY227" fmla="*/ 4855 h 10000"/>
              <a:gd name="connsiteX228" fmla="*/ 1726 w 10000"/>
              <a:gd name="connsiteY228" fmla="*/ 5136 h 10000"/>
              <a:gd name="connsiteX229" fmla="*/ 1531 w 10000"/>
              <a:gd name="connsiteY229" fmla="*/ 5376 h 10000"/>
              <a:gd name="connsiteX230" fmla="*/ 1599 w 10000"/>
              <a:gd name="connsiteY230" fmla="*/ 5451 h 10000"/>
              <a:gd name="connsiteX231" fmla="*/ 1537 w 10000"/>
              <a:gd name="connsiteY231" fmla="*/ 5577 h 10000"/>
              <a:gd name="connsiteX232" fmla="*/ 1412 w 10000"/>
              <a:gd name="connsiteY232" fmla="*/ 5663 h 10000"/>
              <a:gd name="connsiteX233" fmla="*/ 915 w 10000"/>
              <a:gd name="connsiteY233" fmla="*/ 5730 h 10000"/>
              <a:gd name="connsiteX234" fmla="*/ 885 w 10000"/>
              <a:gd name="connsiteY234" fmla="*/ 5846 h 10000"/>
              <a:gd name="connsiteX235" fmla="*/ 617 w 10000"/>
              <a:gd name="connsiteY235" fmla="*/ 6019 h 10000"/>
              <a:gd name="connsiteX236" fmla="*/ 652 w 10000"/>
              <a:gd name="connsiteY236" fmla="*/ 6268 h 10000"/>
              <a:gd name="connsiteX237" fmla="*/ 427 w 10000"/>
              <a:gd name="connsiteY237" fmla="*/ 6587 h 10000"/>
              <a:gd name="connsiteX238" fmla="*/ 274 w 10000"/>
              <a:gd name="connsiteY238" fmla="*/ 6624 h 10000"/>
              <a:gd name="connsiteX239" fmla="*/ 210 w 10000"/>
              <a:gd name="connsiteY239" fmla="*/ 6548 h 10000"/>
              <a:gd name="connsiteX240" fmla="*/ 132 w 10000"/>
              <a:gd name="connsiteY240" fmla="*/ 6663 h 10000"/>
              <a:gd name="connsiteX241" fmla="*/ 183 w 10000"/>
              <a:gd name="connsiteY241" fmla="*/ 6465 h 10000"/>
              <a:gd name="connsiteX242" fmla="*/ 151 w 10000"/>
              <a:gd name="connsiteY242"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736 w 10000"/>
              <a:gd name="connsiteY180" fmla="*/ 2445 h 10000"/>
              <a:gd name="connsiteX181" fmla="*/ 8864 w 10000"/>
              <a:gd name="connsiteY181" fmla="*/ 2396 h 10000"/>
              <a:gd name="connsiteX182" fmla="*/ 8973 w 10000"/>
              <a:gd name="connsiteY182" fmla="*/ 2418 h 10000"/>
              <a:gd name="connsiteX183" fmla="*/ 9042 w 10000"/>
              <a:gd name="connsiteY183" fmla="*/ 2381 h 10000"/>
              <a:gd name="connsiteX184" fmla="*/ 9231 w 10000"/>
              <a:gd name="connsiteY184" fmla="*/ 2330 h 10000"/>
              <a:gd name="connsiteX185" fmla="*/ 9310 w 10000"/>
              <a:gd name="connsiteY185" fmla="*/ 2263 h 10000"/>
              <a:gd name="connsiteX186" fmla="*/ 9417 w 10000"/>
              <a:gd name="connsiteY186" fmla="*/ 2235 h 10000"/>
              <a:gd name="connsiteX187" fmla="*/ 10000 w 10000"/>
              <a:gd name="connsiteY187" fmla="*/ 1832 h 10000"/>
              <a:gd name="connsiteX188" fmla="*/ 9652 w 10000"/>
              <a:gd name="connsiteY188" fmla="*/ 1699 h 10000"/>
              <a:gd name="connsiteX189" fmla="*/ 9147 w 10000"/>
              <a:gd name="connsiteY189" fmla="*/ 1773 h 10000"/>
              <a:gd name="connsiteX190" fmla="*/ 8784 w 10000"/>
              <a:gd name="connsiteY190" fmla="*/ 1639 h 10000"/>
              <a:gd name="connsiteX191" fmla="*/ 8850 w 10000"/>
              <a:gd name="connsiteY191" fmla="*/ 1480 h 10000"/>
              <a:gd name="connsiteX192" fmla="*/ 7497 w 10000"/>
              <a:gd name="connsiteY192" fmla="*/ 923 h 10000"/>
              <a:gd name="connsiteX193" fmla="*/ 7522 w 10000"/>
              <a:gd name="connsiteY193" fmla="*/ 649 h 10000"/>
              <a:gd name="connsiteX194" fmla="*/ 7012 w 10000"/>
              <a:gd name="connsiteY194" fmla="*/ 590 h 10000"/>
              <a:gd name="connsiteX195" fmla="*/ 6413 w 10000"/>
              <a:gd name="connsiteY195" fmla="*/ 332 h 10000"/>
              <a:gd name="connsiteX196" fmla="*/ 5098 w 10000"/>
              <a:gd name="connsiteY196" fmla="*/ 0 h 10000"/>
              <a:gd name="connsiteX197" fmla="*/ 4837 w 10000"/>
              <a:gd name="connsiteY197" fmla="*/ 82 h 10000"/>
              <a:gd name="connsiteX198" fmla="*/ 4671 w 10000"/>
              <a:gd name="connsiteY198" fmla="*/ 78 h 10000"/>
              <a:gd name="connsiteX199" fmla="*/ 4571 w 10000"/>
              <a:gd name="connsiteY199" fmla="*/ 107 h 10000"/>
              <a:gd name="connsiteX200" fmla="*/ 4298 w 10000"/>
              <a:gd name="connsiteY200" fmla="*/ 913 h 10000"/>
              <a:gd name="connsiteX201" fmla="*/ 3668 w 10000"/>
              <a:gd name="connsiteY201" fmla="*/ 1383 h 10000"/>
              <a:gd name="connsiteX202" fmla="*/ 3672 w 10000"/>
              <a:gd name="connsiteY202" fmla="*/ 1457 h 10000"/>
              <a:gd name="connsiteX203" fmla="*/ 3952 w 10000"/>
              <a:gd name="connsiteY203" fmla="*/ 1668 h 10000"/>
              <a:gd name="connsiteX204" fmla="*/ 3861 w 10000"/>
              <a:gd name="connsiteY204" fmla="*/ 1896 h 10000"/>
              <a:gd name="connsiteX205" fmla="*/ 3698 w 10000"/>
              <a:gd name="connsiteY205" fmla="*/ 1979 h 10000"/>
              <a:gd name="connsiteX206" fmla="*/ 3208 w 10000"/>
              <a:gd name="connsiteY206" fmla="*/ 1924 h 10000"/>
              <a:gd name="connsiteX207" fmla="*/ 2871 w 10000"/>
              <a:gd name="connsiteY207" fmla="*/ 1955 h 10000"/>
              <a:gd name="connsiteX208" fmla="*/ 2601 w 10000"/>
              <a:gd name="connsiteY208" fmla="*/ 2023 h 10000"/>
              <a:gd name="connsiteX209" fmla="*/ 2163 w 10000"/>
              <a:gd name="connsiteY209" fmla="*/ 2233 h 10000"/>
              <a:gd name="connsiteX210" fmla="*/ 1931 w 10000"/>
              <a:gd name="connsiteY210" fmla="*/ 2487 h 10000"/>
              <a:gd name="connsiteX211" fmla="*/ 1951 w 10000"/>
              <a:gd name="connsiteY211" fmla="*/ 2629 h 10000"/>
              <a:gd name="connsiteX212" fmla="*/ 2032 w 10000"/>
              <a:gd name="connsiteY212" fmla="*/ 2738 h 10000"/>
              <a:gd name="connsiteX213" fmla="*/ 2093 w 10000"/>
              <a:gd name="connsiteY213" fmla="*/ 2782 h 10000"/>
              <a:gd name="connsiteX214" fmla="*/ 1979 w 10000"/>
              <a:gd name="connsiteY214" fmla="*/ 2852 h 10000"/>
              <a:gd name="connsiteX215" fmla="*/ 1731 w 10000"/>
              <a:gd name="connsiteY215" fmla="*/ 3330 h 10000"/>
              <a:gd name="connsiteX216" fmla="*/ 1779 w 10000"/>
              <a:gd name="connsiteY216" fmla="*/ 3358 h 10000"/>
              <a:gd name="connsiteX217" fmla="*/ 1815 w 10000"/>
              <a:gd name="connsiteY217" fmla="*/ 3479 h 10000"/>
              <a:gd name="connsiteX218" fmla="*/ 1700 w 10000"/>
              <a:gd name="connsiteY218" fmla="*/ 3982 h 10000"/>
              <a:gd name="connsiteX219" fmla="*/ 1815 w 10000"/>
              <a:gd name="connsiteY219" fmla="*/ 4110 h 10000"/>
              <a:gd name="connsiteX220" fmla="*/ 2131 w 10000"/>
              <a:gd name="connsiteY220" fmla="*/ 4251 h 10000"/>
              <a:gd name="connsiteX221" fmla="*/ 2145 w 10000"/>
              <a:gd name="connsiteY221" fmla="*/ 4423 h 10000"/>
              <a:gd name="connsiteX222" fmla="*/ 2010 w 10000"/>
              <a:gd name="connsiteY222" fmla="*/ 4566 h 10000"/>
              <a:gd name="connsiteX223" fmla="*/ 1815 w 10000"/>
              <a:gd name="connsiteY223" fmla="*/ 4652 h 10000"/>
              <a:gd name="connsiteX224" fmla="*/ 1557 w 10000"/>
              <a:gd name="connsiteY224" fmla="*/ 4687 h 10000"/>
              <a:gd name="connsiteX225" fmla="*/ 1490 w 10000"/>
              <a:gd name="connsiteY225" fmla="*/ 4737 h 10000"/>
              <a:gd name="connsiteX226" fmla="*/ 1640 w 10000"/>
              <a:gd name="connsiteY226" fmla="*/ 4855 h 10000"/>
              <a:gd name="connsiteX227" fmla="*/ 1726 w 10000"/>
              <a:gd name="connsiteY227" fmla="*/ 5136 h 10000"/>
              <a:gd name="connsiteX228" fmla="*/ 1531 w 10000"/>
              <a:gd name="connsiteY228" fmla="*/ 5376 h 10000"/>
              <a:gd name="connsiteX229" fmla="*/ 1599 w 10000"/>
              <a:gd name="connsiteY229" fmla="*/ 5451 h 10000"/>
              <a:gd name="connsiteX230" fmla="*/ 1537 w 10000"/>
              <a:gd name="connsiteY230" fmla="*/ 5577 h 10000"/>
              <a:gd name="connsiteX231" fmla="*/ 1412 w 10000"/>
              <a:gd name="connsiteY231" fmla="*/ 5663 h 10000"/>
              <a:gd name="connsiteX232" fmla="*/ 915 w 10000"/>
              <a:gd name="connsiteY232" fmla="*/ 5730 h 10000"/>
              <a:gd name="connsiteX233" fmla="*/ 885 w 10000"/>
              <a:gd name="connsiteY233" fmla="*/ 5846 h 10000"/>
              <a:gd name="connsiteX234" fmla="*/ 617 w 10000"/>
              <a:gd name="connsiteY234" fmla="*/ 6019 h 10000"/>
              <a:gd name="connsiteX235" fmla="*/ 652 w 10000"/>
              <a:gd name="connsiteY235" fmla="*/ 6268 h 10000"/>
              <a:gd name="connsiteX236" fmla="*/ 427 w 10000"/>
              <a:gd name="connsiteY236" fmla="*/ 6587 h 10000"/>
              <a:gd name="connsiteX237" fmla="*/ 274 w 10000"/>
              <a:gd name="connsiteY237" fmla="*/ 6624 h 10000"/>
              <a:gd name="connsiteX238" fmla="*/ 210 w 10000"/>
              <a:gd name="connsiteY238" fmla="*/ 6548 h 10000"/>
              <a:gd name="connsiteX239" fmla="*/ 132 w 10000"/>
              <a:gd name="connsiteY239" fmla="*/ 6663 h 10000"/>
              <a:gd name="connsiteX240" fmla="*/ 183 w 10000"/>
              <a:gd name="connsiteY240" fmla="*/ 6465 h 10000"/>
              <a:gd name="connsiteX241" fmla="*/ 151 w 10000"/>
              <a:gd name="connsiteY241"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864 w 10000"/>
              <a:gd name="connsiteY180" fmla="*/ 2396 h 10000"/>
              <a:gd name="connsiteX181" fmla="*/ 8973 w 10000"/>
              <a:gd name="connsiteY181" fmla="*/ 2418 h 10000"/>
              <a:gd name="connsiteX182" fmla="*/ 9042 w 10000"/>
              <a:gd name="connsiteY182" fmla="*/ 2381 h 10000"/>
              <a:gd name="connsiteX183" fmla="*/ 9231 w 10000"/>
              <a:gd name="connsiteY183" fmla="*/ 2330 h 10000"/>
              <a:gd name="connsiteX184" fmla="*/ 9310 w 10000"/>
              <a:gd name="connsiteY184" fmla="*/ 2263 h 10000"/>
              <a:gd name="connsiteX185" fmla="*/ 9417 w 10000"/>
              <a:gd name="connsiteY185" fmla="*/ 2235 h 10000"/>
              <a:gd name="connsiteX186" fmla="*/ 10000 w 10000"/>
              <a:gd name="connsiteY186" fmla="*/ 1832 h 10000"/>
              <a:gd name="connsiteX187" fmla="*/ 9652 w 10000"/>
              <a:gd name="connsiteY187" fmla="*/ 1699 h 10000"/>
              <a:gd name="connsiteX188" fmla="*/ 9147 w 10000"/>
              <a:gd name="connsiteY188" fmla="*/ 1773 h 10000"/>
              <a:gd name="connsiteX189" fmla="*/ 8784 w 10000"/>
              <a:gd name="connsiteY189" fmla="*/ 1639 h 10000"/>
              <a:gd name="connsiteX190" fmla="*/ 8850 w 10000"/>
              <a:gd name="connsiteY190" fmla="*/ 1480 h 10000"/>
              <a:gd name="connsiteX191" fmla="*/ 7497 w 10000"/>
              <a:gd name="connsiteY191" fmla="*/ 923 h 10000"/>
              <a:gd name="connsiteX192" fmla="*/ 7522 w 10000"/>
              <a:gd name="connsiteY192" fmla="*/ 649 h 10000"/>
              <a:gd name="connsiteX193" fmla="*/ 7012 w 10000"/>
              <a:gd name="connsiteY193" fmla="*/ 590 h 10000"/>
              <a:gd name="connsiteX194" fmla="*/ 6413 w 10000"/>
              <a:gd name="connsiteY194" fmla="*/ 332 h 10000"/>
              <a:gd name="connsiteX195" fmla="*/ 5098 w 10000"/>
              <a:gd name="connsiteY195" fmla="*/ 0 h 10000"/>
              <a:gd name="connsiteX196" fmla="*/ 4837 w 10000"/>
              <a:gd name="connsiteY196" fmla="*/ 82 h 10000"/>
              <a:gd name="connsiteX197" fmla="*/ 4671 w 10000"/>
              <a:gd name="connsiteY197" fmla="*/ 78 h 10000"/>
              <a:gd name="connsiteX198" fmla="*/ 4571 w 10000"/>
              <a:gd name="connsiteY198" fmla="*/ 107 h 10000"/>
              <a:gd name="connsiteX199" fmla="*/ 4298 w 10000"/>
              <a:gd name="connsiteY199" fmla="*/ 913 h 10000"/>
              <a:gd name="connsiteX200" fmla="*/ 3668 w 10000"/>
              <a:gd name="connsiteY200" fmla="*/ 1383 h 10000"/>
              <a:gd name="connsiteX201" fmla="*/ 3672 w 10000"/>
              <a:gd name="connsiteY201" fmla="*/ 1457 h 10000"/>
              <a:gd name="connsiteX202" fmla="*/ 3952 w 10000"/>
              <a:gd name="connsiteY202" fmla="*/ 1668 h 10000"/>
              <a:gd name="connsiteX203" fmla="*/ 3861 w 10000"/>
              <a:gd name="connsiteY203" fmla="*/ 1896 h 10000"/>
              <a:gd name="connsiteX204" fmla="*/ 3698 w 10000"/>
              <a:gd name="connsiteY204" fmla="*/ 1979 h 10000"/>
              <a:gd name="connsiteX205" fmla="*/ 3208 w 10000"/>
              <a:gd name="connsiteY205" fmla="*/ 1924 h 10000"/>
              <a:gd name="connsiteX206" fmla="*/ 2871 w 10000"/>
              <a:gd name="connsiteY206" fmla="*/ 1955 h 10000"/>
              <a:gd name="connsiteX207" fmla="*/ 2601 w 10000"/>
              <a:gd name="connsiteY207" fmla="*/ 2023 h 10000"/>
              <a:gd name="connsiteX208" fmla="*/ 2163 w 10000"/>
              <a:gd name="connsiteY208" fmla="*/ 2233 h 10000"/>
              <a:gd name="connsiteX209" fmla="*/ 1931 w 10000"/>
              <a:gd name="connsiteY209" fmla="*/ 2487 h 10000"/>
              <a:gd name="connsiteX210" fmla="*/ 1951 w 10000"/>
              <a:gd name="connsiteY210" fmla="*/ 2629 h 10000"/>
              <a:gd name="connsiteX211" fmla="*/ 2032 w 10000"/>
              <a:gd name="connsiteY211" fmla="*/ 2738 h 10000"/>
              <a:gd name="connsiteX212" fmla="*/ 2093 w 10000"/>
              <a:gd name="connsiteY212" fmla="*/ 2782 h 10000"/>
              <a:gd name="connsiteX213" fmla="*/ 1979 w 10000"/>
              <a:gd name="connsiteY213" fmla="*/ 2852 h 10000"/>
              <a:gd name="connsiteX214" fmla="*/ 1731 w 10000"/>
              <a:gd name="connsiteY214" fmla="*/ 3330 h 10000"/>
              <a:gd name="connsiteX215" fmla="*/ 1779 w 10000"/>
              <a:gd name="connsiteY215" fmla="*/ 3358 h 10000"/>
              <a:gd name="connsiteX216" fmla="*/ 1815 w 10000"/>
              <a:gd name="connsiteY216" fmla="*/ 3479 h 10000"/>
              <a:gd name="connsiteX217" fmla="*/ 1700 w 10000"/>
              <a:gd name="connsiteY217" fmla="*/ 3982 h 10000"/>
              <a:gd name="connsiteX218" fmla="*/ 1815 w 10000"/>
              <a:gd name="connsiteY218" fmla="*/ 4110 h 10000"/>
              <a:gd name="connsiteX219" fmla="*/ 2131 w 10000"/>
              <a:gd name="connsiteY219" fmla="*/ 4251 h 10000"/>
              <a:gd name="connsiteX220" fmla="*/ 2145 w 10000"/>
              <a:gd name="connsiteY220" fmla="*/ 4423 h 10000"/>
              <a:gd name="connsiteX221" fmla="*/ 2010 w 10000"/>
              <a:gd name="connsiteY221" fmla="*/ 4566 h 10000"/>
              <a:gd name="connsiteX222" fmla="*/ 1815 w 10000"/>
              <a:gd name="connsiteY222" fmla="*/ 4652 h 10000"/>
              <a:gd name="connsiteX223" fmla="*/ 1557 w 10000"/>
              <a:gd name="connsiteY223" fmla="*/ 4687 h 10000"/>
              <a:gd name="connsiteX224" fmla="*/ 1490 w 10000"/>
              <a:gd name="connsiteY224" fmla="*/ 4737 h 10000"/>
              <a:gd name="connsiteX225" fmla="*/ 1640 w 10000"/>
              <a:gd name="connsiteY225" fmla="*/ 4855 h 10000"/>
              <a:gd name="connsiteX226" fmla="*/ 1726 w 10000"/>
              <a:gd name="connsiteY226" fmla="*/ 5136 h 10000"/>
              <a:gd name="connsiteX227" fmla="*/ 1531 w 10000"/>
              <a:gd name="connsiteY227" fmla="*/ 5376 h 10000"/>
              <a:gd name="connsiteX228" fmla="*/ 1599 w 10000"/>
              <a:gd name="connsiteY228" fmla="*/ 5451 h 10000"/>
              <a:gd name="connsiteX229" fmla="*/ 1537 w 10000"/>
              <a:gd name="connsiteY229" fmla="*/ 5577 h 10000"/>
              <a:gd name="connsiteX230" fmla="*/ 1412 w 10000"/>
              <a:gd name="connsiteY230" fmla="*/ 5663 h 10000"/>
              <a:gd name="connsiteX231" fmla="*/ 915 w 10000"/>
              <a:gd name="connsiteY231" fmla="*/ 5730 h 10000"/>
              <a:gd name="connsiteX232" fmla="*/ 885 w 10000"/>
              <a:gd name="connsiteY232" fmla="*/ 5846 h 10000"/>
              <a:gd name="connsiteX233" fmla="*/ 617 w 10000"/>
              <a:gd name="connsiteY233" fmla="*/ 6019 h 10000"/>
              <a:gd name="connsiteX234" fmla="*/ 652 w 10000"/>
              <a:gd name="connsiteY234" fmla="*/ 6268 h 10000"/>
              <a:gd name="connsiteX235" fmla="*/ 427 w 10000"/>
              <a:gd name="connsiteY235" fmla="*/ 6587 h 10000"/>
              <a:gd name="connsiteX236" fmla="*/ 274 w 10000"/>
              <a:gd name="connsiteY236" fmla="*/ 6624 h 10000"/>
              <a:gd name="connsiteX237" fmla="*/ 210 w 10000"/>
              <a:gd name="connsiteY237" fmla="*/ 6548 h 10000"/>
              <a:gd name="connsiteX238" fmla="*/ 132 w 10000"/>
              <a:gd name="connsiteY238" fmla="*/ 6663 h 10000"/>
              <a:gd name="connsiteX239" fmla="*/ 183 w 10000"/>
              <a:gd name="connsiteY239" fmla="*/ 6465 h 10000"/>
              <a:gd name="connsiteX240" fmla="*/ 151 w 10000"/>
              <a:gd name="connsiteY24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864 w 10000"/>
              <a:gd name="connsiteY180" fmla="*/ 2396 h 10000"/>
              <a:gd name="connsiteX181" fmla="*/ 8973 w 10000"/>
              <a:gd name="connsiteY181" fmla="*/ 2418 h 10000"/>
              <a:gd name="connsiteX182" fmla="*/ 9231 w 10000"/>
              <a:gd name="connsiteY182" fmla="*/ 2330 h 10000"/>
              <a:gd name="connsiteX183" fmla="*/ 9310 w 10000"/>
              <a:gd name="connsiteY183" fmla="*/ 2263 h 10000"/>
              <a:gd name="connsiteX184" fmla="*/ 9417 w 10000"/>
              <a:gd name="connsiteY184" fmla="*/ 2235 h 10000"/>
              <a:gd name="connsiteX185" fmla="*/ 10000 w 10000"/>
              <a:gd name="connsiteY185" fmla="*/ 1832 h 10000"/>
              <a:gd name="connsiteX186" fmla="*/ 9652 w 10000"/>
              <a:gd name="connsiteY186" fmla="*/ 1699 h 10000"/>
              <a:gd name="connsiteX187" fmla="*/ 9147 w 10000"/>
              <a:gd name="connsiteY187" fmla="*/ 1773 h 10000"/>
              <a:gd name="connsiteX188" fmla="*/ 8784 w 10000"/>
              <a:gd name="connsiteY188" fmla="*/ 1639 h 10000"/>
              <a:gd name="connsiteX189" fmla="*/ 8850 w 10000"/>
              <a:gd name="connsiteY189" fmla="*/ 1480 h 10000"/>
              <a:gd name="connsiteX190" fmla="*/ 7497 w 10000"/>
              <a:gd name="connsiteY190" fmla="*/ 923 h 10000"/>
              <a:gd name="connsiteX191" fmla="*/ 7522 w 10000"/>
              <a:gd name="connsiteY191" fmla="*/ 649 h 10000"/>
              <a:gd name="connsiteX192" fmla="*/ 7012 w 10000"/>
              <a:gd name="connsiteY192" fmla="*/ 590 h 10000"/>
              <a:gd name="connsiteX193" fmla="*/ 6413 w 10000"/>
              <a:gd name="connsiteY193" fmla="*/ 332 h 10000"/>
              <a:gd name="connsiteX194" fmla="*/ 5098 w 10000"/>
              <a:gd name="connsiteY194" fmla="*/ 0 h 10000"/>
              <a:gd name="connsiteX195" fmla="*/ 4837 w 10000"/>
              <a:gd name="connsiteY195" fmla="*/ 82 h 10000"/>
              <a:gd name="connsiteX196" fmla="*/ 4671 w 10000"/>
              <a:gd name="connsiteY196" fmla="*/ 78 h 10000"/>
              <a:gd name="connsiteX197" fmla="*/ 4571 w 10000"/>
              <a:gd name="connsiteY197" fmla="*/ 107 h 10000"/>
              <a:gd name="connsiteX198" fmla="*/ 4298 w 10000"/>
              <a:gd name="connsiteY198" fmla="*/ 913 h 10000"/>
              <a:gd name="connsiteX199" fmla="*/ 3668 w 10000"/>
              <a:gd name="connsiteY199" fmla="*/ 1383 h 10000"/>
              <a:gd name="connsiteX200" fmla="*/ 3672 w 10000"/>
              <a:gd name="connsiteY200" fmla="*/ 1457 h 10000"/>
              <a:gd name="connsiteX201" fmla="*/ 3952 w 10000"/>
              <a:gd name="connsiteY201" fmla="*/ 1668 h 10000"/>
              <a:gd name="connsiteX202" fmla="*/ 3861 w 10000"/>
              <a:gd name="connsiteY202" fmla="*/ 1896 h 10000"/>
              <a:gd name="connsiteX203" fmla="*/ 3698 w 10000"/>
              <a:gd name="connsiteY203" fmla="*/ 1979 h 10000"/>
              <a:gd name="connsiteX204" fmla="*/ 3208 w 10000"/>
              <a:gd name="connsiteY204" fmla="*/ 1924 h 10000"/>
              <a:gd name="connsiteX205" fmla="*/ 2871 w 10000"/>
              <a:gd name="connsiteY205" fmla="*/ 1955 h 10000"/>
              <a:gd name="connsiteX206" fmla="*/ 2601 w 10000"/>
              <a:gd name="connsiteY206" fmla="*/ 2023 h 10000"/>
              <a:gd name="connsiteX207" fmla="*/ 2163 w 10000"/>
              <a:gd name="connsiteY207" fmla="*/ 2233 h 10000"/>
              <a:gd name="connsiteX208" fmla="*/ 1931 w 10000"/>
              <a:gd name="connsiteY208" fmla="*/ 2487 h 10000"/>
              <a:gd name="connsiteX209" fmla="*/ 1951 w 10000"/>
              <a:gd name="connsiteY209" fmla="*/ 2629 h 10000"/>
              <a:gd name="connsiteX210" fmla="*/ 2032 w 10000"/>
              <a:gd name="connsiteY210" fmla="*/ 2738 h 10000"/>
              <a:gd name="connsiteX211" fmla="*/ 2093 w 10000"/>
              <a:gd name="connsiteY211" fmla="*/ 2782 h 10000"/>
              <a:gd name="connsiteX212" fmla="*/ 1979 w 10000"/>
              <a:gd name="connsiteY212" fmla="*/ 2852 h 10000"/>
              <a:gd name="connsiteX213" fmla="*/ 1731 w 10000"/>
              <a:gd name="connsiteY213" fmla="*/ 3330 h 10000"/>
              <a:gd name="connsiteX214" fmla="*/ 1779 w 10000"/>
              <a:gd name="connsiteY214" fmla="*/ 3358 h 10000"/>
              <a:gd name="connsiteX215" fmla="*/ 1815 w 10000"/>
              <a:gd name="connsiteY215" fmla="*/ 3479 h 10000"/>
              <a:gd name="connsiteX216" fmla="*/ 1700 w 10000"/>
              <a:gd name="connsiteY216" fmla="*/ 3982 h 10000"/>
              <a:gd name="connsiteX217" fmla="*/ 1815 w 10000"/>
              <a:gd name="connsiteY217" fmla="*/ 4110 h 10000"/>
              <a:gd name="connsiteX218" fmla="*/ 2131 w 10000"/>
              <a:gd name="connsiteY218" fmla="*/ 4251 h 10000"/>
              <a:gd name="connsiteX219" fmla="*/ 2145 w 10000"/>
              <a:gd name="connsiteY219" fmla="*/ 4423 h 10000"/>
              <a:gd name="connsiteX220" fmla="*/ 2010 w 10000"/>
              <a:gd name="connsiteY220" fmla="*/ 4566 h 10000"/>
              <a:gd name="connsiteX221" fmla="*/ 1815 w 10000"/>
              <a:gd name="connsiteY221" fmla="*/ 4652 h 10000"/>
              <a:gd name="connsiteX222" fmla="*/ 1557 w 10000"/>
              <a:gd name="connsiteY222" fmla="*/ 4687 h 10000"/>
              <a:gd name="connsiteX223" fmla="*/ 1490 w 10000"/>
              <a:gd name="connsiteY223" fmla="*/ 4737 h 10000"/>
              <a:gd name="connsiteX224" fmla="*/ 1640 w 10000"/>
              <a:gd name="connsiteY224" fmla="*/ 4855 h 10000"/>
              <a:gd name="connsiteX225" fmla="*/ 1726 w 10000"/>
              <a:gd name="connsiteY225" fmla="*/ 5136 h 10000"/>
              <a:gd name="connsiteX226" fmla="*/ 1531 w 10000"/>
              <a:gd name="connsiteY226" fmla="*/ 5376 h 10000"/>
              <a:gd name="connsiteX227" fmla="*/ 1599 w 10000"/>
              <a:gd name="connsiteY227" fmla="*/ 5451 h 10000"/>
              <a:gd name="connsiteX228" fmla="*/ 1537 w 10000"/>
              <a:gd name="connsiteY228" fmla="*/ 5577 h 10000"/>
              <a:gd name="connsiteX229" fmla="*/ 1412 w 10000"/>
              <a:gd name="connsiteY229" fmla="*/ 5663 h 10000"/>
              <a:gd name="connsiteX230" fmla="*/ 915 w 10000"/>
              <a:gd name="connsiteY230" fmla="*/ 5730 h 10000"/>
              <a:gd name="connsiteX231" fmla="*/ 885 w 10000"/>
              <a:gd name="connsiteY231" fmla="*/ 5846 h 10000"/>
              <a:gd name="connsiteX232" fmla="*/ 617 w 10000"/>
              <a:gd name="connsiteY232" fmla="*/ 6019 h 10000"/>
              <a:gd name="connsiteX233" fmla="*/ 652 w 10000"/>
              <a:gd name="connsiteY233" fmla="*/ 6268 h 10000"/>
              <a:gd name="connsiteX234" fmla="*/ 427 w 10000"/>
              <a:gd name="connsiteY234" fmla="*/ 6587 h 10000"/>
              <a:gd name="connsiteX235" fmla="*/ 274 w 10000"/>
              <a:gd name="connsiteY235" fmla="*/ 6624 h 10000"/>
              <a:gd name="connsiteX236" fmla="*/ 210 w 10000"/>
              <a:gd name="connsiteY236" fmla="*/ 6548 h 10000"/>
              <a:gd name="connsiteX237" fmla="*/ 132 w 10000"/>
              <a:gd name="connsiteY237" fmla="*/ 6663 h 10000"/>
              <a:gd name="connsiteX238" fmla="*/ 183 w 10000"/>
              <a:gd name="connsiteY238" fmla="*/ 6465 h 10000"/>
              <a:gd name="connsiteX239" fmla="*/ 151 w 10000"/>
              <a:gd name="connsiteY23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864 w 10000"/>
              <a:gd name="connsiteY180" fmla="*/ 2396 h 10000"/>
              <a:gd name="connsiteX181" fmla="*/ 8973 w 10000"/>
              <a:gd name="connsiteY181" fmla="*/ 2418 h 10000"/>
              <a:gd name="connsiteX182" fmla="*/ 9310 w 10000"/>
              <a:gd name="connsiteY182" fmla="*/ 2263 h 10000"/>
              <a:gd name="connsiteX183" fmla="*/ 9417 w 10000"/>
              <a:gd name="connsiteY183" fmla="*/ 2235 h 10000"/>
              <a:gd name="connsiteX184" fmla="*/ 10000 w 10000"/>
              <a:gd name="connsiteY184" fmla="*/ 1832 h 10000"/>
              <a:gd name="connsiteX185" fmla="*/ 9652 w 10000"/>
              <a:gd name="connsiteY185" fmla="*/ 1699 h 10000"/>
              <a:gd name="connsiteX186" fmla="*/ 9147 w 10000"/>
              <a:gd name="connsiteY186" fmla="*/ 1773 h 10000"/>
              <a:gd name="connsiteX187" fmla="*/ 8784 w 10000"/>
              <a:gd name="connsiteY187" fmla="*/ 1639 h 10000"/>
              <a:gd name="connsiteX188" fmla="*/ 8850 w 10000"/>
              <a:gd name="connsiteY188" fmla="*/ 1480 h 10000"/>
              <a:gd name="connsiteX189" fmla="*/ 7497 w 10000"/>
              <a:gd name="connsiteY189" fmla="*/ 923 h 10000"/>
              <a:gd name="connsiteX190" fmla="*/ 7522 w 10000"/>
              <a:gd name="connsiteY190" fmla="*/ 649 h 10000"/>
              <a:gd name="connsiteX191" fmla="*/ 7012 w 10000"/>
              <a:gd name="connsiteY191" fmla="*/ 590 h 10000"/>
              <a:gd name="connsiteX192" fmla="*/ 6413 w 10000"/>
              <a:gd name="connsiteY192" fmla="*/ 332 h 10000"/>
              <a:gd name="connsiteX193" fmla="*/ 5098 w 10000"/>
              <a:gd name="connsiteY193" fmla="*/ 0 h 10000"/>
              <a:gd name="connsiteX194" fmla="*/ 4837 w 10000"/>
              <a:gd name="connsiteY194" fmla="*/ 82 h 10000"/>
              <a:gd name="connsiteX195" fmla="*/ 4671 w 10000"/>
              <a:gd name="connsiteY195" fmla="*/ 78 h 10000"/>
              <a:gd name="connsiteX196" fmla="*/ 4571 w 10000"/>
              <a:gd name="connsiteY196" fmla="*/ 107 h 10000"/>
              <a:gd name="connsiteX197" fmla="*/ 4298 w 10000"/>
              <a:gd name="connsiteY197" fmla="*/ 913 h 10000"/>
              <a:gd name="connsiteX198" fmla="*/ 3668 w 10000"/>
              <a:gd name="connsiteY198" fmla="*/ 1383 h 10000"/>
              <a:gd name="connsiteX199" fmla="*/ 3672 w 10000"/>
              <a:gd name="connsiteY199" fmla="*/ 1457 h 10000"/>
              <a:gd name="connsiteX200" fmla="*/ 3952 w 10000"/>
              <a:gd name="connsiteY200" fmla="*/ 1668 h 10000"/>
              <a:gd name="connsiteX201" fmla="*/ 3861 w 10000"/>
              <a:gd name="connsiteY201" fmla="*/ 1896 h 10000"/>
              <a:gd name="connsiteX202" fmla="*/ 3698 w 10000"/>
              <a:gd name="connsiteY202" fmla="*/ 1979 h 10000"/>
              <a:gd name="connsiteX203" fmla="*/ 3208 w 10000"/>
              <a:gd name="connsiteY203" fmla="*/ 1924 h 10000"/>
              <a:gd name="connsiteX204" fmla="*/ 2871 w 10000"/>
              <a:gd name="connsiteY204" fmla="*/ 1955 h 10000"/>
              <a:gd name="connsiteX205" fmla="*/ 2601 w 10000"/>
              <a:gd name="connsiteY205" fmla="*/ 2023 h 10000"/>
              <a:gd name="connsiteX206" fmla="*/ 2163 w 10000"/>
              <a:gd name="connsiteY206" fmla="*/ 2233 h 10000"/>
              <a:gd name="connsiteX207" fmla="*/ 1931 w 10000"/>
              <a:gd name="connsiteY207" fmla="*/ 2487 h 10000"/>
              <a:gd name="connsiteX208" fmla="*/ 1951 w 10000"/>
              <a:gd name="connsiteY208" fmla="*/ 2629 h 10000"/>
              <a:gd name="connsiteX209" fmla="*/ 2032 w 10000"/>
              <a:gd name="connsiteY209" fmla="*/ 2738 h 10000"/>
              <a:gd name="connsiteX210" fmla="*/ 2093 w 10000"/>
              <a:gd name="connsiteY210" fmla="*/ 2782 h 10000"/>
              <a:gd name="connsiteX211" fmla="*/ 1979 w 10000"/>
              <a:gd name="connsiteY211" fmla="*/ 2852 h 10000"/>
              <a:gd name="connsiteX212" fmla="*/ 1731 w 10000"/>
              <a:gd name="connsiteY212" fmla="*/ 3330 h 10000"/>
              <a:gd name="connsiteX213" fmla="*/ 1779 w 10000"/>
              <a:gd name="connsiteY213" fmla="*/ 3358 h 10000"/>
              <a:gd name="connsiteX214" fmla="*/ 1815 w 10000"/>
              <a:gd name="connsiteY214" fmla="*/ 3479 h 10000"/>
              <a:gd name="connsiteX215" fmla="*/ 1700 w 10000"/>
              <a:gd name="connsiteY215" fmla="*/ 3982 h 10000"/>
              <a:gd name="connsiteX216" fmla="*/ 1815 w 10000"/>
              <a:gd name="connsiteY216" fmla="*/ 4110 h 10000"/>
              <a:gd name="connsiteX217" fmla="*/ 2131 w 10000"/>
              <a:gd name="connsiteY217" fmla="*/ 4251 h 10000"/>
              <a:gd name="connsiteX218" fmla="*/ 2145 w 10000"/>
              <a:gd name="connsiteY218" fmla="*/ 4423 h 10000"/>
              <a:gd name="connsiteX219" fmla="*/ 2010 w 10000"/>
              <a:gd name="connsiteY219" fmla="*/ 4566 h 10000"/>
              <a:gd name="connsiteX220" fmla="*/ 1815 w 10000"/>
              <a:gd name="connsiteY220" fmla="*/ 4652 h 10000"/>
              <a:gd name="connsiteX221" fmla="*/ 1557 w 10000"/>
              <a:gd name="connsiteY221" fmla="*/ 4687 h 10000"/>
              <a:gd name="connsiteX222" fmla="*/ 1490 w 10000"/>
              <a:gd name="connsiteY222" fmla="*/ 4737 h 10000"/>
              <a:gd name="connsiteX223" fmla="*/ 1640 w 10000"/>
              <a:gd name="connsiteY223" fmla="*/ 4855 h 10000"/>
              <a:gd name="connsiteX224" fmla="*/ 1726 w 10000"/>
              <a:gd name="connsiteY224" fmla="*/ 5136 h 10000"/>
              <a:gd name="connsiteX225" fmla="*/ 1531 w 10000"/>
              <a:gd name="connsiteY225" fmla="*/ 5376 h 10000"/>
              <a:gd name="connsiteX226" fmla="*/ 1599 w 10000"/>
              <a:gd name="connsiteY226" fmla="*/ 5451 h 10000"/>
              <a:gd name="connsiteX227" fmla="*/ 1537 w 10000"/>
              <a:gd name="connsiteY227" fmla="*/ 5577 h 10000"/>
              <a:gd name="connsiteX228" fmla="*/ 1412 w 10000"/>
              <a:gd name="connsiteY228" fmla="*/ 5663 h 10000"/>
              <a:gd name="connsiteX229" fmla="*/ 915 w 10000"/>
              <a:gd name="connsiteY229" fmla="*/ 5730 h 10000"/>
              <a:gd name="connsiteX230" fmla="*/ 885 w 10000"/>
              <a:gd name="connsiteY230" fmla="*/ 5846 h 10000"/>
              <a:gd name="connsiteX231" fmla="*/ 617 w 10000"/>
              <a:gd name="connsiteY231" fmla="*/ 6019 h 10000"/>
              <a:gd name="connsiteX232" fmla="*/ 652 w 10000"/>
              <a:gd name="connsiteY232" fmla="*/ 6268 h 10000"/>
              <a:gd name="connsiteX233" fmla="*/ 427 w 10000"/>
              <a:gd name="connsiteY233" fmla="*/ 6587 h 10000"/>
              <a:gd name="connsiteX234" fmla="*/ 274 w 10000"/>
              <a:gd name="connsiteY234" fmla="*/ 6624 h 10000"/>
              <a:gd name="connsiteX235" fmla="*/ 210 w 10000"/>
              <a:gd name="connsiteY235" fmla="*/ 6548 h 10000"/>
              <a:gd name="connsiteX236" fmla="*/ 132 w 10000"/>
              <a:gd name="connsiteY236" fmla="*/ 6663 h 10000"/>
              <a:gd name="connsiteX237" fmla="*/ 183 w 10000"/>
              <a:gd name="connsiteY237" fmla="*/ 6465 h 10000"/>
              <a:gd name="connsiteX238" fmla="*/ 151 w 10000"/>
              <a:gd name="connsiteY23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864 w 10000"/>
              <a:gd name="connsiteY180" fmla="*/ 2396 h 10000"/>
              <a:gd name="connsiteX181" fmla="*/ 9310 w 10000"/>
              <a:gd name="connsiteY181" fmla="*/ 2263 h 10000"/>
              <a:gd name="connsiteX182" fmla="*/ 9417 w 10000"/>
              <a:gd name="connsiteY182" fmla="*/ 2235 h 10000"/>
              <a:gd name="connsiteX183" fmla="*/ 10000 w 10000"/>
              <a:gd name="connsiteY183" fmla="*/ 1832 h 10000"/>
              <a:gd name="connsiteX184" fmla="*/ 9652 w 10000"/>
              <a:gd name="connsiteY184" fmla="*/ 1699 h 10000"/>
              <a:gd name="connsiteX185" fmla="*/ 9147 w 10000"/>
              <a:gd name="connsiteY185" fmla="*/ 1773 h 10000"/>
              <a:gd name="connsiteX186" fmla="*/ 8784 w 10000"/>
              <a:gd name="connsiteY186" fmla="*/ 1639 h 10000"/>
              <a:gd name="connsiteX187" fmla="*/ 8850 w 10000"/>
              <a:gd name="connsiteY187" fmla="*/ 1480 h 10000"/>
              <a:gd name="connsiteX188" fmla="*/ 7497 w 10000"/>
              <a:gd name="connsiteY188" fmla="*/ 923 h 10000"/>
              <a:gd name="connsiteX189" fmla="*/ 7522 w 10000"/>
              <a:gd name="connsiteY189" fmla="*/ 649 h 10000"/>
              <a:gd name="connsiteX190" fmla="*/ 7012 w 10000"/>
              <a:gd name="connsiteY190" fmla="*/ 590 h 10000"/>
              <a:gd name="connsiteX191" fmla="*/ 6413 w 10000"/>
              <a:gd name="connsiteY191" fmla="*/ 332 h 10000"/>
              <a:gd name="connsiteX192" fmla="*/ 5098 w 10000"/>
              <a:gd name="connsiteY192" fmla="*/ 0 h 10000"/>
              <a:gd name="connsiteX193" fmla="*/ 4837 w 10000"/>
              <a:gd name="connsiteY193" fmla="*/ 82 h 10000"/>
              <a:gd name="connsiteX194" fmla="*/ 4671 w 10000"/>
              <a:gd name="connsiteY194" fmla="*/ 78 h 10000"/>
              <a:gd name="connsiteX195" fmla="*/ 4571 w 10000"/>
              <a:gd name="connsiteY195" fmla="*/ 107 h 10000"/>
              <a:gd name="connsiteX196" fmla="*/ 4298 w 10000"/>
              <a:gd name="connsiteY196" fmla="*/ 913 h 10000"/>
              <a:gd name="connsiteX197" fmla="*/ 3668 w 10000"/>
              <a:gd name="connsiteY197" fmla="*/ 1383 h 10000"/>
              <a:gd name="connsiteX198" fmla="*/ 3672 w 10000"/>
              <a:gd name="connsiteY198" fmla="*/ 1457 h 10000"/>
              <a:gd name="connsiteX199" fmla="*/ 3952 w 10000"/>
              <a:gd name="connsiteY199" fmla="*/ 1668 h 10000"/>
              <a:gd name="connsiteX200" fmla="*/ 3861 w 10000"/>
              <a:gd name="connsiteY200" fmla="*/ 1896 h 10000"/>
              <a:gd name="connsiteX201" fmla="*/ 3698 w 10000"/>
              <a:gd name="connsiteY201" fmla="*/ 1979 h 10000"/>
              <a:gd name="connsiteX202" fmla="*/ 3208 w 10000"/>
              <a:gd name="connsiteY202" fmla="*/ 1924 h 10000"/>
              <a:gd name="connsiteX203" fmla="*/ 2871 w 10000"/>
              <a:gd name="connsiteY203" fmla="*/ 1955 h 10000"/>
              <a:gd name="connsiteX204" fmla="*/ 2601 w 10000"/>
              <a:gd name="connsiteY204" fmla="*/ 2023 h 10000"/>
              <a:gd name="connsiteX205" fmla="*/ 2163 w 10000"/>
              <a:gd name="connsiteY205" fmla="*/ 2233 h 10000"/>
              <a:gd name="connsiteX206" fmla="*/ 1931 w 10000"/>
              <a:gd name="connsiteY206" fmla="*/ 2487 h 10000"/>
              <a:gd name="connsiteX207" fmla="*/ 1951 w 10000"/>
              <a:gd name="connsiteY207" fmla="*/ 2629 h 10000"/>
              <a:gd name="connsiteX208" fmla="*/ 2032 w 10000"/>
              <a:gd name="connsiteY208" fmla="*/ 2738 h 10000"/>
              <a:gd name="connsiteX209" fmla="*/ 2093 w 10000"/>
              <a:gd name="connsiteY209" fmla="*/ 2782 h 10000"/>
              <a:gd name="connsiteX210" fmla="*/ 1979 w 10000"/>
              <a:gd name="connsiteY210" fmla="*/ 2852 h 10000"/>
              <a:gd name="connsiteX211" fmla="*/ 1731 w 10000"/>
              <a:gd name="connsiteY211" fmla="*/ 3330 h 10000"/>
              <a:gd name="connsiteX212" fmla="*/ 1779 w 10000"/>
              <a:gd name="connsiteY212" fmla="*/ 3358 h 10000"/>
              <a:gd name="connsiteX213" fmla="*/ 1815 w 10000"/>
              <a:gd name="connsiteY213" fmla="*/ 3479 h 10000"/>
              <a:gd name="connsiteX214" fmla="*/ 1700 w 10000"/>
              <a:gd name="connsiteY214" fmla="*/ 3982 h 10000"/>
              <a:gd name="connsiteX215" fmla="*/ 1815 w 10000"/>
              <a:gd name="connsiteY215" fmla="*/ 4110 h 10000"/>
              <a:gd name="connsiteX216" fmla="*/ 2131 w 10000"/>
              <a:gd name="connsiteY216" fmla="*/ 4251 h 10000"/>
              <a:gd name="connsiteX217" fmla="*/ 2145 w 10000"/>
              <a:gd name="connsiteY217" fmla="*/ 4423 h 10000"/>
              <a:gd name="connsiteX218" fmla="*/ 2010 w 10000"/>
              <a:gd name="connsiteY218" fmla="*/ 4566 h 10000"/>
              <a:gd name="connsiteX219" fmla="*/ 1815 w 10000"/>
              <a:gd name="connsiteY219" fmla="*/ 4652 h 10000"/>
              <a:gd name="connsiteX220" fmla="*/ 1557 w 10000"/>
              <a:gd name="connsiteY220" fmla="*/ 4687 h 10000"/>
              <a:gd name="connsiteX221" fmla="*/ 1490 w 10000"/>
              <a:gd name="connsiteY221" fmla="*/ 4737 h 10000"/>
              <a:gd name="connsiteX222" fmla="*/ 1640 w 10000"/>
              <a:gd name="connsiteY222" fmla="*/ 4855 h 10000"/>
              <a:gd name="connsiteX223" fmla="*/ 1726 w 10000"/>
              <a:gd name="connsiteY223" fmla="*/ 5136 h 10000"/>
              <a:gd name="connsiteX224" fmla="*/ 1531 w 10000"/>
              <a:gd name="connsiteY224" fmla="*/ 5376 h 10000"/>
              <a:gd name="connsiteX225" fmla="*/ 1599 w 10000"/>
              <a:gd name="connsiteY225" fmla="*/ 5451 h 10000"/>
              <a:gd name="connsiteX226" fmla="*/ 1537 w 10000"/>
              <a:gd name="connsiteY226" fmla="*/ 5577 h 10000"/>
              <a:gd name="connsiteX227" fmla="*/ 1412 w 10000"/>
              <a:gd name="connsiteY227" fmla="*/ 5663 h 10000"/>
              <a:gd name="connsiteX228" fmla="*/ 915 w 10000"/>
              <a:gd name="connsiteY228" fmla="*/ 5730 h 10000"/>
              <a:gd name="connsiteX229" fmla="*/ 885 w 10000"/>
              <a:gd name="connsiteY229" fmla="*/ 5846 h 10000"/>
              <a:gd name="connsiteX230" fmla="*/ 617 w 10000"/>
              <a:gd name="connsiteY230" fmla="*/ 6019 h 10000"/>
              <a:gd name="connsiteX231" fmla="*/ 652 w 10000"/>
              <a:gd name="connsiteY231" fmla="*/ 6268 h 10000"/>
              <a:gd name="connsiteX232" fmla="*/ 427 w 10000"/>
              <a:gd name="connsiteY232" fmla="*/ 6587 h 10000"/>
              <a:gd name="connsiteX233" fmla="*/ 274 w 10000"/>
              <a:gd name="connsiteY233" fmla="*/ 6624 h 10000"/>
              <a:gd name="connsiteX234" fmla="*/ 210 w 10000"/>
              <a:gd name="connsiteY234" fmla="*/ 6548 h 10000"/>
              <a:gd name="connsiteX235" fmla="*/ 132 w 10000"/>
              <a:gd name="connsiteY235" fmla="*/ 6663 h 10000"/>
              <a:gd name="connsiteX236" fmla="*/ 183 w 10000"/>
              <a:gd name="connsiteY236" fmla="*/ 6465 h 10000"/>
              <a:gd name="connsiteX237" fmla="*/ 151 w 10000"/>
              <a:gd name="connsiteY23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864 w 10000"/>
              <a:gd name="connsiteY179" fmla="*/ 2396 h 10000"/>
              <a:gd name="connsiteX180" fmla="*/ 9310 w 10000"/>
              <a:gd name="connsiteY180" fmla="*/ 2263 h 10000"/>
              <a:gd name="connsiteX181" fmla="*/ 9417 w 10000"/>
              <a:gd name="connsiteY181" fmla="*/ 2235 h 10000"/>
              <a:gd name="connsiteX182" fmla="*/ 10000 w 10000"/>
              <a:gd name="connsiteY182" fmla="*/ 1832 h 10000"/>
              <a:gd name="connsiteX183" fmla="*/ 9652 w 10000"/>
              <a:gd name="connsiteY183" fmla="*/ 1699 h 10000"/>
              <a:gd name="connsiteX184" fmla="*/ 9147 w 10000"/>
              <a:gd name="connsiteY184" fmla="*/ 1773 h 10000"/>
              <a:gd name="connsiteX185" fmla="*/ 8784 w 10000"/>
              <a:gd name="connsiteY185" fmla="*/ 1639 h 10000"/>
              <a:gd name="connsiteX186" fmla="*/ 8850 w 10000"/>
              <a:gd name="connsiteY186" fmla="*/ 1480 h 10000"/>
              <a:gd name="connsiteX187" fmla="*/ 7497 w 10000"/>
              <a:gd name="connsiteY187" fmla="*/ 923 h 10000"/>
              <a:gd name="connsiteX188" fmla="*/ 7522 w 10000"/>
              <a:gd name="connsiteY188" fmla="*/ 649 h 10000"/>
              <a:gd name="connsiteX189" fmla="*/ 7012 w 10000"/>
              <a:gd name="connsiteY189" fmla="*/ 590 h 10000"/>
              <a:gd name="connsiteX190" fmla="*/ 6413 w 10000"/>
              <a:gd name="connsiteY190" fmla="*/ 332 h 10000"/>
              <a:gd name="connsiteX191" fmla="*/ 5098 w 10000"/>
              <a:gd name="connsiteY191" fmla="*/ 0 h 10000"/>
              <a:gd name="connsiteX192" fmla="*/ 4837 w 10000"/>
              <a:gd name="connsiteY192" fmla="*/ 82 h 10000"/>
              <a:gd name="connsiteX193" fmla="*/ 4671 w 10000"/>
              <a:gd name="connsiteY193" fmla="*/ 78 h 10000"/>
              <a:gd name="connsiteX194" fmla="*/ 4571 w 10000"/>
              <a:gd name="connsiteY194" fmla="*/ 107 h 10000"/>
              <a:gd name="connsiteX195" fmla="*/ 4298 w 10000"/>
              <a:gd name="connsiteY195" fmla="*/ 913 h 10000"/>
              <a:gd name="connsiteX196" fmla="*/ 3668 w 10000"/>
              <a:gd name="connsiteY196" fmla="*/ 1383 h 10000"/>
              <a:gd name="connsiteX197" fmla="*/ 3672 w 10000"/>
              <a:gd name="connsiteY197" fmla="*/ 1457 h 10000"/>
              <a:gd name="connsiteX198" fmla="*/ 3952 w 10000"/>
              <a:gd name="connsiteY198" fmla="*/ 1668 h 10000"/>
              <a:gd name="connsiteX199" fmla="*/ 3861 w 10000"/>
              <a:gd name="connsiteY199" fmla="*/ 1896 h 10000"/>
              <a:gd name="connsiteX200" fmla="*/ 3698 w 10000"/>
              <a:gd name="connsiteY200" fmla="*/ 1979 h 10000"/>
              <a:gd name="connsiteX201" fmla="*/ 3208 w 10000"/>
              <a:gd name="connsiteY201" fmla="*/ 1924 h 10000"/>
              <a:gd name="connsiteX202" fmla="*/ 2871 w 10000"/>
              <a:gd name="connsiteY202" fmla="*/ 1955 h 10000"/>
              <a:gd name="connsiteX203" fmla="*/ 2601 w 10000"/>
              <a:gd name="connsiteY203" fmla="*/ 2023 h 10000"/>
              <a:gd name="connsiteX204" fmla="*/ 2163 w 10000"/>
              <a:gd name="connsiteY204" fmla="*/ 2233 h 10000"/>
              <a:gd name="connsiteX205" fmla="*/ 1931 w 10000"/>
              <a:gd name="connsiteY205" fmla="*/ 2487 h 10000"/>
              <a:gd name="connsiteX206" fmla="*/ 1951 w 10000"/>
              <a:gd name="connsiteY206" fmla="*/ 2629 h 10000"/>
              <a:gd name="connsiteX207" fmla="*/ 2032 w 10000"/>
              <a:gd name="connsiteY207" fmla="*/ 2738 h 10000"/>
              <a:gd name="connsiteX208" fmla="*/ 2093 w 10000"/>
              <a:gd name="connsiteY208" fmla="*/ 2782 h 10000"/>
              <a:gd name="connsiteX209" fmla="*/ 1979 w 10000"/>
              <a:gd name="connsiteY209" fmla="*/ 2852 h 10000"/>
              <a:gd name="connsiteX210" fmla="*/ 1731 w 10000"/>
              <a:gd name="connsiteY210" fmla="*/ 3330 h 10000"/>
              <a:gd name="connsiteX211" fmla="*/ 1779 w 10000"/>
              <a:gd name="connsiteY211" fmla="*/ 3358 h 10000"/>
              <a:gd name="connsiteX212" fmla="*/ 1815 w 10000"/>
              <a:gd name="connsiteY212" fmla="*/ 3479 h 10000"/>
              <a:gd name="connsiteX213" fmla="*/ 1700 w 10000"/>
              <a:gd name="connsiteY213" fmla="*/ 3982 h 10000"/>
              <a:gd name="connsiteX214" fmla="*/ 1815 w 10000"/>
              <a:gd name="connsiteY214" fmla="*/ 4110 h 10000"/>
              <a:gd name="connsiteX215" fmla="*/ 2131 w 10000"/>
              <a:gd name="connsiteY215" fmla="*/ 4251 h 10000"/>
              <a:gd name="connsiteX216" fmla="*/ 2145 w 10000"/>
              <a:gd name="connsiteY216" fmla="*/ 4423 h 10000"/>
              <a:gd name="connsiteX217" fmla="*/ 2010 w 10000"/>
              <a:gd name="connsiteY217" fmla="*/ 4566 h 10000"/>
              <a:gd name="connsiteX218" fmla="*/ 1815 w 10000"/>
              <a:gd name="connsiteY218" fmla="*/ 4652 h 10000"/>
              <a:gd name="connsiteX219" fmla="*/ 1557 w 10000"/>
              <a:gd name="connsiteY219" fmla="*/ 4687 h 10000"/>
              <a:gd name="connsiteX220" fmla="*/ 1490 w 10000"/>
              <a:gd name="connsiteY220" fmla="*/ 4737 h 10000"/>
              <a:gd name="connsiteX221" fmla="*/ 1640 w 10000"/>
              <a:gd name="connsiteY221" fmla="*/ 4855 h 10000"/>
              <a:gd name="connsiteX222" fmla="*/ 1726 w 10000"/>
              <a:gd name="connsiteY222" fmla="*/ 5136 h 10000"/>
              <a:gd name="connsiteX223" fmla="*/ 1531 w 10000"/>
              <a:gd name="connsiteY223" fmla="*/ 5376 h 10000"/>
              <a:gd name="connsiteX224" fmla="*/ 1599 w 10000"/>
              <a:gd name="connsiteY224" fmla="*/ 5451 h 10000"/>
              <a:gd name="connsiteX225" fmla="*/ 1537 w 10000"/>
              <a:gd name="connsiteY225" fmla="*/ 5577 h 10000"/>
              <a:gd name="connsiteX226" fmla="*/ 1412 w 10000"/>
              <a:gd name="connsiteY226" fmla="*/ 5663 h 10000"/>
              <a:gd name="connsiteX227" fmla="*/ 915 w 10000"/>
              <a:gd name="connsiteY227" fmla="*/ 5730 h 10000"/>
              <a:gd name="connsiteX228" fmla="*/ 885 w 10000"/>
              <a:gd name="connsiteY228" fmla="*/ 5846 h 10000"/>
              <a:gd name="connsiteX229" fmla="*/ 617 w 10000"/>
              <a:gd name="connsiteY229" fmla="*/ 6019 h 10000"/>
              <a:gd name="connsiteX230" fmla="*/ 652 w 10000"/>
              <a:gd name="connsiteY230" fmla="*/ 6268 h 10000"/>
              <a:gd name="connsiteX231" fmla="*/ 427 w 10000"/>
              <a:gd name="connsiteY231" fmla="*/ 6587 h 10000"/>
              <a:gd name="connsiteX232" fmla="*/ 274 w 10000"/>
              <a:gd name="connsiteY232" fmla="*/ 6624 h 10000"/>
              <a:gd name="connsiteX233" fmla="*/ 210 w 10000"/>
              <a:gd name="connsiteY233" fmla="*/ 6548 h 10000"/>
              <a:gd name="connsiteX234" fmla="*/ 132 w 10000"/>
              <a:gd name="connsiteY234" fmla="*/ 6663 h 10000"/>
              <a:gd name="connsiteX235" fmla="*/ 183 w 10000"/>
              <a:gd name="connsiteY235" fmla="*/ 6465 h 10000"/>
              <a:gd name="connsiteX236" fmla="*/ 151 w 10000"/>
              <a:gd name="connsiteY23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864 w 10000"/>
              <a:gd name="connsiteY178" fmla="*/ 2396 h 10000"/>
              <a:gd name="connsiteX179" fmla="*/ 9310 w 10000"/>
              <a:gd name="connsiteY179" fmla="*/ 2263 h 10000"/>
              <a:gd name="connsiteX180" fmla="*/ 9417 w 10000"/>
              <a:gd name="connsiteY180" fmla="*/ 2235 h 10000"/>
              <a:gd name="connsiteX181" fmla="*/ 10000 w 10000"/>
              <a:gd name="connsiteY181" fmla="*/ 1832 h 10000"/>
              <a:gd name="connsiteX182" fmla="*/ 9652 w 10000"/>
              <a:gd name="connsiteY182" fmla="*/ 1699 h 10000"/>
              <a:gd name="connsiteX183" fmla="*/ 9147 w 10000"/>
              <a:gd name="connsiteY183" fmla="*/ 1773 h 10000"/>
              <a:gd name="connsiteX184" fmla="*/ 8784 w 10000"/>
              <a:gd name="connsiteY184" fmla="*/ 1639 h 10000"/>
              <a:gd name="connsiteX185" fmla="*/ 8850 w 10000"/>
              <a:gd name="connsiteY185" fmla="*/ 1480 h 10000"/>
              <a:gd name="connsiteX186" fmla="*/ 7497 w 10000"/>
              <a:gd name="connsiteY186" fmla="*/ 923 h 10000"/>
              <a:gd name="connsiteX187" fmla="*/ 7522 w 10000"/>
              <a:gd name="connsiteY187" fmla="*/ 649 h 10000"/>
              <a:gd name="connsiteX188" fmla="*/ 7012 w 10000"/>
              <a:gd name="connsiteY188" fmla="*/ 590 h 10000"/>
              <a:gd name="connsiteX189" fmla="*/ 6413 w 10000"/>
              <a:gd name="connsiteY189" fmla="*/ 332 h 10000"/>
              <a:gd name="connsiteX190" fmla="*/ 5098 w 10000"/>
              <a:gd name="connsiteY190" fmla="*/ 0 h 10000"/>
              <a:gd name="connsiteX191" fmla="*/ 4837 w 10000"/>
              <a:gd name="connsiteY191" fmla="*/ 82 h 10000"/>
              <a:gd name="connsiteX192" fmla="*/ 4671 w 10000"/>
              <a:gd name="connsiteY192" fmla="*/ 78 h 10000"/>
              <a:gd name="connsiteX193" fmla="*/ 4571 w 10000"/>
              <a:gd name="connsiteY193" fmla="*/ 107 h 10000"/>
              <a:gd name="connsiteX194" fmla="*/ 4298 w 10000"/>
              <a:gd name="connsiteY194" fmla="*/ 913 h 10000"/>
              <a:gd name="connsiteX195" fmla="*/ 3668 w 10000"/>
              <a:gd name="connsiteY195" fmla="*/ 1383 h 10000"/>
              <a:gd name="connsiteX196" fmla="*/ 3672 w 10000"/>
              <a:gd name="connsiteY196" fmla="*/ 1457 h 10000"/>
              <a:gd name="connsiteX197" fmla="*/ 3952 w 10000"/>
              <a:gd name="connsiteY197" fmla="*/ 1668 h 10000"/>
              <a:gd name="connsiteX198" fmla="*/ 3861 w 10000"/>
              <a:gd name="connsiteY198" fmla="*/ 1896 h 10000"/>
              <a:gd name="connsiteX199" fmla="*/ 3698 w 10000"/>
              <a:gd name="connsiteY199" fmla="*/ 1979 h 10000"/>
              <a:gd name="connsiteX200" fmla="*/ 3208 w 10000"/>
              <a:gd name="connsiteY200" fmla="*/ 1924 h 10000"/>
              <a:gd name="connsiteX201" fmla="*/ 2871 w 10000"/>
              <a:gd name="connsiteY201" fmla="*/ 1955 h 10000"/>
              <a:gd name="connsiteX202" fmla="*/ 2601 w 10000"/>
              <a:gd name="connsiteY202" fmla="*/ 2023 h 10000"/>
              <a:gd name="connsiteX203" fmla="*/ 2163 w 10000"/>
              <a:gd name="connsiteY203" fmla="*/ 2233 h 10000"/>
              <a:gd name="connsiteX204" fmla="*/ 1931 w 10000"/>
              <a:gd name="connsiteY204" fmla="*/ 2487 h 10000"/>
              <a:gd name="connsiteX205" fmla="*/ 1951 w 10000"/>
              <a:gd name="connsiteY205" fmla="*/ 2629 h 10000"/>
              <a:gd name="connsiteX206" fmla="*/ 2032 w 10000"/>
              <a:gd name="connsiteY206" fmla="*/ 2738 h 10000"/>
              <a:gd name="connsiteX207" fmla="*/ 2093 w 10000"/>
              <a:gd name="connsiteY207" fmla="*/ 2782 h 10000"/>
              <a:gd name="connsiteX208" fmla="*/ 1979 w 10000"/>
              <a:gd name="connsiteY208" fmla="*/ 2852 h 10000"/>
              <a:gd name="connsiteX209" fmla="*/ 1731 w 10000"/>
              <a:gd name="connsiteY209" fmla="*/ 3330 h 10000"/>
              <a:gd name="connsiteX210" fmla="*/ 1779 w 10000"/>
              <a:gd name="connsiteY210" fmla="*/ 3358 h 10000"/>
              <a:gd name="connsiteX211" fmla="*/ 1815 w 10000"/>
              <a:gd name="connsiteY211" fmla="*/ 3479 h 10000"/>
              <a:gd name="connsiteX212" fmla="*/ 1700 w 10000"/>
              <a:gd name="connsiteY212" fmla="*/ 3982 h 10000"/>
              <a:gd name="connsiteX213" fmla="*/ 1815 w 10000"/>
              <a:gd name="connsiteY213" fmla="*/ 4110 h 10000"/>
              <a:gd name="connsiteX214" fmla="*/ 2131 w 10000"/>
              <a:gd name="connsiteY214" fmla="*/ 4251 h 10000"/>
              <a:gd name="connsiteX215" fmla="*/ 2145 w 10000"/>
              <a:gd name="connsiteY215" fmla="*/ 4423 h 10000"/>
              <a:gd name="connsiteX216" fmla="*/ 2010 w 10000"/>
              <a:gd name="connsiteY216" fmla="*/ 4566 h 10000"/>
              <a:gd name="connsiteX217" fmla="*/ 1815 w 10000"/>
              <a:gd name="connsiteY217" fmla="*/ 4652 h 10000"/>
              <a:gd name="connsiteX218" fmla="*/ 1557 w 10000"/>
              <a:gd name="connsiteY218" fmla="*/ 4687 h 10000"/>
              <a:gd name="connsiteX219" fmla="*/ 1490 w 10000"/>
              <a:gd name="connsiteY219" fmla="*/ 4737 h 10000"/>
              <a:gd name="connsiteX220" fmla="*/ 1640 w 10000"/>
              <a:gd name="connsiteY220" fmla="*/ 4855 h 10000"/>
              <a:gd name="connsiteX221" fmla="*/ 1726 w 10000"/>
              <a:gd name="connsiteY221" fmla="*/ 5136 h 10000"/>
              <a:gd name="connsiteX222" fmla="*/ 1531 w 10000"/>
              <a:gd name="connsiteY222" fmla="*/ 5376 h 10000"/>
              <a:gd name="connsiteX223" fmla="*/ 1599 w 10000"/>
              <a:gd name="connsiteY223" fmla="*/ 5451 h 10000"/>
              <a:gd name="connsiteX224" fmla="*/ 1537 w 10000"/>
              <a:gd name="connsiteY224" fmla="*/ 5577 h 10000"/>
              <a:gd name="connsiteX225" fmla="*/ 1412 w 10000"/>
              <a:gd name="connsiteY225" fmla="*/ 5663 h 10000"/>
              <a:gd name="connsiteX226" fmla="*/ 915 w 10000"/>
              <a:gd name="connsiteY226" fmla="*/ 5730 h 10000"/>
              <a:gd name="connsiteX227" fmla="*/ 885 w 10000"/>
              <a:gd name="connsiteY227" fmla="*/ 5846 h 10000"/>
              <a:gd name="connsiteX228" fmla="*/ 617 w 10000"/>
              <a:gd name="connsiteY228" fmla="*/ 6019 h 10000"/>
              <a:gd name="connsiteX229" fmla="*/ 652 w 10000"/>
              <a:gd name="connsiteY229" fmla="*/ 6268 h 10000"/>
              <a:gd name="connsiteX230" fmla="*/ 427 w 10000"/>
              <a:gd name="connsiteY230" fmla="*/ 6587 h 10000"/>
              <a:gd name="connsiteX231" fmla="*/ 274 w 10000"/>
              <a:gd name="connsiteY231" fmla="*/ 6624 h 10000"/>
              <a:gd name="connsiteX232" fmla="*/ 210 w 10000"/>
              <a:gd name="connsiteY232" fmla="*/ 6548 h 10000"/>
              <a:gd name="connsiteX233" fmla="*/ 132 w 10000"/>
              <a:gd name="connsiteY233" fmla="*/ 6663 h 10000"/>
              <a:gd name="connsiteX234" fmla="*/ 183 w 10000"/>
              <a:gd name="connsiteY234" fmla="*/ 6465 h 10000"/>
              <a:gd name="connsiteX235" fmla="*/ 151 w 10000"/>
              <a:gd name="connsiteY23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864 w 10000"/>
              <a:gd name="connsiteY177" fmla="*/ 2396 h 10000"/>
              <a:gd name="connsiteX178" fmla="*/ 9310 w 10000"/>
              <a:gd name="connsiteY178" fmla="*/ 2263 h 10000"/>
              <a:gd name="connsiteX179" fmla="*/ 9417 w 10000"/>
              <a:gd name="connsiteY179" fmla="*/ 2235 h 10000"/>
              <a:gd name="connsiteX180" fmla="*/ 10000 w 10000"/>
              <a:gd name="connsiteY180" fmla="*/ 1832 h 10000"/>
              <a:gd name="connsiteX181" fmla="*/ 9652 w 10000"/>
              <a:gd name="connsiteY181" fmla="*/ 1699 h 10000"/>
              <a:gd name="connsiteX182" fmla="*/ 9147 w 10000"/>
              <a:gd name="connsiteY182" fmla="*/ 1773 h 10000"/>
              <a:gd name="connsiteX183" fmla="*/ 8784 w 10000"/>
              <a:gd name="connsiteY183" fmla="*/ 1639 h 10000"/>
              <a:gd name="connsiteX184" fmla="*/ 8850 w 10000"/>
              <a:gd name="connsiteY184" fmla="*/ 1480 h 10000"/>
              <a:gd name="connsiteX185" fmla="*/ 7497 w 10000"/>
              <a:gd name="connsiteY185" fmla="*/ 923 h 10000"/>
              <a:gd name="connsiteX186" fmla="*/ 7522 w 10000"/>
              <a:gd name="connsiteY186" fmla="*/ 649 h 10000"/>
              <a:gd name="connsiteX187" fmla="*/ 7012 w 10000"/>
              <a:gd name="connsiteY187" fmla="*/ 590 h 10000"/>
              <a:gd name="connsiteX188" fmla="*/ 6413 w 10000"/>
              <a:gd name="connsiteY188" fmla="*/ 332 h 10000"/>
              <a:gd name="connsiteX189" fmla="*/ 5098 w 10000"/>
              <a:gd name="connsiteY189" fmla="*/ 0 h 10000"/>
              <a:gd name="connsiteX190" fmla="*/ 4837 w 10000"/>
              <a:gd name="connsiteY190" fmla="*/ 82 h 10000"/>
              <a:gd name="connsiteX191" fmla="*/ 4671 w 10000"/>
              <a:gd name="connsiteY191" fmla="*/ 78 h 10000"/>
              <a:gd name="connsiteX192" fmla="*/ 4571 w 10000"/>
              <a:gd name="connsiteY192" fmla="*/ 107 h 10000"/>
              <a:gd name="connsiteX193" fmla="*/ 4298 w 10000"/>
              <a:gd name="connsiteY193" fmla="*/ 913 h 10000"/>
              <a:gd name="connsiteX194" fmla="*/ 3668 w 10000"/>
              <a:gd name="connsiteY194" fmla="*/ 1383 h 10000"/>
              <a:gd name="connsiteX195" fmla="*/ 3672 w 10000"/>
              <a:gd name="connsiteY195" fmla="*/ 1457 h 10000"/>
              <a:gd name="connsiteX196" fmla="*/ 3952 w 10000"/>
              <a:gd name="connsiteY196" fmla="*/ 1668 h 10000"/>
              <a:gd name="connsiteX197" fmla="*/ 3861 w 10000"/>
              <a:gd name="connsiteY197" fmla="*/ 1896 h 10000"/>
              <a:gd name="connsiteX198" fmla="*/ 3698 w 10000"/>
              <a:gd name="connsiteY198" fmla="*/ 1979 h 10000"/>
              <a:gd name="connsiteX199" fmla="*/ 3208 w 10000"/>
              <a:gd name="connsiteY199" fmla="*/ 1924 h 10000"/>
              <a:gd name="connsiteX200" fmla="*/ 2871 w 10000"/>
              <a:gd name="connsiteY200" fmla="*/ 1955 h 10000"/>
              <a:gd name="connsiteX201" fmla="*/ 2601 w 10000"/>
              <a:gd name="connsiteY201" fmla="*/ 2023 h 10000"/>
              <a:gd name="connsiteX202" fmla="*/ 2163 w 10000"/>
              <a:gd name="connsiteY202" fmla="*/ 2233 h 10000"/>
              <a:gd name="connsiteX203" fmla="*/ 1931 w 10000"/>
              <a:gd name="connsiteY203" fmla="*/ 2487 h 10000"/>
              <a:gd name="connsiteX204" fmla="*/ 1951 w 10000"/>
              <a:gd name="connsiteY204" fmla="*/ 2629 h 10000"/>
              <a:gd name="connsiteX205" fmla="*/ 2032 w 10000"/>
              <a:gd name="connsiteY205" fmla="*/ 2738 h 10000"/>
              <a:gd name="connsiteX206" fmla="*/ 2093 w 10000"/>
              <a:gd name="connsiteY206" fmla="*/ 2782 h 10000"/>
              <a:gd name="connsiteX207" fmla="*/ 1979 w 10000"/>
              <a:gd name="connsiteY207" fmla="*/ 2852 h 10000"/>
              <a:gd name="connsiteX208" fmla="*/ 1731 w 10000"/>
              <a:gd name="connsiteY208" fmla="*/ 3330 h 10000"/>
              <a:gd name="connsiteX209" fmla="*/ 1779 w 10000"/>
              <a:gd name="connsiteY209" fmla="*/ 3358 h 10000"/>
              <a:gd name="connsiteX210" fmla="*/ 1815 w 10000"/>
              <a:gd name="connsiteY210" fmla="*/ 3479 h 10000"/>
              <a:gd name="connsiteX211" fmla="*/ 1700 w 10000"/>
              <a:gd name="connsiteY211" fmla="*/ 3982 h 10000"/>
              <a:gd name="connsiteX212" fmla="*/ 1815 w 10000"/>
              <a:gd name="connsiteY212" fmla="*/ 4110 h 10000"/>
              <a:gd name="connsiteX213" fmla="*/ 2131 w 10000"/>
              <a:gd name="connsiteY213" fmla="*/ 4251 h 10000"/>
              <a:gd name="connsiteX214" fmla="*/ 2145 w 10000"/>
              <a:gd name="connsiteY214" fmla="*/ 4423 h 10000"/>
              <a:gd name="connsiteX215" fmla="*/ 2010 w 10000"/>
              <a:gd name="connsiteY215" fmla="*/ 4566 h 10000"/>
              <a:gd name="connsiteX216" fmla="*/ 1815 w 10000"/>
              <a:gd name="connsiteY216" fmla="*/ 4652 h 10000"/>
              <a:gd name="connsiteX217" fmla="*/ 1557 w 10000"/>
              <a:gd name="connsiteY217" fmla="*/ 4687 h 10000"/>
              <a:gd name="connsiteX218" fmla="*/ 1490 w 10000"/>
              <a:gd name="connsiteY218" fmla="*/ 4737 h 10000"/>
              <a:gd name="connsiteX219" fmla="*/ 1640 w 10000"/>
              <a:gd name="connsiteY219" fmla="*/ 4855 h 10000"/>
              <a:gd name="connsiteX220" fmla="*/ 1726 w 10000"/>
              <a:gd name="connsiteY220" fmla="*/ 5136 h 10000"/>
              <a:gd name="connsiteX221" fmla="*/ 1531 w 10000"/>
              <a:gd name="connsiteY221" fmla="*/ 5376 h 10000"/>
              <a:gd name="connsiteX222" fmla="*/ 1599 w 10000"/>
              <a:gd name="connsiteY222" fmla="*/ 5451 h 10000"/>
              <a:gd name="connsiteX223" fmla="*/ 1537 w 10000"/>
              <a:gd name="connsiteY223" fmla="*/ 5577 h 10000"/>
              <a:gd name="connsiteX224" fmla="*/ 1412 w 10000"/>
              <a:gd name="connsiteY224" fmla="*/ 5663 h 10000"/>
              <a:gd name="connsiteX225" fmla="*/ 915 w 10000"/>
              <a:gd name="connsiteY225" fmla="*/ 5730 h 10000"/>
              <a:gd name="connsiteX226" fmla="*/ 885 w 10000"/>
              <a:gd name="connsiteY226" fmla="*/ 5846 h 10000"/>
              <a:gd name="connsiteX227" fmla="*/ 617 w 10000"/>
              <a:gd name="connsiteY227" fmla="*/ 6019 h 10000"/>
              <a:gd name="connsiteX228" fmla="*/ 652 w 10000"/>
              <a:gd name="connsiteY228" fmla="*/ 6268 h 10000"/>
              <a:gd name="connsiteX229" fmla="*/ 427 w 10000"/>
              <a:gd name="connsiteY229" fmla="*/ 6587 h 10000"/>
              <a:gd name="connsiteX230" fmla="*/ 274 w 10000"/>
              <a:gd name="connsiteY230" fmla="*/ 6624 h 10000"/>
              <a:gd name="connsiteX231" fmla="*/ 210 w 10000"/>
              <a:gd name="connsiteY231" fmla="*/ 6548 h 10000"/>
              <a:gd name="connsiteX232" fmla="*/ 132 w 10000"/>
              <a:gd name="connsiteY232" fmla="*/ 6663 h 10000"/>
              <a:gd name="connsiteX233" fmla="*/ 183 w 10000"/>
              <a:gd name="connsiteY233" fmla="*/ 6465 h 10000"/>
              <a:gd name="connsiteX234" fmla="*/ 151 w 10000"/>
              <a:gd name="connsiteY23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8864 w 10000"/>
              <a:gd name="connsiteY176" fmla="*/ 2396 h 10000"/>
              <a:gd name="connsiteX177" fmla="*/ 9310 w 10000"/>
              <a:gd name="connsiteY177" fmla="*/ 2263 h 10000"/>
              <a:gd name="connsiteX178" fmla="*/ 9417 w 10000"/>
              <a:gd name="connsiteY178" fmla="*/ 2235 h 10000"/>
              <a:gd name="connsiteX179" fmla="*/ 10000 w 10000"/>
              <a:gd name="connsiteY179" fmla="*/ 1832 h 10000"/>
              <a:gd name="connsiteX180" fmla="*/ 9652 w 10000"/>
              <a:gd name="connsiteY180" fmla="*/ 1699 h 10000"/>
              <a:gd name="connsiteX181" fmla="*/ 9147 w 10000"/>
              <a:gd name="connsiteY181" fmla="*/ 1773 h 10000"/>
              <a:gd name="connsiteX182" fmla="*/ 8784 w 10000"/>
              <a:gd name="connsiteY182" fmla="*/ 1639 h 10000"/>
              <a:gd name="connsiteX183" fmla="*/ 8850 w 10000"/>
              <a:gd name="connsiteY183" fmla="*/ 1480 h 10000"/>
              <a:gd name="connsiteX184" fmla="*/ 7497 w 10000"/>
              <a:gd name="connsiteY184" fmla="*/ 923 h 10000"/>
              <a:gd name="connsiteX185" fmla="*/ 7522 w 10000"/>
              <a:gd name="connsiteY185" fmla="*/ 649 h 10000"/>
              <a:gd name="connsiteX186" fmla="*/ 7012 w 10000"/>
              <a:gd name="connsiteY186" fmla="*/ 590 h 10000"/>
              <a:gd name="connsiteX187" fmla="*/ 6413 w 10000"/>
              <a:gd name="connsiteY187" fmla="*/ 332 h 10000"/>
              <a:gd name="connsiteX188" fmla="*/ 5098 w 10000"/>
              <a:gd name="connsiteY188" fmla="*/ 0 h 10000"/>
              <a:gd name="connsiteX189" fmla="*/ 4837 w 10000"/>
              <a:gd name="connsiteY189" fmla="*/ 82 h 10000"/>
              <a:gd name="connsiteX190" fmla="*/ 4671 w 10000"/>
              <a:gd name="connsiteY190" fmla="*/ 78 h 10000"/>
              <a:gd name="connsiteX191" fmla="*/ 4571 w 10000"/>
              <a:gd name="connsiteY191" fmla="*/ 107 h 10000"/>
              <a:gd name="connsiteX192" fmla="*/ 4298 w 10000"/>
              <a:gd name="connsiteY192" fmla="*/ 913 h 10000"/>
              <a:gd name="connsiteX193" fmla="*/ 3668 w 10000"/>
              <a:gd name="connsiteY193" fmla="*/ 1383 h 10000"/>
              <a:gd name="connsiteX194" fmla="*/ 3672 w 10000"/>
              <a:gd name="connsiteY194" fmla="*/ 1457 h 10000"/>
              <a:gd name="connsiteX195" fmla="*/ 3952 w 10000"/>
              <a:gd name="connsiteY195" fmla="*/ 1668 h 10000"/>
              <a:gd name="connsiteX196" fmla="*/ 3861 w 10000"/>
              <a:gd name="connsiteY196" fmla="*/ 1896 h 10000"/>
              <a:gd name="connsiteX197" fmla="*/ 3698 w 10000"/>
              <a:gd name="connsiteY197" fmla="*/ 1979 h 10000"/>
              <a:gd name="connsiteX198" fmla="*/ 3208 w 10000"/>
              <a:gd name="connsiteY198" fmla="*/ 1924 h 10000"/>
              <a:gd name="connsiteX199" fmla="*/ 2871 w 10000"/>
              <a:gd name="connsiteY199" fmla="*/ 1955 h 10000"/>
              <a:gd name="connsiteX200" fmla="*/ 2601 w 10000"/>
              <a:gd name="connsiteY200" fmla="*/ 2023 h 10000"/>
              <a:gd name="connsiteX201" fmla="*/ 2163 w 10000"/>
              <a:gd name="connsiteY201" fmla="*/ 2233 h 10000"/>
              <a:gd name="connsiteX202" fmla="*/ 1931 w 10000"/>
              <a:gd name="connsiteY202" fmla="*/ 2487 h 10000"/>
              <a:gd name="connsiteX203" fmla="*/ 1951 w 10000"/>
              <a:gd name="connsiteY203" fmla="*/ 2629 h 10000"/>
              <a:gd name="connsiteX204" fmla="*/ 2032 w 10000"/>
              <a:gd name="connsiteY204" fmla="*/ 2738 h 10000"/>
              <a:gd name="connsiteX205" fmla="*/ 2093 w 10000"/>
              <a:gd name="connsiteY205" fmla="*/ 2782 h 10000"/>
              <a:gd name="connsiteX206" fmla="*/ 1979 w 10000"/>
              <a:gd name="connsiteY206" fmla="*/ 2852 h 10000"/>
              <a:gd name="connsiteX207" fmla="*/ 1731 w 10000"/>
              <a:gd name="connsiteY207" fmla="*/ 3330 h 10000"/>
              <a:gd name="connsiteX208" fmla="*/ 1779 w 10000"/>
              <a:gd name="connsiteY208" fmla="*/ 3358 h 10000"/>
              <a:gd name="connsiteX209" fmla="*/ 1815 w 10000"/>
              <a:gd name="connsiteY209" fmla="*/ 3479 h 10000"/>
              <a:gd name="connsiteX210" fmla="*/ 1700 w 10000"/>
              <a:gd name="connsiteY210" fmla="*/ 3982 h 10000"/>
              <a:gd name="connsiteX211" fmla="*/ 1815 w 10000"/>
              <a:gd name="connsiteY211" fmla="*/ 4110 h 10000"/>
              <a:gd name="connsiteX212" fmla="*/ 2131 w 10000"/>
              <a:gd name="connsiteY212" fmla="*/ 4251 h 10000"/>
              <a:gd name="connsiteX213" fmla="*/ 2145 w 10000"/>
              <a:gd name="connsiteY213" fmla="*/ 4423 h 10000"/>
              <a:gd name="connsiteX214" fmla="*/ 2010 w 10000"/>
              <a:gd name="connsiteY214" fmla="*/ 4566 h 10000"/>
              <a:gd name="connsiteX215" fmla="*/ 1815 w 10000"/>
              <a:gd name="connsiteY215" fmla="*/ 4652 h 10000"/>
              <a:gd name="connsiteX216" fmla="*/ 1557 w 10000"/>
              <a:gd name="connsiteY216" fmla="*/ 4687 h 10000"/>
              <a:gd name="connsiteX217" fmla="*/ 1490 w 10000"/>
              <a:gd name="connsiteY217" fmla="*/ 4737 h 10000"/>
              <a:gd name="connsiteX218" fmla="*/ 1640 w 10000"/>
              <a:gd name="connsiteY218" fmla="*/ 4855 h 10000"/>
              <a:gd name="connsiteX219" fmla="*/ 1726 w 10000"/>
              <a:gd name="connsiteY219" fmla="*/ 5136 h 10000"/>
              <a:gd name="connsiteX220" fmla="*/ 1531 w 10000"/>
              <a:gd name="connsiteY220" fmla="*/ 5376 h 10000"/>
              <a:gd name="connsiteX221" fmla="*/ 1599 w 10000"/>
              <a:gd name="connsiteY221" fmla="*/ 5451 h 10000"/>
              <a:gd name="connsiteX222" fmla="*/ 1537 w 10000"/>
              <a:gd name="connsiteY222" fmla="*/ 5577 h 10000"/>
              <a:gd name="connsiteX223" fmla="*/ 1412 w 10000"/>
              <a:gd name="connsiteY223" fmla="*/ 5663 h 10000"/>
              <a:gd name="connsiteX224" fmla="*/ 915 w 10000"/>
              <a:gd name="connsiteY224" fmla="*/ 5730 h 10000"/>
              <a:gd name="connsiteX225" fmla="*/ 885 w 10000"/>
              <a:gd name="connsiteY225" fmla="*/ 5846 h 10000"/>
              <a:gd name="connsiteX226" fmla="*/ 617 w 10000"/>
              <a:gd name="connsiteY226" fmla="*/ 6019 h 10000"/>
              <a:gd name="connsiteX227" fmla="*/ 652 w 10000"/>
              <a:gd name="connsiteY227" fmla="*/ 6268 h 10000"/>
              <a:gd name="connsiteX228" fmla="*/ 427 w 10000"/>
              <a:gd name="connsiteY228" fmla="*/ 6587 h 10000"/>
              <a:gd name="connsiteX229" fmla="*/ 274 w 10000"/>
              <a:gd name="connsiteY229" fmla="*/ 6624 h 10000"/>
              <a:gd name="connsiteX230" fmla="*/ 210 w 10000"/>
              <a:gd name="connsiteY230" fmla="*/ 6548 h 10000"/>
              <a:gd name="connsiteX231" fmla="*/ 132 w 10000"/>
              <a:gd name="connsiteY231" fmla="*/ 6663 h 10000"/>
              <a:gd name="connsiteX232" fmla="*/ 183 w 10000"/>
              <a:gd name="connsiteY232" fmla="*/ 6465 h 10000"/>
              <a:gd name="connsiteX233" fmla="*/ 151 w 10000"/>
              <a:gd name="connsiteY23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175 w 10000"/>
              <a:gd name="connsiteY171" fmla="*/ 3036 h 10000"/>
              <a:gd name="connsiteX172" fmla="*/ 7307 w 10000"/>
              <a:gd name="connsiteY172" fmla="*/ 3045 h 10000"/>
              <a:gd name="connsiteX173" fmla="*/ 7442 w 10000"/>
              <a:gd name="connsiteY173" fmla="*/ 2999 h 10000"/>
              <a:gd name="connsiteX174" fmla="*/ 7565 w 10000"/>
              <a:gd name="connsiteY174" fmla="*/ 2936 h 10000"/>
              <a:gd name="connsiteX175" fmla="*/ 8864 w 10000"/>
              <a:gd name="connsiteY175" fmla="*/ 2396 h 10000"/>
              <a:gd name="connsiteX176" fmla="*/ 9310 w 10000"/>
              <a:gd name="connsiteY176" fmla="*/ 2263 h 10000"/>
              <a:gd name="connsiteX177" fmla="*/ 9417 w 10000"/>
              <a:gd name="connsiteY177" fmla="*/ 2235 h 10000"/>
              <a:gd name="connsiteX178" fmla="*/ 10000 w 10000"/>
              <a:gd name="connsiteY178" fmla="*/ 1832 h 10000"/>
              <a:gd name="connsiteX179" fmla="*/ 9652 w 10000"/>
              <a:gd name="connsiteY179" fmla="*/ 1699 h 10000"/>
              <a:gd name="connsiteX180" fmla="*/ 9147 w 10000"/>
              <a:gd name="connsiteY180" fmla="*/ 1773 h 10000"/>
              <a:gd name="connsiteX181" fmla="*/ 8784 w 10000"/>
              <a:gd name="connsiteY181" fmla="*/ 1639 h 10000"/>
              <a:gd name="connsiteX182" fmla="*/ 8850 w 10000"/>
              <a:gd name="connsiteY182" fmla="*/ 1480 h 10000"/>
              <a:gd name="connsiteX183" fmla="*/ 7497 w 10000"/>
              <a:gd name="connsiteY183" fmla="*/ 923 h 10000"/>
              <a:gd name="connsiteX184" fmla="*/ 7522 w 10000"/>
              <a:gd name="connsiteY184" fmla="*/ 649 h 10000"/>
              <a:gd name="connsiteX185" fmla="*/ 7012 w 10000"/>
              <a:gd name="connsiteY185" fmla="*/ 590 h 10000"/>
              <a:gd name="connsiteX186" fmla="*/ 6413 w 10000"/>
              <a:gd name="connsiteY186" fmla="*/ 332 h 10000"/>
              <a:gd name="connsiteX187" fmla="*/ 5098 w 10000"/>
              <a:gd name="connsiteY187" fmla="*/ 0 h 10000"/>
              <a:gd name="connsiteX188" fmla="*/ 4837 w 10000"/>
              <a:gd name="connsiteY188" fmla="*/ 82 h 10000"/>
              <a:gd name="connsiteX189" fmla="*/ 4671 w 10000"/>
              <a:gd name="connsiteY189" fmla="*/ 78 h 10000"/>
              <a:gd name="connsiteX190" fmla="*/ 4571 w 10000"/>
              <a:gd name="connsiteY190" fmla="*/ 107 h 10000"/>
              <a:gd name="connsiteX191" fmla="*/ 4298 w 10000"/>
              <a:gd name="connsiteY191" fmla="*/ 913 h 10000"/>
              <a:gd name="connsiteX192" fmla="*/ 3668 w 10000"/>
              <a:gd name="connsiteY192" fmla="*/ 1383 h 10000"/>
              <a:gd name="connsiteX193" fmla="*/ 3672 w 10000"/>
              <a:gd name="connsiteY193" fmla="*/ 1457 h 10000"/>
              <a:gd name="connsiteX194" fmla="*/ 3952 w 10000"/>
              <a:gd name="connsiteY194" fmla="*/ 1668 h 10000"/>
              <a:gd name="connsiteX195" fmla="*/ 3861 w 10000"/>
              <a:gd name="connsiteY195" fmla="*/ 1896 h 10000"/>
              <a:gd name="connsiteX196" fmla="*/ 3698 w 10000"/>
              <a:gd name="connsiteY196" fmla="*/ 1979 h 10000"/>
              <a:gd name="connsiteX197" fmla="*/ 3208 w 10000"/>
              <a:gd name="connsiteY197" fmla="*/ 1924 h 10000"/>
              <a:gd name="connsiteX198" fmla="*/ 2871 w 10000"/>
              <a:gd name="connsiteY198" fmla="*/ 1955 h 10000"/>
              <a:gd name="connsiteX199" fmla="*/ 2601 w 10000"/>
              <a:gd name="connsiteY199" fmla="*/ 2023 h 10000"/>
              <a:gd name="connsiteX200" fmla="*/ 2163 w 10000"/>
              <a:gd name="connsiteY200" fmla="*/ 2233 h 10000"/>
              <a:gd name="connsiteX201" fmla="*/ 1931 w 10000"/>
              <a:gd name="connsiteY201" fmla="*/ 2487 h 10000"/>
              <a:gd name="connsiteX202" fmla="*/ 1951 w 10000"/>
              <a:gd name="connsiteY202" fmla="*/ 2629 h 10000"/>
              <a:gd name="connsiteX203" fmla="*/ 2032 w 10000"/>
              <a:gd name="connsiteY203" fmla="*/ 2738 h 10000"/>
              <a:gd name="connsiteX204" fmla="*/ 2093 w 10000"/>
              <a:gd name="connsiteY204" fmla="*/ 2782 h 10000"/>
              <a:gd name="connsiteX205" fmla="*/ 1979 w 10000"/>
              <a:gd name="connsiteY205" fmla="*/ 2852 h 10000"/>
              <a:gd name="connsiteX206" fmla="*/ 1731 w 10000"/>
              <a:gd name="connsiteY206" fmla="*/ 3330 h 10000"/>
              <a:gd name="connsiteX207" fmla="*/ 1779 w 10000"/>
              <a:gd name="connsiteY207" fmla="*/ 3358 h 10000"/>
              <a:gd name="connsiteX208" fmla="*/ 1815 w 10000"/>
              <a:gd name="connsiteY208" fmla="*/ 3479 h 10000"/>
              <a:gd name="connsiteX209" fmla="*/ 1700 w 10000"/>
              <a:gd name="connsiteY209" fmla="*/ 3982 h 10000"/>
              <a:gd name="connsiteX210" fmla="*/ 1815 w 10000"/>
              <a:gd name="connsiteY210" fmla="*/ 4110 h 10000"/>
              <a:gd name="connsiteX211" fmla="*/ 2131 w 10000"/>
              <a:gd name="connsiteY211" fmla="*/ 4251 h 10000"/>
              <a:gd name="connsiteX212" fmla="*/ 2145 w 10000"/>
              <a:gd name="connsiteY212" fmla="*/ 4423 h 10000"/>
              <a:gd name="connsiteX213" fmla="*/ 2010 w 10000"/>
              <a:gd name="connsiteY213" fmla="*/ 4566 h 10000"/>
              <a:gd name="connsiteX214" fmla="*/ 1815 w 10000"/>
              <a:gd name="connsiteY214" fmla="*/ 4652 h 10000"/>
              <a:gd name="connsiteX215" fmla="*/ 1557 w 10000"/>
              <a:gd name="connsiteY215" fmla="*/ 4687 h 10000"/>
              <a:gd name="connsiteX216" fmla="*/ 1490 w 10000"/>
              <a:gd name="connsiteY216" fmla="*/ 4737 h 10000"/>
              <a:gd name="connsiteX217" fmla="*/ 1640 w 10000"/>
              <a:gd name="connsiteY217" fmla="*/ 4855 h 10000"/>
              <a:gd name="connsiteX218" fmla="*/ 1726 w 10000"/>
              <a:gd name="connsiteY218" fmla="*/ 5136 h 10000"/>
              <a:gd name="connsiteX219" fmla="*/ 1531 w 10000"/>
              <a:gd name="connsiteY219" fmla="*/ 5376 h 10000"/>
              <a:gd name="connsiteX220" fmla="*/ 1599 w 10000"/>
              <a:gd name="connsiteY220" fmla="*/ 5451 h 10000"/>
              <a:gd name="connsiteX221" fmla="*/ 1537 w 10000"/>
              <a:gd name="connsiteY221" fmla="*/ 5577 h 10000"/>
              <a:gd name="connsiteX222" fmla="*/ 1412 w 10000"/>
              <a:gd name="connsiteY222" fmla="*/ 5663 h 10000"/>
              <a:gd name="connsiteX223" fmla="*/ 915 w 10000"/>
              <a:gd name="connsiteY223" fmla="*/ 5730 h 10000"/>
              <a:gd name="connsiteX224" fmla="*/ 885 w 10000"/>
              <a:gd name="connsiteY224" fmla="*/ 5846 h 10000"/>
              <a:gd name="connsiteX225" fmla="*/ 617 w 10000"/>
              <a:gd name="connsiteY225" fmla="*/ 6019 h 10000"/>
              <a:gd name="connsiteX226" fmla="*/ 652 w 10000"/>
              <a:gd name="connsiteY226" fmla="*/ 6268 h 10000"/>
              <a:gd name="connsiteX227" fmla="*/ 427 w 10000"/>
              <a:gd name="connsiteY227" fmla="*/ 6587 h 10000"/>
              <a:gd name="connsiteX228" fmla="*/ 274 w 10000"/>
              <a:gd name="connsiteY228" fmla="*/ 6624 h 10000"/>
              <a:gd name="connsiteX229" fmla="*/ 210 w 10000"/>
              <a:gd name="connsiteY229" fmla="*/ 6548 h 10000"/>
              <a:gd name="connsiteX230" fmla="*/ 132 w 10000"/>
              <a:gd name="connsiteY230" fmla="*/ 6663 h 10000"/>
              <a:gd name="connsiteX231" fmla="*/ 183 w 10000"/>
              <a:gd name="connsiteY231" fmla="*/ 6465 h 10000"/>
              <a:gd name="connsiteX232" fmla="*/ 151 w 10000"/>
              <a:gd name="connsiteY232"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75 w 10000"/>
              <a:gd name="connsiteY170" fmla="*/ 3036 h 10000"/>
              <a:gd name="connsiteX171" fmla="*/ 7307 w 10000"/>
              <a:gd name="connsiteY171" fmla="*/ 3045 h 10000"/>
              <a:gd name="connsiteX172" fmla="*/ 7442 w 10000"/>
              <a:gd name="connsiteY172" fmla="*/ 2999 h 10000"/>
              <a:gd name="connsiteX173" fmla="*/ 7565 w 10000"/>
              <a:gd name="connsiteY173" fmla="*/ 2936 h 10000"/>
              <a:gd name="connsiteX174" fmla="*/ 8864 w 10000"/>
              <a:gd name="connsiteY174" fmla="*/ 2396 h 10000"/>
              <a:gd name="connsiteX175" fmla="*/ 9310 w 10000"/>
              <a:gd name="connsiteY175" fmla="*/ 2263 h 10000"/>
              <a:gd name="connsiteX176" fmla="*/ 9417 w 10000"/>
              <a:gd name="connsiteY176" fmla="*/ 2235 h 10000"/>
              <a:gd name="connsiteX177" fmla="*/ 10000 w 10000"/>
              <a:gd name="connsiteY177" fmla="*/ 1832 h 10000"/>
              <a:gd name="connsiteX178" fmla="*/ 9652 w 10000"/>
              <a:gd name="connsiteY178" fmla="*/ 1699 h 10000"/>
              <a:gd name="connsiteX179" fmla="*/ 9147 w 10000"/>
              <a:gd name="connsiteY179" fmla="*/ 1773 h 10000"/>
              <a:gd name="connsiteX180" fmla="*/ 8784 w 10000"/>
              <a:gd name="connsiteY180" fmla="*/ 1639 h 10000"/>
              <a:gd name="connsiteX181" fmla="*/ 8850 w 10000"/>
              <a:gd name="connsiteY181" fmla="*/ 1480 h 10000"/>
              <a:gd name="connsiteX182" fmla="*/ 7497 w 10000"/>
              <a:gd name="connsiteY182" fmla="*/ 923 h 10000"/>
              <a:gd name="connsiteX183" fmla="*/ 7522 w 10000"/>
              <a:gd name="connsiteY183" fmla="*/ 649 h 10000"/>
              <a:gd name="connsiteX184" fmla="*/ 7012 w 10000"/>
              <a:gd name="connsiteY184" fmla="*/ 590 h 10000"/>
              <a:gd name="connsiteX185" fmla="*/ 6413 w 10000"/>
              <a:gd name="connsiteY185" fmla="*/ 332 h 10000"/>
              <a:gd name="connsiteX186" fmla="*/ 5098 w 10000"/>
              <a:gd name="connsiteY186" fmla="*/ 0 h 10000"/>
              <a:gd name="connsiteX187" fmla="*/ 4837 w 10000"/>
              <a:gd name="connsiteY187" fmla="*/ 82 h 10000"/>
              <a:gd name="connsiteX188" fmla="*/ 4671 w 10000"/>
              <a:gd name="connsiteY188" fmla="*/ 78 h 10000"/>
              <a:gd name="connsiteX189" fmla="*/ 4571 w 10000"/>
              <a:gd name="connsiteY189" fmla="*/ 107 h 10000"/>
              <a:gd name="connsiteX190" fmla="*/ 4298 w 10000"/>
              <a:gd name="connsiteY190" fmla="*/ 913 h 10000"/>
              <a:gd name="connsiteX191" fmla="*/ 3668 w 10000"/>
              <a:gd name="connsiteY191" fmla="*/ 1383 h 10000"/>
              <a:gd name="connsiteX192" fmla="*/ 3672 w 10000"/>
              <a:gd name="connsiteY192" fmla="*/ 1457 h 10000"/>
              <a:gd name="connsiteX193" fmla="*/ 3952 w 10000"/>
              <a:gd name="connsiteY193" fmla="*/ 1668 h 10000"/>
              <a:gd name="connsiteX194" fmla="*/ 3861 w 10000"/>
              <a:gd name="connsiteY194" fmla="*/ 1896 h 10000"/>
              <a:gd name="connsiteX195" fmla="*/ 3698 w 10000"/>
              <a:gd name="connsiteY195" fmla="*/ 1979 h 10000"/>
              <a:gd name="connsiteX196" fmla="*/ 3208 w 10000"/>
              <a:gd name="connsiteY196" fmla="*/ 1924 h 10000"/>
              <a:gd name="connsiteX197" fmla="*/ 2871 w 10000"/>
              <a:gd name="connsiteY197" fmla="*/ 1955 h 10000"/>
              <a:gd name="connsiteX198" fmla="*/ 2601 w 10000"/>
              <a:gd name="connsiteY198" fmla="*/ 2023 h 10000"/>
              <a:gd name="connsiteX199" fmla="*/ 2163 w 10000"/>
              <a:gd name="connsiteY199" fmla="*/ 2233 h 10000"/>
              <a:gd name="connsiteX200" fmla="*/ 1931 w 10000"/>
              <a:gd name="connsiteY200" fmla="*/ 2487 h 10000"/>
              <a:gd name="connsiteX201" fmla="*/ 1951 w 10000"/>
              <a:gd name="connsiteY201" fmla="*/ 2629 h 10000"/>
              <a:gd name="connsiteX202" fmla="*/ 2032 w 10000"/>
              <a:gd name="connsiteY202" fmla="*/ 2738 h 10000"/>
              <a:gd name="connsiteX203" fmla="*/ 2093 w 10000"/>
              <a:gd name="connsiteY203" fmla="*/ 2782 h 10000"/>
              <a:gd name="connsiteX204" fmla="*/ 1979 w 10000"/>
              <a:gd name="connsiteY204" fmla="*/ 2852 h 10000"/>
              <a:gd name="connsiteX205" fmla="*/ 1731 w 10000"/>
              <a:gd name="connsiteY205" fmla="*/ 3330 h 10000"/>
              <a:gd name="connsiteX206" fmla="*/ 1779 w 10000"/>
              <a:gd name="connsiteY206" fmla="*/ 3358 h 10000"/>
              <a:gd name="connsiteX207" fmla="*/ 1815 w 10000"/>
              <a:gd name="connsiteY207" fmla="*/ 3479 h 10000"/>
              <a:gd name="connsiteX208" fmla="*/ 1700 w 10000"/>
              <a:gd name="connsiteY208" fmla="*/ 3982 h 10000"/>
              <a:gd name="connsiteX209" fmla="*/ 1815 w 10000"/>
              <a:gd name="connsiteY209" fmla="*/ 4110 h 10000"/>
              <a:gd name="connsiteX210" fmla="*/ 2131 w 10000"/>
              <a:gd name="connsiteY210" fmla="*/ 4251 h 10000"/>
              <a:gd name="connsiteX211" fmla="*/ 2145 w 10000"/>
              <a:gd name="connsiteY211" fmla="*/ 4423 h 10000"/>
              <a:gd name="connsiteX212" fmla="*/ 2010 w 10000"/>
              <a:gd name="connsiteY212" fmla="*/ 4566 h 10000"/>
              <a:gd name="connsiteX213" fmla="*/ 1815 w 10000"/>
              <a:gd name="connsiteY213" fmla="*/ 4652 h 10000"/>
              <a:gd name="connsiteX214" fmla="*/ 1557 w 10000"/>
              <a:gd name="connsiteY214" fmla="*/ 4687 h 10000"/>
              <a:gd name="connsiteX215" fmla="*/ 1490 w 10000"/>
              <a:gd name="connsiteY215" fmla="*/ 4737 h 10000"/>
              <a:gd name="connsiteX216" fmla="*/ 1640 w 10000"/>
              <a:gd name="connsiteY216" fmla="*/ 4855 h 10000"/>
              <a:gd name="connsiteX217" fmla="*/ 1726 w 10000"/>
              <a:gd name="connsiteY217" fmla="*/ 5136 h 10000"/>
              <a:gd name="connsiteX218" fmla="*/ 1531 w 10000"/>
              <a:gd name="connsiteY218" fmla="*/ 5376 h 10000"/>
              <a:gd name="connsiteX219" fmla="*/ 1599 w 10000"/>
              <a:gd name="connsiteY219" fmla="*/ 5451 h 10000"/>
              <a:gd name="connsiteX220" fmla="*/ 1537 w 10000"/>
              <a:gd name="connsiteY220" fmla="*/ 5577 h 10000"/>
              <a:gd name="connsiteX221" fmla="*/ 1412 w 10000"/>
              <a:gd name="connsiteY221" fmla="*/ 5663 h 10000"/>
              <a:gd name="connsiteX222" fmla="*/ 915 w 10000"/>
              <a:gd name="connsiteY222" fmla="*/ 5730 h 10000"/>
              <a:gd name="connsiteX223" fmla="*/ 885 w 10000"/>
              <a:gd name="connsiteY223" fmla="*/ 5846 h 10000"/>
              <a:gd name="connsiteX224" fmla="*/ 617 w 10000"/>
              <a:gd name="connsiteY224" fmla="*/ 6019 h 10000"/>
              <a:gd name="connsiteX225" fmla="*/ 652 w 10000"/>
              <a:gd name="connsiteY225" fmla="*/ 6268 h 10000"/>
              <a:gd name="connsiteX226" fmla="*/ 427 w 10000"/>
              <a:gd name="connsiteY226" fmla="*/ 6587 h 10000"/>
              <a:gd name="connsiteX227" fmla="*/ 274 w 10000"/>
              <a:gd name="connsiteY227" fmla="*/ 6624 h 10000"/>
              <a:gd name="connsiteX228" fmla="*/ 210 w 10000"/>
              <a:gd name="connsiteY228" fmla="*/ 6548 h 10000"/>
              <a:gd name="connsiteX229" fmla="*/ 132 w 10000"/>
              <a:gd name="connsiteY229" fmla="*/ 6663 h 10000"/>
              <a:gd name="connsiteX230" fmla="*/ 183 w 10000"/>
              <a:gd name="connsiteY230" fmla="*/ 6465 h 10000"/>
              <a:gd name="connsiteX231" fmla="*/ 151 w 10000"/>
              <a:gd name="connsiteY231"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175 w 10000"/>
              <a:gd name="connsiteY169" fmla="*/ 3036 h 10000"/>
              <a:gd name="connsiteX170" fmla="*/ 7307 w 10000"/>
              <a:gd name="connsiteY170" fmla="*/ 3045 h 10000"/>
              <a:gd name="connsiteX171" fmla="*/ 7442 w 10000"/>
              <a:gd name="connsiteY171" fmla="*/ 2999 h 10000"/>
              <a:gd name="connsiteX172" fmla="*/ 7565 w 10000"/>
              <a:gd name="connsiteY172" fmla="*/ 2936 h 10000"/>
              <a:gd name="connsiteX173" fmla="*/ 8864 w 10000"/>
              <a:gd name="connsiteY173" fmla="*/ 2396 h 10000"/>
              <a:gd name="connsiteX174" fmla="*/ 9310 w 10000"/>
              <a:gd name="connsiteY174" fmla="*/ 2263 h 10000"/>
              <a:gd name="connsiteX175" fmla="*/ 9417 w 10000"/>
              <a:gd name="connsiteY175" fmla="*/ 2235 h 10000"/>
              <a:gd name="connsiteX176" fmla="*/ 10000 w 10000"/>
              <a:gd name="connsiteY176" fmla="*/ 1832 h 10000"/>
              <a:gd name="connsiteX177" fmla="*/ 9652 w 10000"/>
              <a:gd name="connsiteY177" fmla="*/ 1699 h 10000"/>
              <a:gd name="connsiteX178" fmla="*/ 9147 w 10000"/>
              <a:gd name="connsiteY178" fmla="*/ 1773 h 10000"/>
              <a:gd name="connsiteX179" fmla="*/ 8784 w 10000"/>
              <a:gd name="connsiteY179" fmla="*/ 1639 h 10000"/>
              <a:gd name="connsiteX180" fmla="*/ 8850 w 10000"/>
              <a:gd name="connsiteY180" fmla="*/ 1480 h 10000"/>
              <a:gd name="connsiteX181" fmla="*/ 7497 w 10000"/>
              <a:gd name="connsiteY181" fmla="*/ 923 h 10000"/>
              <a:gd name="connsiteX182" fmla="*/ 7522 w 10000"/>
              <a:gd name="connsiteY182" fmla="*/ 649 h 10000"/>
              <a:gd name="connsiteX183" fmla="*/ 7012 w 10000"/>
              <a:gd name="connsiteY183" fmla="*/ 590 h 10000"/>
              <a:gd name="connsiteX184" fmla="*/ 6413 w 10000"/>
              <a:gd name="connsiteY184" fmla="*/ 332 h 10000"/>
              <a:gd name="connsiteX185" fmla="*/ 5098 w 10000"/>
              <a:gd name="connsiteY185" fmla="*/ 0 h 10000"/>
              <a:gd name="connsiteX186" fmla="*/ 4837 w 10000"/>
              <a:gd name="connsiteY186" fmla="*/ 82 h 10000"/>
              <a:gd name="connsiteX187" fmla="*/ 4671 w 10000"/>
              <a:gd name="connsiteY187" fmla="*/ 78 h 10000"/>
              <a:gd name="connsiteX188" fmla="*/ 4571 w 10000"/>
              <a:gd name="connsiteY188" fmla="*/ 107 h 10000"/>
              <a:gd name="connsiteX189" fmla="*/ 4298 w 10000"/>
              <a:gd name="connsiteY189" fmla="*/ 913 h 10000"/>
              <a:gd name="connsiteX190" fmla="*/ 3668 w 10000"/>
              <a:gd name="connsiteY190" fmla="*/ 1383 h 10000"/>
              <a:gd name="connsiteX191" fmla="*/ 3672 w 10000"/>
              <a:gd name="connsiteY191" fmla="*/ 1457 h 10000"/>
              <a:gd name="connsiteX192" fmla="*/ 3952 w 10000"/>
              <a:gd name="connsiteY192" fmla="*/ 1668 h 10000"/>
              <a:gd name="connsiteX193" fmla="*/ 3861 w 10000"/>
              <a:gd name="connsiteY193" fmla="*/ 1896 h 10000"/>
              <a:gd name="connsiteX194" fmla="*/ 3698 w 10000"/>
              <a:gd name="connsiteY194" fmla="*/ 1979 h 10000"/>
              <a:gd name="connsiteX195" fmla="*/ 3208 w 10000"/>
              <a:gd name="connsiteY195" fmla="*/ 1924 h 10000"/>
              <a:gd name="connsiteX196" fmla="*/ 2871 w 10000"/>
              <a:gd name="connsiteY196" fmla="*/ 1955 h 10000"/>
              <a:gd name="connsiteX197" fmla="*/ 2601 w 10000"/>
              <a:gd name="connsiteY197" fmla="*/ 2023 h 10000"/>
              <a:gd name="connsiteX198" fmla="*/ 2163 w 10000"/>
              <a:gd name="connsiteY198" fmla="*/ 2233 h 10000"/>
              <a:gd name="connsiteX199" fmla="*/ 1931 w 10000"/>
              <a:gd name="connsiteY199" fmla="*/ 2487 h 10000"/>
              <a:gd name="connsiteX200" fmla="*/ 1951 w 10000"/>
              <a:gd name="connsiteY200" fmla="*/ 2629 h 10000"/>
              <a:gd name="connsiteX201" fmla="*/ 2032 w 10000"/>
              <a:gd name="connsiteY201" fmla="*/ 2738 h 10000"/>
              <a:gd name="connsiteX202" fmla="*/ 2093 w 10000"/>
              <a:gd name="connsiteY202" fmla="*/ 2782 h 10000"/>
              <a:gd name="connsiteX203" fmla="*/ 1979 w 10000"/>
              <a:gd name="connsiteY203" fmla="*/ 2852 h 10000"/>
              <a:gd name="connsiteX204" fmla="*/ 1731 w 10000"/>
              <a:gd name="connsiteY204" fmla="*/ 3330 h 10000"/>
              <a:gd name="connsiteX205" fmla="*/ 1779 w 10000"/>
              <a:gd name="connsiteY205" fmla="*/ 3358 h 10000"/>
              <a:gd name="connsiteX206" fmla="*/ 1815 w 10000"/>
              <a:gd name="connsiteY206" fmla="*/ 3479 h 10000"/>
              <a:gd name="connsiteX207" fmla="*/ 1700 w 10000"/>
              <a:gd name="connsiteY207" fmla="*/ 3982 h 10000"/>
              <a:gd name="connsiteX208" fmla="*/ 1815 w 10000"/>
              <a:gd name="connsiteY208" fmla="*/ 4110 h 10000"/>
              <a:gd name="connsiteX209" fmla="*/ 2131 w 10000"/>
              <a:gd name="connsiteY209" fmla="*/ 4251 h 10000"/>
              <a:gd name="connsiteX210" fmla="*/ 2145 w 10000"/>
              <a:gd name="connsiteY210" fmla="*/ 4423 h 10000"/>
              <a:gd name="connsiteX211" fmla="*/ 2010 w 10000"/>
              <a:gd name="connsiteY211" fmla="*/ 4566 h 10000"/>
              <a:gd name="connsiteX212" fmla="*/ 1815 w 10000"/>
              <a:gd name="connsiteY212" fmla="*/ 4652 h 10000"/>
              <a:gd name="connsiteX213" fmla="*/ 1557 w 10000"/>
              <a:gd name="connsiteY213" fmla="*/ 4687 h 10000"/>
              <a:gd name="connsiteX214" fmla="*/ 1490 w 10000"/>
              <a:gd name="connsiteY214" fmla="*/ 4737 h 10000"/>
              <a:gd name="connsiteX215" fmla="*/ 1640 w 10000"/>
              <a:gd name="connsiteY215" fmla="*/ 4855 h 10000"/>
              <a:gd name="connsiteX216" fmla="*/ 1726 w 10000"/>
              <a:gd name="connsiteY216" fmla="*/ 5136 h 10000"/>
              <a:gd name="connsiteX217" fmla="*/ 1531 w 10000"/>
              <a:gd name="connsiteY217" fmla="*/ 5376 h 10000"/>
              <a:gd name="connsiteX218" fmla="*/ 1599 w 10000"/>
              <a:gd name="connsiteY218" fmla="*/ 5451 h 10000"/>
              <a:gd name="connsiteX219" fmla="*/ 1537 w 10000"/>
              <a:gd name="connsiteY219" fmla="*/ 5577 h 10000"/>
              <a:gd name="connsiteX220" fmla="*/ 1412 w 10000"/>
              <a:gd name="connsiteY220" fmla="*/ 5663 h 10000"/>
              <a:gd name="connsiteX221" fmla="*/ 915 w 10000"/>
              <a:gd name="connsiteY221" fmla="*/ 5730 h 10000"/>
              <a:gd name="connsiteX222" fmla="*/ 885 w 10000"/>
              <a:gd name="connsiteY222" fmla="*/ 5846 h 10000"/>
              <a:gd name="connsiteX223" fmla="*/ 617 w 10000"/>
              <a:gd name="connsiteY223" fmla="*/ 6019 h 10000"/>
              <a:gd name="connsiteX224" fmla="*/ 652 w 10000"/>
              <a:gd name="connsiteY224" fmla="*/ 6268 h 10000"/>
              <a:gd name="connsiteX225" fmla="*/ 427 w 10000"/>
              <a:gd name="connsiteY225" fmla="*/ 6587 h 10000"/>
              <a:gd name="connsiteX226" fmla="*/ 274 w 10000"/>
              <a:gd name="connsiteY226" fmla="*/ 6624 h 10000"/>
              <a:gd name="connsiteX227" fmla="*/ 210 w 10000"/>
              <a:gd name="connsiteY227" fmla="*/ 6548 h 10000"/>
              <a:gd name="connsiteX228" fmla="*/ 132 w 10000"/>
              <a:gd name="connsiteY228" fmla="*/ 6663 h 10000"/>
              <a:gd name="connsiteX229" fmla="*/ 183 w 10000"/>
              <a:gd name="connsiteY229" fmla="*/ 6465 h 10000"/>
              <a:gd name="connsiteX230" fmla="*/ 151 w 10000"/>
              <a:gd name="connsiteY23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175 w 10000"/>
              <a:gd name="connsiteY168" fmla="*/ 3036 h 10000"/>
              <a:gd name="connsiteX169" fmla="*/ 7307 w 10000"/>
              <a:gd name="connsiteY169" fmla="*/ 3045 h 10000"/>
              <a:gd name="connsiteX170" fmla="*/ 7442 w 10000"/>
              <a:gd name="connsiteY170" fmla="*/ 2999 h 10000"/>
              <a:gd name="connsiteX171" fmla="*/ 7565 w 10000"/>
              <a:gd name="connsiteY171" fmla="*/ 2936 h 10000"/>
              <a:gd name="connsiteX172" fmla="*/ 8864 w 10000"/>
              <a:gd name="connsiteY172" fmla="*/ 2396 h 10000"/>
              <a:gd name="connsiteX173" fmla="*/ 9310 w 10000"/>
              <a:gd name="connsiteY173" fmla="*/ 2263 h 10000"/>
              <a:gd name="connsiteX174" fmla="*/ 9417 w 10000"/>
              <a:gd name="connsiteY174" fmla="*/ 2235 h 10000"/>
              <a:gd name="connsiteX175" fmla="*/ 10000 w 10000"/>
              <a:gd name="connsiteY175" fmla="*/ 1832 h 10000"/>
              <a:gd name="connsiteX176" fmla="*/ 9652 w 10000"/>
              <a:gd name="connsiteY176" fmla="*/ 1699 h 10000"/>
              <a:gd name="connsiteX177" fmla="*/ 9147 w 10000"/>
              <a:gd name="connsiteY177" fmla="*/ 1773 h 10000"/>
              <a:gd name="connsiteX178" fmla="*/ 8784 w 10000"/>
              <a:gd name="connsiteY178" fmla="*/ 1639 h 10000"/>
              <a:gd name="connsiteX179" fmla="*/ 8850 w 10000"/>
              <a:gd name="connsiteY179" fmla="*/ 1480 h 10000"/>
              <a:gd name="connsiteX180" fmla="*/ 7497 w 10000"/>
              <a:gd name="connsiteY180" fmla="*/ 923 h 10000"/>
              <a:gd name="connsiteX181" fmla="*/ 7522 w 10000"/>
              <a:gd name="connsiteY181" fmla="*/ 649 h 10000"/>
              <a:gd name="connsiteX182" fmla="*/ 7012 w 10000"/>
              <a:gd name="connsiteY182" fmla="*/ 590 h 10000"/>
              <a:gd name="connsiteX183" fmla="*/ 6413 w 10000"/>
              <a:gd name="connsiteY183" fmla="*/ 332 h 10000"/>
              <a:gd name="connsiteX184" fmla="*/ 5098 w 10000"/>
              <a:gd name="connsiteY184" fmla="*/ 0 h 10000"/>
              <a:gd name="connsiteX185" fmla="*/ 4837 w 10000"/>
              <a:gd name="connsiteY185" fmla="*/ 82 h 10000"/>
              <a:gd name="connsiteX186" fmla="*/ 4671 w 10000"/>
              <a:gd name="connsiteY186" fmla="*/ 78 h 10000"/>
              <a:gd name="connsiteX187" fmla="*/ 4571 w 10000"/>
              <a:gd name="connsiteY187" fmla="*/ 107 h 10000"/>
              <a:gd name="connsiteX188" fmla="*/ 4298 w 10000"/>
              <a:gd name="connsiteY188" fmla="*/ 913 h 10000"/>
              <a:gd name="connsiteX189" fmla="*/ 3668 w 10000"/>
              <a:gd name="connsiteY189" fmla="*/ 1383 h 10000"/>
              <a:gd name="connsiteX190" fmla="*/ 3672 w 10000"/>
              <a:gd name="connsiteY190" fmla="*/ 1457 h 10000"/>
              <a:gd name="connsiteX191" fmla="*/ 3952 w 10000"/>
              <a:gd name="connsiteY191" fmla="*/ 1668 h 10000"/>
              <a:gd name="connsiteX192" fmla="*/ 3861 w 10000"/>
              <a:gd name="connsiteY192" fmla="*/ 1896 h 10000"/>
              <a:gd name="connsiteX193" fmla="*/ 3698 w 10000"/>
              <a:gd name="connsiteY193" fmla="*/ 1979 h 10000"/>
              <a:gd name="connsiteX194" fmla="*/ 3208 w 10000"/>
              <a:gd name="connsiteY194" fmla="*/ 1924 h 10000"/>
              <a:gd name="connsiteX195" fmla="*/ 2871 w 10000"/>
              <a:gd name="connsiteY195" fmla="*/ 1955 h 10000"/>
              <a:gd name="connsiteX196" fmla="*/ 2601 w 10000"/>
              <a:gd name="connsiteY196" fmla="*/ 2023 h 10000"/>
              <a:gd name="connsiteX197" fmla="*/ 2163 w 10000"/>
              <a:gd name="connsiteY197" fmla="*/ 2233 h 10000"/>
              <a:gd name="connsiteX198" fmla="*/ 1931 w 10000"/>
              <a:gd name="connsiteY198" fmla="*/ 2487 h 10000"/>
              <a:gd name="connsiteX199" fmla="*/ 1951 w 10000"/>
              <a:gd name="connsiteY199" fmla="*/ 2629 h 10000"/>
              <a:gd name="connsiteX200" fmla="*/ 2032 w 10000"/>
              <a:gd name="connsiteY200" fmla="*/ 2738 h 10000"/>
              <a:gd name="connsiteX201" fmla="*/ 2093 w 10000"/>
              <a:gd name="connsiteY201" fmla="*/ 2782 h 10000"/>
              <a:gd name="connsiteX202" fmla="*/ 1979 w 10000"/>
              <a:gd name="connsiteY202" fmla="*/ 2852 h 10000"/>
              <a:gd name="connsiteX203" fmla="*/ 1731 w 10000"/>
              <a:gd name="connsiteY203" fmla="*/ 3330 h 10000"/>
              <a:gd name="connsiteX204" fmla="*/ 1779 w 10000"/>
              <a:gd name="connsiteY204" fmla="*/ 3358 h 10000"/>
              <a:gd name="connsiteX205" fmla="*/ 1815 w 10000"/>
              <a:gd name="connsiteY205" fmla="*/ 3479 h 10000"/>
              <a:gd name="connsiteX206" fmla="*/ 1700 w 10000"/>
              <a:gd name="connsiteY206" fmla="*/ 3982 h 10000"/>
              <a:gd name="connsiteX207" fmla="*/ 1815 w 10000"/>
              <a:gd name="connsiteY207" fmla="*/ 4110 h 10000"/>
              <a:gd name="connsiteX208" fmla="*/ 2131 w 10000"/>
              <a:gd name="connsiteY208" fmla="*/ 4251 h 10000"/>
              <a:gd name="connsiteX209" fmla="*/ 2145 w 10000"/>
              <a:gd name="connsiteY209" fmla="*/ 4423 h 10000"/>
              <a:gd name="connsiteX210" fmla="*/ 2010 w 10000"/>
              <a:gd name="connsiteY210" fmla="*/ 4566 h 10000"/>
              <a:gd name="connsiteX211" fmla="*/ 1815 w 10000"/>
              <a:gd name="connsiteY211" fmla="*/ 4652 h 10000"/>
              <a:gd name="connsiteX212" fmla="*/ 1557 w 10000"/>
              <a:gd name="connsiteY212" fmla="*/ 4687 h 10000"/>
              <a:gd name="connsiteX213" fmla="*/ 1490 w 10000"/>
              <a:gd name="connsiteY213" fmla="*/ 4737 h 10000"/>
              <a:gd name="connsiteX214" fmla="*/ 1640 w 10000"/>
              <a:gd name="connsiteY214" fmla="*/ 4855 h 10000"/>
              <a:gd name="connsiteX215" fmla="*/ 1726 w 10000"/>
              <a:gd name="connsiteY215" fmla="*/ 5136 h 10000"/>
              <a:gd name="connsiteX216" fmla="*/ 1531 w 10000"/>
              <a:gd name="connsiteY216" fmla="*/ 5376 h 10000"/>
              <a:gd name="connsiteX217" fmla="*/ 1599 w 10000"/>
              <a:gd name="connsiteY217" fmla="*/ 5451 h 10000"/>
              <a:gd name="connsiteX218" fmla="*/ 1537 w 10000"/>
              <a:gd name="connsiteY218" fmla="*/ 5577 h 10000"/>
              <a:gd name="connsiteX219" fmla="*/ 1412 w 10000"/>
              <a:gd name="connsiteY219" fmla="*/ 5663 h 10000"/>
              <a:gd name="connsiteX220" fmla="*/ 915 w 10000"/>
              <a:gd name="connsiteY220" fmla="*/ 5730 h 10000"/>
              <a:gd name="connsiteX221" fmla="*/ 885 w 10000"/>
              <a:gd name="connsiteY221" fmla="*/ 5846 h 10000"/>
              <a:gd name="connsiteX222" fmla="*/ 617 w 10000"/>
              <a:gd name="connsiteY222" fmla="*/ 6019 h 10000"/>
              <a:gd name="connsiteX223" fmla="*/ 652 w 10000"/>
              <a:gd name="connsiteY223" fmla="*/ 6268 h 10000"/>
              <a:gd name="connsiteX224" fmla="*/ 427 w 10000"/>
              <a:gd name="connsiteY224" fmla="*/ 6587 h 10000"/>
              <a:gd name="connsiteX225" fmla="*/ 274 w 10000"/>
              <a:gd name="connsiteY225" fmla="*/ 6624 h 10000"/>
              <a:gd name="connsiteX226" fmla="*/ 210 w 10000"/>
              <a:gd name="connsiteY226" fmla="*/ 6548 h 10000"/>
              <a:gd name="connsiteX227" fmla="*/ 132 w 10000"/>
              <a:gd name="connsiteY227" fmla="*/ 6663 h 10000"/>
              <a:gd name="connsiteX228" fmla="*/ 183 w 10000"/>
              <a:gd name="connsiteY228" fmla="*/ 6465 h 10000"/>
              <a:gd name="connsiteX229" fmla="*/ 151 w 10000"/>
              <a:gd name="connsiteY22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7175 w 10000"/>
              <a:gd name="connsiteY167" fmla="*/ 3036 h 10000"/>
              <a:gd name="connsiteX168" fmla="*/ 7307 w 10000"/>
              <a:gd name="connsiteY168" fmla="*/ 3045 h 10000"/>
              <a:gd name="connsiteX169" fmla="*/ 7442 w 10000"/>
              <a:gd name="connsiteY169" fmla="*/ 2999 h 10000"/>
              <a:gd name="connsiteX170" fmla="*/ 7565 w 10000"/>
              <a:gd name="connsiteY170" fmla="*/ 2936 h 10000"/>
              <a:gd name="connsiteX171" fmla="*/ 8864 w 10000"/>
              <a:gd name="connsiteY171" fmla="*/ 2396 h 10000"/>
              <a:gd name="connsiteX172" fmla="*/ 9310 w 10000"/>
              <a:gd name="connsiteY172" fmla="*/ 2263 h 10000"/>
              <a:gd name="connsiteX173" fmla="*/ 9417 w 10000"/>
              <a:gd name="connsiteY173" fmla="*/ 2235 h 10000"/>
              <a:gd name="connsiteX174" fmla="*/ 10000 w 10000"/>
              <a:gd name="connsiteY174" fmla="*/ 1832 h 10000"/>
              <a:gd name="connsiteX175" fmla="*/ 9652 w 10000"/>
              <a:gd name="connsiteY175" fmla="*/ 1699 h 10000"/>
              <a:gd name="connsiteX176" fmla="*/ 9147 w 10000"/>
              <a:gd name="connsiteY176" fmla="*/ 1773 h 10000"/>
              <a:gd name="connsiteX177" fmla="*/ 8784 w 10000"/>
              <a:gd name="connsiteY177" fmla="*/ 1639 h 10000"/>
              <a:gd name="connsiteX178" fmla="*/ 8850 w 10000"/>
              <a:gd name="connsiteY178" fmla="*/ 1480 h 10000"/>
              <a:gd name="connsiteX179" fmla="*/ 7497 w 10000"/>
              <a:gd name="connsiteY179" fmla="*/ 923 h 10000"/>
              <a:gd name="connsiteX180" fmla="*/ 7522 w 10000"/>
              <a:gd name="connsiteY180" fmla="*/ 649 h 10000"/>
              <a:gd name="connsiteX181" fmla="*/ 7012 w 10000"/>
              <a:gd name="connsiteY181" fmla="*/ 590 h 10000"/>
              <a:gd name="connsiteX182" fmla="*/ 6413 w 10000"/>
              <a:gd name="connsiteY182" fmla="*/ 332 h 10000"/>
              <a:gd name="connsiteX183" fmla="*/ 5098 w 10000"/>
              <a:gd name="connsiteY183" fmla="*/ 0 h 10000"/>
              <a:gd name="connsiteX184" fmla="*/ 4837 w 10000"/>
              <a:gd name="connsiteY184" fmla="*/ 82 h 10000"/>
              <a:gd name="connsiteX185" fmla="*/ 4671 w 10000"/>
              <a:gd name="connsiteY185" fmla="*/ 78 h 10000"/>
              <a:gd name="connsiteX186" fmla="*/ 4571 w 10000"/>
              <a:gd name="connsiteY186" fmla="*/ 107 h 10000"/>
              <a:gd name="connsiteX187" fmla="*/ 4298 w 10000"/>
              <a:gd name="connsiteY187" fmla="*/ 913 h 10000"/>
              <a:gd name="connsiteX188" fmla="*/ 3668 w 10000"/>
              <a:gd name="connsiteY188" fmla="*/ 1383 h 10000"/>
              <a:gd name="connsiteX189" fmla="*/ 3672 w 10000"/>
              <a:gd name="connsiteY189" fmla="*/ 1457 h 10000"/>
              <a:gd name="connsiteX190" fmla="*/ 3952 w 10000"/>
              <a:gd name="connsiteY190" fmla="*/ 1668 h 10000"/>
              <a:gd name="connsiteX191" fmla="*/ 3861 w 10000"/>
              <a:gd name="connsiteY191" fmla="*/ 1896 h 10000"/>
              <a:gd name="connsiteX192" fmla="*/ 3698 w 10000"/>
              <a:gd name="connsiteY192" fmla="*/ 1979 h 10000"/>
              <a:gd name="connsiteX193" fmla="*/ 3208 w 10000"/>
              <a:gd name="connsiteY193" fmla="*/ 1924 h 10000"/>
              <a:gd name="connsiteX194" fmla="*/ 2871 w 10000"/>
              <a:gd name="connsiteY194" fmla="*/ 1955 h 10000"/>
              <a:gd name="connsiteX195" fmla="*/ 2601 w 10000"/>
              <a:gd name="connsiteY195" fmla="*/ 2023 h 10000"/>
              <a:gd name="connsiteX196" fmla="*/ 2163 w 10000"/>
              <a:gd name="connsiteY196" fmla="*/ 2233 h 10000"/>
              <a:gd name="connsiteX197" fmla="*/ 1931 w 10000"/>
              <a:gd name="connsiteY197" fmla="*/ 2487 h 10000"/>
              <a:gd name="connsiteX198" fmla="*/ 1951 w 10000"/>
              <a:gd name="connsiteY198" fmla="*/ 2629 h 10000"/>
              <a:gd name="connsiteX199" fmla="*/ 2032 w 10000"/>
              <a:gd name="connsiteY199" fmla="*/ 2738 h 10000"/>
              <a:gd name="connsiteX200" fmla="*/ 2093 w 10000"/>
              <a:gd name="connsiteY200" fmla="*/ 2782 h 10000"/>
              <a:gd name="connsiteX201" fmla="*/ 1979 w 10000"/>
              <a:gd name="connsiteY201" fmla="*/ 2852 h 10000"/>
              <a:gd name="connsiteX202" fmla="*/ 1731 w 10000"/>
              <a:gd name="connsiteY202" fmla="*/ 3330 h 10000"/>
              <a:gd name="connsiteX203" fmla="*/ 1779 w 10000"/>
              <a:gd name="connsiteY203" fmla="*/ 3358 h 10000"/>
              <a:gd name="connsiteX204" fmla="*/ 1815 w 10000"/>
              <a:gd name="connsiteY204" fmla="*/ 3479 h 10000"/>
              <a:gd name="connsiteX205" fmla="*/ 1700 w 10000"/>
              <a:gd name="connsiteY205" fmla="*/ 3982 h 10000"/>
              <a:gd name="connsiteX206" fmla="*/ 1815 w 10000"/>
              <a:gd name="connsiteY206" fmla="*/ 4110 h 10000"/>
              <a:gd name="connsiteX207" fmla="*/ 2131 w 10000"/>
              <a:gd name="connsiteY207" fmla="*/ 4251 h 10000"/>
              <a:gd name="connsiteX208" fmla="*/ 2145 w 10000"/>
              <a:gd name="connsiteY208" fmla="*/ 4423 h 10000"/>
              <a:gd name="connsiteX209" fmla="*/ 2010 w 10000"/>
              <a:gd name="connsiteY209" fmla="*/ 4566 h 10000"/>
              <a:gd name="connsiteX210" fmla="*/ 1815 w 10000"/>
              <a:gd name="connsiteY210" fmla="*/ 4652 h 10000"/>
              <a:gd name="connsiteX211" fmla="*/ 1557 w 10000"/>
              <a:gd name="connsiteY211" fmla="*/ 4687 h 10000"/>
              <a:gd name="connsiteX212" fmla="*/ 1490 w 10000"/>
              <a:gd name="connsiteY212" fmla="*/ 4737 h 10000"/>
              <a:gd name="connsiteX213" fmla="*/ 1640 w 10000"/>
              <a:gd name="connsiteY213" fmla="*/ 4855 h 10000"/>
              <a:gd name="connsiteX214" fmla="*/ 1726 w 10000"/>
              <a:gd name="connsiteY214" fmla="*/ 5136 h 10000"/>
              <a:gd name="connsiteX215" fmla="*/ 1531 w 10000"/>
              <a:gd name="connsiteY215" fmla="*/ 5376 h 10000"/>
              <a:gd name="connsiteX216" fmla="*/ 1599 w 10000"/>
              <a:gd name="connsiteY216" fmla="*/ 5451 h 10000"/>
              <a:gd name="connsiteX217" fmla="*/ 1537 w 10000"/>
              <a:gd name="connsiteY217" fmla="*/ 5577 h 10000"/>
              <a:gd name="connsiteX218" fmla="*/ 1412 w 10000"/>
              <a:gd name="connsiteY218" fmla="*/ 5663 h 10000"/>
              <a:gd name="connsiteX219" fmla="*/ 915 w 10000"/>
              <a:gd name="connsiteY219" fmla="*/ 5730 h 10000"/>
              <a:gd name="connsiteX220" fmla="*/ 885 w 10000"/>
              <a:gd name="connsiteY220" fmla="*/ 5846 h 10000"/>
              <a:gd name="connsiteX221" fmla="*/ 617 w 10000"/>
              <a:gd name="connsiteY221" fmla="*/ 6019 h 10000"/>
              <a:gd name="connsiteX222" fmla="*/ 652 w 10000"/>
              <a:gd name="connsiteY222" fmla="*/ 6268 h 10000"/>
              <a:gd name="connsiteX223" fmla="*/ 427 w 10000"/>
              <a:gd name="connsiteY223" fmla="*/ 6587 h 10000"/>
              <a:gd name="connsiteX224" fmla="*/ 274 w 10000"/>
              <a:gd name="connsiteY224" fmla="*/ 6624 h 10000"/>
              <a:gd name="connsiteX225" fmla="*/ 210 w 10000"/>
              <a:gd name="connsiteY225" fmla="*/ 6548 h 10000"/>
              <a:gd name="connsiteX226" fmla="*/ 132 w 10000"/>
              <a:gd name="connsiteY226" fmla="*/ 6663 h 10000"/>
              <a:gd name="connsiteX227" fmla="*/ 183 w 10000"/>
              <a:gd name="connsiteY227" fmla="*/ 6465 h 10000"/>
              <a:gd name="connsiteX228" fmla="*/ 151 w 10000"/>
              <a:gd name="connsiteY22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22 w 10000"/>
              <a:gd name="connsiteY164" fmla="*/ 3167 h 10000"/>
              <a:gd name="connsiteX165" fmla="*/ 6832 w 10000"/>
              <a:gd name="connsiteY165" fmla="*/ 3101 h 10000"/>
              <a:gd name="connsiteX166" fmla="*/ 7175 w 10000"/>
              <a:gd name="connsiteY166" fmla="*/ 3036 h 10000"/>
              <a:gd name="connsiteX167" fmla="*/ 7307 w 10000"/>
              <a:gd name="connsiteY167" fmla="*/ 3045 h 10000"/>
              <a:gd name="connsiteX168" fmla="*/ 7442 w 10000"/>
              <a:gd name="connsiteY168" fmla="*/ 2999 h 10000"/>
              <a:gd name="connsiteX169" fmla="*/ 7565 w 10000"/>
              <a:gd name="connsiteY169" fmla="*/ 2936 h 10000"/>
              <a:gd name="connsiteX170" fmla="*/ 8864 w 10000"/>
              <a:gd name="connsiteY170" fmla="*/ 2396 h 10000"/>
              <a:gd name="connsiteX171" fmla="*/ 9310 w 10000"/>
              <a:gd name="connsiteY171" fmla="*/ 2263 h 10000"/>
              <a:gd name="connsiteX172" fmla="*/ 9417 w 10000"/>
              <a:gd name="connsiteY172" fmla="*/ 2235 h 10000"/>
              <a:gd name="connsiteX173" fmla="*/ 10000 w 10000"/>
              <a:gd name="connsiteY173" fmla="*/ 1832 h 10000"/>
              <a:gd name="connsiteX174" fmla="*/ 9652 w 10000"/>
              <a:gd name="connsiteY174" fmla="*/ 1699 h 10000"/>
              <a:gd name="connsiteX175" fmla="*/ 9147 w 10000"/>
              <a:gd name="connsiteY175" fmla="*/ 1773 h 10000"/>
              <a:gd name="connsiteX176" fmla="*/ 8784 w 10000"/>
              <a:gd name="connsiteY176" fmla="*/ 1639 h 10000"/>
              <a:gd name="connsiteX177" fmla="*/ 8850 w 10000"/>
              <a:gd name="connsiteY177" fmla="*/ 1480 h 10000"/>
              <a:gd name="connsiteX178" fmla="*/ 7497 w 10000"/>
              <a:gd name="connsiteY178" fmla="*/ 923 h 10000"/>
              <a:gd name="connsiteX179" fmla="*/ 7522 w 10000"/>
              <a:gd name="connsiteY179" fmla="*/ 649 h 10000"/>
              <a:gd name="connsiteX180" fmla="*/ 7012 w 10000"/>
              <a:gd name="connsiteY180" fmla="*/ 590 h 10000"/>
              <a:gd name="connsiteX181" fmla="*/ 6413 w 10000"/>
              <a:gd name="connsiteY181" fmla="*/ 332 h 10000"/>
              <a:gd name="connsiteX182" fmla="*/ 5098 w 10000"/>
              <a:gd name="connsiteY182" fmla="*/ 0 h 10000"/>
              <a:gd name="connsiteX183" fmla="*/ 4837 w 10000"/>
              <a:gd name="connsiteY183" fmla="*/ 82 h 10000"/>
              <a:gd name="connsiteX184" fmla="*/ 4671 w 10000"/>
              <a:gd name="connsiteY184" fmla="*/ 78 h 10000"/>
              <a:gd name="connsiteX185" fmla="*/ 4571 w 10000"/>
              <a:gd name="connsiteY185" fmla="*/ 107 h 10000"/>
              <a:gd name="connsiteX186" fmla="*/ 4298 w 10000"/>
              <a:gd name="connsiteY186" fmla="*/ 913 h 10000"/>
              <a:gd name="connsiteX187" fmla="*/ 3668 w 10000"/>
              <a:gd name="connsiteY187" fmla="*/ 1383 h 10000"/>
              <a:gd name="connsiteX188" fmla="*/ 3672 w 10000"/>
              <a:gd name="connsiteY188" fmla="*/ 1457 h 10000"/>
              <a:gd name="connsiteX189" fmla="*/ 3952 w 10000"/>
              <a:gd name="connsiteY189" fmla="*/ 1668 h 10000"/>
              <a:gd name="connsiteX190" fmla="*/ 3861 w 10000"/>
              <a:gd name="connsiteY190" fmla="*/ 1896 h 10000"/>
              <a:gd name="connsiteX191" fmla="*/ 3698 w 10000"/>
              <a:gd name="connsiteY191" fmla="*/ 1979 h 10000"/>
              <a:gd name="connsiteX192" fmla="*/ 3208 w 10000"/>
              <a:gd name="connsiteY192" fmla="*/ 1924 h 10000"/>
              <a:gd name="connsiteX193" fmla="*/ 2871 w 10000"/>
              <a:gd name="connsiteY193" fmla="*/ 1955 h 10000"/>
              <a:gd name="connsiteX194" fmla="*/ 2601 w 10000"/>
              <a:gd name="connsiteY194" fmla="*/ 2023 h 10000"/>
              <a:gd name="connsiteX195" fmla="*/ 2163 w 10000"/>
              <a:gd name="connsiteY195" fmla="*/ 2233 h 10000"/>
              <a:gd name="connsiteX196" fmla="*/ 1931 w 10000"/>
              <a:gd name="connsiteY196" fmla="*/ 2487 h 10000"/>
              <a:gd name="connsiteX197" fmla="*/ 1951 w 10000"/>
              <a:gd name="connsiteY197" fmla="*/ 2629 h 10000"/>
              <a:gd name="connsiteX198" fmla="*/ 2032 w 10000"/>
              <a:gd name="connsiteY198" fmla="*/ 2738 h 10000"/>
              <a:gd name="connsiteX199" fmla="*/ 2093 w 10000"/>
              <a:gd name="connsiteY199" fmla="*/ 2782 h 10000"/>
              <a:gd name="connsiteX200" fmla="*/ 1979 w 10000"/>
              <a:gd name="connsiteY200" fmla="*/ 2852 h 10000"/>
              <a:gd name="connsiteX201" fmla="*/ 1731 w 10000"/>
              <a:gd name="connsiteY201" fmla="*/ 3330 h 10000"/>
              <a:gd name="connsiteX202" fmla="*/ 1779 w 10000"/>
              <a:gd name="connsiteY202" fmla="*/ 3358 h 10000"/>
              <a:gd name="connsiteX203" fmla="*/ 1815 w 10000"/>
              <a:gd name="connsiteY203" fmla="*/ 3479 h 10000"/>
              <a:gd name="connsiteX204" fmla="*/ 1700 w 10000"/>
              <a:gd name="connsiteY204" fmla="*/ 3982 h 10000"/>
              <a:gd name="connsiteX205" fmla="*/ 1815 w 10000"/>
              <a:gd name="connsiteY205" fmla="*/ 4110 h 10000"/>
              <a:gd name="connsiteX206" fmla="*/ 2131 w 10000"/>
              <a:gd name="connsiteY206" fmla="*/ 4251 h 10000"/>
              <a:gd name="connsiteX207" fmla="*/ 2145 w 10000"/>
              <a:gd name="connsiteY207" fmla="*/ 4423 h 10000"/>
              <a:gd name="connsiteX208" fmla="*/ 2010 w 10000"/>
              <a:gd name="connsiteY208" fmla="*/ 4566 h 10000"/>
              <a:gd name="connsiteX209" fmla="*/ 1815 w 10000"/>
              <a:gd name="connsiteY209" fmla="*/ 4652 h 10000"/>
              <a:gd name="connsiteX210" fmla="*/ 1557 w 10000"/>
              <a:gd name="connsiteY210" fmla="*/ 4687 h 10000"/>
              <a:gd name="connsiteX211" fmla="*/ 1490 w 10000"/>
              <a:gd name="connsiteY211" fmla="*/ 4737 h 10000"/>
              <a:gd name="connsiteX212" fmla="*/ 1640 w 10000"/>
              <a:gd name="connsiteY212" fmla="*/ 4855 h 10000"/>
              <a:gd name="connsiteX213" fmla="*/ 1726 w 10000"/>
              <a:gd name="connsiteY213" fmla="*/ 5136 h 10000"/>
              <a:gd name="connsiteX214" fmla="*/ 1531 w 10000"/>
              <a:gd name="connsiteY214" fmla="*/ 5376 h 10000"/>
              <a:gd name="connsiteX215" fmla="*/ 1599 w 10000"/>
              <a:gd name="connsiteY215" fmla="*/ 5451 h 10000"/>
              <a:gd name="connsiteX216" fmla="*/ 1537 w 10000"/>
              <a:gd name="connsiteY216" fmla="*/ 5577 h 10000"/>
              <a:gd name="connsiteX217" fmla="*/ 1412 w 10000"/>
              <a:gd name="connsiteY217" fmla="*/ 5663 h 10000"/>
              <a:gd name="connsiteX218" fmla="*/ 915 w 10000"/>
              <a:gd name="connsiteY218" fmla="*/ 5730 h 10000"/>
              <a:gd name="connsiteX219" fmla="*/ 885 w 10000"/>
              <a:gd name="connsiteY219" fmla="*/ 5846 h 10000"/>
              <a:gd name="connsiteX220" fmla="*/ 617 w 10000"/>
              <a:gd name="connsiteY220" fmla="*/ 6019 h 10000"/>
              <a:gd name="connsiteX221" fmla="*/ 652 w 10000"/>
              <a:gd name="connsiteY221" fmla="*/ 6268 h 10000"/>
              <a:gd name="connsiteX222" fmla="*/ 427 w 10000"/>
              <a:gd name="connsiteY222" fmla="*/ 6587 h 10000"/>
              <a:gd name="connsiteX223" fmla="*/ 274 w 10000"/>
              <a:gd name="connsiteY223" fmla="*/ 6624 h 10000"/>
              <a:gd name="connsiteX224" fmla="*/ 210 w 10000"/>
              <a:gd name="connsiteY224" fmla="*/ 6548 h 10000"/>
              <a:gd name="connsiteX225" fmla="*/ 132 w 10000"/>
              <a:gd name="connsiteY225" fmla="*/ 6663 h 10000"/>
              <a:gd name="connsiteX226" fmla="*/ 183 w 10000"/>
              <a:gd name="connsiteY226" fmla="*/ 6465 h 10000"/>
              <a:gd name="connsiteX227" fmla="*/ 151 w 10000"/>
              <a:gd name="connsiteY22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22 w 10000"/>
              <a:gd name="connsiteY163" fmla="*/ 3167 h 10000"/>
              <a:gd name="connsiteX164" fmla="*/ 6832 w 10000"/>
              <a:gd name="connsiteY164" fmla="*/ 3101 h 10000"/>
              <a:gd name="connsiteX165" fmla="*/ 7175 w 10000"/>
              <a:gd name="connsiteY165" fmla="*/ 3036 h 10000"/>
              <a:gd name="connsiteX166" fmla="*/ 7307 w 10000"/>
              <a:gd name="connsiteY166" fmla="*/ 3045 h 10000"/>
              <a:gd name="connsiteX167" fmla="*/ 7442 w 10000"/>
              <a:gd name="connsiteY167" fmla="*/ 2999 h 10000"/>
              <a:gd name="connsiteX168" fmla="*/ 7565 w 10000"/>
              <a:gd name="connsiteY168" fmla="*/ 2936 h 10000"/>
              <a:gd name="connsiteX169" fmla="*/ 8864 w 10000"/>
              <a:gd name="connsiteY169" fmla="*/ 2396 h 10000"/>
              <a:gd name="connsiteX170" fmla="*/ 9310 w 10000"/>
              <a:gd name="connsiteY170" fmla="*/ 2263 h 10000"/>
              <a:gd name="connsiteX171" fmla="*/ 9417 w 10000"/>
              <a:gd name="connsiteY171" fmla="*/ 2235 h 10000"/>
              <a:gd name="connsiteX172" fmla="*/ 10000 w 10000"/>
              <a:gd name="connsiteY172" fmla="*/ 1832 h 10000"/>
              <a:gd name="connsiteX173" fmla="*/ 9652 w 10000"/>
              <a:gd name="connsiteY173" fmla="*/ 1699 h 10000"/>
              <a:gd name="connsiteX174" fmla="*/ 9147 w 10000"/>
              <a:gd name="connsiteY174" fmla="*/ 1773 h 10000"/>
              <a:gd name="connsiteX175" fmla="*/ 8784 w 10000"/>
              <a:gd name="connsiteY175" fmla="*/ 1639 h 10000"/>
              <a:gd name="connsiteX176" fmla="*/ 8850 w 10000"/>
              <a:gd name="connsiteY176" fmla="*/ 1480 h 10000"/>
              <a:gd name="connsiteX177" fmla="*/ 7497 w 10000"/>
              <a:gd name="connsiteY177" fmla="*/ 923 h 10000"/>
              <a:gd name="connsiteX178" fmla="*/ 7522 w 10000"/>
              <a:gd name="connsiteY178" fmla="*/ 649 h 10000"/>
              <a:gd name="connsiteX179" fmla="*/ 7012 w 10000"/>
              <a:gd name="connsiteY179" fmla="*/ 590 h 10000"/>
              <a:gd name="connsiteX180" fmla="*/ 6413 w 10000"/>
              <a:gd name="connsiteY180" fmla="*/ 332 h 10000"/>
              <a:gd name="connsiteX181" fmla="*/ 5098 w 10000"/>
              <a:gd name="connsiteY181" fmla="*/ 0 h 10000"/>
              <a:gd name="connsiteX182" fmla="*/ 4837 w 10000"/>
              <a:gd name="connsiteY182" fmla="*/ 82 h 10000"/>
              <a:gd name="connsiteX183" fmla="*/ 4671 w 10000"/>
              <a:gd name="connsiteY183" fmla="*/ 78 h 10000"/>
              <a:gd name="connsiteX184" fmla="*/ 4571 w 10000"/>
              <a:gd name="connsiteY184" fmla="*/ 107 h 10000"/>
              <a:gd name="connsiteX185" fmla="*/ 4298 w 10000"/>
              <a:gd name="connsiteY185" fmla="*/ 913 h 10000"/>
              <a:gd name="connsiteX186" fmla="*/ 3668 w 10000"/>
              <a:gd name="connsiteY186" fmla="*/ 1383 h 10000"/>
              <a:gd name="connsiteX187" fmla="*/ 3672 w 10000"/>
              <a:gd name="connsiteY187" fmla="*/ 1457 h 10000"/>
              <a:gd name="connsiteX188" fmla="*/ 3952 w 10000"/>
              <a:gd name="connsiteY188" fmla="*/ 1668 h 10000"/>
              <a:gd name="connsiteX189" fmla="*/ 3861 w 10000"/>
              <a:gd name="connsiteY189" fmla="*/ 1896 h 10000"/>
              <a:gd name="connsiteX190" fmla="*/ 3698 w 10000"/>
              <a:gd name="connsiteY190" fmla="*/ 1979 h 10000"/>
              <a:gd name="connsiteX191" fmla="*/ 3208 w 10000"/>
              <a:gd name="connsiteY191" fmla="*/ 1924 h 10000"/>
              <a:gd name="connsiteX192" fmla="*/ 2871 w 10000"/>
              <a:gd name="connsiteY192" fmla="*/ 1955 h 10000"/>
              <a:gd name="connsiteX193" fmla="*/ 2601 w 10000"/>
              <a:gd name="connsiteY193" fmla="*/ 2023 h 10000"/>
              <a:gd name="connsiteX194" fmla="*/ 2163 w 10000"/>
              <a:gd name="connsiteY194" fmla="*/ 2233 h 10000"/>
              <a:gd name="connsiteX195" fmla="*/ 1931 w 10000"/>
              <a:gd name="connsiteY195" fmla="*/ 2487 h 10000"/>
              <a:gd name="connsiteX196" fmla="*/ 1951 w 10000"/>
              <a:gd name="connsiteY196" fmla="*/ 2629 h 10000"/>
              <a:gd name="connsiteX197" fmla="*/ 2032 w 10000"/>
              <a:gd name="connsiteY197" fmla="*/ 2738 h 10000"/>
              <a:gd name="connsiteX198" fmla="*/ 2093 w 10000"/>
              <a:gd name="connsiteY198" fmla="*/ 2782 h 10000"/>
              <a:gd name="connsiteX199" fmla="*/ 1979 w 10000"/>
              <a:gd name="connsiteY199" fmla="*/ 2852 h 10000"/>
              <a:gd name="connsiteX200" fmla="*/ 1731 w 10000"/>
              <a:gd name="connsiteY200" fmla="*/ 3330 h 10000"/>
              <a:gd name="connsiteX201" fmla="*/ 1779 w 10000"/>
              <a:gd name="connsiteY201" fmla="*/ 3358 h 10000"/>
              <a:gd name="connsiteX202" fmla="*/ 1815 w 10000"/>
              <a:gd name="connsiteY202" fmla="*/ 3479 h 10000"/>
              <a:gd name="connsiteX203" fmla="*/ 1700 w 10000"/>
              <a:gd name="connsiteY203" fmla="*/ 3982 h 10000"/>
              <a:gd name="connsiteX204" fmla="*/ 1815 w 10000"/>
              <a:gd name="connsiteY204" fmla="*/ 4110 h 10000"/>
              <a:gd name="connsiteX205" fmla="*/ 2131 w 10000"/>
              <a:gd name="connsiteY205" fmla="*/ 4251 h 10000"/>
              <a:gd name="connsiteX206" fmla="*/ 2145 w 10000"/>
              <a:gd name="connsiteY206" fmla="*/ 4423 h 10000"/>
              <a:gd name="connsiteX207" fmla="*/ 2010 w 10000"/>
              <a:gd name="connsiteY207" fmla="*/ 4566 h 10000"/>
              <a:gd name="connsiteX208" fmla="*/ 1815 w 10000"/>
              <a:gd name="connsiteY208" fmla="*/ 4652 h 10000"/>
              <a:gd name="connsiteX209" fmla="*/ 1557 w 10000"/>
              <a:gd name="connsiteY209" fmla="*/ 4687 h 10000"/>
              <a:gd name="connsiteX210" fmla="*/ 1490 w 10000"/>
              <a:gd name="connsiteY210" fmla="*/ 4737 h 10000"/>
              <a:gd name="connsiteX211" fmla="*/ 1640 w 10000"/>
              <a:gd name="connsiteY211" fmla="*/ 4855 h 10000"/>
              <a:gd name="connsiteX212" fmla="*/ 1726 w 10000"/>
              <a:gd name="connsiteY212" fmla="*/ 5136 h 10000"/>
              <a:gd name="connsiteX213" fmla="*/ 1531 w 10000"/>
              <a:gd name="connsiteY213" fmla="*/ 5376 h 10000"/>
              <a:gd name="connsiteX214" fmla="*/ 1599 w 10000"/>
              <a:gd name="connsiteY214" fmla="*/ 5451 h 10000"/>
              <a:gd name="connsiteX215" fmla="*/ 1537 w 10000"/>
              <a:gd name="connsiteY215" fmla="*/ 5577 h 10000"/>
              <a:gd name="connsiteX216" fmla="*/ 1412 w 10000"/>
              <a:gd name="connsiteY216" fmla="*/ 5663 h 10000"/>
              <a:gd name="connsiteX217" fmla="*/ 915 w 10000"/>
              <a:gd name="connsiteY217" fmla="*/ 5730 h 10000"/>
              <a:gd name="connsiteX218" fmla="*/ 885 w 10000"/>
              <a:gd name="connsiteY218" fmla="*/ 5846 h 10000"/>
              <a:gd name="connsiteX219" fmla="*/ 617 w 10000"/>
              <a:gd name="connsiteY219" fmla="*/ 6019 h 10000"/>
              <a:gd name="connsiteX220" fmla="*/ 652 w 10000"/>
              <a:gd name="connsiteY220" fmla="*/ 6268 h 10000"/>
              <a:gd name="connsiteX221" fmla="*/ 427 w 10000"/>
              <a:gd name="connsiteY221" fmla="*/ 6587 h 10000"/>
              <a:gd name="connsiteX222" fmla="*/ 274 w 10000"/>
              <a:gd name="connsiteY222" fmla="*/ 6624 h 10000"/>
              <a:gd name="connsiteX223" fmla="*/ 210 w 10000"/>
              <a:gd name="connsiteY223" fmla="*/ 6548 h 10000"/>
              <a:gd name="connsiteX224" fmla="*/ 132 w 10000"/>
              <a:gd name="connsiteY224" fmla="*/ 6663 h 10000"/>
              <a:gd name="connsiteX225" fmla="*/ 183 w 10000"/>
              <a:gd name="connsiteY225" fmla="*/ 6465 h 10000"/>
              <a:gd name="connsiteX226" fmla="*/ 151 w 10000"/>
              <a:gd name="connsiteY22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22 w 10000"/>
              <a:gd name="connsiteY162" fmla="*/ 3167 h 10000"/>
              <a:gd name="connsiteX163" fmla="*/ 6832 w 10000"/>
              <a:gd name="connsiteY163" fmla="*/ 3101 h 10000"/>
              <a:gd name="connsiteX164" fmla="*/ 7175 w 10000"/>
              <a:gd name="connsiteY164" fmla="*/ 3036 h 10000"/>
              <a:gd name="connsiteX165" fmla="*/ 7307 w 10000"/>
              <a:gd name="connsiteY165" fmla="*/ 3045 h 10000"/>
              <a:gd name="connsiteX166" fmla="*/ 7442 w 10000"/>
              <a:gd name="connsiteY166" fmla="*/ 2999 h 10000"/>
              <a:gd name="connsiteX167" fmla="*/ 7565 w 10000"/>
              <a:gd name="connsiteY167" fmla="*/ 2936 h 10000"/>
              <a:gd name="connsiteX168" fmla="*/ 8864 w 10000"/>
              <a:gd name="connsiteY168" fmla="*/ 2396 h 10000"/>
              <a:gd name="connsiteX169" fmla="*/ 9310 w 10000"/>
              <a:gd name="connsiteY169" fmla="*/ 2263 h 10000"/>
              <a:gd name="connsiteX170" fmla="*/ 9417 w 10000"/>
              <a:gd name="connsiteY170" fmla="*/ 2235 h 10000"/>
              <a:gd name="connsiteX171" fmla="*/ 10000 w 10000"/>
              <a:gd name="connsiteY171" fmla="*/ 1832 h 10000"/>
              <a:gd name="connsiteX172" fmla="*/ 9652 w 10000"/>
              <a:gd name="connsiteY172" fmla="*/ 1699 h 10000"/>
              <a:gd name="connsiteX173" fmla="*/ 9147 w 10000"/>
              <a:gd name="connsiteY173" fmla="*/ 1773 h 10000"/>
              <a:gd name="connsiteX174" fmla="*/ 8784 w 10000"/>
              <a:gd name="connsiteY174" fmla="*/ 1639 h 10000"/>
              <a:gd name="connsiteX175" fmla="*/ 8850 w 10000"/>
              <a:gd name="connsiteY175" fmla="*/ 1480 h 10000"/>
              <a:gd name="connsiteX176" fmla="*/ 7497 w 10000"/>
              <a:gd name="connsiteY176" fmla="*/ 923 h 10000"/>
              <a:gd name="connsiteX177" fmla="*/ 7522 w 10000"/>
              <a:gd name="connsiteY177" fmla="*/ 649 h 10000"/>
              <a:gd name="connsiteX178" fmla="*/ 7012 w 10000"/>
              <a:gd name="connsiteY178" fmla="*/ 590 h 10000"/>
              <a:gd name="connsiteX179" fmla="*/ 6413 w 10000"/>
              <a:gd name="connsiteY179" fmla="*/ 332 h 10000"/>
              <a:gd name="connsiteX180" fmla="*/ 5098 w 10000"/>
              <a:gd name="connsiteY180" fmla="*/ 0 h 10000"/>
              <a:gd name="connsiteX181" fmla="*/ 4837 w 10000"/>
              <a:gd name="connsiteY181" fmla="*/ 82 h 10000"/>
              <a:gd name="connsiteX182" fmla="*/ 4671 w 10000"/>
              <a:gd name="connsiteY182" fmla="*/ 78 h 10000"/>
              <a:gd name="connsiteX183" fmla="*/ 4571 w 10000"/>
              <a:gd name="connsiteY183" fmla="*/ 107 h 10000"/>
              <a:gd name="connsiteX184" fmla="*/ 4298 w 10000"/>
              <a:gd name="connsiteY184" fmla="*/ 913 h 10000"/>
              <a:gd name="connsiteX185" fmla="*/ 3668 w 10000"/>
              <a:gd name="connsiteY185" fmla="*/ 1383 h 10000"/>
              <a:gd name="connsiteX186" fmla="*/ 3672 w 10000"/>
              <a:gd name="connsiteY186" fmla="*/ 1457 h 10000"/>
              <a:gd name="connsiteX187" fmla="*/ 3952 w 10000"/>
              <a:gd name="connsiteY187" fmla="*/ 1668 h 10000"/>
              <a:gd name="connsiteX188" fmla="*/ 3861 w 10000"/>
              <a:gd name="connsiteY188" fmla="*/ 1896 h 10000"/>
              <a:gd name="connsiteX189" fmla="*/ 3698 w 10000"/>
              <a:gd name="connsiteY189" fmla="*/ 1979 h 10000"/>
              <a:gd name="connsiteX190" fmla="*/ 3208 w 10000"/>
              <a:gd name="connsiteY190" fmla="*/ 1924 h 10000"/>
              <a:gd name="connsiteX191" fmla="*/ 2871 w 10000"/>
              <a:gd name="connsiteY191" fmla="*/ 1955 h 10000"/>
              <a:gd name="connsiteX192" fmla="*/ 2601 w 10000"/>
              <a:gd name="connsiteY192" fmla="*/ 2023 h 10000"/>
              <a:gd name="connsiteX193" fmla="*/ 2163 w 10000"/>
              <a:gd name="connsiteY193" fmla="*/ 2233 h 10000"/>
              <a:gd name="connsiteX194" fmla="*/ 1931 w 10000"/>
              <a:gd name="connsiteY194" fmla="*/ 2487 h 10000"/>
              <a:gd name="connsiteX195" fmla="*/ 1951 w 10000"/>
              <a:gd name="connsiteY195" fmla="*/ 2629 h 10000"/>
              <a:gd name="connsiteX196" fmla="*/ 2032 w 10000"/>
              <a:gd name="connsiteY196" fmla="*/ 2738 h 10000"/>
              <a:gd name="connsiteX197" fmla="*/ 2093 w 10000"/>
              <a:gd name="connsiteY197" fmla="*/ 2782 h 10000"/>
              <a:gd name="connsiteX198" fmla="*/ 1979 w 10000"/>
              <a:gd name="connsiteY198" fmla="*/ 2852 h 10000"/>
              <a:gd name="connsiteX199" fmla="*/ 1731 w 10000"/>
              <a:gd name="connsiteY199" fmla="*/ 3330 h 10000"/>
              <a:gd name="connsiteX200" fmla="*/ 1779 w 10000"/>
              <a:gd name="connsiteY200" fmla="*/ 3358 h 10000"/>
              <a:gd name="connsiteX201" fmla="*/ 1815 w 10000"/>
              <a:gd name="connsiteY201" fmla="*/ 3479 h 10000"/>
              <a:gd name="connsiteX202" fmla="*/ 1700 w 10000"/>
              <a:gd name="connsiteY202" fmla="*/ 3982 h 10000"/>
              <a:gd name="connsiteX203" fmla="*/ 1815 w 10000"/>
              <a:gd name="connsiteY203" fmla="*/ 4110 h 10000"/>
              <a:gd name="connsiteX204" fmla="*/ 2131 w 10000"/>
              <a:gd name="connsiteY204" fmla="*/ 4251 h 10000"/>
              <a:gd name="connsiteX205" fmla="*/ 2145 w 10000"/>
              <a:gd name="connsiteY205" fmla="*/ 4423 h 10000"/>
              <a:gd name="connsiteX206" fmla="*/ 2010 w 10000"/>
              <a:gd name="connsiteY206" fmla="*/ 4566 h 10000"/>
              <a:gd name="connsiteX207" fmla="*/ 1815 w 10000"/>
              <a:gd name="connsiteY207" fmla="*/ 4652 h 10000"/>
              <a:gd name="connsiteX208" fmla="*/ 1557 w 10000"/>
              <a:gd name="connsiteY208" fmla="*/ 4687 h 10000"/>
              <a:gd name="connsiteX209" fmla="*/ 1490 w 10000"/>
              <a:gd name="connsiteY209" fmla="*/ 4737 h 10000"/>
              <a:gd name="connsiteX210" fmla="*/ 1640 w 10000"/>
              <a:gd name="connsiteY210" fmla="*/ 4855 h 10000"/>
              <a:gd name="connsiteX211" fmla="*/ 1726 w 10000"/>
              <a:gd name="connsiteY211" fmla="*/ 5136 h 10000"/>
              <a:gd name="connsiteX212" fmla="*/ 1531 w 10000"/>
              <a:gd name="connsiteY212" fmla="*/ 5376 h 10000"/>
              <a:gd name="connsiteX213" fmla="*/ 1599 w 10000"/>
              <a:gd name="connsiteY213" fmla="*/ 5451 h 10000"/>
              <a:gd name="connsiteX214" fmla="*/ 1537 w 10000"/>
              <a:gd name="connsiteY214" fmla="*/ 5577 h 10000"/>
              <a:gd name="connsiteX215" fmla="*/ 1412 w 10000"/>
              <a:gd name="connsiteY215" fmla="*/ 5663 h 10000"/>
              <a:gd name="connsiteX216" fmla="*/ 915 w 10000"/>
              <a:gd name="connsiteY216" fmla="*/ 5730 h 10000"/>
              <a:gd name="connsiteX217" fmla="*/ 885 w 10000"/>
              <a:gd name="connsiteY217" fmla="*/ 5846 h 10000"/>
              <a:gd name="connsiteX218" fmla="*/ 617 w 10000"/>
              <a:gd name="connsiteY218" fmla="*/ 6019 h 10000"/>
              <a:gd name="connsiteX219" fmla="*/ 652 w 10000"/>
              <a:gd name="connsiteY219" fmla="*/ 6268 h 10000"/>
              <a:gd name="connsiteX220" fmla="*/ 427 w 10000"/>
              <a:gd name="connsiteY220" fmla="*/ 6587 h 10000"/>
              <a:gd name="connsiteX221" fmla="*/ 274 w 10000"/>
              <a:gd name="connsiteY221" fmla="*/ 6624 h 10000"/>
              <a:gd name="connsiteX222" fmla="*/ 210 w 10000"/>
              <a:gd name="connsiteY222" fmla="*/ 6548 h 10000"/>
              <a:gd name="connsiteX223" fmla="*/ 132 w 10000"/>
              <a:gd name="connsiteY223" fmla="*/ 6663 h 10000"/>
              <a:gd name="connsiteX224" fmla="*/ 183 w 10000"/>
              <a:gd name="connsiteY224" fmla="*/ 6465 h 10000"/>
              <a:gd name="connsiteX225" fmla="*/ 151 w 10000"/>
              <a:gd name="connsiteY22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656 w 10000"/>
              <a:gd name="connsiteY158" fmla="*/ 3538 h 10000"/>
              <a:gd name="connsiteX159" fmla="*/ 6665 w 10000"/>
              <a:gd name="connsiteY159" fmla="*/ 3516 h 10000"/>
              <a:gd name="connsiteX160" fmla="*/ 6737 w 10000"/>
              <a:gd name="connsiteY160" fmla="*/ 3497 h 10000"/>
              <a:gd name="connsiteX161" fmla="*/ 6822 w 10000"/>
              <a:gd name="connsiteY161" fmla="*/ 3167 h 10000"/>
              <a:gd name="connsiteX162" fmla="*/ 6832 w 10000"/>
              <a:gd name="connsiteY162" fmla="*/ 3101 h 10000"/>
              <a:gd name="connsiteX163" fmla="*/ 7175 w 10000"/>
              <a:gd name="connsiteY163" fmla="*/ 3036 h 10000"/>
              <a:gd name="connsiteX164" fmla="*/ 7307 w 10000"/>
              <a:gd name="connsiteY164" fmla="*/ 3045 h 10000"/>
              <a:gd name="connsiteX165" fmla="*/ 7442 w 10000"/>
              <a:gd name="connsiteY165" fmla="*/ 2999 h 10000"/>
              <a:gd name="connsiteX166" fmla="*/ 7565 w 10000"/>
              <a:gd name="connsiteY166" fmla="*/ 2936 h 10000"/>
              <a:gd name="connsiteX167" fmla="*/ 8864 w 10000"/>
              <a:gd name="connsiteY167" fmla="*/ 2396 h 10000"/>
              <a:gd name="connsiteX168" fmla="*/ 9310 w 10000"/>
              <a:gd name="connsiteY168" fmla="*/ 2263 h 10000"/>
              <a:gd name="connsiteX169" fmla="*/ 9417 w 10000"/>
              <a:gd name="connsiteY169" fmla="*/ 2235 h 10000"/>
              <a:gd name="connsiteX170" fmla="*/ 10000 w 10000"/>
              <a:gd name="connsiteY170" fmla="*/ 1832 h 10000"/>
              <a:gd name="connsiteX171" fmla="*/ 9652 w 10000"/>
              <a:gd name="connsiteY171" fmla="*/ 1699 h 10000"/>
              <a:gd name="connsiteX172" fmla="*/ 9147 w 10000"/>
              <a:gd name="connsiteY172" fmla="*/ 1773 h 10000"/>
              <a:gd name="connsiteX173" fmla="*/ 8784 w 10000"/>
              <a:gd name="connsiteY173" fmla="*/ 1639 h 10000"/>
              <a:gd name="connsiteX174" fmla="*/ 8850 w 10000"/>
              <a:gd name="connsiteY174" fmla="*/ 1480 h 10000"/>
              <a:gd name="connsiteX175" fmla="*/ 7497 w 10000"/>
              <a:gd name="connsiteY175" fmla="*/ 923 h 10000"/>
              <a:gd name="connsiteX176" fmla="*/ 7522 w 10000"/>
              <a:gd name="connsiteY176" fmla="*/ 649 h 10000"/>
              <a:gd name="connsiteX177" fmla="*/ 7012 w 10000"/>
              <a:gd name="connsiteY177" fmla="*/ 590 h 10000"/>
              <a:gd name="connsiteX178" fmla="*/ 6413 w 10000"/>
              <a:gd name="connsiteY178" fmla="*/ 332 h 10000"/>
              <a:gd name="connsiteX179" fmla="*/ 5098 w 10000"/>
              <a:gd name="connsiteY179" fmla="*/ 0 h 10000"/>
              <a:gd name="connsiteX180" fmla="*/ 4837 w 10000"/>
              <a:gd name="connsiteY180" fmla="*/ 82 h 10000"/>
              <a:gd name="connsiteX181" fmla="*/ 4671 w 10000"/>
              <a:gd name="connsiteY181" fmla="*/ 78 h 10000"/>
              <a:gd name="connsiteX182" fmla="*/ 4571 w 10000"/>
              <a:gd name="connsiteY182" fmla="*/ 107 h 10000"/>
              <a:gd name="connsiteX183" fmla="*/ 4298 w 10000"/>
              <a:gd name="connsiteY183" fmla="*/ 913 h 10000"/>
              <a:gd name="connsiteX184" fmla="*/ 3668 w 10000"/>
              <a:gd name="connsiteY184" fmla="*/ 1383 h 10000"/>
              <a:gd name="connsiteX185" fmla="*/ 3672 w 10000"/>
              <a:gd name="connsiteY185" fmla="*/ 1457 h 10000"/>
              <a:gd name="connsiteX186" fmla="*/ 3952 w 10000"/>
              <a:gd name="connsiteY186" fmla="*/ 1668 h 10000"/>
              <a:gd name="connsiteX187" fmla="*/ 3861 w 10000"/>
              <a:gd name="connsiteY187" fmla="*/ 1896 h 10000"/>
              <a:gd name="connsiteX188" fmla="*/ 3698 w 10000"/>
              <a:gd name="connsiteY188" fmla="*/ 1979 h 10000"/>
              <a:gd name="connsiteX189" fmla="*/ 3208 w 10000"/>
              <a:gd name="connsiteY189" fmla="*/ 1924 h 10000"/>
              <a:gd name="connsiteX190" fmla="*/ 2871 w 10000"/>
              <a:gd name="connsiteY190" fmla="*/ 1955 h 10000"/>
              <a:gd name="connsiteX191" fmla="*/ 2601 w 10000"/>
              <a:gd name="connsiteY191" fmla="*/ 2023 h 10000"/>
              <a:gd name="connsiteX192" fmla="*/ 2163 w 10000"/>
              <a:gd name="connsiteY192" fmla="*/ 2233 h 10000"/>
              <a:gd name="connsiteX193" fmla="*/ 1931 w 10000"/>
              <a:gd name="connsiteY193" fmla="*/ 2487 h 10000"/>
              <a:gd name="connsiteX194" fmla="*/ 1951 w 10000"/>
              <a:gd name="connsiteY194" fmla="*/ 2629 h 10000"/>
              <a:gd name="connsiteX195" fmla="*/ 2032 w 10000"/>
              <a:gd name="connsiteY195" fmla="*/ 2738 h 10000"/>
              <a:gd name="connsiteX196" fmla="*/ 2093 w 10000"/>
              <a:gd name="connsiteY196" fmla="*/ 2782 h 10000"/>
              <a:gd name="connsiteX197" fmla="*/ 1979 w 10000"/>
              <a:gd name="connsiteY197" fmla="*/ 2852 h 10000"/>
              <a:gd name="connsiteX198" fmla="*/ 1731 w 10000"/>
              <a:gd name="connsiteY198" fmla="*/ 3330 h 10000"/>
              <a:gd name="connsiteX199" fmla="*/ 1779 w 10000"/>
              <a:gd name="connsiteY199" fmla="*/ 3358 h 10000"/>
              <a:gd name="connsiteX200" fmla="*/ 1815 w 10000"/>
              <a:gd name="connsiteY200" fmla="*/ 3479 h 10000"/>
              <a:gd name="connsiteX201" fmla="*/ 1700 w 10000"/>
              <a:gd name="connsiteY201" fmla="*/ 3982 h 10000"/>
              <a:gd name="connsiteX202" fmla="*/ 1815 w 10000"/>
              <a:gd name="connsiteY202" fmla="*/ 4110 h 10000"/>
              <a:gd name="connsiteX203" fmla="*/ 2131 w 10000"/>
              <a:gd name="connsiteY203" fmla="*/ 4251 h 10000"/>
              <a:gd name="connsiteX204" fmla="*/ 2145 w 10000"/>
              <a:gd name="connsiteY204" fmla="*/ 4423 h 10000"/>
              <a:gd name="connsiteX205" fmla="*/ 2010 w 10000"/>
              <a:gd name="connsiteY205" fmla="*/ 4566 h 10000"/>
              <a:gd name="connsiteX206" fmla="*/ 1815 w 10000"/>
              <a:gd name="connsiteY206" fmla="*/ 4652 h 10000"/>
              <a:gd name="connsiteX207" fmla="*/ 1557 w 10000"/>
              <a:gd name="connsiteY207" fmla="*/ 4687 h 10000"/>
              <a:gd name="connsiteX208" fmla="*/ 1490 w 10000"/>
              <a:gd name="connsiteY208" fmla="*/ 4737 h 10000"/>
              <a:gd name="connsiteX209" fmla="*/ 1640 w 10000"/>
              <a:gd name="connsiteY209" fmla="*/ 4855 h 10000"/>
              <a:gd name="connsiteX210" fmla="*/ 1726 w 10000"/>
              <a:gd name="connsiteY210" fmla="*/ 5136 h 10000"/>
              <a:gd name="connsiteX211" fmla="*/ 1531 w 10000"/>
              <a:gd name="connsiteY211" fmla="*/ 5376 h 10000"/>
              <a:gd name="connsiteX212" fmla="*/ 1599 w 10000"/>
              <a:gd name="connsiteY212" fmla="*/ 5451 h 10000"/>
              <a:gd name="connsiteX213" fmla="*/ 1537 w 10000"/>
              <a:gd name="connsiteY213" fmla="*/ 5577 h 10000"/>
              <a:gd name="connsiteX214" fmla="*/ 1412 w 10000"/>
              <a:gd name="connsiteY214" fmla="*/ 5663 h 10000"/>
              <a:gd name="connsiteX215" fmla="*/ 915 w 10000"/>
              <a:gd name="connsiteY215" fmla="*/ 5730 h 10000"/>
              <a:gd name="connsiteX216" fmla="*/ 885 w 10000"/>
              <a:gd name="connsiteY216" fmla="*/ 5846 h 10000"/>
              <a:gd name="connsiteX217" fmla="*/ 617 w 10000"/>
              <a:gd name="connsiteY217" fmla="*/ 6019 h 10000"/>
              <a:gd name="connsiteX218" fmla="*/ 652 w 10000"/>
              <a:gd name="connsiteY218" fmla="*/ 6268 h 10000"/>
              <a:gd name="connsiteX219" fmla="*/ 427 w 10000"/>
              <a:gd name="connsiteY219" fmla="*/ 6587 h 10000"/>
              <a:gd name="connsiteX220" fmla="*/ 274 w 10000"/>
              <a:gd name="connsiteY220" fmla="*/ 6624 h 10000"/>
              <a:gd name="connsiteX221" fmla="*/ 210 w 10000"/>
              <a:gd name="connsiteY221" fmla="*/ 6548 h 10000"/>
              <a:gd name="connsiteX222" fmla="*/ 132 w 10000"/>
              <a:gd name="connsiteY222" fmla="*/ 6663 h 10000"/>
              <a:gd name="connsiteX223" fmla="*/ 183 w 10000"/>
              <a:gd name="connsiteY223" fmla="*/ 6465 h 10000"/>
              <a:gd name="connsiteX224" fmla="*/ 151 w 10000"/>
              <a:gd name="connsiteY22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656 w 10000"/>
              <a:gd name="connsiteY158" fmla="*/ 3538 h 10000"/>
              <a:gd name="connsiteX159" fmla="*/ 6665 w 10000"/>
              <a:gd name="connsiteY159" fmla="*/ 3516 h 10000"/>
              <a:gd name="connsiteX160" fmla="*/ 6822 w 10000"/>
              <a:gd name="connsiteY160" fmla="*/ 3167 h 10000"/>
              <a:gd name="connsiteX161" fmla="*/ 6832 w 10000"/>
              <a:gd name="connsiteY161" fmla="*/ 3101 h 10000"/>
              <a:gd name="connsiteX162" fmla="*/ 7175 w 10000"/>
              <a:gd name="connsiteY162" fmla="*/ 3036 h 10000"/>
              <a:gd name="connsiteX163" fmla="*/ 7307 w 10000"/>
              <a:gd name="connsiteY163" fmla="*/ 3045 h 10000"/>
              <a:gd name="connsiteX164" fmla="*/ 7442 w 10000"/>
              <a:gd name="connsiteY164" fmla="*/ 2999 h 10000"/>
              <a:gd name="connsiteX165" fmla="*/ 7565 w 10000"/>
              <a:gd name="connsiteY165" fmla="*/ 2936 h 10000"/>
              <a:gd name="connsiteX166" fmla="*/ 8864 w 10000"/>
              <a:gd name="connsiteY166" fmla="*/ 2396 h 10000"/>
              <a:gd name="connsiteX167" fmla="*/ 9310 w 10000"/>
              <a:gd name="connsiteY167" fmla="*/ 2263 h 10000"/>
              <a:gd name="connsiteX168" fmla="*/ 9417 w 10000"/>
              <a:gd name="connsiteY168" fmla="*/ 2235 h 10000"/>
              <a:gd name="connsiteX169" fmla="*/ 10000 w 10000"/>
              <a:gd name="connsiteY169" fmla="*/ 1832 h 10000"/>
              <a:gd name="connsiteX170" fmla="*/ 9652 w 10000"/>
              <a:gd name="connsiteY170" fmla="*/ 1699 h 10000"/>
              <a:gd name="connsiteX171" fmla="*/ 9147 w 10000"/>
              <a:gd name="connsiteY171" fmla="*/ 1773 h 10000"/>
              <a:gd name="connsiteX172" fmla="*/ 8784 w 10000"/>
              <a:gd name="connsiteY172" fmla="*/ 1639 h 10000"/>
              <a:gd name="connsiteX173" fmla="*/ 8850 w 10000"/>
              <a:gd name="connsiteY173" fmla="*/ 1480 h 10000"/>
              <a:gd name="connsiteX174" fmla="*/ 7497 w 10000"/>
              <a:gd name="connsiteY174" fmla="*/ 923 h 10000"/>
              <a:gd name="connsiteX175" fmla="*/ 7522 w 10000"/>
              <a:gd name="connsiteY175" fmla="*/ 649 h 10000"/>
              <a:gd name="connsiteX176" fmla="*/ 7012 w 10000"/>
              <a:gd name="connsiteY176" fmla="*/ 590 h 10000"/>
              <a:gd name="connsiteX177" fmla="*/ 6413 w 10000"/>
              <a:gd name="connsiteY177" fmla="*/ 332 h 10000"/>
              <a:gd name="connsiteX178" fmla="*/ 5098 w 10000"/>
              <a:gd name="connsiteY178" fmla="*/ 0 h 10000"/>
              <a:gd name="connsiteX179" fmla="*/ 4837 w 10000"/>
              <a:gd name="connsiteY179" fmla="*/ 82 h 10000"/>
              <a:gd name="connsiteX180" fmla="*/ 4671 w 10000"/>
              <a:gd name="connsiteY180" fmla="*/ 78 h 10000"/>
              <a:gd name="connsiteX181" fmla="*/ 4571 w 10000"/>
              <a:gd name="connsiteY181" fmla="*/ 107 h 10000"/>
              <a:gd name="connsiteX182" fmla="*/ 4298 w 10000"/>
              <a:gd name="connsiteY182" fmla="*/ 913 h 10000"/>
              <a:gd name="connsiteX183" fmla="*/ 3668 w 10000"/>
              <a:gd name="connsiteY183" fmla="*/ 1383 h 10000"/>
              <a:gd name="connsiteX184" fmla="*/ 3672 w 10000"/>
              <a:gd name="connsiteY184" fmla="*/ 1457 h 10000"/>
              <a:gd name="connsiteX185" fmla="*/ 3952 w 10000"/>
              <a:gd name="connsiteY185" fmla="*/ 1668 h 10000"/>
              <a:gd name="connsiteX186" fmla="*/ 3861 w 10000"/>
              <a:gd name="connsiteY186" fmla="*/ 1896 h 10000"/>
              <a:gd name="connsiteX187" fmla="*/ 3698 w 10000"/>
              <a:gd name="connsiteY187" fmla="*/ 1979 h 10000"/>
              <a:gd name="connsiteX188" fmla="*/ 3208 w 10000"/>
              <a:gd name="connsiteY188" fmla="*/ 1924 h 10000"/>
              <a:gd name="connsiteX189" fmla="*/ 2871 w 10000"/>
              <a:gd name="connsiteY189" fmla="*/ 1955 h 10000"/>
              <a:gd name="connsiteX190" fmla="*/ 2601 w 10000"/>
              <a:gd name="connsiteY190" fmla="*/ 2023 h 10000"/>
              <a:gd name="connsiteX191" fmla="*/ 2163 w 10000"/>
              <a:gd name="connsiteY191" fmla="*/ 2233 h 10000"/>
              <a:gd name="connsiteX192" fmla="*/ 1931 w 10000"/>
              <a:gd name="connsiteY192" fmla="*/ 2487 h 10000"/>
              <a:gd name="connsiteX193" fmla="*/ 1951 w 10000"/>
              <a:gd name="connsiteY193" fmla="*/ 2629 h 10000"/>
              <a:gd name="connsiteX194" fmla="*/ 2032 w 10000"/>
              <a:gd name="connsiteY194" fmla="*/ 2738 h 10000"/>
              <a:gd name="connsiteX195" fmla="*/ 2093 w 10000"/>
              <a:gd name="connsiteY195" fmla="*/ 2782 h 10000"/>
              <a:gd name="connsiteX196" fmla="*/ 1979 w 10000"/>
              <a:gd name="connsiteY196" fmla="*/ 2852 h 10000"/>
              <a:gd name="connsiteX197" fmla="*/ 1731 w 10000"/>
              <a:gd name="connsiteY197" fmla="*/ 3330 h 10000"/>
              <a:gd name="connsiteX198" fmla="*/ 1779 w 10000"/>
              <a:gd name="connsiteY198" fmla="*/ 3358 h 10000"/>
              <a:gd name="connsiteX199" fmla="*/ 1815 w 10000"/>
              <a:gd name="connsiteY199" fmla="*/ 3479 h 10000"/>
              <a:gd name="connsiteX200" fmla="*/ 1700 w 10000"/>
              <a:gd name="connsiteY200" fmla="*/ 3982 h 10000"/>
              <a:gd name="connsiteX201" fmla="*/ 1815 w 10000"/>
              <a:gd name="connsiteY201" fmla="*/ 4110 h 10000"/>
              <a:gd name="connsiteX202" fmla="*/ 2131 w 10000"/>
              <a:gd name="connsiteY202" fmla="*/ 4251 h 10000"/>
              <a:gd name="connsiteX203" fmla="*/ 2145 w 10000"/>
              <a:gd name="connsiteY203" fmla="*/ 4423 h 10000"/>
              <a:gd name="connsiteX204" fmla="*/ 2010 w 10000"/>
              <a:gd name="connsiteY204" fmla="*/ 4566 h 10000"/>
              <a:gd name="connsiteX205" fmla="*/ 1815 w 10000"/>
              <a:gd name="connsiteY205" fmla="*/ 4652 h 10000"/>
              <a:gd name="connsiteX206" fmla="*/ 1557 w 10000"/>
              <a:gd name="connsiteY206" fmla="*/ 4687 h 10000"/>
              <a:gd name="connsiteX207" fmla="*/ 1490 w 10000"/>
              <a:gd name="connsiteY207" fmla="*/ 4737 h 10000"/>
              <a:gd name="connsiteX208" fmla="*/ 1640 w 10000"/>
              <a:gd name="connsiteY208" fmla="*/ 4855 h 10000"/>
              <a:gd name="connsiteX209" fmla="*/ 1726 w 10000"/>
              <a:gd name="connsiteY209" fmla="*/ 5136 h 10000"/>
              <a:gd name="connsiteX210" fmla="*/ 1531 w 10000"/>
              <a:gd name="connsiteY210" fmla="*/ 5376 h 10000"/>
              <a:gd name="connsiteX211" fmla="*/ 1599 w 10000"/>
              <a:gd name="connsiteY211" fmla="*/ 5451 h 10000"/>
              <a:gd name="connsiteX212" fmla="*/ 1537 w 10000"/>
              <a:gd name="connsiteY212" fmla="*/ 5577 h 10000"/>
              <a:gd name="connsiteX213" fmla="*/ 1412 w 10000"/>
              <a:gd name="connsiteY213" fmla="*/ 5663 h 10000"/>
              <a:gd name="connsiteX214" fmla="*/ 915 w 10000"/>
              <a:gd name="connsiteY214" fmla="*/ 5730 h 10000"/>
              <a:gd name="connsiteX215" fmla="*/ 885 w 10000"/>
              <a:gd name="connsiteY215" fmla="*/ 5846 h 10000"/>
              <a:gd name="connsiteX216" fmla="*/ 617 w 10000"/>
              <a:gd name="connsiteY216" fmla="*/ 6019 h 10000"/>
              <a:gd name="connsiteX217" fmla="*/ 652 w 10000"/>
              <a:gd name="connsiteY217" fmla="*/ 6268 h 10000"/>
              <a:gd name="connsiteX218" fmla="*/ 427 w 10000"/>
              <a:gd name="connsiteY218" fmla="*/ 6587 h 10000"/>
              <a:gd name="connsiteX219" fmla="*/ 274 w 10000"/>
              <a:gd name="connsiteY219" fmla="*/ 6624 h 10000"/>
              <a:gd name="connsiteX220" fmla="*/ 210 w 10000"/>
              <a:gd name="connsiteY220" fmla="*/ 6548 h 10000"/>
              <a:gd name="connsiteX221" fmla="*/ 132 w 10000"/>
              <a:gd name="connsiteY221" fmla="*/ 6663 h 10000"/>
              <a:gd name="connsiteX222" fmla="*/ 183 w 10000"/>
              <a:gd name="connsiteY222" fmla="*/ 6465 h 10000"/>
              <a:gd name="connsiteX223" fmla="*/ 151 w 10000"/>
              <a:gd name="connsiteY22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656 w 10000"/>
              <a:gd name="connsiteY158" fmla="*/ 3538 h 10000"/>
              <a:gd name="connsiteX159" fmla="*/ 6822 w 10000"/>
              <a:gd name="connsiteY159" fmla="*/ 3167 h 10000"/>
              <a:gd name="connsiteX160" fmla="*/ 6832 w 10000"/>
              <a:gd name="connsiteY160" fmla="*/ 3101 h 10000"/>
              <a:gd name="connsiteX161" fmla="*/ 7175 w 10000"/>
              <a:gd name="connsiteY161" fmla="*/ 3036 h 10000"/>
              <a:gd name="connsiteX162" fmla="*/ 7307 w 10000"/>
              <a:gd name="connsiteY162" fmla="*/ 3045 h 10000"/>
              <a:gd name="connsiteX163" fmla="*/ 7442 w 10000"/>
              <a:gd name="connsiteY163" fmla="*/ 2999 h 10000"/>
              <a:gd name="connsiteX164" fmla="*/ 7565 w 10000"/>
              <a:gd name="connsiteY164" fmla="*/ 2936 h 10000"/>
              <a:gd name="connsiteX165" fmla="*/ 8864 w 10000"/>
              <a:gd name="connsiteY165" fmla="*/ 2396 h 10000"/>
              <a:gd name="connsiteX166" fmla="*/ 9310 w 10000"/>
              <a:gd name="connsiteY166" fmla="*/ 2263 h 10000"/>
              <a:gd name="connsiteX167" fmla="*/ 9417 w 10000"/>
              <a:gd name="connsiteY167" fmla="*/ 2235 h 10000"/>
              <a:gd name="connsiteX168" fmla="*/ 10000 w 10000"/>
              <a:gd name="connsiteY168" fmla="*/ 1832 h 10000"/>
              <a:gd name="connsiteX169" fmla="*/ 9652 w 10000"/>
              <a:gd name="connsiteY169" fmla="*/ 1699 h 10000"/>
              <a:gd name="connsiteX170" fmla="*/ 9147 w 10000"/>
              <a:gd name="connsiteY170" fmla="*/ 1773 h 10000"/>
              <a:gd name="connsiteX171" fmla="*/ 8784 w 10000"/>
              <a:gd name="connsiteY171" fmla="*/ 1639 h 10000"/>
              <a:gd name="connsiteX172" fmla="*/ 8850 w 10000"/>
              <a:gd name="connsiteY172" fmla="*/ 1480 h 10000"/>
              <a:gd name="connsiteX173" fmla="*/ 7497 w 10000"/>
              <a:gd name="connsiteY173" fmla="*/ 923 h 10000"/>
              <a:gd name="connsiteX174" fmla="*/ 7522 w 10000"/>
              <a:gd name="connsiteY174" fmla="*/ 649 h 10000"/>
              <a:gd name="connsiteX175" fmla="*/ 7012 w 10000"/>
              <a:gd name="connsiteY175" fmla="*/ 590 h 10000"/>
              <a:gd name="connsiteX176" fmla="*/ 6413 w 10000"/>
              <a:gd name="connsiteY176" fmla="*/ 332 h 10000"/>
              <a:gd name="connsiteX177" fmla="*/ 5098 w 10000"/>
              <a:gd name="connsiteY177" fmla="*/ 0 h 10000"/>
              <a:gd name="connsiteX178" fmla="*/ 4837 w 10000"/>
              <a:gd name="connsiteY178" fmla="*/ 82 h 10000"/>
              <a:gd name="connsiteX179" fmla="*/ 4671 w 10000"/>
              <a:gd name="connsiteY179" fmla="*/ 78 h 10000"/>
              <a:gd name="connsiteX180" fmla="*/ 4571 w 10000"/>
              <a:gd name="connsiteY180" fmla="*/ 107 h 10000"/>
              <a:gd name="connsiteX181" fmla="*/ 4298 w 10000"/>
              <a:gd name="connsiteY181" fmla="*/ 913 h 10000"/>
              <a:gd name="connsiteX182" fmla="*/ 3668 w 10000"/>
              <a:gd name="connsiteY182" fmla="*/ 1383 h 10000"/>
              <a:gd name="connsiteX183" fmla="*/ 3672 w 10000"/>
              <a:gd name="connsiteY183" fmla="*/ 1457 h 10000"/>
              <a:gd name="connsiteX184" fmla="*/ 3952 w 10000"/>
              <a:gd name="connsiteY184" fmla="*/ 1668 h 10000"/>
              <a:gd name="connsiteX185" fmla="*/ 3861 w 10000"/>
              <a:gd name="connsiteY185" fmla="*/ 1896 h 10000"/>
              <a:gd name="connsiteX186" fmla="*/ 3698 w 10000"/>
              <a:gd name="connsiteY186" fmla="*/ 1979 h 10000"/>
              <a:gd name="connsiteX187" fmla="*/ 3208 w 10000"/>
              <a:gd name="connsiteY187" fmla="*/ 1924 h 10000"/>
              <a:gd name="connsiteX188" fmla="*/ 2871 w 10000"/>
              <a:gd name="connsiteY188" fmla="*/ 1955 h 10000"/>
              <a:gd name="connsiteX189" fmla="*/ 2601 w 10000"/>
              <a:gd name="connsiteY189" fmla="*/ 2023 h 10000"/>
              <a:gd name="connsiteX190" fmla="*/ 2163 w 10000"/>
              <a:gd name="connsiteY190" fmla="*/ 2233 h 10000"/>
              <a:gd name="connsiteX191" fmla="*/ 1931 w 10000"/>
              <a:gd name="connsiteY191" fmla="*/ 2487 h 10000"/>
              <a:gd name="connsiteX192" fmla="*/ 1951 w 10000"/>
              <a:gd name="connsiteY192" fmla="*/ 2629 h 10000"/>
              <a:gd name="connsiteX193" fmla="*/ 2032 w 10000"/>
              <a:gd name="connsiteY193" fmla="*/ 2738 h 10000"/>
              <a:gd name="connsiteX194" fmla="*/ 2093 w 10000"/>
              <a:gd name="connsiteY194" fmla="*/ 2782 h 10000"/>
              <a:gd name="connsiteX195" fmla="*/ 1979 w 10000"/>
              <a:gd name="connsiteY195" fmla="*/ 2852 h 10000"/>
              <a:gd name="connsiteX196" fmla="*/ 1731 w 10000"/>
              <a:gd name="connsiteY196" fmla="*/ 3330 h 10000"/>
              <a:gd name="connsiteX197" fmla="*/ 1779 w 10000"/>
              <a:gd name="connsiteY197" fmla="*/ 3358 h 10000"/>
              <a:gd name="connsiteX198" fmla="*/ 1815 w 10000"/>
              <a:gd name="connsiteY198" fmla="*/ 3479 h 10000"/>
              <a:gd name="connsiteX199" fmla="*/ 1700 w 10000"/>
              <a:gd name="connsiteY199" fmla="*/ 3982 h 10000"/>
              <a:gd name="connsiteX200" fmla="*/ 1815 w 10000"/>
              <a:gd name="connsiteY200" fmla="*/ 4110 h 10000"/>
              <a:gd name="connsiteX201" fmla="*/ 2131 w 10000"/>
              <a:gd name="connsiteY201" fmla="*/ 4251 h 10000"/>
              <a:gd name="connsiteX202" fmla="*/ 2145 w 10000"/>
              <a:gd name="connsiteY202" fmla="*/ 4423 h 10000"/>
              <a:gd name="connsiteX203" fmla="*/ 2010 w 10000"/>
              <a:gd name="connsiteY203" fmla="*/ 4566 h 10000"/>
              <a:gd name="connsiteX204" fmla="*/ 1815 w 10000"/>
              <a:gd name="connsiteY204" fmla="*/ 4652 h 10000"/>
              <a:gd name="connsiteX205" fmla="*/ 1557 w 10000"/>
              <a:gd name="connsiteY205" fmla="*/ 4687 h 10000"/>
              <a:gd name="connsiteX206" fmla="*/ 1490 w 10000"/>
              <a:gd name="connsiteY206" fmla="*/ 4737 h 10000"/>
              <a:gd name="connsiteX207" fmla="*/ 1640 w 10000"/>
              <a:gd name="connsiteY207" fmla="*/ 4855 h 10000"/>
              <a:gd name="connsiteX208" fmla="*/ 1726 w 10000"/>
              <a:gd name="connsiteY208" fmla="*/ 5136 h 10000"/>
              <a:gd name="connsiteX209" fmla="*/ 1531 w 10000"/>
              <a:gd name="connsiteY209" fmla="*/ 5376 h 10000"/>
              <a:gd name="connsiteX210" fmla="*/ 1599 w 10000"/>
              <a:gd name="connsiteY210" fmla="*/ 5451 h 10000"/>
              <a:gd name="connsiteX211" fmla="*/ 1537 w 10000"/>
              <a:gd name="connsiteY211" fmla="*/ 5577 h 10000"/>
              <a:gd name="connsiteX212" fmla="*/ 1412 w 10000"/>
              <a:gd name="connsiteY212" fmla="*/ 5663 h 10000"/>
              <a:gd name="connsiteX213" fmla="*/ 915 w 10000"/>
              <a:gd name="connsiteY213" fmla="*/ 5730 h 10000"/>
              <a:gd name="connsiteX214" fmla="*/ 885 w 10000"/>
              <a:gd name="connsiteY214" fmla="*/ 5846 h 10000"/>
              <a:gd name="connsiteX215" fmla="*/ 617 w 10000"/>
              <a:gd name="connsiteY215" fmla="*/ 6019 h 10000"/>
              <a:gd name="connsiteX216" fmla="*/ 652 w 10000"/>
              <a:gd name="connsiteY216" fmla="*/ 6268 h 10000"/>
              <a:gd name="connsiteX217" fmla="*/ 427 w 10000"/>
              <a:gd name="connsiteY217" fmla="*/ 6587 h 10000"/>
              <a:gd name="connsiteX218" fmla="*/ 274 w 10000"/>
              <a:gd name="connsiteY218" fmla="*/ 6624 h 10000"/>
              <a:gd name="connsiteX219" fmla="*/ 210 w 10000"/>
              <a:gd name="connsiteY219" fmla="*/ 6548 h 10000"/>
              <a:gd name="connsiteX220" fmla="*/ 132 w 10000"/>
              <a:gd name="connsiteY220" fmla="*/ 6663 h 10000"/>
              <a:gd name="connsiteX221" fmla="*/ 183 w 10000"/>
              <a:gd name="connsiteY221" fmla="*/ 6465 h 10000"/>
              <a:gd name="connsiteX222" fmla="*/ 151 w 10000"/>
              <a:gd name="connsiteY222"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822 w 10000"/>
              <a:gd name="connsiteY158" fmla="*/ 3167 h 10000"/>
              <a:gd name="connsiteX159" fmla="*/ 6832 w 10000"/>
              <a:gd name="connsiteY159" fmla="*/ 3101 h 10000"/>
              <a:gd name="connsiteX160" fmla="*/ 7175 w 10000"/>
              <a:gd name="connsiteY160" fmla="*/ 3036 h 10000"/>
              <a:gd name="connsiteX161" fmla="*/ 7307 w 10000"/>
              <a:gd name="connsiteY161" fmla="*/ 3045 h 10000"/>
              <a:gd name="connsiteX162" fmla="*/ 7442 w 10000"/>
              <a:gd name="connsiteY162" fmla="*/ 2999 h 10000"/>
              <a:gd name="connsiteX163" fmla="*/ 7565 w 10000"/>
              <a:gd name="connsiteY163" fmla="*/ 2936 h 10000"/>
              <a:gd name="connsiteX164" fmla="*/ 8864 w 10000"/>
              <a:gd name="connsiteY164" fmla="*/ 2396 h 10000"/>
              <a:gd name="connsiteX165" fmla="*/ 9310 w 10000"/>
              <a:gd name="connsiteY165" fmla="*/ 2263 h 10000"/>
              <a:gd name="connsiteX166" fmla="*/ 9417 w 10000"/>
              <a:gd name="connsiteY166" fmla="*/ 2235 h 10000"/>
              <a:gd name="connsiteX167" fmla="*/ 10000 w 10000"/>
              <a:gd name="connsiteY167" fmla="*/ 1832 h 10000"/>
              <a:gd name="connsiteX168" fmla="*/ 9652 w 10000"/>
              <a:gd name="connsiteY168" fmla="*/ 1699 h 10000"/>
              <a:gd name="connsiteX169" fmla="*/ 9147 w 10000"/>
              <a:gd name="connsiteY169" fmla="*/ 1773 h 10000"/>
              <a:gd name="connsiteX170" fmla="*/ 8784 w 10000"/>
              <a:gd name="connsiteY170" fmla="*/ 1639 h 10000"/>
              <a:gd name="connsiteX171" fmla="*/ 8850 w 10000"/>
              <a:gd name="connsiteY171" fmla="*/ 1480 h 10000"/>
              <a:gd name="connsiteX172" fmla="*/ 7497 w 10000"/>
              <a:gd name="connsiteY172" fmla="*/ 923 h 10000"/>
              <a:gd name="connsiteX173" fmla="*/ 7522 w 10000"/>
              <a:gd name="connsiteY173" fmla="*/ 649 h 10000"/>
              <a:gd name="connsiteX174" fmla="*/ 7012 w 10000"/>
              <a:gd name="connsiteY174" fmla="*/ 590 h 10000"/>
              <a:gd name="connsiteX175" fmla="*/ 6413 w 10000"/>
              <a:gd name="connsiteY175" fmla="*/ 332 h 10000"/>
              <a:gd name="connsiteX176" fmla="*/ 5098 w 10000"/>
              <a:gd name="connsiteY176" fmla="*/ 0 h 10000"/>
              <a:gd name="connsiteX177" fmla="*/ 4837 w 10000"/>
              <a:gd name="connsiteY177" fmla="*/ 82 h 10000"/>
              <a:gd name="connsiteX178" fmla="*/ 4671 w 10000"/>
              <a:gd name="connsiteY178" fmla="*/ 78 h 10000"/>
              <a:gd name="connsiteX179" fmla="*/ 4571 w 10000"/>
              <a:gd name="connsiteY179" fmla="*/ 107 h 10000"/>
              <a:gd name="connsiteX180" fmla="*/ 4298 w 10000"/>
              <a:gd name="connsiteY180" fmla="*/ 913 h 10000"/>
              <a:gd name="connsiteX181" fmla="*/ 3668 w 10000"/>
              <a:gd name="connsiteY181" fmla="*/ 1383 h 10000"/>
              <a:gd name="connsiteX182" fmla="*/ 3672 w 10000"/>
              <a:gd name="connsiteY182" fmla="*/ 1457 h 10000"/>
              <a:gd name="connsiteX183" fmla="*/ 3952 w 10000"/>
              <a:gd name="connsiteY183" fmla="*/ 1668 h 10000"/>
              <a:gd name="connsiteX184" fmla="*/ 3861 w 10000"/>
              <a:gd name="connsiteY184" fmla="*/ 1896 h 10000"/>
              <a:gd name="connsiteX185" fmla="*/ 3698 w 10000"/>
              <a:gd name="connsiteY185" fmla="*/ 1979 h 10000"/>
              <a:gd name="connsiteX186" fmla="*/ 3208 w 10000"/>
              <a:gd name="connsiteY186" fmla="*/ 1924 h 10000"/>
              <a:gd name="connsiteX187" fmla="*/ 2871 w 10000"/>
              <a:gd name="connsiteY187" fmla="*/ 1955 h 10000"/>
              <a:gd name="connsiteX188" fmla="*/ 2601 w 10000"/>
              <a:gd name="connsiteY188" fmla="*/ 2023 h 10000"/>
              <a:gd name="connsiteX189" fmla="*/ 2163 w 10000"/>
              <a:gd name="connsiteY189" fmla="*/ 2233 h 10000"/>
              <a:gd name="connsiteX190" fmla="*/ 1931 w 10000"/>
              <a:gd name="connsiteY190" fmla="*/ 2487 h 10000"/>
              <a:gd name="connsiteX191" fmla="*/ 1951 w 10000"/>
              <a:gd name="connsiteY191" fmla="*/ 2629 h 10000"/>
              <a:gd name="connsiteX192" fmla="*/ 2032 w 10000"/>
              <a:gd name="connsiteY192" fmla="*/ 2738 h 10000"/>
              <a:gd name="connsiteX193" fmla="*/ 2093 w 10000"/>
              <a:gd name="connsiteY193" fmla="*/ 2782 h 10000"/>
              <a:gd name="connsiteX194" fmla="*/ 1979 w 10000"/>
              <a:gd name="connsiteY194" fmla="*/ 2852 h 10000"/>
              <a:gd name="connsiteX195" fmla="*/ 1731 w 10000"/>
              <a:gd name="connsiteY195" fmla="*/ 3330 h 10000"/>
              <a:gd name="connsiteX196" fmla="*/ 1779 w 10000"/>
              <a:gd name="connsiteY196" fmla="*/ 3358 h 10000"/>
              <a:gd name="connsiteX197" fmla="*/ 1815 w 10000"/>
              <a:gd name="connsiteY197" fmla="*/ 3479 h 10000"/>
              <a:gd name="connsiteX198" fmla="*/ 1700 w 10000"/>
              <a:gd name="connsiteY198" fmla="*/ 3982 h 10000"/>
              <a:gd name="connsiteX199" fmla="*/ 1815 w 10000"/>
              <a:gd name="connsiteY199" fmla="*/ 4110 h 10000"/>
              <a:gd name="connsiteX200" fmla="*/ 2131 w 10000"/>
              <a:gd name="connsiteY200" fmla="*/ 4251 h 10000"/>
              <a:gd name="connsiteX201" fmla="*/ 2145 w 10000"/>
              <a:gd name="connsiteY201" fmla="*/ 4423 h 10000"/>
              <a:gd name="connsiteX202" fmla="*/ 2010 w 10000"/>
              <a:gd name="connsiteY202" fmla="*/ 4566 h 10000"/>
              <a:gd name="connsiteX203" fmla="*/ 1815 w 10000"/>
              <a:gd name="connsiteY203" fmla="*/ 4652 h 10000"/>
              <a:gd name="connsiteX204" fmla="*/ 1557 w 10000"/>
              <a:gd name="connsiteY204" fmla="*/ 4687 h 10000"/>
              <a:gd name="connsiteX205" fmla="*/ 1490 w 10000"/>
              <a:gd name="connsiteY205" fmla="*/ 4737 h 10000"/>
              <a:gd name="connsiteX206" fmla="*/ 1640 w 10000"/>
              <a:gd name="connsiteY206" fmla="*/ 4855 h 10000"/>
              <a:gd name="connsiteX207" fmla="*/ 1726 w 10000"/>
              <a:gd name="connsiteY207" fmla="*/ 5136 h 10000"/>
              <a:gd name="connsiteX208" fmla="*/ 1531 w 10000"/>
              <a:gd name="connsiteY208" fmla="*/ 5376 h 10000"/>
              <a:gd name="connsiteX209" fmla="*/ 1599 w 10000"/>
              <a:gd name="connsiteY209" fmla="*/ 5451 h 10000"/>
              <a:gd name="connsiteX210" fmla="*/ 1537 w 10000"/>
              <a:gd name="connsiteY210" fmla="*/ 5577 h 10000"/>
              <a:gd name="connsiteX211" fmla="*/ 1412 w 10000"/>
              <a:gd name="connsiteY211" fmla="*/ 5663 h 10000"/>
              <a:gd name="connsiteX212" fmla="*/ 915 w 10000"/>
              <a:gd name="connsiteY212" fmla="*/ 5730 h 10000"/>
              <a:gd name="connsiteX213" fmla="*/ 885 w 10000"/>
              <a:gd name="connsiteY213" fmla="*/ 5846 h 10000"/>
              <a:gd name="connsiteX214" fmla="*/ 617 w 10000"/>
              <a:gd name="connsiteY214" fmla="*/ 6019 h 10000"/>
              <a:gd name="connsiteX215" fmla="*/ 652 w 10000"/>
              <a:gd name="connsiteY215" fmla="*/ 6268 h 10000"/>
              <a:gd name="connsiteX216" fmla="*/ 427 w 10000"/>
              <a:gd name="connsiteY216" fmla="*/ 6587 h 10000"/>
              <a:gd name="connsiteX217" fmla="*/ 274 w 10000"/>
              <a:gd name="connsiteY217" fmla="*/ 6624 h 10000"/>
              <a:gd name="connsiteX218" fmla="*/ 210 w 10000"/>
              <a:gd name="connsiteY218" fmla="*/ 6548 h 10000"/>
              <a:gd name="connsiteX219" fmla="*/ 132 w 10000"/>
              <a:gd name="connsiteY219" fmla="*/ 6663 h 10000"/>
              <a:gd name="connsiteX220" fmla="*/ 183 w 10000"/>
              <a:gd name="connsiteY220" fmla="*/ 6465 h 10000"/>
              <a:gd name="connsiteX221" fmla="*/ 151 w 10000"/>
              <a:gd name="connsiteY221"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832 w 10000"/>
              <a:gd name="connsiteY158" fmla="*/ 3101 h 10000"/>
              <a:gd name="connsiteX159" fmla="*/ 7175 w 10000"/>
              <a:gd name="connsiteY159" fmla="*/ 3036 h 10000"/>
              <a:gd name="connsiteX160" fmla="*/ 7307 w 10000"/>
              <a:gd name="connsiteY160" fmla="*/ 3045 h 10000"/>
              <a:gd name="connsiteX161" fmla="*/ 7442 w 10000"/>
              <a:gd name="connsiteY161" fmla="*/ 2999 h 10000"/>
              <a:gd name="connsiteX162" fmla="*/ 7565 w 10000"/>
              <a:gd name="connsiteY162" fmla="*/ 2936 h 10000"/>
              <a:gd name="connsiteX163" fmla="*/ 8864 w 10000"/>
              <a:gd name="connsiteY163" fmla="*/ 2396 h 10000"/>
              <a:gd name="connsiteX164" fmla="*/ 9310 w 10000"/>
              <a:gd name="connsiteY164" fmla="*/ 2263 h 10000"/>
              <a:gd name="connsiteX165" fmla="*/ 9417 w 10000"/>
              <a:gd name="connsiteY165" fmla="*/ 2235 h 10000"/>
              <a:gd name="connsiteX166" fmla="*/ 10000 w 10000"/>
              <a:gd name="connsiteY166" fmla="*/ 1832 h 10000"/>
              <a:gd name="connsiteX167" fmla="*/ 9652 w 10000"/>
              <a:gd name="connsiteY167" fmla="*/ 1699 h 10000"/>
              <a:gd name="connsiteX168" fmla="*/ 9147 w 10000"/>
              <a:gd name="connsiteY168" fmla="*/ 1773 h 10000"/>
              <a:gd name="connsiteX169" fmla="*/ 8784 w 10000"/>
              <a:gd name="connsiteY169" fmla="*/ 1639 h 10000"/>
              <a:gd name="connsiteX170" fmla="*/ 8850 w 10000"/>
              <a:gd name="connsiteY170" fmla="*/ 1480 h 10000"/>
              <a:gd name="connsiteX171" fmla="*/ 7497 w 10000"/>
              <a:gd name="connsiteY171" fmla="*/ 923 h 10000"/>
              <a:gd name="connsiteX172" fmla="*/ 7522 w 10000"/>
              <a:gd name="connsiteY172" fmla="*/ 649 h 10000"/>
              <a:gd name="connsiteX173" fmla="*/ 7012 w 10000"/>
              <a:gd name="connsiteY173" fmla="*/ 590 h 10000"/>
              <a:gd name="connsiteX174" fmla="*/ 6413 w 10000"/>
              <a:gd name="connsiteY174" fmla="*/ 332 h 10000"/>
              <a:gd name="connsiteX175" fmla="*/ 5098 w 10000"/>
              <a:gd name="connsiteY175" fmla="*/ 0 h 10000"/>
              <a:gd name="connsiteX176" fmla="*/ 4837 w 10000"/>
              <a:gd name="connsiteY176" fmla="*/ 82 h 10000"/>
              <a:gd name="connsiteX177" fmla="*/ 4671 w 10000"/>
              <a:gd name="connsiteY177" fmla="*/ 78 h 10000"/>
              <a:gd name="connsiteX178" fmla="*/ 4571 w 10000"/>
              <a:gd name="connsiteY178" fmla="*/ 107 h 10000"/>
              <a:gd name="connsiteX179" fmla="*/ 4298 w 10000"/>
              <a:gd name="connsiteY179" fmla="*/ 913 h 10000"/>
              <a:gd name="connsiteX180" fmla="*/ 3668 w 10000"/>
              <a:gd name="connsiteY180" fmla="*/ 1383 h 10000"/>
              <a:gd name="connsiteX181" fmla="*/ 3672 w 10000"/>
              <a:gd name="connsiteY181" fmla="*/ 1457 h 10000"/>
              <a:gd name="connsiteX182" fmla="*/ 3952 w 10000"/>
              <a:gd name="connsiteY182" fmla="*/ 1668 h 10000"/>
              <a:gd name="connsiteX183" fmla="*/ 3861 w 10000"/>
              <a:gd name="connsiteY183" fmla="*/ 1896 h 10000"/>
              <a:gd name="connsiteX184" fmla="*/ 3698 w 10000"/>
              <a:gd name="connsiteY184" fmla="*/ 1979 h 10000"/>
              <a:gd name="connsiteX185" fmla="*/ 3208 w 10000"/>
              <a:gd name="connsiteY185" fmla="*/ 1924 h 10000"/>
              <a:gd name="connsiteX186" fmla="*/ 2871 w 10000"/>
              <a:gd name="connsiteY186" fmla="*/ 1955 h 10000"/>
              <a:gd name="connsiteX187" fmla="*/ 2601 w 10000"/>
              <a:gd name="connsiteY187" fmla="*/ 2023 h 10000"/>
              <a:gd name="connsiteX188" fmla="*/ 2163 w 10000"/>
              <a:gd name="connsiteY188" fmla="*/ 2233 h 10000"/>
              <a:gd name="connsiteX189" fmla="*/ 1931 w 10000"/>
              <a:gd name="connsiteY189" fmla="*/ 2487 h 10000"/>
              <a:gd name="connsiteX190" fmla="*/ 1951 w 10000"/>
              <a:gd name="connsiteY190" fmla="*/ 2629 h 10000"/>
              <a:gd name="connsiteX191" fmla="*/ 2032 w 10000"/>
              <a:gd name="connsiteY191" fmla="*/ 2738 h 10000"/>
              <a:gd name="connsiteX192" fmla="*/ 2093 w 10000"/>
              <a:gd name="connsiteY192" fmla="*/ 2782 h 10000"/>
              <a:gd name="connsiteX193" fmla="*/ 1979 w 10000"/>
              <a:gd name="connsiteY193" fmla="*/ 2852 h 10000"/>
              <a:gd name="connsiteX194" fmla="*/ 1731 w 10000"/>
              <a:gd name="connsiteY194" fmla="*/ 3330 h 10000"/>
              <a:gd name="connsiteX195" fmla="*/ 1779 w 10000"/>
              <a:gd name="connsiteY195" fmla="*/ 3358 h 10000"/>
              <a:gd name="connsiteX196" fmla="*/ 1815 w 10000"/>
              <a:gd name="connsiteY196" fmla="*/ 3479 h 10000"/>
              <a:gd name="connsiteX197" fmla="*/ 1700 w 10000"/>
              <a:gd name="connsiteY197" fmla="*/ 3982 h 10000"/>
              <a:gd name="connsiteX198" fmla="*/ 1815 w 10000"/>
              <a:gd name="connsiteY198" fmla="*/ 4110 h 10000"/>
              <a:gd name="connsiteX199" fmla="*/ 2131 w 10000"/>
              <a:gd name="connsiteY199" fmla="*/ 4251 h 10000"/>
              <a:gd name="connsiteX200" fmla="*/ 2145 w 10000"/>
              <a:gd name="connsiteY200" fmla="*/ 4423 h 10000"/>
              <a:gd name="connsiteX201" fmla="*/ 2010 w 10000"/>
              <a:gd name="connsiteY201" fmla="*/ 4566 h 10000"/>
              <a:gd name="connsiteX202" fmla="*/ 1815 w 10000"/>
              <a:gd name="connsiteY202" fmla="*/ 4652 h 10000"/>
              <a:gd name="connsiteX203" fmla="*/ 1557 w 10000"/>
              <a:gd name="connsiteY203" fmla="*/ 4687 h 10000"/>
              <a:gd name="connsiteX204" fmla="*/ 1490 w 10000"/>
              <a:gd name="connsiteY204" fmla="*/ 4737 h 10000"/>
              <a:gd name="connsiteX205" fmla="*/ 1640 w 10000"/>
              <a:gd name="connsiteY205" fmla="*/ 4855 h 10000"/>
              <a:gd name="connsiteX206" fmla="*/ 1726 w 10000"/>
              <a:gd name="connsiteY206" fmla="*/ 5136 h 10000"/>
              <a:gd name="connsiteX207" fmla="*/ 1531 w 10000"/>
              <a:gd name="connsiteY207" fmla="*/ 5376 h 10000"/>
              <a:gd name="connsiteX208" fmla="*/ 1599 w 10000"/>
              <a:gd name="connsiteY208" fmla="*/ 5451 h 10000"/>
              <a:gd name="connsiteX209" fmla="*/ 1537 w 10000"/>
              <a:gd name="connsiteY209" fmla="*/ 5577 h 10000"/>
              <a:gd name="connsiteX210" fmla="*/ 1412 w 10000"/>
              <a:gd name="connsiteY210" fmla="*/ 5663 h 10000"/>
              <a:gd name="connsiteX211" fmla="*/ 915 w 10000"/>
              <a:gd name="connsiteY211" fmla="*/ 5730 h 10000"/>
              <a:gd name="connsiteX212" fmla="*/ 885 w 10000"/>
              <a:gd name="connsiteY212" fmla="*/ 5846 h 10000"/>
              <a:gd name="connsiteX213" fmla="*/ 617 w 10000"/>
              <a:gd name="connsiteY213" fmla="*/ 6019 h 10000"/>
              <a:gd name="connsiteX214" fmla="*/ 652 w 10000"/>
              <a:gd name="connsiteY214" fmla="*/ 6268 h 10000"/>
              <a:gd name="connsiteX215" fmla="*/ 427 w 10000"/>
              <a:gd name="connsiteY215" fmla="*/ 6587 h 10000"/>
              <a:gd name="connsiteX216" fmla="*/ 274 w 10000"/>
              <a:gd name="connsiteY216" fmla="*/ 6624 h 10000"/>
              <a:gd name="connsiteX217" fmla="*/ 210 w 10000"/>
              <a:gd name="connsiteY217" fmla="*/ 6548 h 10000"/>
              <a:gd name="connsiteX218" fmla="*/ 132 w 10000"/>
              <a:gd name="connsiteY218" fmla="*/ 6663 h 10000"/>
              <a:gd name="connsiteX219" fmla="*/ 183 w 10000"/>
              <a:gd name="connsiteY219" fmla="*/ 6465 h 10000"/>
              <a:gd name="connsiteX220" fmla="*/ 151 w 10000"/>
              <a:gd name="connsiteY22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7307 w 10000"/>
              <a:gd name="connsiteY159" fmla="*/ 3045 h 10000"/>
              <a:gd name="connsiteX160" fmla="*/ 7442 w 10000"/>
              <a:gd name="connsiteY160" fmla="*/ 2999 h 10000"/>
              <a:gd name="connsiteX161" fmla="*/ 7565 w 10000"/>
              <a:gd name="connsiteY161" fmla="*/ 2936 h 10000"/>
              <a:gd name="connsiteX162" fmla="*/ 8864 w 10000"/>
              <a:gd name="connsiteY162" fmla="*/ 2396 h 10000"/>
              <a:gd name="connsiteX163" fmla="*/ 9310 w 10000"/>
              <a:gd name="connsiteY163" fmla="*/ 2263 h 10000"/>
              <a:gd name="connsiteX164" fmla="*/ 9417 w 10000"/>
              <a:gd name="connsiteY164" fmla="*/ 2235 h 10000"/>
              <a:gd name="connsiteX165" fmla="*/ 10000 w 10000"/>
              <a:gd name="connsiteY165" fmla="*/ 1832 h 10000"/>
              <a:gd name="connsiteX166" fmla="*/ 9652 w 10000"/>
              <a:gd name="connsiteY166" fmla="*/ 1699 h 10000"/>
              <a:gd name="connsiteX167" fmla="*/ 9147 w 10000"/>
              <a:gd name="connsiteY167" fmla="*/ 1773 h 10000"/>
              <a:gd name="connsiteX168" fmla="*/ 8784 w 10000"/>
              <a:gd name="connsiteY168" fmla="*/ 1639 h 10000"/>
              <a:gd name="connsiteX169" fmla="*/ 8850 w 10000"/>
              <a:gd name="connsiteY169" fmla="*/ 1480 h 10000"/>
              <a:gd name="connsiteX170" fmla="*/ 7497 w 10000"/>
              <a:gd name="connsiteY170" fmla="*/ 923 h 10000"/>
              <a:gd name="connsiteX171" fmla="*/ 7522 w 10000"/>
              <a:gd name="connsiteY171" fmla="*/ 649 h 10000"/>
              <a:gd name="connsiteX172" fmla="*/ 7012 w 10000"/>
              <a:gd name="connsiteY172" fmla="*/ 590 h 10000"/>
              <a:gd name="connsiteX173" fmla="*/ 6413 w 10000"/>
              <a:gd name="connsiteY173" fmla="*/ 332 h 10000"/>
              <a:gd name="connsiteX174" fmla="*/ 5098 w 10000"/>
              <a:gd name="connsiteY174" fmla="*/ 0 h 10000"/>
              <a:gd name="connsiteX175" fmla="*/ 4837 w 10000"/>
              <a:gd name="connsiteY175" fmla="*/ 82 h 10000"/>
              <a:gd name="connsiteX176" fmla="*/ 4671 w 10000"/>
              <a:gd name="connsiteY176" fmla="*/ 78 h 10000"/>
              <a:gd name="connsiteX177" fmla="*/ 4571 w 10000"/>
              <a:gd name="connsiteY177" fmla="*/ 107 h 10000"/>
              <a:gd name="connsiteX178" fmla="*/ 4298 w 10000"/>
              <a:gd name="connsiteY178" fmla="*/ 913 h 10000"/>
              <a:gd name="connsiteX179" fmla="*/ 3668 w 10000"/>
              <a:gd name="connsiteY179" fmla="*/ 1383 h 10000"/>
              <a:gd name="connsiteX180" fmla="*/ 3672 w 10000"/>
              <a:gd name="connsiteY180" fmla="*/ 1457 h 10000"/>
              <a:gd name="connsiteX181" fmla="*/ 3952 w 10000"/>
              <a:gd name="connsiteY181" fmla="*/ 1668 h 10000"/>
              <a:gd name="connsiteX182" fmla="*/ 3861 w 10000"/>
              <a:gd name="connsiteY182" fmla="*/ 1896 h 10000"/>
              <a:gd name="connsiteX183" fmla="*/ 3698 w 10000"/>
              <a:gd name="connsiteY183" fmla="*/ 1979 h 10000"/>
              <a:gd name="connsiteX184" fmla="*/ 3208 w 10000"/>
              <a:gd name="connsiteY184" fmla="*/ 1924 h 10000"/>
              <a:gd name="connsiteX185" fmla="*/ 2871 w 10000"/>
              <a:gd name="connsiteY185" fmla="*/ 1955 h 10000"/>
              <a:gd name="connsiteX186" fmla="*/ 2601 w 10000"/>
              <a:gd name="connsiteY186" fmla="*/ 2023 h 10000"/>
              <a:gd name="connsiteX187" fmla="*/ 2163 w 10000"/>
              <a:gd name="connsiteY187" fmla="*/ 2233 h 10000"/>
              <a:gd name="connsiteX188" fmla="*/ 1931 w 10000"/>
              <a:gd name="connsiteY188" fmla="*/ 2487 h 10000"/>
              <a:gd name="connsiteX189" fmla="*/ 1951 w 10000"/>
              <a:gd name="connsiteY189" fmla="*/ 2629 h 10000"/>
              <a:gd name="connsiteX190" fmla="*/ 2032 w 10000"/>
              <a:gd name="connsiteY190" fmla="*/ 2738 h 10000"/>
              <a:gd name="connsiteX191" fmla="*/ 2093 w 10000"/>
              <a:gd name="connsiteY191" fmla="*/ 2782 h 10000"/>
              <a:gd name="connsiteX192" fmla="*/ 1979 w 10000"/>
              <a:gd name="connsiteY192" fmla="*/ 2852 h 10000"/>
              <a:gd name="connsiteX193" fmla="*/ 1731 w 10000"/>
              <a:gd name="connsiteY193" fmla="*/ 3330 h 10000"/>
              <a:gd name="connsiteX194" fmla="*/ 1779 w 10000"/>
              <a:gd name="connsiteY194" fmla="*/ 3358 h 10000"/>
              <a:gd name="connsiteX195" fmla="*/ 1815 w 10000"/>
              <a:gd name="connsiteY195" fmla="*/ 3479 h 10000"/>
              <a:gd name="connsiteX196" fmla="*/ 1700 w 10000"/>
              <a:gd name="connsiteY196" fmla="*/ 3982 h 10000"/>
              <a:gd name="connsiteX197" fmla="*/ 1815 w 10000"/>
              <a:gd name="connsiteY197" fmla="*/ 4110 h 10000"/>
              <a:gd name="connsiteX198" fmla="*/ 2131 w 10000"/>
              <a:gd name="connsiteY198" fmla="*/ 4251 h 10000"/>
              <a:gd name="connsiteX199" fmla="*/ 2145 w 10000"/>
              <a:gd name="connsiteY199" fmla="*/ 4423 h 10000"/>
              <a:gd name="connsiteX200" fmla="*/ 2010 w 10000"/>
              <a:gd name="connsiteY200" fmla="*/ 4566 h 10000"/>
              <a:gd name="connsiteX201" fmla="*/ 1815 w 10000"/>
              <a:gd name="connsiteY201" fmla="*/ 4652 h 10000"/>
              <a:gd name="connsiteX202" fmla="*/ 1557 w 10000"/>
              <a:gd name="connsiteY202" fmla="*/ 4687 h 10000"/>
              <a:gd name="connsiteX203" fmla="*/ 1490 w 10000"/>
              <a:gd name="connsiteY203" fmla="*/ 4737 h 10000"/>
              <a:gd name="connsiteX204" fmla="*/ 1640 w 10000"/>
              <a:gd name="connsiteY204" fmla="*/ 4855 h 10000"/>
              <a:gd name="connsiteX205" fmla="*/ 1726 w 10000"/>
              <a:gd name="connsiteY205" fmla="*/ 5136 h 10000"/>
              <a:gd name="connsiteX206" fmla="*/ 1531 w 10000"/>
              <a:gd name="connsiteY206" fmla="*/ 5376 h 10000"/>
              <a:gd name="connsiteX207" fmla="*/ 1599 w 10000"/>
              <a:gd name="connsiteY207" fmla="*/ 5451 h 10000"/>
              <a:gd name="connsiteX208" fmla="*/ 1537 w 10000"/>
              <a:gd name="connsiteY208" fmla="*/ 5577 h 10000"/>
              <a:gd name="connsiteX209" fmla="*/ 1412 w 10000"/>
              <a:gd name="connsiteY209" fmla="*/ 5663 h 10000"/>
              <a:gd name="connsiteX210" fmla="*/ 915 w 10000"/>
              <a:gd name="connsiteY210" fmla="*/ 5730 h 10000"/>
              <a:gd name="connsiteX211" fmla="*/ 885 w 10000"/>
              <a:gd name="connsiteY211" fmla="*/ 5846 h 10000"/>
              <a:gd name="connsiteX212" fmla="*/ 617 w 10000"/>
              <a:gd name="connsiteY212" fmla="*/ 6019 h 10000"/>
              <a:gd name="connsiteX213" fmla="*/ 652 w 10000"/>
              <a:gd name="connsiteY213" fmla="*/ 6268 h 10000"/>
              <a:gd name="connsiteX214" fmla="*/ 427 w 10000"/>
              <a:gd name="connsiteY214" fmla="*/ 6587 h 10000"/>
              <a:gd name="connsiteX215" fmla="*/ 274 w 10000"/>
              <a:gd name="connsiteY215" fmla="*/ 6624 h 10000"/>
              <a:gd name="connsiteX216" fmla="*/ 210 w 10000"/>
              <a:gd name="connsiteY216" fmla="*/ 6548 h 10000"/>
              <a:gd name="connsiteX217" fmla="*/ 132 w 10000"/>
              <a:gd name="connsiteY217" fmla="*/ 6663 h 10000"/>
              <a:gd name="connsiteX218" fmla="*/ 183 w 10000"/>
              <a:gd name="connsiteY218" fmla="*/ 6465 h 10000"/>
              <a:gd name="connsiteX219" fmla="*/ 151 w 10000"/>
              <a:gd name="connsiteY21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7442 w 10000"/>
              <a:gd name="connsiteY159" fmla="*/ 2999 h 10000"/>
              <a:gd name="connsiteX160" fmla="*/ 7565 w 10000"/>
              <a:gd name="connsiteY160" fmla="*/ 2936 h 10000"/>
              <a:gd name="connsiteX161" fmla="*/ 8864 w 10000"/>
              <a:gd name="connsiteY161" fmla="*/ 2396 h 10000"/>
              <a:gd name="connsiteX162" fmla="*/ 9310 w 10000"/>
              <a:gd name="connsiteY162" fmla="*/ 2263 h 10000"/>
              <a:gd name="connsiteX163" fmla="*/ 9417 w 10000"/>
              <a:gd name="connsiteY163" fmla="*/ 2235 h 10000"/>
              <a:gd name="connsiteX164" fmla="*/ 10000 w 10000"/>
              <a:gd name="connsiteY164" fmla="*/ 1832 h 10000"/>
              <a:gd name="connsiteX165" fmla="*/ 9652 w 10000"/>
              <a:gd name="connsiteY165" fmla="*/ 1699 h 10000"/>
              <a:gd name="connsiteX166" fmla="*/ 9147 w 10000"/>
              <a:gd name="connsiteY166" fmla="*/ 1773 h 10000"/>
              <a:gd name="connsiteX167" fmla="*/ 8784 w 10000"/>
              <a:gd name="connsiteY167" fmla="*/ 1639 h 10000"/>
              <a:gd name="connsiteX168" fmla="*/ 8850 w 10000"/>
              <a:gd name="connsiteY168" fmla="*/ 1480 h 10000"/>
              <a:gd name="connsiteX169" fmla="*/ 7497 w 10000"/>
              <a:gd name="connsiteY169" fmla="*/ 923 h 10000"/>
              <a:gd name="connsiteX170" fmla="*/ 7522 w 10000"/>
              <a:gd name="connsiteY170" fmla="*/ 649 h 10000"/>
              <a:gd name="connsiteX171" fmla="*/ 7012 w 10000"/>
              <a:gd name="connsiteY171" fmla="*/ 590 h 10000"/>
              <a:gd name="connsiteX172" fmla="*/ 6413 w 10000"/>
              <a:gd name="connsiteY172" fmla="*/ 332 h 10000"/>
              <a:gd name="connsiteX173" fmla="*/ 5098 w 10000"/>
              <a:gd name="connsiteY173" fmla="*/ 0 h 10000"/>
              <a:gd name="connsiteX174" fmla="*/ 4837 w 10000"/>
              <a:gd name="connsiteY174" fmla="*/ 82 h 10000"/>
              <a:gd name="connsiteX175" fmla="*/ 4671 w 10000"/>
              <a:gd name="connsiteY175" fmla="*/ 78 h 10000"/>
              <a:gd name="connsiteX176" fmla="*/ 4571 w 10000"/>
              <a:gd name="connsiteY176" fmla="*/ 107 h 10000"/>
              <a:gd name="connsiteX177" fmla="*/ 4298 w 10000"/>
              <a:gd name="connsiteY177" fmla="*/ 913 h 10000"/>
              <a:gd name="connsiteX178" fmla="*/ 3668 w 10000"/>
              <a:gd name="connsiteY178" fmla="*/ 1383 h 10000"/>
              <a:gd name="connsiteX179" fmla="*/ 3672 w 10000"/>
              <a:gd name="connsiteY179" fmla="*/ 1457 h 10000"/>
              <a:gd name="connsiteX180" fmla="*/ 3952 w 10000"/>
              <a:gd name="connsiteY180" fmla="*/ 1668 h 10000"/>
              <a:gd name="connsiteX181" fmla="*/ 3861 w 10000"/>
              <a:gd name="connsiteY181" fmla="*/ 1896 h 10000"/>
              <a:gd name="connsiteX182" fmla="*/ 3698 w 10000"/>
              <a:gd name="connsiteY182" fmla="*/ 1979 h 10000"/>
              <a:gd name="connsiteX183" fmla="*/ 3208 w 10000"/>
              <a:gd name="connsiteY183" fmla="*/ 1924 h 10000"/>
              <a:gd name="connsiteX184" fmla="*/ 2871 w 10000"/>
              <a:gd name="connsiteY184" fmla="*/ 1955 h 10000"/>
              <a:gd name="connsiteX185" fmla="*/ 2601 w 10000"/>
              <a:gd name="connsiteY185" fmla="*/ 2023 h 10000"/>
              <a:gd name="connsiteX186" fmla="*/ 2163 w 10000"/>
              <a:gd name="connsiteY186" fmla="*/ 2233 h 10000"/>
              <a:gd name="connsiteX187" fmla="*/ 1931 w 10000"/>
              <a:gd name="connsiteY187" fmla="*/ 2487 h 10000"/>
              <a:gd name="connsiteX188" fmla="*/ 1951 w 10000"/>
              <a:gd name="connsiteY188" fmla="*/ 2629 h 10000"/>
              <a:gd name="connsiteX189" fmla="*/ 2032 w 10000"/>
              <a:gd name="connsiteY189" fmla="*/ 2738 h 10000"/>
              <a:gd name="connsiteX190" fmla="*/ 2093 w 10000"/>
              <a:gd name="connsiteY190" fmla="*/ 2782 h 10000"/>
              <a:gd name="connsiteX191" fmla="*/ 1979 w 10000"/>
              <a:gd name="connsiteY191" fmla="*/ 2852 h 10000"/>
              <a:gd name="connsiteX192" fmla="*/ 1731 w 10000"/>
              <a:gd name="connsiteY192" fmla="*/ 3330 h 10000"/>
              <a:gd name="connsiteX193" fmla="*/ 1779 w 10000"/>
              <a:gd name="connsiteY193" fmla="*/ 3358 h 10000"/>
              <a:gd name="connsiteX194" fmla="*/ 1815 w 10000"/>
              <a:gd name="connsiteY194" fmla="*/ 3479 h 10000"/>
              <a:gd name="connsiteX195" fmla="*/ 1700 w 10000"/>
              <a:gd name="connsiteY195" fmla="*/ 3982 h 10000"/>
              <a:gd name="connsiteX196" fmla="*/ 1815 w 10000"/>
              <a:gd name="connsiteY196" fmla="*/ 4110 h 10000"/>
              <a:gd name="connsiteX197" fmla="*/ 2131 w 10000"/>
              <a:gd name="connsiteY197" fmla="*/ 4251 h 10000"/>
              <a:gd name="connsiteX198" fmla="*/ 2145 w 10000"/>
              <a:gd name="connsiteY198" fmla="*/ 4423 h 10000"/>
              <a:gd name="connsiteX199" fmla="*/ 2010 w 10000"/>
              <a:gd name="connsiteY199" fmla="*/ 4566 h 10000"/>
              <a:gd name="connsiteX200" fmla="*/ 1815 w 10000"/>
              <a:gd name="connsiteY200" fmla="*/ 4652 h 10000"/>
              <a:gd name="connsiteX201" fmla="*/ 1557 w 10000"/>
              <a:gd name="connsiteY201" fmla="*/ 4687 h 10000"/>
              <a:gd name="connsiteX202" fmla="*/ 1490 w 10000"/>
              <a:gd name="connsiteY202" fmla="*/ 4737 h 10000"/>
              <a:gd name="connsiteX203" fmla="*/ 1640 w 10000"/>
              <a:gd name="connsiteY203" fmla="*/ 4855 h 10000"/>
              <a:gd name="connsiteX204" fmla="*/ 1726 w 10000"/>
              <a:gd name="connsiteY204" fmla="*/ 5136 h 10000"/>
              <a:gd name="connsiteX205" fmla="*/ 1531 w 10000"/>
              <a:gd name="connsiteY205" fmla="*/ 5376 h 10000"/>
              <a:gd name="connsiteX206" fmla="*/ 1599 w 10000"/>
              <a:gd name="connsiteY206" fmla="*/ 5451 h 10000"/>
              <a:gd name="connsiteX207" fmla="*/ 1537 w 10000"/>
              <a:gd name="connsiteY207" fmla="*/ 5577 h 10000"/>
              <a:gd name="connsiteX208" fmla="*/ 1412 w 10000"/>
              <a:gd name="connsiteY208" fmla="*/ 5663 h 10000"/>
              <a:gd name="connsiteX209" fmla="*/ 915 w 10000"/>
              <a:gd name="connsiteY209" fmla="*/ 5730 h 10000"/>
              <a:gd name="connsiteX210" fmla="*/ 885 w 10000"/>
              <a:gd name="connsiteY210" fmla="*/ 5846 h 10000"/>
              <a:gd name="connsiteX211" fmla="*/ 617 w 10000"/>
              <a:gd name="connsiteY211" fmla="*/ 6019 h 10000"/>
              <a:gd name="connsiteX212" fmla="*/ 652 w 10000"/>
              <a:gd name="connsiteY212" fmla="*/ 6268 h 10000"/>
              <a:gd name="connsiteX213" fmla="*/ 427 w 10000"/>
              <a:gd name="connsiteY213" fmla="*/ 6587 h 10000"/>
              <a:gd name="connsiteX214" fmla="*/ 274 w 10000"/>
              <a:gd name="connsiteY214" fmla="*/ 6624 h 10000"/>
              <a:gd name="connsiteX215" fmla="*/ 210 w 10000"/>
              <a:gd name="connsiteY215" fmla="*/ 6548 h 10000"/>
              <a:gd name="connsiteX216" fmla="*/ 132 w 10000"/>
              <a:gd name="connsiteY216" fmla="*/ 6663 h 10000"/>
              <a:gd name="connsiteX217" fmla="*/ 183 w 10000"/>
              <a:gd name="connsiteY217" fmla="*/ 6465 h 10000"/>
              <a:gd name="connsiteX218" fmla="*/ 151 w 10000"/>
              <a:gd name="connsiteY21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7565 w 10000"/>
              <a:gd name="connsiteY159" fmla="*/ 2936 h 10000"/>
              <a:gd name="connsiteX160" fmla="*/ 8864 w 10000"/>
              <a:gd name="connsiteY160" fmla="*/ 2396 h 10000"/>
              <a:gd name="connsiteX161" fmla="*/ 9310 w 10000"/>
              <a:gd name="connsiteY161" fmla="*/ 2263 h 10000"/>
              <a:gd name="connsiteX162" fmla="*/ 9417 w 10000"/>
              <a:gd name="connsiteY162" fmla="*/ 2235 h 10000"/>
              <a:gd name="connsiteX163" fmla="*/ 10000 w 10000"/>
              <a:gd name="connsiteY163" fmla="*/ 1832 h 10000"/>
              <a:gd name="connsiteX164" fmla="*/ 9652 w 10000"/>
              <a:gd name="connsiteY164" fmla="*/ 1699 h 10000"/>
              <a:gd name="connsiteX165" fmla="*/ 9147 w 10000"/>
              <a:gd name="connsiteY165" fmla="*/ 1773 h 10000"/>
              <a:gd name="connsiteX166" fmla="*/ 8784 w 10000"/>
              <a:gd name="connsiteY166" fmla="*/ 1639 h 10000"/>
              <a:gd name="connsiteX167" fmla="*/ 8850 w 10000"/>
              <a:gd name="connsiteY167" fmla="*/ 1480 h 10000"/>
              <a:gd name="connsiteX168" fmla="*/ 7497 w 10000"/>
              <a:gd name="connsiteY168" fmla="*/ 923 h 10000"/>
              <a:gd name="connsiteX169" fmla="*/ 7522 w 10000"/>
              <a:gd name="connsiteY169" fmla="*/ 649 h 10000"/>
              <a:gd name="connsiteX170" fmla="*/ 7012 w 10000"/>
              <a:gd name="connsiteY170" fmla="*/ 590 h 10000"/>
              <a:gd name="connsiteX171" fmla="*/ 6413 w 10000"/>
              <a:gd name="connsiteY171" fmla="*/ 332 h 10000"/>
              <a:gd name="connsiteX172" fmla="*/ 5098 w 10000"/>
              <a:gd name="connsiteY172" fmla="*/ 0 h 10000"/>
              <a:gd name="connsiteX173" fmla="*/ 4837 w 10000"/>
              <a:gd name="connsiteY173" fmla="*/ 82 h 10000"/>
              <a:gd name="connsiteX174" fmla="*/ 4671 w 10000"/>
              <a:gd name="connsiteY174" fmla="*/ 78 h 10000"/>
              <a:gd name="connsiteX175" fmla="*/ 4571 w 10000"/>
              <a:gd name="connsiteY175" fmla="*/ 107 h 10000"/>
              <a:gd name="connsiteX176" fmla="*/ 4298 w 10000"/>
              <a:gd name="connsiteY176" fmla="*/ 913 h 10000"/>
              <a:gd name="connsiteX177" fmla="*/ 3668 w 10000"/>
              <a:gd name="connsiteY177" fmla="*/ 1383 h 10000"/>
              <a:gd name="connsiteX178" fmla="*/ 3672 w 10000"/>
              <a:gd name="connsiteY178" fmla="*/ 1457 h 10000"/>
              <a:gd name="connsiteX179" fmla="*/ 3952 w 10000"/>
              <a:gd name="connsiteY179" fmla="*/ 1668 h 10000"/>
              <a:gd name="connsiteX180" fmla="*/ 3861 w 10000"/>
              <a:gd name="connsiteY180" fmla="*/ 1896 h 10000"/>
              <a:gd name="connsiteX181" fmla="*/ 3698 w 10000"/>
              <a:gd name="connsiteY181" fmla="*/ 1979 h 10000"/>
              <a:gd name="connsiteX182" fmla="*/ 3208 w 10000"/>
              <a:gd name="connsiteY182" fmla="*/ 1924 h 10000"/>
              <a:gd name="connsiteX183" fmla="*/ 2871 w 10000"/>
              <a:gd name="connsiteY183" fmla="*/ 1955 h 10000"/>
              <a:gd name="connsiteX184" fmla="*/ 2601 w 10000"/>
              <a:gd name="connsiteY184" fmla="*/ 2023 h 10000"/>
              <a:gd name="connsiteX185" fmla="*/ 2163 w 10000"/>
              <a:gd name="connsiteY185" fmla="*/ 2233 h 10000"/>
              <a:gd name="connsiteX186" fmla="*/ 1931 w 10000"/>
              <a:gd name="connsiteY186" fmla="*/ 2487 h 10000"/>
              <a:gd name="connsiteX187" fmla="*/ 1951 w 10000"/>
              <a:gd name="connsiteY187" fmla="*/ 2629 h 10000"/>
              <a:gd name="connsiteX188" fmla="*/ 2032 w 10000"/>
              <a:gd name="connsiteY188" fmla="*/ 2738 h 10000"/>
              <a:gd name="connsiteX189" fmla="*/ 2093 w 10000"/>
              <a:gd name="connsiteY189" fmla="*/ 2782 h 10000"/>
              <a:gd name="connsiteX190" fmla="*/ 1979 w 10000"/>
              <a:gd name="connsiteY190" fmla="*/ 2852 h 10000"/>
              <a:gd name="connsiteX191" fmla="*/ 1731 w 10000"/>
              <a:gd name="connsiteY191" fmla="*/ 3330 h 10000"/>
              <a:gd name="connsiteX192" fmla="*/ 1779 w 10000"/>
              <a:gd name="connsiteY192" fmla="*/ 3358 h 10000"/>
              <a:gd name="connsiteX193" fmla="*/ 1815 w 10000"/>
              <a:gd name="connsiteY193" fmla="*/ 3479 h 10000"/>
              <a:gd name="connsiteX194" fmla="*/ 1700 w 10000"/>
              <a:gd name="connsiteY194" fmla="*/ 3982 h 10000"/>
              <a:gd name="connsiteX195" fmla="*/ 1815 w 10000"/>
              <a:gd name="connsiteY195" fmla="*/ 4110 h 10000"/>
              <a:gd name="connsiteX196" fmla="*/ 2131 w 10000"/>
              <a:gd name="connsiteY196" fmla="*/ 4251 h 10000"/>
              <a:gd name="connsiteX197" fmla="*/ 2145 w 10000"/>
              <a:gd name="connsiteY197" fmla="*/ 4423 h 10000"/>
              <a:gd name="connsiteX198" fmla="*/ 2010 w 10000"/>
              <a:gd name="connsiteY198" fmla="*/ 4566 h 10000"/>
              <a:gd name="connsiteX199" fmla="*/ 1815 w 10000"/>
              <a:gd name="connsiteY199" fmla="*/ 4652 h 10000"/>
              <a:gd name="connsiteX200" fmla="*/ 1557 w 10000"/>
              <a:gd name="connsiteY200" fmla="*/ 4687 h 10000"/>
              <a:gd name="connsiteX201" fmla="*/ 1490 w 10000"/>
              <a:gd name="connsiteY201" fmla="*/ 4737 h 10000"/>
              <a:gd name="connsiteX202" fmla="*/ 1640 w 10000"/>
              <a:gd name="connsiteY202" fmla="*/ 4855 h 10000"/>
              <a:gd name="connsiteX203" fmla="*/ 1726 w 10000"/>
              <a:gd name="connsiteY203" fmla="*/ 5136 h 10000"/>
              <a:gd name="connsiteX204" fmla="*/ 1531 w 10000"/>
              <a:gd name="connsiteY204" fmla="*/ 5376 h 10000"/>
              <a:gd name="connsiteX205" fmla="*/ 1599 w 10000"/>
              <a:gd name="connsiteY205" fmla="*/ 5451 h 10000"/>
              <a:gd name="connsiteX206" fmla="*/ 1537 w 10000"/>
              <a:gd name="connsiteY206" fmla="*/ 5577 h 10000"/>
              <a:gd name="connsiteX207" fmla="*/ 1412 w 10000"/>
              <a:gd name="connsiteY207" fmla="*/ 5663 h 10000"/>
              <a:gd name="connsiteX208" fmla="*/ 915 w 10000"/>
              <a:gd name="connsiteY208" fmla="*/ 5730 h 10000"/>
              <a:gd name="connsiteX209" fmla="*/ 885 w 10000"/>
              <a:gd name="connsiteY209" fmla="*/ 5846 h 10000"/>
              <a:gd name="connsiteX210" fmla="*/ 617 w 10000"/>
              <a:gd name="connsiteY210" fmla="*/ 6019 h 10000"/>
              <a:gd name="connsiteX211" fmla="*/ 652 w 10000"/>
              <a:gd name="connsiteY211" fmla="*/ 6268 h 10000"/>
              <a:gd name="connsiteX212" fmla="*/ 427 w 10000"/>
              <a:gd name="connsiteY212" fmla="*/ 6587 h 10000"/>
              <a:gd name="connsiteX213" fmla="*/ 274 w 10000"/>
              <a:gd name="connsiteY213" fmla="*/ 6624 h 10000"/>
              <a:gd name="connsiteX214" fmla="*/ 210 w 10000"/>
              <a:gd name="connsiteY214" fmla="*/ 6548 h 10000"/>
              <a:gd name="connsiteX215" fmla="*/ 132 w 10000"/>
              <a:gd name="connsiteY215" fmla="*/ 6663 h 10000"/>
              <a:gd name="connsiteX216" fmla="*/ 183 w 10000"/>
              <a:gd name="connsiteY216" fmla="*/ 6465 h 10000"/>
              <a:gd name="connsiteX217" fmla="*/ 151 w 10000"/>
              <a:gd name="connsiteY21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8864 w 10000"/>
              <a:gd name="connsiteY159" fmla="*/ 2396 h 10000"/>
              <a:gd name="connsiteX160" fmla="*/ 9310 w 10000"/>
              <a:gd name="connsiteY160" fmla="*/ 2263 h 10000"/>
              <a:gd name="connsiteX161" fmla="*/ 9417 w 10000"/>
              <a:gd name="connsiteY161" fmla="*/ 2235 h 10000"/>
              <a:gd name="connsiteX162" fmla="*/ 10000 w 10000"/>
              <a:gd name="connsiteY162" fmla="*/ 1832 h 10000"/>
              <a:gd name="connsiteX163" fmla="*/ 9652 w 10000"/>
              <a:gd name="connsiteY163" fmla="*/ 1699 h 10000"/>
              <a:gd name="connsiteX164" fmla="*/ 9147 w 10000"/>
              <a:gd name="connsiteY164" fmla="*/ 1773 h 10000"/>
              <a:gd name="connsiteX165" fmla="*/ 8784 w 10000"/>
              <a:gd name="connsiteY165" fmla="*/ 1639 h 10000"/>
              <a:gd name="connsiteX166" fmla="*/ 8850 w 10000"/>
              <a:gd name="connsiteY166" fmla="*/ 1480 h 10000"/>
              <a:gd name="connsiteX167" fmla="*/ 7497 w 10000"/>
              <a:gd name="connsiteY167" fmla="*/ 923 h 10000"/>
              <a:gd name="connsiteX168" fmla="*/ 7522 w 10000"/>
              <a:gd name="connsiteY168" fmla="*/ 649 h 10000"/>
              <a:gd name="connsiteX169" fmla="*/ 7012 w 10000"/>
              <a:gd name="connsiteY169" fmla="*/ 590 h 10000"/>
              <a:gd name="connsiteX170" fmla="*/ 6413 w 10000"/>
              <a:gd name="connsiteY170" fmla="*/ 332 h 10000"/>
              <a:gd name="connsiteX171" fmla="*/ 5098 w 10000"/>
              <a:gd name="connsiteY171" fmla="*/ 0 h 10000"/>
              <a:gd name="connsiteX172" fmla="*/ 4837 w 10000"/>
              <a:gd name="connsiteY172" fmla="*/ 82 h 10000"/>
              <a:gd name="connsiteX173" fmla="*/ 4671 w 10000"/>
              <a:gd name="connsiteY173" fmla="*/ 78 h 10000"/>
              <a:gd name="connsiteX174" fmla="*/ 4571 w 10000"/>
              <a:gd name="connsiteY174" fmla="*/ 107 h 10000"/>
              <a:gd name="connsiteX175" fmla="*/ 4298 w 10000"/>
              <a:gd name="connsiteY175" fmla="*/ 913 h 10000"/>
              <a:gd name="connsiteX176" fmla="*/ 3668 w 10000"/>
              <a:gd name="connsiteY176" fmla="*/ 1383 h 10000"/>
              <a:gd name="connsiteX177" fmla="*/ 3672 w 10000"/>
              <a:gd name="connsiteY177" fmla="*/ 1457 h 10000"/>
              <a:gd name="connsiteX178" fmla="*/ 3952 w 10000"/>
              <a:gd name="connsiteY178" fmla="*/ 1668 h 10000"/>
              <a:gd name="connsiteX179" fmla="*/ 3861 w 10000"/>
              <a:gd name="connsiteY179" fmla="*/ 1896 h 10000"/>
              <a:gd name="connsiteX180" fmla="*/ 3698 w 10000"/>
              <a:gd name="connsiteY180" fmla="*/ 1979 h 10000"/>
              <a:gd name="connsiteX181" fmla="*/ 3208 w 10000"/>
              <a:gd name="connsiteY181" fmla="*/ 1924 h 10000"/>
              <a:gd name="connsiteX182" fmla="*/ 2871 w 10000"/>
              <a:gd name="connsiteY182" fmla="*/ 1955 h 10000"/>
              <a:gd name="connsiteX183" fmla="*/ 2601 w 10000"/>
              <a:gd name="connsiteY183" fmla="*/ 2023 h 10000"/>
              <a:gd name="connsiteX184" fmla="*/ 2163 w 10000"/>
              <a:gd name="connsiteY184" fmla="*/ 2233 h 10000"/>
              <a:gd name="connsiteX185" fmla="*/ 1931 w 10000"/>
              <a:gd name="connsiteY185" fmla="*/ 2487 h 10000"/>
              <a:gd name="connsiteX186" fmla="*/ 1951 w 10000"/>
              <a:gd name="connsiteY186" fmla="*/ 2629 h 10000"/>
              <a:gd name="connsiteX187" fmla="*/ 2032 w 10000"/>
              <a:gd name="connsiteY187" fmla="*/ 2738 h 10000"/>
              <a:gd name="connsiteX188" fmla="*/ 2093 w 10000"/>
              <a:gd name="connsiteY188" fmla="*/ 2782 h 10000"/>
              <a:gd name="connsiteX189" fmla="*/ 1979 w 10000"/>
              <a:gd name="connsiteY189" fmla="*/ 2852 h 10000"/>
              <a:gd name="connsiteX190" fmla="*/ 1731 w 10000"/>
              <a:gd name="connsiteY190" fmla="*/ 3330 h 10000"/>
              <a:gd name="connsiteX191" fmla="*/ 1779 w 10000"/>
              <a:gd name="connsiteY191" fmla="*/ 3358 h 10000"/>
              <a:gd name="connsiteX192" fmla="*/ 1815 w 10000"/>
              <a:gd name="connsiteY192" fmla="*/ 3479 h 10000"/>
              <a:gd name="connsiteX193" fmla="*/ 1700 w 10000"/>
              <a:gd name="connsiteY193" fmla="*/ 3982 h 10000"/>
              <a:gd name="connsiteX194" fmla="*/ 1815 w 10000"/>
              <a:gd name="connsiteY194" fmla="*/ 4110 h 10000"/>
              <a:gd name="connsiteX195" fmla="*/ 2131 w 10000"/>
              <a:gd name="connsiteY195" fmla="*/ 4251 h 10000"/>
              <a:gd name="connsiteX196" fmla="*/ 2145 w 10000"/>
              <a:gd name="connsiteY196" fmla="*/ 4423 h 10000"/>
              <a:gd name="connsiteX197" fmla="*/ 2010 w 10000"/>
              <a:gd name="connsiteY197" fmla="*/ 4566 h 10000"/>
              <a:gd name="connsiteX198" fmla="*/ 1815 w 10000"/>
              <a:gd name="connsiteY198" fmla="*/ 4652 h 10000"/>
              <a:gd name="connsiteX199" fmla="*/ 1557 w 10000"/>
              <a:gd name="connsiteY199" fmla="*/ 4687 h 10000"/>
              <a:gd name="connsiteX200" fmla="*/ 1490 w 10000"/>
              <a:gd name="connsiteY200" fmla="*/ 4737 h 10000"/>
              <a:gd name="connsiteX201" fmla="*/ 1640 w 10000"/>
              <a:gd name="connsiteY201" fmla="*/ 4855 h 10000"/>
              <a:gd name="connsiteX202" fmla="*/ 1726 w 10000"/>
              <a:gd name="connsiteY202" fmla="*/ 5136 h 10000"/>
              <a:gd name="connsiteX203" fmla="*/ 1531 w 10000"/>
              <a:gd name="connsiteY203" fmla="*/ 5376 h 10000"/>
              <a:gd name="connsiteX204" fmla="*/ 1599 w 10000"/>
              <a:gd name="connsiteY204" fmla="*/ 5451 h 10000"/>
              <a:gd name="connsiteX205" fmla="*/ 1537 w 10000"/>
              <a:gd name="connsiteY205" fmla="*/ 5577 h 10000"/>
              <a:gd name="connsiteX206" fmla="*/ 1412 w 10000"/>
              <a:gd name="connsiteY206" fmla="*/ 5663 h 10000"/>
              <a:gd name="connsiteX207" fmla="*/ 915 w 10000"/>
              <a:gd name="connsiteY207" fmla="*/ 5730 h 10000"/>
              <a:gd name="connsiteX208" fmla="*/ 885 w 10000"/>
              <a:gd name="connsiteY208" fmla="*/ 5846 h 10000"/>
              <a:gd name="connsiteX209" fmla="*/ 617 w 10000"/>
              <a:gd name="connsiteY209" fmla="*/ 6019 h 10000"/>
              <a:gd name="connsiteX210" fmla="*/ 652 w 10000"/>
              <a:gd name="connsiteY210" fmla="*/ 6268 h 10000"/>
              <a:gd name="connsiteX211" fmla="*/ 427 w 10000"/>
              <a:gd name="connsiteY211" fmla="*/ 6587 h 10000"/>
              <a:gd name="connsiteX212" fmla="*/ 274 w 10000"/>
              <a:gd name="connsiteY212" fmla="*/ 6624 h 10000"/>
              <a:gd name="connsiteX213" fmla="*/ 210 w 10000"/>
              <a:gd name="connsiteY213" fmla="*/ 6548 h 10000"/>
              <a:gd name="connsiteX214" fmla="*/ 132 w 10000"/>
              <a:gd name="connsiteY214" fmla="*/ 6663 h 10000"/>
              <a:gd name="connsiteX215" fmla="*/ 183 w 10000"/>
              <a:gd name="connsiteY215" fmla="*/ 6465 h 10000"/>
              <a:gd name="connsiteX216" fmla="*/ 151 w 10000"/>
              <a:gd name="connsiteY21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7625 w 10000"/>
              <a:gd name="connsiteY159" fmla="*/ 2904 h 10000"/>
              <a:gd name="connsiteX160" fmla="*/ 8864 w 10000"/>
              <a:gd name="connsiteY160" fmla="*/ 2396 h 10000"/>
              <a:gd name="connsiteX161" fmla="*/ 9310 w 10000"/>
              <a:gd name="connsiteY161" fmla="*/ 2263 h 10000"/>
              <a:gd name="connsiteX162" fmla="*/ 9417 w 10000"/>
              <a:gd name="connsiteY162" fmla="*/ 2235 h 10000"/>
              <a:gd name="connsiteX163" fmla="*/ 10000 w 10000"/>
              <a:gd name="connsiteY163" fmla="*/ 1832 h 10000"/>
              <a:gd name="connsiteX164" fmla="*/ 9652 w 10000"/>
              <a:gd name="connsiteY164" fmla="*/ 1699 h 10000"/>
              <a:gd name="connsiteX165" fmla="*/ 9147 w 10000"/>
              <a:gd name="connsiteY165" fmla="*/ 1773 h 10000"/>
              <a:gd name="connsiteX166" fmla="*/ 8784 w 10000"/>
              <a:gd name="connsiteY166" fmla="*/ 1639 h 10000"/>
              <a:gd name="connsiteX167" fmla="*/ 8850 w 10000"/>
              <a:gd name="connsiteY167" fmla="*/ 1480 h 10000"/>
              <a:gd name="connsiteX168" fmla="*/ 7497 w 10000"/>
              <a:gd name="connsiteY168" fmla="*/ 923 h 10000"/>
              <a:gd name="connsiteX169" fmla="*/ 7522 w 10000"/>
              <a:gd name="connsiteY169" fmla="*/ 649 h 10000"/>
              <a:gd name="connsiteX170" fmla="*/ 7012 w 10000"/>
              <a:gd name="connsiteY170" fmla="*/ 590 h 10000"/>
              <a:gd name="connsiteX171" fmla="*/ 6413 w 10000"/>
              <a:gd name="connsiteY171" fmla="*/ 332 h 10000"/>
              <a:gd name="connsiteX172" fmla="*/ 5098 w 10000"/>
              <a:gd name="connsiteY172" fmla="*/ 0 h 10000"/>
              <a:gd name="connsiteX173" fmla="*/ 4837 w 10000"/>
              <a:gd name="connsiteY173" fmla="*/ 82 h 10000"/>
              <a:gd name="connsiteX174" fmla="*/ 4671 w 10000"/>
              <a:gd name="connsiteY174" fmla="*/ 78 h 10000"/>
              <a:gd name="connsiteX175" fmla="*/ 4571 w 10000"/>
              <a:gd name="connsiteY175" fmla="*/ 107 h 10000"/>
              <a:gd name="connsiteX176" fmla="*/ 4298 w 10000"/>
              <a:gd name="connsiteY176" fmla="*/ 913 h 10000"/>
              <a:gd name="connsiteX177" fmla="*/ 3668 w 10000"/>
              <a:gd name="connsiteY177" fmla="*/ 1383 h 10000"/>
              <a:gd name="connsiteX178" fmla="*/ 3672 w 10000"/>
              <a:gd name="connsiteY178" fmla="*/ 1457 h 10000"/>
              <a:gd name="connsiteX179" fmla="*/ 3952 w 10000"/>
              <a:gd name="connsiteY179" fmla="*/ 1668 h 10000"/>
              <a:gd name="connsiteX180" fmla="*/ 3861 w 10000"/>
              <a:gd name="connsiteY180" fmla="*/ 1896 h 10000"/>
              <a:gd name="connsiteX181" fmla="*/ 3698 w 10000"/>
              <a:gd name="connsiteY181" fmla="*/ 1979 h 10000"/>
              <a:gd name="connsiteX182" fmla="*/ 3208 w 10000"/>
              <a:gd name="connsiteY182" fmla="*/ 1924 h 10000"/>
              <a:gd name="connsiteX183" fmla="*/ 2871 w 10000"/>
              <a:gd name="connsiteY183" fmla="*/ 1955 h 10000"/>
              <a:gd name="connsiteX184" fmla="*/ 2601 w 10000"/>
              <a:gd name="connsiteY184" fmla="*/ 2023 h 10000"/>
              <a:gd name="connsiteX185" fmla="*/ 2163 w 10000"/>
              <a:gd name="connsiteY185" fmla="*/ 2233 h 10000"/>
              <a:gd name="connsiteX186" fmla="*/ 1931 w 10000"/>
              <a:gd name="connsiteY186" fmla="*/ 2487 h 10000"/>
              <a:gd name="connsiteX187" fmla="*/ 1951 w 10000"/>
              <a:gd name="connsiteY187" fmla="*/ 2629 h 10000"/>
              <a:gd name="connsiteX188" fmla="*/ 2032 w 10000"/>
              <a:gd name="connsiteY188" fmla="*/ 2738 h 10000"/>
              <a:gd name="connsiteX189" fmla="*/ 2093 w 10000"/>
              <a:gd name="connsiteY189" fmla="*/ 2782 h 10000"/>
              <a:gd name="connsiteX190" fmla="*/ 1979 w 10000"/>
              <a:gd name="connsiteY190" fmla="*/ 2852 h 10000"/>
              <a:gd name="connsiteX191" fmla="*/ 1731 w 10000"/>
              <a:gd name="connsiteY191" fmla="*/ 3330 h 10000"/>
              <a:gd name="connsiteX192" fmla="*/ 1779 w 10000"/>
              <a:gd name="connsiteY192" fmla="*/ 3358 h 10000"/>
              <a:gd name="connsiteX193" fmla="*/ 1815 w 10000"/>
              <a:gd name="connsiteY193" fmla="*/ 3479 h 10000"/>
              <a:gd name="connsiteX194" fmla="*/ 1700 w 10000"/>
              <a:gd name="connsiteY194" fmla="*/ 3982 h 10000"/>
              <a:gd name="connsiteX195" fmla="*/ 1815 w 10000"/>
              <a:gd name="connsiteY195" fmla="*/ 4110 h 10000"/>
              <a:gd name="connsiteX196" fmla="*/ 2131 w 10000"/>
              <a:gd name="connsiteY196" fmla="*/ 4251 h 10000"/>
              <a:gd name="connsiteX197" fmla="*/ 2145 w 10000"/>
              <a:gd name="connsiteY197" fmla="*/ 4423 h 10000"/>
              <a:gd name="connsiteX198" fmla="*/ 2010 w 10000"/>
              <a:gd name="connsiteY198" fmla="*/ 4566 h 10000"/>
              <a:gd name="connsiteX199" fmla="*/ 1815 w 10000"/>
              <a:gd name="connsiteY199" fmla="*/ 4652 h 10000"/>
              <a:gd name="connsiteX200" fmla="*/ 1557 w 10000"/>
              <a:gd name="connsiteY200" fmla="*/ 4687 h 10000"/>
              <a:gd name="connsiteX201" fmla="*/ 1490 w 10000"/>
              <a:gd name="connsiteY201" fmla="*/ 4737 h 10000"/>
              <a:gd name="connsiteX202" fmla="*/ 1640 w 10000"/>
              <a:gd name="connsiteY202" fmla="*/ 4855 h 10000"/>
              <a:gd name="connsiteX203" fmla="*/ 1726 w 10000"/>
              <a:gd name="connsiteY203" fmla="*/ 5136 h 10000"/>
              <a:gd name="connsiteX204" fmla="*/ 1531 w 10000"/>
              <a:gd name="connsiteY204" fmla="*/ 5376 h 10000"/>
              <a:gd name="connsiteX205" fmla="*/ 1599 w 10000"/>
              <a:gd name="connsiteY205" fmla="*/ 5451 h 10000"/>
              <a:gd name="connsiteX206" fmla="*/ 1537 w 10000"/>
              <a:gd name="connsiteY206" fmla="*/ 5577 h 10000"/>
              <a:gd name="connsiteX207" fmla="*/ 1412 w 10000"/>
              <a:gd name="connsiteY207" fmla="*/ 5663 h 10000"/>
              <a:gd name="connsiteX208" fmla="*/ 915 w 10000"/>
              <a:gd name="connsiteY208" fmla="*/ 5730 h 10000"/>
              <a:gd name="connsiteX209" fmla="*/ 885 w 10000"/>
              <a:gd name="connsiteY209" fmla="*/ 5846 h 10000"/>
              <a:gd name="connsiteX210" fmla="*/ 617 w 10000"/>
              <a:gd name="connsiteY210" fmla="*/ 6019 h 10000"/>
              <a:gd name="connsiteX211" fmla="*/ 652 w 10000"/>
              <a:gd name="connsiteY211" fmla="*/ 6268 h 10000"/>
              <a:gd name="connsiteX212" fmla="*/ 427 w 10000"/>
              <a:gd name="connsiteY212" fmla="*/ 6587 h 10000"/>
              <a:gd name="connsiteX213" fmla="*/ 274 w 10000"/>
              <a:gd name="connsiteY213" fmla="*/ 6624 h 10000"/>
              <a:gd name="connsiteX214" fmla="*/ 210 w 10000"/>
              <a:gd name="connsiteY214" fmla="*/ 6548 h 10000"/>
              <a:gd name="connsiteX215" fmla="*/ 132 w 10000"/>
              <a:gd name="connsiteY215" fmla="*/ 6663 h 10000"/>
              <a:gd name="connsiteX216" fmla="*/ 183 w 10000"/>
              <a:gd name="connsiteY216" fmla="*/ 6465 h 10000"/>
              <a:gd name="connsiteX217" fmla="*/ 151 w 10000"/>
              <a:gd name="connsiteY21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625 w 10000"/>
              <a:gd name="connsiteY158" fmla="*/ 2904 h 10000"/>
              <a:gd name="connsiteX159" fmla="*/ 8864 w 10000"/>
              <a:gd name="connsiteY159" fmla="*/ 2396 h 10000"/>
              <a:gd name="connsiteX160" fmla="*/ 9310 w 10000"/>
              <a:gd name="connsiteY160" fmla="*/ 2263 h 10000"/>
              <a:gd name="connsiteX161" fmla="*/ 9417 w 10000"/>
              <a:gd name="connsiteY161" fmla="*/ 2235 h 10000"/>
              <a:gd name="connsiteX162" fmla="*/ 10000 w 10000"/>
              <a:gd name="connsiteY162" fmla="*/ 1832 h 10000"/>
              <a:gd name="connsiteX163" fmla="*/ 9652 w 10000"/>
              <a:gd name="connsiteY163" fmla="*/ 1699 h 10000"/>
              <a:gd name="connsiteX164" fmla="*/ 9147 w 10000"/>
              <a:gd name="connsiteY164" fmla="*/ 1773 h 10000"/>
              <a:gd name="connsiteX165" fmla="*/ 8784 w 10000"/>
              <a:gd name="connsiteY165" fmla="*/ 1639 h 10000"/>
              <a:gd name="connsiteX166" fmla="*/ 8850 w 10000"/>
              <a:gd name="connsiteY166" fmla="*/ 1480 h 10000"/>
              <a:gd name="connsiteX167" fmla="*/ 7497 w 10000"/>
              <a:gd name="connsiteY167" fmla="*/ 923 h 10000"/>
              <a:gd name="connsiteX168" fmla="*/ 7522 w 10000"/>
              <a:gd name="connsiteY168" fmla="*/ 649 h 10000"/>
              <a:gd name="connsiteX169" fmla="*/ 7012 w 10000"/>
              <a:gd name="connsiteY169" fmla="*/ 590 h 10000"/>
              <a:gd name="connsiteX170" fmla="*/ 6413 w 10000"/>
              <a:gd name="connsiteY170" fmla="*/ 332 h 10000"/>
              <a:gd name="connsiteX171" fmla="*/ 5098 w 10000"/>
              <a:gd name="connsiteY171" fmla="*/ 0 h 10000"/>
              <a:gd name="connsiteX172" fmla="*/ 4837 w 10000"/>
              <a:gd name="connsiteY172" fmla="*/ 82 h 10000"/>
              <a:gd name="connsiteX173" fmla="*/ 4671 w 10000"/>
              <a:gd name="connsiteY173" fmla="*/ 78 h 10000"/>
              <a:gd name="connsiteX174" fmla="*/ 4571 w 10000"/>
              <a:gd name="connsiteY174" fmla="*/ 107 h 10000"/>
              <a:gd name="connsiteX175" fmla="*/ 4298 w 10000"/>
              <a:gd name="connsiteY175" fmla="*/ 913 h 10000"/>
              <a:gd name="connsiteX176" fmla="*/ 3668 w 10000"/>
              <a:gd name="connsiteY176" fmla="*/ 1383 h 10000"/>
              <a:gd name="connsiteX177" fmla="*/ 3672 w 10000"/>
              <a:gd name="connsiteY177" fmla="*/ 1457 h 10000"/>
              <a:gd name="connsiteX178" fmla="*/ 3952 w 10000"/>
              <a:gd name="connsiteY178" fmla="*/ 1668 h 10000"/>
              <a:gd name="connsiteX179" fmla="*/ 3861 w 10000"/>
              <a:gd name="connsiteY179" fmla="*/ 1896 h 10000"/>
              <a:gd name="connsiteX180" fmla="*/ 3698 w 10000"/>
              <a:gd name="connsiteY180" fmla="*/ 1979 h 10000"/>
              <a:gd name="connsiteX181" fmla="*/ 3208 w 10000"/>
              <a:gd name="connsiteY181" fmla="*/ 1924 h 10000"/>
              <a:gd name="connsiteX182" fmla="*/ 2871 w 10000"/>
              <a:gd name="connsiteY182" fmla="*/ 1955 h 10000"/>
              <a:gd name="connsiteX183" fmla="*/ 2601 w 10000"/>
              <a:gd name="connsiteY183" fmla="*/ 2023 h 10000"/>
              <a:gd name="connsiteX184" fmla="*/ 2163 w 10000"/>
              <a:gd name="connsiteY184" fmla="*/ 2233 h 10000"/>
              <a:gd name="connsiteX185" fmla="*/ 1931 w 10000"/>
              <a:gd name="connsiteY185" fmla="*/ 2487 h 10000"/>
              <a:gd name="connsiteX186" fmla="*/ 1951 w 10000"/>
              <a:gd name="connsiteY186" fmla="*/ 2629 h 10000"/>
              <a:gd name="connsiteX187" fmla="*/ 2032 w 10000"/>
              <a:gd name="connsiteY187" fmla="*/ 2738 h 10000"/>
              <a:gd name="connsiteX188" fmla="*/ 2093 w 10000"/>
              <a:gd name="connsiteY188" fmla="*/ 2782 h 10000"/>
              <a:gd name="connsiteX189" fmla="*/ 1979 w 10000"/>
              <a:gd name="connsiteY189" fmla="*/ 2852 h 10000"/>
              <a:gd name="connsiteX190" fmla="*/ 1731 w 10000"/>
              <a:gd name="connsiteY190" fmla="*/ 3330 h 10000"/>
              <a:gd name="connsiteX191" fmla="*/ 1779 w 10000"/>
              <a:gd name="connsiteY191" fmla="*/ 3358 h 10000"/>
              <a:gd name="connsiteX192" fmla="*/ 1815 w 10000"/>
              <a:gd name="connsiteY192" fmla="*/ 3479 h 10000"/>
              <a:gd name="connsiteX193" fmla="*/ 1700 w 10000"/>
              <a:gd name="connsiteY193" fmla="*/ 3982 h 10000"/>
              <a:gd name="connsiteX194" fmla="*/ 1815 w 10000"/>
              <a:gd name="connsiteY194" fmla="*/ 4110 h 10000"/>
              <a:gd name="connsiteX195" fmla="*/ 2131 w 10000"/>
              <a:gd name="connsiteY195" fmla="*/ 4251 h 10000"/>
              <a:gd name="connsiteX196" fmla="*/ 2145 w 10000"/>
              <a:gd name="connsiteY196" fmla="*/ 4423 h 10000"/>
              <a:gd name="connsiteX197" fmla="*/ 2010 w 10000"/>
              <a:gd name="connsiteY197" fmla="*/ 4566 h 10000"/>
              <a:gd name="connsiteX198" fmla="*/ 1815 w 10000"/>
              <a:gd name="connsiteY198" fmla="*/ 4652 h 10000"/>
              <a:gd name="connsiteX199" fmla="*/ 1557 w 10000"/>
              <a:gd name="connsiteY199" fmla="*/ 4687 h 10000"/>
              <a:gd name="connsiteX200" fmla="*/ 1490 w 10000"/>
              <a:gd name="connsiteY200" fmla="*/ 4737 h 10000"/>
              <a:gd name="connsiteX201" fmla="*/ 1640 w 10000"/>
              <a:gd name="connsiteY201" fmla="*/ 4855 h 10000"/>
              <a:gd name="connsiteX202" fmla="*/ 1726 w 10000"/>
              <a:gd name="connsiteY202" fmla="*/ 5136 h 10000"/>
              <a:gd name="connsiteX203" fmla="*/ 1531 w 10000"/>
              <a:gd name="connsiteY203" fmla="*/ 5376 h 10000"/>
              <a:gd name="connsiteX204" fmla="*/ 1599 w 10000"/>
              <a:gd name="connsiteY204" fmla="*/ 5451 h 10000"/>
              <a:gd name="connsiteX205" fmla="*/ 1537 w 10000"/>
              <a:gd name="connsiteY205" fmla="*/ 5577 h 10000"/>
              <a:gd name="connsiteX206" fmla="*/ 1412 w 10000"/>
              <a:gd name="connsiteY206" fmla="*/ 5663 h 10000"/>
              <a:gd name="connsiteX207" fmla="*/ 915 w 10000"/>
              <a:gd name="connsiteY207" fmla="*/ 5730 h 10000"/>
              <a:gd name="connsiteX208" fmla="*/ 885 w 10000"/>
              <a:gd name="connsiteY208" fmla="*/ 5846 h 10000"/>
              <a:gd name="connsiteX209" fmla="*/ 617 w 10000"/>
              <a:gd name="connsiteY209" fmla="*/ 6019 h 10000"/>
              <a:gd name="connsiteX210" fmla="*/ 652 w 10000"/>
              <a:gd name="connsiteY210" fmla="*/ 6268 h 10000"/>
              <a:gd name="connsiteX211" fmla="*/ 427 w 10000"/>
              <a:gd name="connsiteY211" fmla="*/ 6587 h 10000"/>
              <a:gd name="connsiteX212" fmla="*/ 274 w 10000"/>
              <a:gd name="connsiteY212" fmla="*/ 6624 h 10000"/>
              <a:gd name="connsiteX213" fmla="*/ 210 w 10000"/>
              <a:gd name="connsiteY213" fmla="*/ 6548 h 10000"/>
              <a:gd name="connsiteX214" fmla="*/ 132 w 10000"/>
              <a:gd name="connsiteY214" fmla="*/ 6663 h 10000"/>
              <a:gd name="connsiteX215" fmla="*/ 183 w 10000"/>
              <a:gd name="connsiteY215" fmla="*/ 6465 h 10000"/>
              <a:gd name="connsiteX216" fmla="*/ 151 w 10000"/>
              <a:gd name="connsiteY21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8864 w 10000"/>
              <a:gd name="connsiteY158" fmla="*/ 2396 h 10000"/>
              <a:gd name="connsiteX159" fmla="*/ 9310 w 10000"/>
              <a:gd name="connsiteY159" fmla="*/ 2263 h 10000"/>
              <a:gd name="connsiteX160" fmla="*/ 9417 w 10000"/>
              <a:gd name="connsiteY160" fmla="*/ 2235 h 10000"/>
              <a:gd name="connsiteX161" fmla="*/ 10000 w 10000"/>
              <a:gd name="connsiteY161" fmla="*/ 1832 h 10000"/>
              <a:gd name="connsiteX162" fmla="*/ 9652 w 10000"/>
              <a:gd name="connsiteY162" fmla="*/ 1699 h 10000"/>
              <a:gd name="connsiteX163" fmla="*/ 9147 w 10000"/>
              <a:gd name="connsiteY163" fmla="*/ 1773 h 10000"/>
              <a:gd name="connsiteX164" fmla="*/ 8784 w 10000"/>
              <a:gd name="connsiteY164" fmla="*/ 1639 h 10000"/>
              <a:gd name="connsiteX165" fmla="*/ 8850 w 10000"/>
              <a:gd name="connsiteY165" fmla="*/ 1480 h 10000"/>
              <a:gd name="connsiteX166" fmla="*/ 7497 w 10000"/>
              <a:gd name="connsiteY166" fmla="*/ 923 h 10000"/>
              <a:gd name="connsiteX167" fmla="*/ 7522 w 10000"/>
              <a:gd name="connsiteY167" fmla="*/ 649 h 10000"/>
              <a:gd name="connsiteX168" fmla="*/ 7012 w 10000"/>
              <a:gd name="connsiteY168" fmla="*/ 590 h 10000"/>
              <a:gd name="connsiteX169" fmla="*/ 6413 w 10000"/>
              <a:gd name="connsiteY169" fmla="*/ 332 h 10000"/>
              <a:gd name="connsiteX170" fmla="*/ 5098 w 10000"/>
              <a:gd name="connsiteY170" fmla="*/ 0 h 10000"/>
              <a:gd name="connsiteX171" fmla="*/ 4837 w 10000"/>
              <a:gd name="connsiteY171" fmla="*/ 82 h 10000"/>
              <a:gd name="connsiteX172" fmla="*/ 4671 w 10000"/>
              <a:gd name="connsiteY172" fmla="*/ 78 h 10000"/>
              <a:gd name="connsiteX173" fmla="*/ 4571 w 10000"/>
              <a:gd name="connsiteY173" fmla="*/ 107 h 10000"/>
              <a:gd name="connsiteX174" fmla="*/ 4298 w 10000"/>
              <a:gd name="connsiteY174" fmla="*/ 913 h 10000"/>
              <a:gd name="connsiteX175" fmla="*/ 3668 w 10000"/>
              <a:gd name="connsiteY175" fmla="*/ 1383 h 10000"/>
              <a:gd name="connsiteX176" fmla="*/ 3672 w 10000"/>
              <a:gd name="connsiteY176" fmla="*/ 1457 h 10000"/>
              <a:gd name="connsiteX177" fmla="*/ 3952 w 10000"/>
              <a:gd name="connsiteY177" fmla="*/ 1668 h 10000"/>
              <a:gd name="connsiteX178" fmla="*/ 3861 w 10000"/>
              <a:gd name="connsiteY178" fmla="*/ 1896 h 10000"/>
              <a:gd name="connsiteX179" fmla="*/ 3698 w 10000"/>
              <a:gd name="connsiteY179" fmla="*/ 1979 h 10000"/>
              <a:gd name="connsiteX180" fmla="*/ 3208 w 10000"/>
              <a:gd name="connsiteY180" fmla="*/ 1924 h 10000"/>
              <a:gd name="connsiteX181" fmla="*/ 2871 w 10000"/>
              <a:gd name="connsiteY181" fmla="*/ 1955 h 10000"/>
              <a:gd name="connsiteX182" fmla="*/ 2601 w 10000"/>
              <a:gd name="connsiteY182" fmla="*/ 2023 h 10000"/>
              <a:gd name="connsiteX183" fmla="*/ 2163 w 10000"/>
              <a:gd name="connsiteY183" fmla="*/ 2233 h 10000"/>
              <a:gd name="connsiteX184" fmla="*/ 1931 w 10000"/>
              <a:gd name="connsiteY184" fmla="*/ 2487 h 10000"/>
              <a:gd name="connsiteX185" fmla="*/ 1951 w 10000"/>
              <a:gd name="connsiteY185" fmla="*/ 2629 h 10000"/>
              <a:gd name="connsiteX186" fmla="*/ 2032 w 10000"/>
              <a:gd name="connsiteY186" fmla="*/ 2738 h 10000"/>
              <a:gd name="connsiteX187" fmla="*/ 2093 w 10000"/>
              <a:gd name="connsiteY187" fmla="*/ 2782 h 10000"/>
              <a:gd name="connsiteX188" fmla="*/ 1979 w 10000"/>
              <a:gd name="connsiteY188" fmla="*/ 2852 h 10000"/>
              <a:gd name="connsiteX189" fmla="*/ 1731 w 10000"/>
              <a:gd name="connsiteY189" fmla="*/ 3330 h 10000"/>
              <a:gd name="connsiteX190" fmla="*/ 1779 w 10000"/>
              <a:gd name="connsiteY190" fmla="*/ 3358 h 10000"/>
              <a:gd name="connsiteX191" fmla="*/ 1815 w 10000"/>
              <a:gd name="connsiteY191" fmla="*/ 3479 h 10000"/>
              <a:gd name="connsiteX192" fmla="*/ 1700 w 10000"/>
              <a:gd name="connsiteY192" fmla="*/ 3982 h 10000"/>
              <a:gd name="connsiteX193" fmla="*/ 1815 w 10000"/>
              <a:gd name="connsiteY193" fmla="*/ 4110 h 10000"/>
              <a:gd name="connsiteX194" fmla="*/ 2131 w 10000"/>
              <a:gd name="connsiteY194" fmla="*/ 4251 h 10000"/>
              <a:gd name="connsiteX195" fmla="*/ 2145 w 10000"/>
              <a:gd name="connsiteY195" fmla="*/ 4423 h 10000"/>
              <a:gd name="connsiteX196" fmla="*/ 2010 w 10000"/>
              <a:gd name="connsiteY196" fmla="*/ 4566 h 10000"/>
              <a:gd name="connsiteX197" fmla="*/ 1815 w 10000"/>
              <a:gd name="connsiteY197" fmla="*/ 4652 h 10000"/>
              <a:gd name="connsiteX198" fmla="*/ 1557 w 10000"/>
              <a:gd name="connsiteY198" fmla="*/ 4687 h 10000"/>
              <a:gd name="connsiteX199" fmla="*/ 1490 w 10000"/>
              <a:gd name="connsiteY199" fmla="*/ 4737 h 10000"/>
              <a:gd name="connsiteX200" fmla="*/ 1640 w 10000"/>
              <a:gd name="connsiteY200" fmla="*/ 4855 h 10000"/>
              <a:gd name="connsiteX201" fmla="*/ 1726 w 10000"/>
              <a:gd name="connsiteY201" fmla="*/ 5136 h 10000"/>
              <a:gd name="connsiteX202" fmla="*/ 1531 w 10000"/>
              <a:gd name="connsiteY202" fmla="*/ 5376 h 10000"/>
              <a:gd name="connsiteX203" fmla="*/ 1599 w 10000"/>
              <a:gd name="connsiteY203" fmla="*/ 5451 h 10000"/>
              <a:gd name="connsiteX204" fmla="*/ 1537 w 10000"/>
              <a:gd name="connsiteY204" fmla="*/ 5577 h 10000"/>
              <a:gd name="connsiteX205" fmla="*/ 1412 w 10000"/>
              <a:gd name="connsiteY205" fmla="*/ 5663 h 10000"/>
              <a:gd name="connsiteX206" fmla="*/ 915 w 10000"/>
              <a:gd name="connsiteY206" fmla="*/ 5730 h 10000"/>
              <a:gd name="connsiteX207" fmla="*/ 885 w 10000"/>
              <a:gd name="connsiteY207" fmla="*/ 5846 h 10000"/>
              <a:gd name="connsiteX208" fmla="*/ 617 w 10000"/>
              <a:gd name="connsiteY208" fmla="*/ 6019 h 10000"/>
              <a:gd name="connsiteX209" fmla="*/ 652 w 10000"/>
              <a:gd name="connsiteY209" fmla="*/ 6268 h 10000"/>
              <a:gd name="connsiteX210" fmla="*/ 427 w 10000"/>
              <a:gd name="connsiteY210" fmla="*/ 6587 h 10000"/>
              <a:gd name="connsiteX211" fmla="*/ 274 w 10000"/>
              <a:gd name="connsiteY211" fmla="*/ 6624 h 10000"/>
              <a:gd name="connsiteX212" fmla="*/ 210 w 10000"/>
              <a:gd name="connsiteY212" fmla="*/ 6548 h 10000"/>
              <a:gd name="connsiteX213" fmla="*/ 132 w 10000"/>
              <a:gd name="connsiteY213" fmla="*/ 6663 h 10000"/>
              <a:gd name="connsiteX214" fmla="*/ 183 w 10000"/>
              <a:gd name="connsiteY214" fmla="*/ 6465 h 10000"/>
              <a:gd name="connsiteX215" fmla="*/ 151 w 10000"/>
              <a:gd name="connsiteY21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9310 w 10000"/>
              <a:gd name="connsiteY158" fmla="*/ 2263 h 10000"/>
              <a:gd name="connsiteX159" fmla="*/ 9417 w 10000"/>
              <a:gd name="connsiteY159" fmla="*/ 2235 h 10000"/>
              <a:gd name="connsiteX160" fmla="*/ 10000 w 10000"/>
              <a:gd name="connsiteY160" fmla="*/ 1832 h 10000"/>
              <a:gd name="connsiteX161" fmla="*/ 9652 w 10000"/>
              <a:gd name="connsiteY161" fmla="*/ 1699 h 10000"/>
              <a:gd name="connsiteX162" fmla="*/ 9147 w 10000"/>
              <a:gd name="connsiteY162" fmla="*/ 1773 h 10000"/>
              <a:gd name="connsiteX163" fmla="*/ 8784 w 10000"/>
              <a:gd name="connsiteY163" fmla="*/ 1639 h 10000"/>
              <a:gd name="connsiteX164" fmla="*/ 8850 w 10000"/>
              <a:gd name="connsiteY164" fmla="*/ 1480 h 10000"/>
              <a:gd name="connsiteX165" fmla="*/ 7497 w 10000"/>
              <a:gd name="connsiteY165" fmla="*/ 923 h 10000"/>
              <a:gd name="connsiteX166" fmla="*/ 7522 w 10000"/>
              <a:gd name="connsiteY166" fmla="*/ 649 h 10000"/>
              <a:gd name="connsiteX167" fmla="*/ 7012 w 10000"/>
              <a:gd name="connsiteY167" fmla="*/ 590 h 10000"/>
              <a:gd name="connsiteX168" fmla="*/ 6413 w 10000"/>
              <a:gd name="connsiteY168" fmla="*/ 332 h 10000"/>
              <a:gd name="connsiteX169" fmla="*/ 5098 w 10000"/>
              <a:gd name="connsiteY169" fmla="*/ 0 h 10000"/>
              <a:gd name="connsiteX170" fmla="*/ 4837 w 10000"/>
              <a:gd name="connsiteY170" fmla="*/ 82 h 10000"/>
              <a:gd name="connsiteX171" fmla="*/ 4671 w 10000"/>
              <a:gd name="connsiteY171" fmla="*/ 78 h 10000"/>
              <a:gd name="connsiteX172" fmla="*/ 4571 w 10000"/>
              <a:gd name="connsiteY172" fmla="*/ 107 h 10000"/>
              <a:gd name="connsiteX173" fmla="*/ 4298 w 10000"/>
              <a:gd name="connsiteY173" fmla="*/ 913 h 10000"/>
              <a:gd name="connsiteX174" fmla="*/ 3668 w 10000"/>
              <a:gd name="connsiteY174" fmla="*/ 1383 h 10000"/>
              <a:gd name="connsiteX175" fmla="*/ 3672 w 10000"/>
              <a:gd name="connsiteY175" fmla="*/ 1457 h 10000"/>
              <a:gd name="connsiteX176" fmla="*/ 3952 w 10000"/>
              <a:gd name="connsiteY176" fmla="*/ 1668 h 10000"/>
              <a:gd name="connsiteX177" fmla="*/ 3861 w 10000"/>
              <a:gd name="connsiteY177" fmla="*/ 1896 h 10000"/>
              <a:gd name="connsiteX178" fmla="*/ 3698 w 10000"/>
              <a:gd name="connsiteY178" fmla="*/ 1979 h 10000"/>
              <a:gd name="connsiteX179" fmla="*/ 3208 w 10000"/>
              <a:gd name="connsiteY179" fmla="*/ 1924 h 10000"/>
              <a:gd name="connsiteX180" fmla="*/ 2871 w 10000"/>
              <a:gd name="connsiteY180" fmla="*/ 1955 h 10000"/>
              <a:gd name="connsiteX181" fmla="*/ 2601 w 10000"/>
              <a:gd name="connsiteY181" fmla="*/ 2023 h 10000"/>
              <a:gd name="connsiteX182" fmla="*/ 2163 w 10000"/>
              <a:gd name="connsiteY182" fmla="*/ 2233 h 10000"/>
              <a:gd name="connsiteX183" fmla="*/ 1931 w 10000"/>
              <a:gd name="connsiteY183" fmla="*/ 2487 h 10000"/>
              <a:gd name="connsiteX184" fmla="*/ 1951 w 10000"/>
              <a:gd name="connsiteY184" fmla="*/ 2629 h 10000"/>
              <a:gd name="connsiteX185" fmla="*/ 2032 w 10000"/>
              <a:gd name="connsiteY185" fmla="*/ 2738 h 10000"/>
              <a:gd name="connsiteX186" fmla="*/ 2093 w 10000"/>
              <a:gd name="connsiteY186" fmla="*/ 2782 h 10000"/>
              <a:gd name="connsiteX187" fmla="*/ 1979 w 10000"/>
              <a:gd name="connsiteY187" fmla="*/ 2852 h 10000"/>
              <a:gd name="connsiteX188" fmla="*/ 1731 w 10000"/>
              <a:gd name="connsiteY188" fmla="*/ 3330 h 10000"/>
              <a:gd name="connsiteX189" fmla="*/ 1779 w 10000"/>
              <a:gd name="connsiteY189" fmla="*/ 3358 h 10000"/>
              <a:gd name="connsiteX190" fmla="*/ 1815 w 10000"/>
              <a:gd name="connsiteY190" fmla="*/ 3479 h 10000"/>
              <a:gd name="connsiteX191" fmla="*/ 1700 w 10000"/>
              <a:gd name="connsiteY191" fmla="*/ 3982 h 10000"/>
              <a:gd name="connsiteX192" fmla="*/ 1815 w 10000"/>
              <a:gd name="connsiteY192" fmla="*/ 4110 h 10000"/>
              <a:gd name="connsiteX193" fmla="*/ 2131 w 10000"/>
              <a:gd name="connsiteY193" fmla="*/ 4251 h 10000"/>
              <a:gd name="connsiteX194" fmla="*/ 2145 w 10000"/>
              <a:gd name="connsiteY194" fmla="*/ 4423 h 10000"/>
              <a:gd name="connsiteX195" fmla="*/ 2010 w 10000"/>
              <a:gd name="connsiteY195" fmla="*/ 4566 h 10000"/>
              <a:gd name="connsiteX196" fmla="*/ 1815 w 10000"/>
              <a:gd name="connsiteY196" fmla="*/ 4652 h 10000"/>
              <a:gd name="connsiteX197" fmla="*/ 1557 w 10000"/>
              <a:gd name="connsiteY197" fmla="*/ 4687 h 10000"/>
              <a:gd name="connsiteX198" fmla="*/ 1490 w 10000"/>
              <a:gd name="connsiteY198" fmla="*/ 4737 h 10000"/>
              <a:gd name="connsiteX199" fmla="*/ 1640 w 10000"/>
              <a:gd name="connsiteY199" fmla="*/ 4855 h 10000"/>
              <a:gd name="connsiteX200" fmla="*/ 1726 w 10000"/>
              <a:gd name="connsiteY200" fmla="*/ 5136 h 10000"/>
              <a:gd name="connsiteX201" fmla="*/ 1531 w 10000"/>
              <a:gd name="connsiteY201" fmla="*/ 5376 h 10000"/>
              <a:gd name="connsiteX202" fmla="*/ 1599 w 10000"/>
              <a:gd name="connsiteY202" fmla="*/ 5451 h 10000"/>
              <a:gd name="connsiteX203" fmla="*/ 1537 w 10000"/>
              <a:gd name="connsiteY203" fmla="*/ 5577 h 10000"/>
              <a:gd name="connsiteX204" fmla="*/ 1412 w 10000"/>
              <a:gd name="connsiteY204" fmla="*/ 5663 h 10000"/>
              <a:gd name="connsiteX205" fmla="*/ 915 w 10000"/>
              <a:gd name="connsiteY205" fmla="*/ 5730 h 10000"/>
              <a:gd name="connsiteX206" fmla="*/ 885 w 10000"/>
              <a:gd name="connsiteY206" fmla="*/ 5846 h 10000"/>
              <a:gd name="connsiteX207" fmla="*/ 617 w 10000"/>
              <a:gd name="connsiteY207" fmla="*/ 6019 h 10000"/>
              <a:gd name="connsiteX208" fmla="*/ 652 w 10000"/>
              <a:gd name="connsiteY208" fmla="*/ 6268 h 10000"/>
              <a:gd name="connsiteX209" fmla="*/ 427 w 10000"/>
              <a:gd name="connsiteY209" fmla="*/ 6587 h 10000"/>
              <a:gd name="connsiteX210" fmla="*/ 274 w 10000"/>
              <a:gd name="connsiteY210" fmla="*/ 6624 h 10000"/>
              <a:gd name="connsiteX211" fmla="*/ 210 w 10000"/>
              <a:gd name="connsiteY211" fmla="*/ 6548 h 10000"/>
              <a:gd name="connsiteX212" fmla="*/ 132 w 10000"/>
              <a:gd name="connsiteY212" fmla="*/ 6663 h 10000"/>
              <a:gd name="connsiteX213" fmla="*/ 183 w 10000"/>
              <a:gd name="connsiteY213" fmla="*/ 6465 h 10000"/>
              <a:gd name="connsiteX214" fmla="*/ 151 w 10000"/>
              <a:gd name="connsiteY21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9310 w 10000"/>
              <a:gd name="connsiteY158" fmla="*/ 2263 h 10000"/>
              <a:gd name="connsiteX159" fmla="*/ 10000 w 10000"/>
              <a:gd name="connsiteY159" fmla="*/ 1832 h 10000"/>
              <a:gd name="connsiteX160" fmla="*/ 9652 w 10000"/>
              <a:gd name="connsiteY160" fmla="*/ 1699 h 10000"/>
              <a:gd name="connsiteX161" fmla="*/ 9147 w 10000"/>
              <a:gd name="connsiteY161" fmla="*/ 1773 h 10000"/>
              <a:gd name="connsiteX162" fmla="*/ 8784 w 10000"/>
              <a:gd name="connsiteY162" fmla="*/ 1639 h 10000"/>
              <a:gd name="connsiteX163" fmla="*/ 8850 w 10000"/>
              <a:gd name="connsiteY163" fmla="*/ 1480 h 10000"/>
              <a:gd name="connsiteX164" fmla="*/ 7497 w 10000"/>
              <a:gd name="connsiteY164" fmla="*/ 923 h 10000"/>
              <a:gd name="connsiteX165" fmla="*/ 7522 w 10000"/>
              <a:gd name="connsiteY165" fmla="*/ 649 h 10000"/>
              <a:gd name="connsiteX166" fmla="*/ 7012 w 10000"/>
              <a:gd name="connsiteY166" fmla="*/ 590 h 10000"/>
              <a:gd name="connsiteX167" fmla="*/ 6413 w 10000"/>
              <a:gd name="connsiteY167" fmla="*/ 332 h 10000"/>
              <a:gd name="connsiteX168" fmla="*/ 5098 w 10000"/>
              <a:gd name="connsiteY168" fmla="*/ 0 h 10000"/>
              <a:gd name="connsiteX169" fmla="*/ 4837 w 10000"/>
              <a:gd name="connsiteY169" fmla="*/ 82 h 10000"/>
              <a:gd name="connsiteX170" fmla="*/ 4671 w 10000"/>
              <a:gd name="connsiteY170" fmla="*/ 78 h 10000"/>
              <a:gd name="connsiteX171" fmla="*/ 4571 w 10000"/>
              <a:gd name="connsiteY171" fmla="*/ 107 h 10000"/>
              <a:gd name="connsiteX172" fmla="*/ 4298 w 10000"/>
              <a:gd name="connsiteY172" fmla="*/ 913 h 10000"/>
              <a:gd name="connsiteX173" fmla="*/ 3668 w 10000"/>
              <a:gd name="connsiteY173" fmla="*/ 1383 h 10000"/>
              <a:gd name="connsiteX174" fmla="*/ 3672 w 10000"/>
              <a:gd name="connsiteY174" fmla="*/ 1457 h 10000"/>
              <a:gd name="connsiteX175" fmla="*/ 3952 w 10000"/>
              <a:gd name="connsiteY175" fmla="*/ 1668 h 10000"/>
              <a:gd name="connsiteX176" fmla="*/ 3861 w 10000"/>
              <a:gd name="connsiteY176" fmla="*/ 1896 h 10000"/>
              <a:gd name="connsiteX177" fmla="*/ 3698 w 10000"/>
              <a:gd name="connsiteY177" fmla="*/ 1979 h 10000"/>
              <a:gd name="connsiteX178" fmla="*/ 3208 w 10000"/>
              <a:gd name="connsiteY178" fmla="*/ 1924 h 10000"/>
              <a:gd name="connsiteX179" fmla="*/ 2871 w 10000"/>
              <a:gd name="connsiteY179" fmla="*/ 1955 h 10000"/>
              <a:gd name="connsiteX180" fmla="*/ 2601 w 10000"/>
              <a:gd name="connsiteY180" fmla="*/ 2023 h 10000"/>
              <a:gd name="connsiteX181" fmla="*/ 2163 w 10000"/>
              <a:gd name="connsiteY181" fmla="*/ 2233 h 10000"/>
              <a:gd name="connsiteX182" fmla="*/ 1931 w 10000"/>
              <a:gd name="connsiteY182" fmla="*/ 2487 h 10000"/>
              <a:gd name="connsiteX183" fmla="*/ 1951 w 10000"/>
              <a:gd name="connsiteY183" fmla="*/ 2629 h 10000"/>
              <a:gd name="connsiteX184" fmla="*/ 2032 w 10000"/>
              <a:gd name="connsiteY184" fmla="*/ 2738 h 10000"/>
              <a:gd name="connsiteX185" fmla="*/ 2093 w 10000"/>
              <a:gd name="connsiteY185" fmla="*/ 2782 h 10000"/>
              <a:gd name="connsiteX186" fmla="*/ 1979 w 10000"/>
              <a:gd name="connsiteY186" fmla="*/ 2852 h 10000"/>
              <a:gd name="connsiteX187" fmla="*/ 1731 w 10000"/>
              <a:gd name="connsiteY187" fmla="*/ 3330 h 10000"/>
              <a:gd name="connsiteX188" fmla="*/ 1779 w 10000"/>
              <a:gd name="connsiteY188" fmla="*/ 3358 h 10000"/>
              <a:gd name="connsiteX189" fmla="*/ 1815 w 10000"/>
              <a:gd name="connsiteY189" fmla="*/ 3479 h 10000"/>
              <a:gd name="connsiteX190" fmla="*/ 1700 w 10000"/>
              <a:gd name="connsiteY190" fmla="*/ 3982 h 10000"/>
              <a:gd name="connsiteX191" fmla="*/ 1815 w 10000"/>
              <a:gd name="connsiteY191" fmla="*/ 4110 h 10000"/>
              <a:gd name="connsiteX192" fmla="*/ 2131 w 10000"/>
              <a:gd name="connsiteY192" fmla="*/ 4251 h 10000"/>
              <a:gd name="connsiteX193" fmla="*/ 2145 w 10000"/>
              <a:gd name="connsiteY193" fmla="*/ 4423 h 10000"/>
              <a:gd name="connsiteX194" fmla="*/ 2010 w 10000"/>
              <a:gd name="connsiteY194" fmla="*/ 4566 h 10000"/>
              <a:gd name="connsiteX195" fmla="*/ 1815 w 10000"/>
              <a:gd name="connsiteY195" fmla="*/ 4652 h 10000"/>
              <a:gd name="connsiteX196" fmla="*/ 1557 w 10000"/>
              <a:gd name="connsiteY196" fmla="*/ 4687 h 10000"/>
              <a:gd name="connsiteX197" fmla="*/ 1490 w 10000"/>
              <a:gd name="connsiteY197" fmla="*/ 4737 h 10000"/>
              <a:gd name="connsiteX198" fmla="*/ 1640 w 10000"/>
              <a:gd name="connsiteY198" fmla="*/ 4855 h 10000"/>
              <a:gd name="connsiteX199" fmla="*/ 1726 w 10000"/>
              <a:gd name="connsiteY199" fmla="*/ 5136 h 10000"/>
              <a:gd name="connsiteX200" fmla="*/ 1531 w 10000"/>
              <a:gd name="connsiteY200" fmla="*/ 5376 h 10000"/>
              <a:gd name="connsiteX201" fmla="*/ 1599 w 10000"/>
              <a:gd name="connsiteY201" fmla="*/ 5451 h 10000"/>
              <a:gd name="connsiteX202" fmla="*/ 1537 w 10000"/>
              <a:gd name="connsiteY202" fmla="*/ 5577 h 10000"/>
              <a:gd name="connsiteX203" fmla="*/ 1412 w 10000"/>
              <a:gd name="connsiteY203" fmla="*/ 5663 h 10000"/>
              <a:gd name="connsiteX204" fmla="*/ 915 w 10000"/>
              <a:gd name="connsiteY204" fmla="*/ 5730 h 10000"/>
              <a:gd name="connsiteX205" fmla="*/ 885 w 10000"/>
              <a:gd name="connsiteY205" fmla="*/ 5846 h 10000"/>
              <a:gd name="connsiteX206" fmla="*/ 617 w 10000"/>
              <a:gd name="connsiteY206" fmla="*/ 6019 h 10000"/>
              <a:gd name="connsiteX207" fmla="*/ 652 w 10000"/>
              <a:gd name="connsiteY207" fmla="*/ 6268 h 10000"/>
              <a:gd name="connsiteX208" fmla="*/ 427 w 10000"/>
              <a:gd name="connsiteY208" fmla="*/ 6587 h 10000"/>
              <a:gd name="connsiteX209" fmla="*/ 274 w 10000"/>
              <a:gd name="connsiteY209" fmla="*/ 6624 h 10000"/>
              <a:gd name="connsiteX210" fmla="*/ 210 w 10000"/>
              <a:gd name="connsiteY210" fmla="*/ 6548 h 10000"/>
              <a:gd name="connsiteX211" fmla="*/ 132 w 10000"/>
              <a:gd name="connsiteY211" fmla="*/ 6663 h 10000"/>
              <a:gd name="connsiteX212" fmla="*/ 183 w 10000"/>
              <a:gd name="connsiteY212" fmla="*/ 6465 h 10000"/>
              <a:gd name="connsiteX213" fmla="*/ 151 w 10000"/>
              <a:gd name="connsiteY213" fmla="*/ 6427 h 10000"/>
              <a:gd name="connsiteX0" fmla="*/ 151 w 9714"/>
              <a:gd name="connsiteY0" fmla="*/ 6427 h 10000"/>
              <a:gd name="connsiteX1" fmla="*/ 0 w 9714"/>
              <a:gd name="connsiteY1" fmla="*/ 6530 h 10000"/>
              <a:gd name="connsiteX2" fmla="*/ 0 w 9714"/>
              <a:gd name="connsiteY2" fmla="*/ 7039 h 10000"/>
              <a:gd name="connsiteX3" fmla="*/ 83 w 9714"/>
              <a:gd name="connsiteY3" fmla="*/ 7053 h 10000"/>
              <a:gd name="connsiteX4" fmla="*/ 103 w 9714"/>
              <a:gd name="connsiteY4" fmla="*/ 7092 h 10000"/>
              <a:gd name="connsiteX5" fmla="*/ 99 w 9714"/>
              <a:gd name="connsiteY5" fmla="*/ 7161 h 10000"/>
              <a:gd name="connsiteX6" fmla="*/ 68 w 9714"/>
              <a:gd name="connsiteY6" fmla="*/ 7192 h 10000"/>
              <a:gd name="connsiteX7" fmla="*/ 195 w 9714"/>
              <a:gd name="connsiteY7" fmla="*/ 7133 h 10000"/>
              <a:gd name="connsiteX8" fmla="*/ 249 w 9714"/>
              <a:gd name="connsiteY8" fmla="*/ 7075 h 10000"/>
              <a:gd name="connsiteX9" fmla="*/ 315 w 9714"/>
              <a:gd name="connsiteY9" fmla="*/ 7115 h 10000"/>
              <a:gd name="connsiteX10" fmla="*/ 242 w 9714"/>
              <a:gd name="connsiteY10" fmla="*/ 7198 h 10000"/>
              <a:gd name="connsiteX11" fmla="*/ 320 w 9714"/>
              <a:gd name="connsiteY11" fmla="*/ 7200 h 10000"/>
              <a:gd name="connsiteX12" fmla="*/ 358 w 9714"/>
              <a:gd name="connsiteY12" fmla="*/ 7221 h 10000"/>
              <a:gd name="connsiteX13" fmla="*/ 257 w 9714"/>
              <a:gd name="connsiteY13" fmla="*/ 7248 h 10000"/>
              <a:gd name="connsiteX14" fmla="*/ 99 w 9714"/>
              <a:gd name="connsiteY14" fmla="*/ 7333 h 10000"/>
              <a:gd name="connsiteX15" fmla="*/ 381 w 9714"/>
              <a:gd name="connsiteY15" fmla="*/ 7400 h 10000"/>
              <a:gd name="connsiteX16" fmla="*/ 416 w 9714"/>
              <a:gd name="connsiteY16" fmla="*/ 7496 h 10000"/>
              <a:gd name="connsiteX17" fmla="*/ 320 w 9714"/>
              <a:gd name="connsiteY17" fmla="*/ 7636 h 10000"/>
              <a:gd name="connsiteX18" fmla="*/ 526 w 9714"/>
              <a:gd name="connsiteY18" fmla="*/ 7627 h 10000"/>
              <a:gd name="connsiteX19" fmla="*/ 541 w 9714"/>
              <a:gd name="connsiteY19" fmla="*/ 7733 h 10000"/>
              <a:gd name="connsiteX20" fmla="*/ 404 w 9714"/>
              <a:gd name="connsiteY20" fmla="*/ 7805 h 10000"/>
              <a:gd name="connsiteX21" fmla="*/ 427 w 9714"/>
              <a:gd name="connsiteY21" fmla="*/ 7945 h 10000"/>
              <a:gd name="connsiteX22" fmla="*/ 374 w 9714"/>
              <a:gd name="connsiteY22" fmla="*/ 8053 h 10000"/>
              <a:gd name="connsiteX23" fmla="*/ 536 w 9714"/>
              <a:gd name="connsiteY23" fmla="*/ 8063 h 10000"/>
              <a:gd name="connsiteX24" fmla="*/ 695 w 9714"/>
              <a:gd name="connsiteY24" fmla="*/ 8478 h 10000"/>
              <a:gd name="connsiteX25" fmla="*/ 878 w 9714"/>
              <a:gd name="connsiteY25" fmla="*/ 8583 h 10000"/>
              <a:gd name="connsiteX26" fmla="*/ 958 w 9714"/>
              <a:gd name="connsiteY26" fmla="*/ 8695 h 10000"/>
              <a:gd name="connsiteX27" fmla="*/ 1157 w 9714"/>
              <a:gd name="connsiteY27" fmla="*/ 8776 h 10000"/>
              <a:gd name="connsiteX28" fmla="*/ 1285 w 9714"/>
              <a:gd name="connsiteY28" fmla="*/ 8881 h 10000"/>
              <a:gd name="connsiteX29" fmla="*/ 1269 w 9714"/>
              <a:gd name="connsiteY29" fmla="*/ 8955 h 10000"/>
              <a:gd name="connsiteX30" fmla="*/ 1142 w 9714"/>
              <a:gd name="connsiteY30" fmla="*/ 8983 h 10000"/>
              <a:gd name="connsiteX31" fmla="*/ 1004 w 9714"/>
              <a:gd name="connsiteY31" fmla="*/ 8965 h 10000"/>
              <a:gd name="connsiteX32" fmla="*/ 962 w 9714"/>
              <a:gd name="connsiteY32" fmla="*/ 8996 h 10000"/>
              <a:gd name="connsiteX33" fmla="*/ 1067 w 9714"/>
              <a:gd name="connsiteY33" fmla="*/ 9158 h 10000"/>
              <a:gd name="connsiteX34" fmla="*/ 920 w 9714"/>
              <a:gd name="connsiteY34" fmla="*/ 9144 h 10000"/>
              <a:gd name="connsiteX35" fmla="*/ 795 w 9714"/>
              <a:gd name="connsiteY35" fmla="*/ 9105 h 10000"/>
              <a:gd name="connsiteX36" fmla="*/ 772 w 9714"/>
              <a:gd name="connsiteY36" fmla="*/ 9165 h 10000"/>
              <a:gd name="connsiteX37" fmla="*/ 1188 w 9714"/>
              <a:gd name="connsiteY37" fmla="*/ 9718 h 10000"/>
              <a:gd name="connsiteX38" fmla="*/ 1122 w 9714"/>
              <a:gd name="connsiteY38" fmla="*/ 9770 h 10000"/>
              <a:gd name="connsiteX39" fmla="*/ 1075 w 9714"/>
              <a:gd name="connsiteY39" fmla="*/ 9876 h 10000"/>
              <a:gd name="connsiteX40" fmla="*/ 1015 w 9714"/>
              <a:gd name="connsiteY40" fmla="*/ 9885 h 10000"/>
              <a:gd name="connsiteX41" fmla="*/ 978 w 9714"/>
              <a:gd name="connsiteY41" fmla="*/ 9931 h 10000"/>
              <a:gd name="connsiteX42" fmla="*/ 1229 w 9714"/>
              <a:gd name="connsiteY42" fmla="*/ 9936 h 10000"/>
              <a:gd name="connsiteX43" fmla="*/ 1451 w 9714"/>
              <a:gd name="connsiteY43" fmla="*/ 9982 h 10000"/>
              <a:gd name="connsiteX44" fmla="*/ 1820 w 9714"/>
              <a:gd name="connsiteY44" fmla="*/ 9933 h 10000"/>
              <a:gd name="connsiteX45" fmla="*/ 2151 w 9714"/>
              <a:gd name="connsiteY45" fmla="*/ 9941 h 10000"/>
              <a:gd name="connsiteX46" fmla="*/ 2346 w 9714"/>
              <a:gd name="connsiteY46" fmla="*/ 10000 h 10000"/>
              <a:gd name="connsiteX47" fmla="*/ 2454 w 9714"/>
              <a:gd name="connsiteY47" fmla="*/ 9961 h 10000"/>
              <a:gd name="connsiteX48" fmla="*/ 2557 w 9714"/>
              <a:gd name="connsiteY48" fmla="*/ 9834 h 10000"/>
              <a:gd name="connsiteX49" fmla="*/ 2530 w 9714"/>
              <a:gd name="connsiteY49" fmla="*/ 9625 h 10000"/>
              <a:gd name="connsiteX50" fmla="*/ 2782 w 9714"/>
              <a:gd name="connsiteY50" fmla="*/ 9392 h 10000"/>
              <a:gd name="connsiteX51" fmla="*/ 2966 w 9714"/>
              <a:gd name="connsiteY51" fmla="*/ 9428 h 10000"/>
              <a:gd name="connsiteX52" fmla="*/ 3073 w 9714"/>
              <a:gd name="connsiteY52" fmla="*/ 9335 h 10000"/>
              <a:gd name="connsiteX53" fmla="*/ 3278 w 9714"/>
              <a:gd name="connsiteY53" fmla="*/ 9282 h 10000"/>
              <a:gd name="connsiteX54" fmla="*/ 3557 w 9714"/>
              <a:gd name="connsiteY54" fmla="*/ 9295 h 10000"/>
              <a:gd name="connsiteX55" fmla="*/ 3724 w 9714"/>
              <a:gd name="connsiteY55" fmla="*/ 9332 h 10000"/>
              <a:gd name="connsiteX56" fmla="*/ 3948 w 9714"/>
              <a:gd name="connsiteY56" fmla="*/ 9315 h 10000"/>
              <a:gd name="connsiteX57" fmla="*/ 4173 w 9714"/>
              <a:gd name="connsiteY57" fmla="*/ 9356 h 10000"/>
              <a:gd name="connsiteX58" fmla="*/ 4398 w 9714"/>
              <a:gd name="connsiteY58" fmla="*/ 9361 h 10000"/>
              <a:gd name="connsiteX59" fmla="*/ 4902 w 9714"/>
              <a:gd name="connsiteY59" fmla="*/ 8817 h 10000"/>
              <a:gd name="connsiteX60" fmla="*/ 5030 w 9714"/>
              <a:gd name="connsiteY60" fmla="*/ 8375 h 10000"/>
              <a:gd name="connsiteX61" fmla="*/ 5235 w 9714"/>
              <a:gd name="connsiteY61" fmla="*/ 8177 h 10000"/>
              <a:gd name="connsiteX62" fmla="*/ 5235 w 9714"/>
              <a:gd name="connsiteY62" fmla="*/ 8073 h 10000"/>
              <a:gd name="connsiteX63" fmla="*/ 5160 w 9714"/>
              <a:gd name="connsiteY63" fmla="*/ 8015 h 10000"/>
              <a:gd name="connsiteX64" fmla="*/ 5281 w 9714"/>
              <a:gd name="connsiteY64" fmla="*/ 7922 h 10000"/>
              <a:gd name="connsiteX65" fmla="*/ 5259 w 9714"/>
              <a:gd name="connsiteY65" fmla="*/ 7844 h 10000"/>
              <a:gd name="connsiteX66" fmla="*/ 5177 w 9714"/>
              <a:gd name="connsiteY66" fmla="*/ 7776 h 10000"/>
              <a:gd name="connsiteX67" fmla="*/ 5160 w 9714"/>
              <a:gd name="connsiteY67" fmla="*/ 7728 h 10000"/>
              <a:gd name="connsiteX68" fmla="*/ 5181 w 9714"/>
              <a:gd name="connsiteY68" fmla="*/ 7691 h 10000"/>
              <a:gd name="connsiteX69" fmla="*/ 5292 w 9714"/>
              <a:gd name="connsiteY69" fmla="*/ 7721 h 10000"/>
              <a:gd name="connsiteX70" fmla="*/ 5381 w 9714"/>
              <a:gd name="connsiteY70" fmla="*/ 7719 h 10000"/>
              <a:gd name="connsiteX71" fmla="*/ 5333 w 9714"/>
              <a:gd name="connsiteY71" fmla="*/ 7655 h 10000"/>
              <a:gd name="connsiteX72" fmla="*/ 5348 w 9714"/>
              <a:gd name="connsiteY72" fmla="*/ 7619 h 10000"/>
              <a:gd name="connsiteX73" fmla="*/ 5414 w 9714"/>
              <a:gd name="connsiteY73" fmla="*/ 7565 h 10000"/>
              <a:gd name="connsiteX74" fmla="*/ 5401 w 9714"/>
              <a:gd name="connsiteY74" fmla="*/ 7521 h 10000"/>
              <a:gd name="connsiteX75" fmla="*/ 5462 w 9714"/>
              <a:gd name="connsiteY75" fmla="*/ 7373 h 10000"/>
              <a:gd name="connsiteX76" fmla="*/ 5445 w 9714"/>
              <a:gd name="connsiteY76" fmla="*/ 7327 h 10000"/>
              <a:gd name="connsiteX77" fmla="*/ 5140 w 9714"/>
              <a:gd name="connsiteY77" fmla="*/ 7216 h 10000"/>
              <a:gd name="connsiteX78" fmla="*/ 5181 w 9714"/>
              <a:gd name="connsiteY78" fmla="*/ 7211 h 10000"/>
              <a:gd name="connsiteX79" fmla="*/ 5344 w 9714"/>
              <a:gd name="connsiteY79" fmla="*/ 7241 h 10000"/>
              <a:gd name="connsiteX80" fmla="*/ 5520 w 9714"/>
              <a:gd name="connsiteY80" fmla="*/ 7230 h 10000"/>
              <a:gd name="connsiteX81" fmla="*/ 5571 w 9714"/>
              <a:gd name="connsiteY81" fmla="*/ 7189 h 10000"/>
              <a:gd name="connsiteX82" fmla="*/ 5401 w 9714"/>
              <a:gd name="connsiteY82" fmla="*/ 7113 h 10000"/>
              <a:gd name="connsiteX83" fmla="*/ 4898 w 9714"/>
              <a:gd name="connsiteY83" fmla="*/ 7062 h 10000"/>
              <a:gd name="connsiteX84" fmla="*/ 4932 w 9714"/>
              <a:gd name="connsiteY84" fmla="*/ 7039 h 10000"/>
              <a:gd name="connsiteX85" fmla="*/ 5344 w 9714"/>
              <a:gd name="connsiteY85" fmla="*/ 7023 h 10000"/>
              <a:gd name="connsiteX86" fmla="*/ 5571 w 9714"/>
              <a:gd name="connsiteY86" fmla="*/ 7069 h 10000"/>
              <a:gd name="connsiteX87" fmla="*/ 5702 w 9714"/>
              <a:gd name="connsiteY87" fmla="*/ 7039 h 10000"/>
              <a:gd name="connsiteX88" fmla="*/ 5750 w 9714"/>
              <a:gd name="connsiteY88" fmla="*/ 6959 h 10000"/>
              <a:gd name="connsiteX89" fmla="*/ 5987 w 9714"/>
              <a:gd name="connsiteY89" fmla="*/ 6959 h 10000"/>
              <a:gd name="connsiteX90" fmla="*/ 6308 w 9714"/>
              <a:gd name="connsiteY90" fmla="*/ 6799 h 10000"/>
              <a:gd name="connsiteX91" fmla="*/ 6319 w 9714"/>
              <a:gd name="connsiteY91" fmla="*/ 6693 h 10000"/>
              <a:gd name="connsiteX92" fmla="*/ 6455 w 9714"/>
              <a:gd name="connsiteY92" fmla="*/ 6718 h 10000"/>
              <a:gd name="connsiteX93" fmla="*/ 6449 w 9714"/>
              <a:gd name="connsiteY93" fmla="*/ 6824 h 10000"/>
              <a:gd name="connsiteX94" fmla="*/ 6665 w 9714"/>
              <a:gd name="connsiteY94" fmla="*/ 6817 h 10000"/>
              <a:gd name="connsiteX95" fmla="*/ 6807 w 9714"/>
              <a:gd name="connsiteY95" fmla="*/ 6707 h 10000"/>
              <a:gd name="connsiteX96" fmla="*/ 7070 w 9714"/>
              <a:gd name="connsiteY96" fmla="*/ 6607 h 10000"/>
              <a:gd name="connsiteX97" fmla="*/ 7029 w 9714"/>
              <a:gd name="connsiteY97" fmla="*/ 6493 h 10000"/>
              <a:gd name="connsiteX98" fmla="*/ 7107 w 9714"/>
              <a:gd name="connsiteY98" fmla="*/ 6538 h 10000"/>
              <a:gd name="connsiteX99" fmla="*/ 7227 w 9714"/>
              <a:gd name="connsiteY99" fmla="*/ 6538 h 10000"/>
              <a:gd name="connsiteX100" fmla="*/ 7227 w 9714"/>
              <a:gd name="connsiteY100" fmla="*/ 6486 h 10000"/>
              <a:gd name="connsiteX101" fmla="*/ 7340 w 9714"/>
              <a:gd name="connsiteY101" fmla="*/ 6446 h 10000"/>
              <a:gd name="connsiteX102" fmla="*/ 7324 w 9714"/>
              <a:gd name="connsiteY102" fmla="*/ 6405 h 10000"/>
              <a:gd name="connsiteX103" fmla="*/ 6377 w 9714"/>
              <a:gd name="connsiteY103" fmla="*/ 6488 h 10000"/>
              <a:gd name="connsiteX104" fmla="*/ 6155 w 9714"/>
              <a:gd name="connsiteY104" fmla="*/ 6463 h 10000"/>
              <a:gd name="connsiteX105" fmla="*/ 6065 w 9714"/>
              <a:gd name="connsiteY105" fmla="*/ 6493 h 10000"/>
              <a:gd name="connsiteX106" fmla="*/ 6035 w 9714"/>
              <a:gd name="connsiteY106" fmla="*/ 6436 h 10000"/>
              <a:gd name="connsiteX107" fmla="*/ 5930 w 9714"/>
              <a:gd name="connsiteY107" fmla="*/ 6384 h 10000"/>
              <a:gd name="connsiteX108" fmla="*/ 5508 w 9714"/>
              <a:gd name="connsiteY108" fmla="*/ 6282 h 10000"/>
              <a:gd name="connsiteX109" fmla="*/ 5259 w 9714"/>
              <a:gd name="connsiteY109" fmla="*/ 6298 h 10000"/>
              <a:gd name="connsiteX110" fmla="*/ 5160 w 9714"/>
              <a:gd name="connsiteY110" fmla="*/ 6270 h 10000"/>
              <a:gd name="connsiteX111" fmla="*/ 5265 w 9714"/>
              <a:gd name="connsiteY111" fmla="*/ 6245 h 10000"/>
              <a:gd name="connsiteX112" fmla="*/ 5344 w 9714"/>
              <a:gd name="connsiteY112" fmla="*/ 6190 h 10000"/>
              <a:gd name="connsiteX113" fmla="*/ 5462 w 9714"/>
              <a:gd name="connsiteY113" fmla="*/ 6208 h 10000"/>
              <a:gd name="connsiteX114" fmla="*/ 5602 w 9714"/>
              <a:gd name="connsiteY114" fmla="*/ 6193 h 10000"/>
              <a:gd name="connsiteX115" fmla="*/ 5813 w 9714"/>
              <a:gd name="connsiteY115" fmla="*/ 6211 h 10000"/>
              <a:gd name="connsiteX116" fmla="*/ 5838 w 9714"/>
              <a:gd name="connsiteY116" fmla="*/ 6204 h 10000"/>
              <a:gd name="connsiteX117" fmla="*/ 6002 w 9714"/>
              <a:gd name="connsiteY117" fmla="*/ 6287 h 10000"/>
              <a:gd name="connsiteX118" fmla="*/ 6122 w 9714"/>
              <a:gd name="connsiteY118" fmla="*/ 6257 h 10000"/>
              <a:gd name="connsiteX119" fmla="*/ 6133 w 9714"/>
              <a:gd name="connsiteY119" fmla="*/ 6229 h 10000"/>
              <a:gd name="connsiteX120" fmla="*/ 6244 w 9714"/>
              <a:gd name="connsiteY120" fmla="*/ 6278 h 10000"/>
              <a:gd name="connsiteX121" fmla="*/ 6391 w 9714"/>
              <a:gd name="connsiteY121" fmla="*/ 6304 h 10000"/>
              <a:gd name="connsiteX122" fmla="*/ 6449 w 9714"/>
              <a:gd name="connsiteY122" fmla="*/ 6255 h 10000"/>
              <a:gd name="connsiteX123" fmla="*/ 6496 w 9714"/>
              <a:gd name="connsiteY123" fmla="*/ 6282 h 10000"/>
              <a:gd name="connsiteX124" fmla="*/ 6565 w 9714"/>
              <a:gd name="connsiteY124" fmla="*/ 6377 h 10000"/>
              <a:gd name="connsiteX125" fmla="*/ 6707 w 9714"/>
              <a:gd name="connsiteY125" fmla="*/ 6399 h 10000"/>
              <a:gd name="connsiteX126" fmla="*/ 7286 w 9714"/>
              <a:gd name="connsiteY126" fmla="*/ 6259 h 10000"/>
              <a:gd name="connsiteX127" fmla="*/ 7571 w 9714"/>
              <a:gd name="connsiteY127" fmla="*/ 6064 h 10000"/>
              <a:gd name="connsiteX128" fmla="*/ 7637 w 9714"/>
              <a:gd name="connsiteY128" fmla="*/ 5921 h 10000"/>
              <a:gd name="connsiteX129" fmla="*/ 7534 w 9714"/>
              <a:gd name="connsiteY129" fmla="*/ 5792 h 10000"/>
              <a:gd name="connsiteX130" fmla="*/ 7318 w 9714"/>
              <a:gd name="connsiteY130" fmla="*/ 5715 h 10000"/>
              <a:gd name="connsiteX131" fmla="*/ 7164 w 9714"/>
              <a:gd name="connsiteY131" fmla="*/ 5589 h 10000"/>
              <a:gd name="connsiteX132" fmla="*/ 7307 w 9714"/>
              <a:gd name="connsiteY132" fmla="*/ 5584 h 10000"/>
              <a:gd name="connsiteX133" fmla="*/ 7297 w 9714"/>
              <a:gd name="connsiteY133" fmla="*/ 5554 h 10000"/>
              <a:gd name="connsiteX134" fmla="*/ 6925 w 9714"/>
              <a:gd name="connsiteY134" fmla="*/ 5465 h 10000"/>
              <a:gd name="connsiteX135" fmla="*/ 6909 w 9714"/>
              <a:gd name="connsiteY135" fmla="*/ 5383 h 10000"/>
              <a:gd name="connsiteX136" fmla="*/ 6837 w 9714"/>
              <a:gd name="connsiteY136" fmla="*/ 5299 h 10000"/>
              <a:gd name="connsiteX137" fmla="*/ 6543 w 9714"/>
              <a:gd name="connsiteY137" fmla="*/ 5314 h 10000"/>
              <a:gd name="connsiteX138" fmla="*/ 6438 w 9714"/>
              <a:gd name="connsiteY138" fmla="*/ 5224 h 10000"/>
              <a:gd name="connsiteX139" fmla="*/ 6377 w 9714"/>
              <a:gd name="connsiteY139" fmla="*/ 5219 h 10000"/>
              <a:gd name="connsiteX140" fmla="*/ 6377 w 9714"/>
              <a:gd name="connsiteY140" fmla="*/ 5256 h 10000"/>
              <a:gd name="connsiteX141" fmla="*/ 6244 w 9714"/>
              <a:gd name="connsiteY141" fmla="*/ 5408 h 10000"/>
              <a:gd name="connsiteX142" fmla="*/ 6101 w 9714"/>
              <a:gd name="connsiteY142" fmla="*/ 5498 h 10000"/>
              <a:gd name="connsiteX143" fmla="*/ 5653 w 9714"/>
              <a:gd name="connsiteY143" fmla="*/ 5651 h 10000"/>
              <a:gd name="connsiteX144" fmla="*/ 5496 w 9714"/>
              <a:gd name="connsiteY144" fmla="*/ 5646 h 10000"/>
              <a:gd name="connsiteX145" fmla="*/ 5281 w 9714"/>
              <a:gd name="connsiteY145" fmla="*/ 5669 h 10000"/>
              <a:gd name="connsiteX146" fmla="*/ 5160 w 9714"/>
              <a:gd name="connsiteY146" fmla="*/ 5646 h 10000"/>
              <a:gd name="connsiteX147" fmla="*/ 5318 w 9714"/>
              <a:gd name="connsiteY147" fmla="*/ 5604 h 10000"/>
              <a:gd name="connsiteX148" fmla="*/ 5524 w 9714"/>
              <a:gd name="connsiteY148" fmla="*/ 5584 h 10000"/>
              <a:gd name="connsiteX149" fmla="*/ 5693 w 9714"/>
              <a:gd name="connsiteY149" fmla="*/ 5513 h 10000"/>
              <a:gd name="connsiteX150" fmla="*/ 5859 w 9714"/>
              <a:gd name="connsiteY150" fmla="*/ 5480 h 10000"/>
              <a:gd name="connsiteX151" fmla="*/ 6171 w 9714"/>
              <a:gd name="connsiteY151" fmla="*/ 5355 h 10000"/>
              <a:gd name="connsiteX152" fmla="*/ 6230 w 9714"/>
              <a:gd name="connsiteY152" fmla="*/ 5274 h 10000"/>
              <a:gd name="connsiteX153" fmla="*/ 6235 w 9714"/>
              <a:gd name="connsiteY153" fmla="*/ 5168 h 10000"/>
              <a:gd name="connsiteX154" fmla="*/ 6092 w 9714"/>
              <a:gd name="connsiteY154" fmla="*/ 5150 h 10000"/>
              <a:gd name="connsiteX155" fmla="*/ 6155 w 9714"/>
              <a:gd name="connsiteY155" fmla="*/ 5086 h 10000"/>
              <a:gd name="connsiteX156" fmla="*/ 6175 w 9714"/>
              <a:gd name="connsiteY156" fmla="*/ 5005 h 10000"/>
              <a:gd name="connsiteX157" fmla="*/ 6115 w 9714"/>
              <a:gd name="connsiteY157" fmla="*/ 4928 h 10000"/>
              <a:gd name="connsiteX158" fmla="*/ 9310 w 9714"/>
              <a:gd name="connsiteY158" fmla="*/ 2263 h 10000"/>
              <a:gd name="connsiteX159" fmla="*/ 9652 w 9714"/>
              <a:gd name="connsiteY159" fmla="*/ 1699 h 10000"/>
              <a:gd name="connsiteX160" fmla="*/ 9147 w 9714"/>
              <a:gd name="connsiteY160" fmla="*/ 1773 h 10000"/>
              <a:gd name="connsiteX161" fmla="*/ 8784 w 9714"/>
              <a:gd name="connsiteY161" fmla="*/ 1639 h 10000"/>
              <a:gd name="connsiteX162" fmla="*/ 8850 w 9714"/>
              <a:gd name="connsiteY162" fmla="*/ 1480 h 10000"/>
              <a:gd name="connsiteX163" fmla="*/ 7497 w 9714"/>
              <a:gd name="connsiteY163" fmla="*/ 923 h 10000"/>
              <a:gd name="connsiteX164" fmla="*/ 7522 w 9714"/>
              <a:gd name="connsiteY164" fmla="*/ 649 h 10000"/>
              <a:gd name="connsiteX165" fmla="*/ 7012 w 9714"/>
              <a:gd name="connsiteY165" fmla="*/ 590 h 10000"/>
              <a:gd name="connsiteX166" fmla="*/ 6413 w 9714"/>
              <a:gd name="connsiteY166" fmla="*/ 332 h 10000"/>
              <a:gd name="connsiteX167" fmla="*/ 5098 w 9714"/>
              <a:gd name="connsiteY167" fmla="*/ 0 h 10000"/>
              <a:gd name="connsiteX168" fmla="*/ 4837 w 9714"/>
              <a:gd name="connsiteY168" fmla="*/ 82 h 10000"/>
              <a:gd name="connsiteX169" fmla="*/ 4671 w 9714"/>
              <a:gd name="connsiteY169" fmla="*/ 78 h 10000"/>
              <a:gd name="connsiteX170" fmla="*/ 4571 w 9714"/>
              <a:gd name="connsiteY170" fmla="*/ 107 h 10000"/>
              <a:gd name="connsiteX171" fmla="*/ 4298 w 9714"/>
              <a:gd name="connsiteY171" fmla="*/ 913 h 10000"/>
              <a:gd name="connsiteX172" fmla="*/ 3668 w 9714"/>
              <a:gd name="connsiteY172" fmla="*/ 1383 h 10000"/>
              <a:gd name="connsiteX173" fmla="*/ 3672 w 9714"/>
              <a:gd name="connsiteY173" fmla="*/ 1457 h 10000"/>
              <a:gd name="connsiteX174" fmla="*/ 3952 w 9714"/>
              <a:gd name="connsiteY174" fmla="*/ 1668 h 10000"/>
              <a:gd name="connsiteX175" fmla="*/ 3861 w 9714"/>
              <a:gd name="connsiteY175" fmla="*/ 1896 h 10000"/>
              <a:gd name="connsiteX176" fmla="*/ 3698 w 9714"/>
              <a:gd name="connsiteY176" fmla="*/ 1979 h 10000"/>
              <a:gd name="connsiteX177" fmla="*/ 3208 w 9714"/>
              <a:gd name="connsiteY177" fmla="*/ 1924 h 10000"/>
              <a:gd name="connsiteX178" fmla="*/ 2871 w 9714"/>
              <a:gd name="connsiteY178" fmla="*/ 1955 h 10000"/>
              <a:gd name="connsiteX179" fmla="*/ 2601 w 9714"/>
              <a:gd name="connsiteY179" fmla="*/ 2023 h 10000"/>
              <a:gd name="connsiteX180" fmla="*/ 2163 w 9714"/>
              <a:gd name="connsiteY180" fmla="*/ 2233 h 10000"/>
              <a:gd name="connsiteX181" fmla="*/ 1931 w 9714"/>
              <a:gd name="connsiteY181" fmla="*/ 2487 h 10000"/>
              <a:gd name="connsiteX182" fmla="*/ 1951 w 9714"/>
              <a:gd name="connsiteY182" fmla="*/ 2629 h 10000"/>
              <a:gd name="connsiteX183" fmla="*/ 2032 w 9714"/>
              <a:gd name="connsiteY183" fmla="*/ 2738 h 10000"/>
              <a:gd name="connsiteX184" fmla="*/ 2093 w 9714"/>
              <a:gd name="connsiteY184" fmla="*/ 2782 h 10000"/>
              <a:gd name="connsiteX185" fmla="*/ 1979 w 9714"/>
              <a:gd name="connsiteY185" fmla="*/ 2852 h 10000"/>
              <a:gd name="connsiteX186" fmla="*/ 1731 w 9714"/>
              <a:gd name="connsiteY186" fmla="*/ 3330 h 10000"/>
              <a:gd name="connsiteX187" fmla="*/ 1779 w 9714"/>
              <a:gd name="connsiteY187" fmla="*/ 3358 h 10000"/>
              <a:gd name="connsiteX188" fmla="*/ 1815 w 9714"/>
              <a:gd name="connsiteY188" fmla="*/ 3479 h 10000"/>
              <a:gd name="connsiteX189" fmla="*/ 1700 w 9714"/>
              <a:gd name="connsiteY189" fmla="*/ 3982 h 10000"/>
              <a:gd name="connsiteX190" fmla="*/ 1815 w 9714"/>
              <a:gd name="connsiteY190" fmla="*/ 4110 h 10000"/>
              <a:gd name="connsiteX191" fmla="*/ 2131 w 9714"/>
              <a:gd name="connsiteY191" fmla="*/ 4251 h 10000"/>
              <a:gd name="connsiteX192" fmla="*/ 2145 w 9714"/>
              <a:gd name="connsiteY192" fmla="*/ 4423 h 10000"/>
              <a:gd name="connsiteX193" fmla="*/ 2010 w 9714"/>
              <a:gd name="connsiteY193" fmla="*/ 4566 h 10000"/>
              <a:gd name="connsiteX194" fmla="*/ 1815 w 9714"/>
              <a:gd name="connsiteY194" fmla="*/ 4652 h 10000"/>
              <a:gd name="connsiteX195" fmla="*/ 1557 w 9714"/>
              <a:gd name="connsiteY195" fmla="*/ 4687 h 10000"/>
              <a:gd name="connsiteX196" fmla="*/ 1490 w 9714"/>
              <a:gd name="connsiteY196" fmla="*/ 4737 h 10000"/>
              <a:gd name="connsiteX197" fmla="*/ 1640 w 9714"/>
              <a:gd name="connsiteY197" fmla="*/ 4855 h 10000"/>
              <a:gd name="connsiteX198" fmla="*/ 1726 w 9714"/>
              <a:gd name="connsiteY198" fmla="*/ 5136 h 10000"/>
              <a:gd name="connsiteX199" fmla="*/ 1531 w 9714"/>
              <a:gd name="connsiteY199" fmla="*/ 5376 h 10000"/>
              <a:gd name="connsiteX200" fmla="*/ 1599 w 9714"/>
              <a:gd name="connsiteY200" fmla="*/ 5451 h 10000"/>
              <a:gd name="connsiteX201" fmla="*/ 1537 w 9714"/>
              <a:gd name="connsiteY201" fmla="*/ 5577 h 10000"/>
              <a:gd name="connsiteX202" fmla="*/ 1412 w 9714"/>
              <a:gd name="connsiteY202" fmla="*/ 5663 h 10000"/>
              <a:gd name="connsiteX203" fmla="*/ 915 w 9714"/>
              <a:gd name="connsiteY203" fmla="*/ 5730 h 10000"/>
              <a:gd name="connsiteX204" fmla="*/ 885 w 9714"/>
              <a:gd name="connsiteY204" fmla="*/ 5846 h 10000"/>
              <a:gd name="connsiteX205" fmla="*/ 617 w 9714"/>
              <a:gd name="connsiteY205" fmla="*/ 6019 h 10000"/>
              <a:gd name="connsiteX206" fmla="*/ 652 w 9714"/>
              <a:gd name="connsiteY206" fmla="*/ 6268 h 10000"/>
              <a:gd name="connsiteX207" fmla="*/ 427 w 9714"/>
              <a:gd name="connsiteY207" fmla="*/ 6587 h 10000"/>
              <a:gd name="connsiteX208" fmla="*/ 274 w 9714"/>
              <a:gd name="connsiteY208" fmla="*/ 6624 h 10000"/>
              <a:gd name="connsiteX209" fmla="*/ 210 w 9714"/>
              <a:gd name="connsiteY209" fmla="*/ 6548 h 10000"/>
              <a:gd name="connsiteX210" fmla="*/ 132 w 9714"/>
              <a:gd name="connsiteY210" fmla="*/ 6663 h 10000"/>
              <a:gd name="connsiteX211" fmla="*/ 183 w 9714"/>
              <a:gd name="connsiteY211" fmla="*/ 6465 h 10000"/>
              <a:gd name="connsiteX212" fmla="*/ 151 w 9714"/>
              <a:gd name="connsiteY212" fmla="*/ 6427 h 10000"/>
              <a:gd name="connsiteX0" fmla="*/ 155 w 9794"/>
              <a:gd name="connsiteY0" fmla="*/ 6427 h 10000"/>
              <a:gd name="connsiteX1" fmla="*/ 0 w 9794"/>
              <a:gd name="connsiteY1" fmla="*/ 6530 h 10000"/>
              <a:gd name="connsiteX2" fmla="*/ 0 w 9794"/>
              <a:gd name="connsiteY2" fmla="*/ 7039 h 10000"/>
              <a:gd name="connsiteX3" fmla="*/ 85 w 9794"/>
              <a:gd name="connsiteY3" fmla="*/ 7053 h 10000"/>
              <a:gd name="connsiteX4" fmla="*/ 106 w 9794"/>
              <a:gd name="connsiteY4" fmla="*/ 7092 h 10000"/>
              <a:gd name="connsiteX5" fmla="*/ 102 w 9794"/>
              <a:gd name="connsiteY5" fmla="*/ 7161 h 10000"/>
              <a:gd name="connsiteX6" fmla="*/ 70 w 9794"/>
              <a:gd name="connsiteY6" fmla="*/ 7192 h 10000"/>
              <a:gd name="connsiteX7" fmla="*/ 201 w 9794"/>
              <a:gd name="connsiteY7" fmla="*/ 7133 h 10000"/>
              <a:gd name="connsiteX8" fmla="*/ 256 w 9794"/>
              <a:gd name="connsiteY8" fmla="*/ 7075 h 10000"/>
              <a:gd name="connsiteX9" fmla="*/ 324 w 9794"/>
              <a:gd name="connsiteY9" fmla="*/ 7115 h 10000"/>
              <a:gd name="connsiteX10" fmla="*/ 249 w 9794"/>
              <a:gd name="connsiteY10" fmla="*/ 7198 h 10000"/>
              <a:gd name="connsiteX11" fmla="*/ 329 w 9794"/>
              <a:gd name="connsiteY11" fmla="*/ 7200 h 10000"/>
              <a:gd name="connsiteX12" fmla="*/ 369 w 9794"/>
              <a:gd name="connsiteY12" fmla="*/ 7221 h 10000"/>
              <a:gd name="connsiteX13" fmla="*/ 265 w 9794"/>
              <a:gd name="connsiteY13" fmla="*/ 7248 h 10000"/>
              <a:gd name="connsiteX14" fmla="*/ 102 w 9794"/>
              <a:gd name="connsiteY14" fmla="*/ 7333 h 10000"/>
              <a:gd name="connsiteX15" fmla="*/ 392 w 9794"/>
              <a:gd name="connsiteY15" fmla="*/ 7400 h 10000"/>
              <a:gd name="connsiteX16" fmla="*/ 428 w 9794"/>
              <a:gd name="connsiteY16" fmla="*/ 7496 h 10000"/>
              <a:gd name="connsiteX17" fmla="*/ 329 w 9794"/>
              <a:gd name="connsiteY17" fmla="*/ 7636 h 10000"/>
              <a:gd name="connsiteX18" fmla="*/ 541 w 9794"/>
              <a:gd name="connsiteY18" fmla="*/ 7627 h 10000"/>
              <a:gd name="connsiteX19" fmla="*/ 557 w 9794"/>
              <a:gd name="connsiteY19" fmla="*/ 7733 h 10000"/>
              <a:gd name="connsiteX20" fmla="*/ 416 w 9794"/>
              <a:gd name="connsiteY20" fmla="*/ 7805 h 10000"/>
              <a:gd name="connsiteX21" fmla="*/ 440 w 9794"/>
              <a:gd name="connsiteY21" fmla="*/ 7945 h 10000"/>
              <a:gd name="connsiteX22" fmla="*/ 385 w 9794"/>
              <a:gd name="connsiteY22" fmla="*/ 8053 h 10000"/>
              <a:gd name="connsiteX23" fmla="*/ 552 w 9794"/>
              <a:gd name="connsiteY23" fmla="*/ 8063 h 10000"/>
              <a:gd name="connsiteX24" fmla="*/ 715 w 9794"/>
              <a:gd name="connsiteY24" fmla="*/ 8478 h 10000"/>
              <a:gd name="connsiteX25" fmla="*/ 904 w 9794"/>
              <a:gd name="connsiteY25" fmla="*/ 8583 h 10000"/>
              <a:gd name="connsiteX26" fmla="*/ 986 w 9794"/>
              <a:gd name="connsiteY26" fmla="*/ 8695 h 10000"/>
              <a:gd name="connsiteX27" fmla="*/ 1191 w 9794"/>
              <a:gd name="connsiteY27" fmla="*/ 8776 h 10000"/>
              <a:gd name="connsiteX28" fmla="*/ 1323 w 9794"/>
              <a:gd name="connsiteY28" fmla="*/ 8881 h 10000"/>
              <a:gd name="connsiteX29" fmla="*/ 1306 w 9794"/>
              <a:gd name="connsiteY29" fmla="*/ 8955 h 10000"/>
              <a:gd name="connsiteX30" fmla="*/ 1176 w 9794"/>
              <a:gd name="connsiteY30" fmla="*/ 8983 h 10000"/>
              <a:gd name="connsiteX31" fmla="*/ 1034 w 9794"/>
              <a:gd name="connsiteY31" fmla="*/ 8965 h 10000"/>
              <a:gd name="connsiteX32" fmla="*/ 990 w 9794"/>
              <a:gd name="connsiteY32" fmla="*/ 8996 h 10000"/>
              <a:gd name="connsiteX33" fmla="*/ 1098 w 9794"/>
              <a:gd name="connsiteY33" fmla="*/ 9158 h 10000"/>
              <a:gd name="connsiteX34" fmla="*/ 947 w 9794"/>
              <a:gd name="connsiteY34" fmla="*/ 9144 h 10000"/>
              <a:gd name="connsiteX35" fmla="*/ 818 w 9794"/>
              <a:gd name="connsiteY35" fmla="*/ 9105 h 10000"/>
              <a:gd name="connsiteX36" fmla="*/ 795 w 9794"/>
              <a:gd name="connsiteY36" fmla="*/ 9165 h 10000"/>
              <a:gd name="connsiteX37" fmla="*/ 1223 w 9794"/>
              <a:gd name="connsiteY37" fmla="*/ 9718 h 10000"/>
              <a:gd name="connsiteX38" fmla="*/ 1155 w 9794"/>
              <a:gd name="connsiteY38" fmla="*/ 9770 h 10000"/>
              <a:gd name="connsiteX39" fmla="*/ 1107 w 9794"/>
              <a:gd name="connsiteY39" fmla="*/ 9876 h 10000"/>
              <a:gd name="connsiteX40" fmla="*/ 1045 w 9794"/>
              <a:gd name="connsiteY40" fmla="*/ 9885 h 10000"/>
              <a:gd name="connsiteX41" fmla="*/ 1007 w 9794"/>
              <a:gd name="connsiteY41" fmla="*/ 9931 h 10000"/>
              <a:gd name="connsiteX42" fmla="*/ 1265 w 9794"/>
              <a:gd name="connsiteY42" fmla="*/ 9936 h 10000"/>
              <a:gd name="connsiteX43" fmla="*/ 1494 w 9794"/>
              <a:gd name="connsiteY43" fmla="*/ 9982 h 10000"/>
              <a:gd name="connsiteX44" fmla="*/ 1874 w 9794"/>
              <a:gd name="connsiteY44" fmla="*/ 9933 h 10000"/>
              <a:gd name="connsiteX45" fmla="*/ 2214 w 9794"/>
              <a:gd name="connsiteY45" fmla="*/ 9941 h 10000"/>
              <a:gd name="connsiteX46" fmla="*/ 2415 w 9794"/>
              <a:gd name="connsiteY46" fmla="*/ 10000 h 10000"/>
              <a:gd name="connsiteX47" fmla="*/ 2526 w 9794"/>
              <a:gd name="connsiteY47" fmla="*/ 9961 h 10000"/>
              <a:gd name="connsiteX48" fmla="*/ 2632 w 9794"/>
              <a:gd name="connsiteY48" fmla="*/ 9834 h 10000"/>
              <a:gd name="connsiteX49" fmla="*/ 2604 w 9794"/>
              <a:gd name="connsiteY49" fmla="*/ 9625 h 10000"/>
              <a:gd name="connsiteX50" fmla="*/ 2864 w 9794"/>
              <a:gd name="connsiteY50" fmla="*/ 9392 h 10000"/>
              <a:gd name="connsiteX51" fmla="*/ 3053 w 9794"/>
              <a:gd name="connsiteY51" fmla="*/ 9428 h 10000"/>
              <a:gd name="connsiteX52" fmla="*/ 3163 w 9794"/>
              <a:gd name="connsiteY52" fmla="*/ 9335 h 10000"/>
              <a:gd name="connsiteX53" fmla="*/ 3375 w 9794"/>
              <a:gd name="connsiteY53" fmla="*/ 9282 h 10000"/>
              <a:gd name="connsiteX54" fmla="*/ 3662 w 9794"/>
              <a:gd name="connsiteY54" fmla="*/ 9295 h 10000"/>
              <a:gd name="connsiteX55" fmla="*/ 3834 w 9794"/>
              <a:gd name="connsiteY55" fmla="*/ 9332 h 10000"/>
              <a:gd name="connsiteX56" fmla="*/ 4064 w 9794"/>
              <a:gd name="connsiteY56" fmla="*/ 9315 h 10000"/>
              <a:gd name="connsiteX57" fmla="*/ 4296 w 9794"/>
              <a:gd name="connsiteY57" fmla="*/ 9356 h 10000"/>
              <a:gd name="connsiteX58" fmla="*/ 4527 w 9794"/>
              <a:gd name="connsiteY58" fmla="*/ 9361 h 10000"/>
              <a:gd name="connsiteX59" fmla="*/ 5046 w 9794"/>
              <a:gd name="connsiteY59" fmla="*/ 8817 h 10000"/>
              <a:gd name="connsiteX60" fmla="*/ 5178 w 9794"/>
              <a:gd name="connsiteY60" fmla="*/ 8375 h 10000"/>
              <a:gd name="connsiteX61" fmla="*/ 5389 w 9794"/>
              <a:gd name="connsiteY61" fmla="*/ 8177 h 10000"/>
              <a:gd name="connsiteX62" fmla="*/ 5389 w 9794"/>
              <a:gd name="connsiteY62" fmla="*/ 8073 h 10000"/>
              <a:gd name="connsiteX63" fmla="*/ 5312 w 9794"/>
              <a:gd name="connsiteY63" fmla="*/ 8015 h 10000"/>
              <a:gd name="connsiteX64" fmla="*/ 5436 w 9794"/>
              <a:gd name="connsiteY64" fmla="*/ 7922 h 10000"/>
              <a:gd name="connsiteX65" fmla="*/ 5414 w 9794"/>
              <a:gd name="connsiteY65" fmla="*/ 7844 h 10000"/>
              <a:gd name="connsiteX66" fmla="*/ 5329 w 9794"/>
              <a:gd name="connsiteY66" fmla="*/ 7776 h 10000"/>
              <a:gd name="connsiteX67" fmla="*/ 5312 w 9794"/>
              <a:gd name="connsiteY67" fmla="*/ 7728 h 10000"/>
              <a:gd name="connsiteX68" fmla="*/ 5334 w 9794"/>
              <a:gd name="connsiteY68" fmla="*/ 7691 h 10000"/>
              <a:gd name="connsiteX69" fmla="*/ 5448 w 9794"/>
              <a:gd name="connsiteY69" fmla="*/ 7721 h 10000"/>
              <a:gd name="connsiteX70" fmla="*/ 5539 w 9794"/>
              <a:gd name="connsiteY70" fmla="*/ 7719 h 10000"/>
              <a:gd name="connsiteX71" fmla="*/ 5490 w 9794"/>
              <a:gd name="connsiteY71" fmla="*/ 7655 h 10000"/>
              <a:gd name="connsiteX72" fmla="*/ 5505 w 9794"/>
              <a:gd name="connsiteY72" fmla="*/ 7619 h 10000"/>
              <a:gd name="connsiteX73" fmla="*/ 5573 w 9794"/>
              <a:gd name="connsiteY73" fmla="*/ 7565 h 10000"/>
              <a:gd name="connsiteX74" fmla="*/ 5560 w 9794"/>
              <a:gd name="connsiteY74" fmla="*/ 7521 h 10000"/>
              <a:gd name="connsiteX75" fmla="*/ 5623 w 9794"/>
              <a:gd name="connsiteY75" fmla="*/ 7373 h 10000"/>
              <a:gd name="connsiteX76" fmla="*/ 5605 w 9794"/>
              <a:gd name="connsiteY76" fmla="*/ 7327 h 10000"/>
              <a:gd name="connsiteX77" fmla="*/ 5291 w 9794"/>
              <a:gd name="connsiteY77" fmla="*/ 7216 h 10000"/>
              <a:gd name="connsiteX78" fmla="*/ 5334 w 9794"/>
              <a:gd name="connsiteY78" fmla="*/ 7211 h 10000"/>
              <a:gd name="connsiteX79" fmla="*/ 5501 w 9794"/>
              <a:gd name="connsiteY79" fmla="*/ 7241 h 10000"/>
              <a:gd name="connsiteX80" fmla="*/ 5683 w 9794"/>
              <a:gd name="connsiteY80" fmla="*/ 7230 h 10000"/>
              <a:gd name="connsiteX81" fmla="*/ 5735 w 9794"/>
              <a:gd name="connsiteY81" fmla="*/ 7189 h 10000"/>
              <a:gd name="connsiteX82" fmla="*/ 5560 w 9794"/>
              <a:gd name="connsiteY82" fmla="*/ 7113 h 10000"/>
              <a:gd name="connsiteX83" fmla="*/ 5042 w 9794"/>
              <a:gd name="connsiteY83" fmla="*/ 7062 h 10000"/>
              <a:gd name="connsiteX84" fmla="*/ 5077 w 9794"/>
              <a:gd name="connsiteY84" fmla="*/ 7039 h 10000"/>
              <a:gd name="connsiteX85" fmla="*/ 5501 w 9794"/>
              <a:gd name="connsiteY85" fmla="*/ 7023 h 10000"/>
              <a:gd name="connsiteX86" fmla="*/ 5735 w 9794"/>
              <a:gd name="connsiteY86" fmla="*/ 7069 h 10000"/>
              <a:gd name="connsiteX87" fmla="*/ 5870 w 9794"/>
              <a:gd name="connsiteY87" fmla="*/ 7039 h 10000"/>
              <a:gd name="connsiteX88" fmla="*/ 5919 w 9794"/>
              <a:gd name="connsiteY88" fmla="*/ 6959 h 10000"/>
              <a:gd name="connsiteX89" fmla="*/ 6163 w 9794"/>
              <a:gd name="connsiteY89" fmla="*/ 6959 h 10000"/>
              <a:gd name="connsiteX90" fmla="*/ 6494 w 9794"/>
              <a:gd name="connsiteY90" fmla="*/ 6799 h 10000"/>
              <a:gd name="connsiteX91" fmla="*/ 6505 w 9794"/>
              <a:gd name="connsiteY91" fmla="*/ 6693 h 10000"/>
              <a:gd name="connsiteX92" fmla="*/ 6645 w 9794"/>
              <a:gd name="connsiteY92" fmla="*/ 6718 h 10000"/>
              <a:gd name="connsiteX93" fmla="*/ 6639 w 9794"/>
              <a:gd name="connsiteY93" fmla="*/ 6824 h 10000"/>
              <a:gd name="connsiteX94" fmla="*/ 6861 w 9794"/>
              <a:gd name="connsiteY94" fmla="*/ 6817 h 10000"/>
              <a:gd name="connsiteX95" fmla="*/ 7007 w 9794"/>
              <a:gd name="connsiteY95" fmla="*/ 6707 h 10000"/>
              <a:gd name="connsiteX96" fmla="*/ 7278 w 9794"/>
              <a:gd name="connsiteY96" fmla="*/ 6607 h 10000"/>
              <a:gd name="connsiteX97" fmla="*/ 7236 w 9794"/>
              <a:gd name="connsiteY97" fmla="*/ 6493 h 10000"/>
              <a:gd name="connsiteX98" fmla="*/ 7316 w 9794"/>
              <a:gd name="connsiteY98" fmla="*/ 6538 h 10000"/>
              <a:gd name="connsiteX99" fmla="*/ 7440 w 9794"/>
              <a:gd name="connsiteY99" fmla="*/ 6538 h 10000"/>
              <a:gd name="connsiteX100" fmla="*/ 7440 w 9794"/>
              <a:gd name="connsiteY100" fmla="*/ 6486 h 10000"/>
              <a:gd name="connsiteX101" fmla="*/ 7556 w 9794"/>
              <a:gd name="connsiteY101" fmla="*/ 6446 h 10000"/>
              <a:gd name="connsiteX102" fmla="*/ 7540 w 9794"/>
              <a:gd name="connsiteY102" fmla="*/ 6405 h 10000"/>
              <a:gd name="connsiteX103" fmla="*/ 6565 w 9794"/>
              <a:gd name="connsiteY103" fmla="*/ 6488 h 10000"/>
              <a:gd name="connsiteX104" fmla="*/ 6336 w 9794"/>
              <a:gd name="connsiteY104" fmla="*/ 6463 h 10000"/>
              <a:gd name="connsiteX105" fmla="*/ 6244 w 9794"/>
              <a:gd name="connsiteY105" fmla="*/ 6493 h 10000"/>
              <a:gd name="connsiteX106" fmla="*/ 6213 w 9794"/>
              <a:gd name="connsiteY106" fmla="*/ 6436 h 10000"/>
              <a:gd name="connsiteX107" fmla="*/ 6105 w 9794"/>
              <a:gd name="connsiteY107" fmla="*/ 6384 h 10000"/>
              <a:gd name="connsiteX108" fmla="*/ 5670 w 9794"/>
              <a:gd name="connsiteY108" fmla="*/ 6282 h 10000"/>
              <a:gd name="connsiteX109" fmla="*/ 5414 w 9794"/>
              <a:gd name="connsiteY109" fmla="*/ 6298 h 10000"/>
              <a:gd name="connsiteX110" fmla="*/ 5312 w 9794"/>
              <a:gd name="connsiteY110" fmla="*/ 6270 h 10000"/>
              <a:gd name="connsiteX111" fmla="*/ 5420 w 9794"/>
              <a:gd name="connsiteY111" fmla="*/ 6245 h 10000"/>
              <a:gd name="connsiteX112" fmla="*/ 5501 w 9794"/>
              <a:gd name="connsiteY112" fmla="*/ 6190 h 10000"/>
              <a:gd name="connsiteX113" fmla="*/ 5623 w 9794"/>
              <a:gd name="connsiteY113" fmla="*/ 6208 h 10000"/>
              <a:gd name="connsiteX114" fmla="*/ 5767 w 9794"/>
              <a:gd name="connsiteY114" fmla="*/ 6193 h 10000"/>
              <a:gd name="connsiteX115" fmla="*/ 5984 w 9794"/>
              <a:gd name="connsiteY115" fmla="*/ 6211 h 10000"/>
              <a:gd name="connsiteX116" fmla="*/ 6010 w 9794"/>
              <a:gd name="connsiteY116" fmla="*/ 6204 h 10000"/>
              <a:gd name="connsiteX117" fmla="*/ 6179 w 9794"/>
              <a:gd name="connsiteY117" fmla="*/ 6287 h 10000"/>
              <a:gd name="connsiteX118" fmla="*/ 6302 w 9794"/>
              <a:gd name="connsiteY118" fmla="*/ 6257 h 10000"/>
              <a:gd name="connsiteX119" fmla="*/ 6314 w 9794"/>
              <a:gd name="connsiteY119" fmla="*/ 6229 h 10000"/>
              <a:gd name="connsiteX120" fmla="*/ 6428 w 9794"/>
              <a:gd name="connsiteY120" fmla="*/ 6278 h 10000"/>
              <a:gd name="connsiteX121" fmla="*/ 6579 w 9794"/>
              <a:gd name="connsiteY121" fmla="*/ 6304 h 10000"/>
              <a:gd name="connsiteX122" fmla="*/ 6639 w 9794"/>
              <a:gd name="connsiteY122" fmla="*/ 6255 h 10000"/>
              <a:gd name="connsiteX123" fmla="*/ 6687 w 9794"/>
              <a:gd name="connsiteY123" fmla="*/ 6282 h 10000"/>
              <a:gd name="connsiteX124" fmla="*/ 6758 w 9794"/>
              <a:gd name="connsiteY124" fmla="*/ 6377 h 10000"/>
              <a:gd name="connsiteX125" fmla="*/ 6904 w 9794"/>
              <a:gd name="connsiteY125" fmla="*/ 6399 h 10000"/>
              <a:gd name="connsiteX126" fmla="*/ 7501 w 9794"/>
              <a:gd name="connsiteY126" fmla="*/ 6259 h 10000"/>
              <a:gd name="connsiteX127" fmla="*/ 7794 w 9794"/>
              <a:gd name="connsiteY127" fmla="*/ 6064 h 10000"/>
              <a:gd name="connsiteX128" fmla="*/ 7862 w 9794"/>
              <a:gd name="connsiteY128" fmla="*/ 5921 h 10000"/>
              <a:gd name="connsiteX129" fmla="*/ 7756 w 9794"/>
              <a:gd name="connsiteY129" fmla="*/ 5792 h 10000"/>
              <a:gd name="connsiteX130" fmla="*/ 7533 w 9794"/>
              <a:gd name="connsiteY130" fmla="*/ 5715 h 10000"/>
              <a:gd name="connsiteX131" fmla="*/ 7375 w 9794"/>
              <a:gd name="connsiteY131" fmla="*/ 5589 h 10000"/>
              <a:gd name="connsiteX132" fmla="*/ 7522 w 9794"/>
              <a:gd name="connsiteY132" fmla="*/ 5584 h 10000"/>
              <a:gd name="connsiteX133" fmla="*/ 7512 w 9794"/>
              <a:gd name="connsiteY133" fmla="*/ 5554 h 10000"/>
              <a:gd name="connsiteX134" fmla="*/ 7129 w 9794"/>
              <a:gd name="connsiteY134" fmla="*/ 5465 h 10000"/>
              <a:gd name="connsiteX135" fmla="*/ 7112 w 9794"/>
              <a:gd name="connsiteY135" fmla="*/ 5383 h 10000"/>
              <a:gd name="connsiteX136" fmla="*/ 7038 w 9794"/>
              <a:gd name="connsiteY136" fmla="*/ 5299 h 10000"/>
              <a:gd name="connsiteX137" fmla="*/ 6736 w 9794"/>
              <a:gd name="connsiteY137" fmla="*/ 5314 h 10000"/>
              <a:gd name="connsiteX138" fmla="*/ 6628 w 9794"/>
              <a:gd name="connsiteY138" fmla="*/ 5224 h 10000"/>
              <a:gd name="connsiteX139" fmla="*/ 6565 w 9794"/>
              <a:gd name="connsiteY139" fmla="*/ 5219 h 10000"/>
              <a:gd name="connsiteX140" fmla="*/ 6565 w 9794"/>
              <a:gd name="connsiteY140" fmla="*/ 5256 h 10000"/>
              <a:gd name="connsiteX141" fmla="*/ 6428 w 9794"/>
              <a:gd name="connsiteY141" fmla="*/ 5408 h 10000"/>
              <a:gd name="connsiteX142" fmla="*/ 6281 w 9794"/>
              <a:gd name="connsiteY142" fmla="*/ 5498 h 10000"/>
              <a:gd name="connsiteX143" fmla="*/ 5819 w 9794"/>
              <a:gd name="connsiteY143" fmla="*/ 5651 h 10000"/>
              <a:gd name="connsiteX144" fmla="*/ 5658 w 9794"/>
              <a:gd name="connsiteY144" fmla="*/ 5646 h 10000"/>
              <a:gd name="connsiteX145" fmla="*/ 5436 w 9794"/>
              <a:gd name="connsiteY145" fmla="*/ 5669 h 10000"/>
              <a:gd name="connsiteX146" fmla="*/ 5312 w 9794"/>
              <a:gd name="connsiteY146" fmla="*/ 5646 h 10000"/>
              <a:gd name="connsiteX147" fmla="*/ 5475 w 9794"/>
              <a:gd name="connsiteY147" fmla="*/ 5604 h 10000"/>
              <a:gd name="connsiteX148" fmla="*/ 5687 w 9794"/>
              <a:gd name="connsiteY148" fmla="*/ 5584 h 10000"/>
              <a:gd name="connsiteX149" fmla="*/ 5861 w 9794"/>
              <a:gd name="connsiteY149" fmla="*/ 5513 h 10000"/>
              <a:gd name="connsiteX150" fmla="*/ 6032 w 9794"/>
              <a:gd name="connsiteY150" fmla="*/ 5480 h 10000"/>
              <a:gd name="connsiteX151" fmla="*/ 6353 w 9794"/>
              <a:gd name="connsiteY151" fmla="*/ 5355 h 10000"/>
              <a:gd name="connsiteX152" fmla="*/ 6413 w 9794"/>
              <a:gd name="connsiteY152" fmla="*/ 5274 h 10000"/>
              <a:gd name="connsiteX153" fmla="*/ 6419 w 9794"/>
              <a:gd name="connsiteY153" fmla="*/ 5168 h 10000"/>
              <a:gd name="connsiteX154" fmla="*/ 6271 w 9794"/>
              <a:gd name="connsiteY154" fmla="*/ 5150 h 10000"/>
              <a:gd name="connsiteX155" fmla="*/ 6336 w 9794"/>
              <a:gd name="connsiteY155" fmla="*/ 5086 h 10000"/>
              <a:gd name="connsiteX156" fmla="*/ 6357 w 9794"/>
              <a:gd name="connsiteY156" fmla="*/ 5005 h 10000"/>
              <a:gd name="connsiteX157" fmla="*/ 6295 w 9794"/>
              <a:gd name="connsiteY157" fmla="*/ 4928 h 10000"/>
              <a:gd name="connsiteX158" fmla="*/ 9584 w 9794"/>
              <a:gd name="connsiteY158" fmla="*/ 2263 h 10000"/>
              <a:gd name="connsiteX159" fmla="*/ 9416 w 9794"/>
              <a:gd name="connsiteY159" fmla="*/ 1773 h 10000"/>
              <a:gd name="connsiteX160" fmla="*/ 9043 w 9794"/>
              <a:gd name="connsiteY160" fmla="*/ 1639 h 10000"/>
              <a:gd name="connsiteX161" fmla="*/ 9111 w 9794"/>
              <a:gd name="connsiteY161" fmla="*/ 1480 h 10000"/>
              <a:gd name="connsiteX162" fmla="*/ 7718 w 9794"/>
              <a:gd name="connsiteY162" fmla="*/ 923 h 10000"/>
              <a:gd name="connsiteX163" fmla="*/ 7743 w 9794"/>
              <a:gd name="connsiteY163" fmla="*/ 649 h 10000"/>
              <a:gd name="connsiteX164" fmla="*/ 7218 w 9794"/>
              <a:gd name="connsiteY164" fmla="*/ 590 h 10000"/>
              <a:gd name="connsiteX165" fmla="*/ 6602 w 9794"/>
              <a:gd name="connsiteY165" fmla="*/ 332 h 10000"/>
              <a:gd name="connsiteX166" fmla="*/ 5248 w 9794"/>
              <a:gd name="connsiteY166" fmla="*/ 0 h 10000"/>
              <a:gd name="connsiteX167" fmla="*/ 4979 w 9794"/>
              <a:gd name="connsiteY167" fmla="*/ 82 h 10000"/>
              <a:gd name="connsiteX168" fmla="*/ 4809 w 9794"/>
              <a:gd name="connsiteY168" fmla="*/ 78 h 10000"/>
              <a:gd name="connsiteX169" fmla="*/ 4706 w 9794"/>
              <a:gd name="connsiteY169" fmla="*/ 107 h 10000"/>
              <a:gd name="connsiteX170" fmla="*/ 4425 w 9794"/>
              <a:gd name="connsiteY170" fmla="*/ 913 h 10000"/>
              <a:gd name="connsiteX171" fmla="*/ 3776 w 9794"/>
              <a:gd name="connsiteY171" fmla="*/ 1383 h 10000"/>
              <a:gd name="connsiteX172" fmla="*/ 3780 w 9794"/>
              <a:gd name="connsiteY172" fmla="*/ 1457 h 10000"/>
              <a:gd name="connsiteX173" fmla="*/ 4068 w 9794"/>
              <a:gd name="connsiteY173" fmla="*/ 1668 h 10000"/>
              <a:gd name="connsiteX174" fmla="*/ 3975 w 9794"/>
              <a:gd name="connsiteY174" fmla="*/ 1896 h 10000"/>
              <a:gd name="connsiteX175" fmla="*/ 3807 w 9794"/>
              <a:gd name="connsiteY175" fmla="*/ 1979 h 10000"/>
              <a:gd name="connsiteX176" fmla="*/ 3302 w 9794"/>
              <a:gd name="connsiteY176" fmla="*/ 1924 h 10000"/>
              <a:gd name="connsiteX177" fmla="*/ 2956 w 9794"/>
              <a:gd name="connsiteY177" fmla="*/ 1955 h 10000"/>
              <a:gd name="connsiteX178" fmla="*/ 2678 w 9794"/>
              <a:gd name="connsiteY178" fmla="*/ 2023 h 10000"/>
              <a:gd name="connsiteX179" fmla="*/ 2227 w 9794"/>
              <a:gd name="connsiteY179" fmla="*/ 2233 h 10000"/>
              <a:gd name="connsiteX180" fmla="*/ 1988 w 9794"/>
              <a:gd name="connsiteY180" fmla="*/ 2487 h 10000"/>
              <a:gd name="connsiteX181" fmla="*/ 2008 w 9794"/>
              <a:gd name="connsiteY181" fmla="*/ 2629 h 10000"/>
              <a:gd name="connsiteX182" fmla="*/ 2092 w 9794"/>
              <a:gd name="connsiteY182" fmla="*/ 2738 h 10000"/>
              <a:gd name="connsiteX183" fmla="*/ 2155 w 9794"/>
              <a:gd name="connsiteY183" fmla="*/ 2782 h 10000"/>
              <a:gd name="connsiteX184" fmla="*/ 2037 w 9794"/>
              <a:gd name="connsiteY184" fmla="*/ 2852 h 10000"/>
              <a:gd name="connsiteX185" fmla="*/ 1782 w 9794"/>
              <a:gd name="connsiteY185" fmla="*/ 3330 h 10000"/>
              <a:gd name="connsiteX186" fmla="*/ 1831 w 9794"/>
              <a:gd name="connsiteY186" fmla="*/ 3358 h 10000"/>
              <a:gd name="connsiteX187" fmla="*/ 1868 w 9794"/>
              <a:gd name="connsiteY187" fmla="*/ 3479 h 10000"/>
              <a:gd name="connsiteX188" fmla="*/ 1750 w 9794"/>
              <a:gd name="connsiteY188" fmla="*/ 3982 h 10000"/>
              <a:gd name="connsiteX189" fmla="*/ 1868 w 9794"/>
              <a:gd name="connsiteY189" fmla="*/ 4110 h 10000"/>
              <a:gd name="connsiteX190" fmla="*/ 2194 w 9794"/>
              <a:gd name="connsiteY190" fmla="*/ 4251 h 10000"/>
              <a:gd name="connsiteX191" fmla="*/ 2208 w 9794"/>
              <a:gd name="connsiteY191" fmla="*/ 4423 h 10000"/>
              <a:gd name="connsiteX192" fmla="*/ 2069 w 9794"/>
              <a:gd name="connsiteY192" fmla="*/ 4566 h 10000"/>
              <a:gd name="connsiteX193" fmla="*/ 1868 w 9794"/>
              <a:gd name="connsiteY193" fmla="*/ 4652 h 10000"/>
              <a:gd name="connsiteX194" fmla="*/ 1603 w 9794"/>
              <a:gd name="connsiteY194" fmla="*/ 4687 h 10000"/>
              <a:gd name="connsiteX195" fmla="*/ 1534 w 9794"/>
              <a:gd name="connsiteY195" fmla="*/ 4737 h 10000"/>
              <a:gd name="connsiteX196" fmla="*/ 1688 w 9794"/>
              <a:gd name="connsiteY196" fmla="*/ 4855 h 10000"/>
              <a:gd name="connsiteX197" fmla="*/ 1777 w 9794"/>
              <a:gd name="connsiteY197" fmla="*/ 5136 h 10000"/>
              <a:gd name="connsiteX198" fmla="*/ 1576 w 9794"/>
              <a:gd name="connsiteY198" fmla="*/ 5376 h 10000"/>
              <a:gd name="connsiteX199" fmla="*/ 1646 w 9794"/>
              <a:gd name="connsiteY199" fmla="*/ 5451 h 10000"/>
              <a:gd name="connsiteX200" fmla="*/ 1582 w 9794"/>
              <a:gd name="connsiteY200" fmla="*/ 5577 h 10000"/>
              <a:gd name="connsiteX201" fmla="*/ 1454 w 9794"/>
              <a:gd name="connsiteY201" fmla="*/ 5663 h 10000"/>
              <a:gd name="connsiteX202" fmla="*/ 942 w 9794"/>
              <a:gd name="connsiteY202" fmla="*/ 5730 h 10000"/>
              <a:gd name="connsiteX203" fmla="*/ 911 w 9794"/>
              <a:gd name="connsiteY203" fmla="*/ 5846 h 10000"/>
              <a:gd name="connsiteX204" fmla="*/ 635 w 9794"/>
              <a:gd name="connsiteY204" fmla="*/ 6019 h 10000"/>
              <a:gd name="connsiteX205" fmla="*/ 671 w 9794"/>
              <a:gd name="connsiteY205" fmla="*/ 6268 h 10000"/>
              <a:gd name="connsiteX206" fmla="*/ 440 w 9794"/>
              <a:gd name="connsiteY206" fmla="*/ 6587 h 10000"/>
              <a:gd name="connsiteX207" fmla="*/ 282 w 9794"/>
              <a:gd name="connsiteY207" fmla="*/ 6624 h 10000"/>
              <a:gd name="connsiteX208" fmla="*/ 216 w 9794"/>
              <a:gd name="connsiteY208" fmla="*/ 6548 h 10000"/>
              <a:gd name="connsiteX209" fmla="*/ 136 w 9794"/>
              <a:gd name="connsiteY209" fmla="*/ 6663 h 10000"/>
              <a:gd name="connsiteX210" fmla="*/ 188 w 9794"/>
              <a:gd name="connsiteY210" fmla="*/ 6465 h 10000"/>
              <a:gd name="connsiteX211" fmla="*/ 155 w 9794"/>
              <a:gd name="connsiteY211" fmla="*/ 6427 h 10000"/>
              <a:gd name="connsiteX0" fmla="*/ 158 w 9915"/>
              <a:gd name="connsiteY0" fmla="*/ 6427 h 10000"/>
              <a:gd name="connsiteX1" fmla="*/ 0 w 9915"/>
              <a:gd name="connsiteY1" fmla="*/ 6530 h 10000"/>
              <a:gd name="connsiteX2" fmla="*/ 0 w 9915"/>
              <a:gd name="connsiteY2" fmla="*/ 7039 h 10000"/>
              <a:gd name="connsiteX3" fmla="*/ 87 w 9915"/>
              <a:gd name="connsiteY3" fmla="*/ 7053 h 10000"/>
              <a:gd name="connsiteX4" fmla="*/ 108 w 9915"/>
              <a:gd name="connsiteY4" fmla="*/ 7092 h 10000"/>
              <a:gd name="connsiteX5" fmla="*/ 104 w 9915"/>
              <a:gd name="connsiteY5" fmla="*/ 7161 h 10000"/>
              <a:gd name="connsiteX6" fmla="*/ 71 w 9915"/>
              <a:gd name="connsiteY6" fmla="*/ 7192 h 10000"/>
              <a:gd name="connsiteX7" fmla="*/ 205 w 9915"/>
              <a:gd name="connsiteY7" fmla="*/ 7133 h 10000"/>
              <a:gd name="connsiteX8" fmla="*/ 261 w 9915"/>
              <a:gd name="connsiteY8" fmla="*/ 7075 h 10000"/>
              <a:gd name="connsiteX9" fmla="*/ 331 w 9915"/>
              <a:gd name="connsiteY9" fmla="*/ 7115 h 10000"/>
              <a:gd name="connsiteX10" fmla="*/ 254 w 9915"/>
              <a:gd name="connsiteY10" fmla="*/ 7198 h 10000"/>
              <a:gd name="connsiteX11" fmla="*/ 336 w 9915"/>
              <a:gd name="connsiteY11" fmla="*/ 7200 h 10000"/>
              <a:gd name="connsiteX12" fmla="*/ 377 w 9915"/>
              <a:gd name="connsiteY12" fmla="*/ 7221 h 10000"/>
              <a:gd name="connsiteX13" fmla="*/ 271 w 9915"/>
              <a:gd name="connsiteY13" fmla="*/ 7248 h 10000"/>
              <a:gd name="connsiteX14" fmla="*/ 104 w 9915"/>
              <a:gd name="connsiteY14" fmla="*/ 7333 h 10000"/>
              <a:gd name="connsiteX15" fmla="*/ 400 w 9915"/>
              <a:gd name="connsiteY15" fmla="*/ 7400 h 10000"/>
              <a:gd name="connsiteX16" fmla="*/ 437 w 9915"/>
              <a:gd name="connsiteY16" fmla="*/ 7496 h 10000"/>
              <a:gd name="connsiteX17" fmla="*/ 336 w 9915"/>
              <a:gd name="connsiteY17" fmla="*/ 7636 h 10000"/>
              <a:gd name="connsiteX18" fmla="*/ 552 w 9915"/>
              <a:gd name="connsiteY18" fmla="*/ 7627 h 10000"/>
              <a:gd name="connsiteX19" fmla="*/ 569 w 9915"/>
              <a:gd name="connsiteY19" fmla="*/ 7733 h 10000"/>
              <a:gd name="connsiteX20" fmla="*/ 425 w 9915"/>
              <a:gd name="connsiteY20" fmla="*/ 7805 h 10000"/>
              <a:gd name="connsiteX21" fmla="*/ 449 w 9915"/>
              <a:gd name="connsiteY21" fmla="*/ 7945 h 10000"/>
              <a:gd name="connsiteX22" fmla="*/ 393 w 9915"/>
              <a:gd name="connsiteY22" fmla="*/ 8053 h 10000"/>
              <a:gd name="connsiteX23" fmla="*/ 564 w 9915"/>
              <a:gd name="connsiteY23" fmla="*/ 8063 h 10000"/>
              <a:gd name="connsiteX24" fmla="*/ 730 w 9915"/>
              <a:gd name="connsiteY24" fmla="*/ 8478 h 10000"/>
              <a:gd name="connsiteX25" fmla="*/ 923 w 9915"/>
              <a:gd name="connsiteY25" fmla="*/ 8583 h 10000"/>
              <a:gd name="connsiteX26" fmla="*/ 1007 w 9915"/>
              <a:gd name="connsiteY26" fmla="*/ 8695 h 10000"/>
              <a:gd name="connsiteX27" fmla="*/ 1216 w 9915"/>
              <a:gd name="connsiteY27" fmla="*/ 8776 h 10000"/>
              <a:gd name="connsiteX28" fmla="*/ 1351 w 9915"/>
              <a:gd name="connsiteY28" fmla="*/ 8881 h 10000"/>
              <a:gd name="connsiteX29" fmla="*/ 1333 w 9915"/>
              <a:gd name="connsiteY29" fmla="*/ 8955 h 10000"/>
              <a:gd name="connsiteX30" fmla="*/ 1201 w 9915"/>
              <a:gd name="connsiteY30" fmla="*/ 8983 h 10000"/>
              <a:gd name="connsiteX31" fmla="*/ 1056 w 9915"/>
              <a:gd name="connsiteY31" fmla="*/ 8965 h 10000"/>
              <a:gd name="connsiteX32" fmla="*/ 1011 w 9915"/>
              <a:gd name="connsiteY32" fmla="*/ 8996 h 10000"/>
              <a:gd name="connsiteX33" fmla="*/ 1121 w 9915"/>
              <a:gd name="connsiteY33" fmla="*/ 9158 h 10000"/>
              <a:gd name="connsiteX34" fmla="*/ 967 w 9915"/>
              <a:gd name="connsiteY34" fmla="*/ 9144 h 10000"/>
              <a:gd name="connsiteX35" fmla="*/ 835 w 9915"/>
              <a:gd name="connsiteY35" fmla="*/ 9105 h 10000"/>
              <a:gd name="connsiteX36" fmla="*/ 812 w 9915"/>
              <a:gd name="connsiteY36" fmla="*/ 9165 h 10000"/>
              <a:gd name="connsiteX37" fmla="*/ 1249 w 9915"/>
              <a:gd name="connsiteY37" fmla="*/ 9718 h 10000"/>
              <a:gd name="connsiteX38" fmla="*/ 1179 w 9915"/>
              <a:gd name="connsiteY38" fmla="*/ 9770 h 10000"/>
              <a:gd name="connsiteX39" fmla="*/ 1130 w 9915"/>
              <a:gd name="connsiteY39" fmla="*/ 9876 h 10000"/>
              <a:gd name="connsiteX40" fmla="*/ 1067 w 9915"/>
              <a:gd name="connsiteY40" fmla="*/ 9885 h 10000"/>
              <a:gd name="connsiteX41" fmla="*/ 1028 w 9915"/>
              <a:gd name="connsiteY41" fmla="*/ 9931 h 10000"/>
              <a:gd name="connsiteX42" fmla="*/ 1292 w 9915"/>
              <a:gd name="connsiteY42" fmla="*/ 9936 h 10000"/>
              <a:gd name="connsiteX43" fmla="*/ 1525 w 9915"/>
              <a:gd name="connsiteY43" fmla="*/ 9982 h 10000"/>
              <a:gd name="connsiteX44" fmla="*/ 1913 w 9915"/>
              <a:gd name="connsiteY44" fmla="*/ 9933 h 10000"/>
              <a:gd name="connsiteX45" fmla="*/ 2261 w 9915"/>
              <a:gd name="connsiteY45" fmla="*/ 9941 h 10000"/>
              <a:gd name="connsiteX46" fmla="*/ 2466 w 9915"/>
              <a:gd name="connsiteY46" fmla="*/ 10000 h 10000"/>
              <a:gd name="connsiteX47" fmla="*/ 2579 w 9915"/>
              <a:gd name="connsiteY47" fmla="*/ 9961 h 10000"/>
              <a:gd name="connsiteX48" fmla="*/ 2687 w 9915"/>
              <a:gd name="connsiteY48" fmla="*/ 9834 h 10000"/>
              <a:gd name="connsiteX49" fmla="*/ 2659 w 9915"/>
              <a:gd name="connsiteY49" fmla="*/ 9625 h 10000"/>
              <a:gd name="connsiteX50" fmla="*/ 2924 w 9915"/>
              <a:gd name="connsiteY50" fmla="*/ 9392 h 10000"/>
              <a:gd name="connsiteX51" fmla="*/ 3117 w 9915"/>
              <a:gd name="connsiteY51" fmla="*/ 9428 h 10000"/>
              <a:gd name="connsiteX52" fmla="*/ 3230 w 9915"/>
              <a:gd name="connsiteY52" fmla="*/ 9335 h 10000"/>
              <a:gd name="connsiteX53" fmla="*/ 3446 w 9915"/>
              <a:gd name="connsiteY53" fmla="*/ 9282 h 10000"/>
              <a:gd name="connsiteX54" fmla="*/ 3739 w 9915"/>
              <a:gd name="connsiteY54" fmla="*/ 9295 h 10000"/>
              <a:gd name="connsiteX55" fmla="*/ 3915 w 9915"/>
              <a:gd name="connsiteY55" fmla="*/ 9332 h 10000"/>
              <a:gd name="connsiteX56" fmla="*/ 4149 w 9915"/>
              <a:gd name="connsiteY56" fmla="*/ 9315 h 10000"/>
              <a:gd name="connsiteX57" fmla="*/ 4386 w 9915"/>
              <a:gd name="connsiteY57" fmla="*/ 9356 h 10000"/>
              <a:gd name="connsiteX58" fmla="*/ 4622 w 9915"/>
              <a:gd name="connsiteY58" fmla="*/ 9361 h 10000"/>
              <a:gd name="connsiteX59" fmla="*/ 5152 w 9915"/>
              <a:gd name="connsiteY59" fmla="*/ 8817 h 10000"/>
              <a:gd name="connsiteX60" fmla="*/ 5287 w 9915"/>
              <a:gd name="connsiteY60" fmla="*/ 8375 h 10000"/>
              <a:gd name="connsiteX61" fmla="*/ 5502 w 9915"/>
              <a:gd name="connsiteY61" fmla="*/ 8177 h 10000"/>
              <a:gd name="connsiteX62" fmla="*/ 5502 w 9915"/>
              <a:gd name="connsiteY62" fmla="*/ 8073 h 10000"/>
              <a:gd name="connsiteX63" fmla="*/ 5424 w 9915"/>
              <a:gd name="connsiteY63" fmla="*/ 8015 h 10000"/>
              <a:gd name="connsiteX64" fmla="*/ 5550 w 9915"/>
              <a:gd name="connsiteY64" fmla="*/ 7922 h 10000"/>
              <a:gd name="connsiteX65" fmla="*/ 5528 w 9915"/>
              <a:gd name="connsiteY65" fmla="*/ 7844 h 10000"/>
              <a:gd name="connsiteX66" fmla="*/ 5441 w 9915"/>
              <a:gd name="connsiteY66" fmla="*/ 7776 h 10000"/>
              <a:gd name="connsiteX67" fmla="*/ 5424 w 9915"/>
              <a:gd name="connsiteY67" fmla="*/ 7728 h 10000"/>
              <a:gd name="connsiteX68" fmla="*/ 5446 w 9915"/>
              <a:gd name="connsiteY68" fmla="*/ 7691 h 10000"/>
              <a:gd name="connsiteX69" fmla="*/ 5563 w 9915"/>
              <a:gd name="connsiteY69" fmla="*/ 7721 h 10000"/>
              <a:gd name="connsiteX70" fmla="*/ 5656 w 9915"/>
              <a:gd name="connsiteY70" fmla="*/ 7719 h 10000"/>
              <a:gd name="connsiteX71" fmla="*/ 5605 w 9915"/>
              <a:gd name="connsiteY71" fmla="*/ 7655 h 10000"/>
              <a:gd name="connsiteX72" fmla="*/ 5621 w 9915"/>
              <a:gd name="connsiteY72" fmla="*/ 7619 h 10000"/>
              <a:gd name="connsiteX73" fmla="*/ 5690 w 9915"/>
              <a:gd name="connsiteY73" fmla="*/ 7565 h 10000"/>
              <a:gd name="connsiteX74" fmla="*/ 5677 w 9915"/>
              <a:gd name="connsiteY74" fmla="*/ 7521 h 10000"/>
              <a:gd name="connsiteX75" fmla="*/ 5741 w 9915"/>
              <a:gd name="connsiteY75" fmla="*/ 7373 h 10000"/>
              <a:gd name="connsiteX76" fmla="*/ 5723 w 9915"/>
              <a:gd name="connsiteY76" fmla="*/ 7327 h 10000"/>
              <a:gd name="connsiteX77" fmla="*/ 5402 w 9915"/>
              <a:gd name="connsiteY77" fmla="*/ 7216 h 10000"/>
              <a:gd name="connsiteX78" fmla="*/ 5446 w 9915"/>
              <a:gd name="connsiteY78" fmla="*/ 7211 h 10000"/>
              <a:gd name="connsiteX79" fmla="*/ 5617 w 9915"/>
              <a:gd name="connsiteY79" fmla="*/ 7241 h 10000"/>
              <a:gd name="connsiteX80" fmla="*/ 5803 w 9915"/>
              <a:gd name="connsiteY80" fmla="*/ 7230 h 10000"/>
              <a:gd name="connsiteX81" fmla="*/ 5856 w 9915"/>
              <a:gd name="connsiteY81" fmla="*/ 7189 h 10000"/>
              <a:gd name="connsiteX82" fmla="*/ 5677 w 9915"/>
              <a:gd name="connsiteY82" fmla="*/ 7113 h 10000"/>
              <a:gd name="connsiteX83" fmla="*/ 5148 w 9915"/>
              <a:gd name="connsiteY83" fmla="*/ 7062 h 10000"/>
              <a:gd name="connsiteX84" fmla="*/ 5184 w 9915"/>
              <a:gd name="connsiteY84" fmla="*/ 7039 h 10000"/>
              <a:gd name="connsiteX85" fmla="*/ 5617 w 9915"/>
              <a:gd name="connsiteY85" fmla="*/ 7023 h 10000"/>
              <a:gd name="connsiteX86" fmla="*/ 5856 w 9915"/>
              <a:gd name="connsiteY86" fmla="*/ 7069 h 10000"/>
              <a:gd name="connsiteX87" fmla="*/ 5993 w 9915"/>
              <a:gd name="connsiteY87" fmla="*/ 7039 h 10000"/>
              <a:gd name="connsiteX88" fmla="*/ 6043 w 9915"/>
              <a:gd name="connsiteY88" fmla="*/ 6959 h 10000"/>
              <a:gd name="connsiteX89" fmla="*/ 6293 w 9915"/>
              <a:gd name="connsiteY89" fmla="*/ 6959 h 10000"/>
              <a:gd name="connsiteX90" fmla="*/ 6631 w 9915"/>
              <a:gd name="connsiteY90" fmla="*/ 6799 h 10000"/>
              <a:gd name="connsiteX91" fmla="*/ 6642 w 9915"/>
              <a:gd name="connsiteY91" fmla="*/ 6693 h 10000"/>
              <a:gd name="connsiteX92" fmla="*/ 6785 w 9915"/>
              <a:gd name="connsiteY92" fmla="*/ 6718 h 10000"/>
              <a:gd name="connsiteX93" fmla="*/ 6779 w 9915"/>
              <a:gd name="connsiteY93" fmla="*/ 6824 h 10000"/>
              <a:gd name="connsiteX94" fmla="*/ 7005 w 9915"/>
              <a:gd name="connsiteY94" fmla="*/ 6817 h 10000"/>
              <a:gd name="connsiteX95" fmla="*/ 7154 w 9915"/>
              <a:gd name="connsiteY95" fmla="*/ 6707 h 10000"/>
              <a:gd name="connsiteX96" fmla="*/ 7431 w 9915"/>
              <a:gd name="connsiteY96" fmla="*/ 6607 h 10000"/>
              <a:gd name="connsiteX97" fmla="*/ 7388 w 9915"/>
              <a:gd name="connsiteY97" fmla="*/ 6493 h 10000"/>
              <a:gd name="connsiteX98" fmla="*/ 7470 w 9915"/>
              <a:gd name="connsiteY98" fmla="*/ 6538 h 10000"/>
              <a:gd name="connsiteX99" fmla="*/ 7596 w 9915"/>
              <a:gd name="connsiteY99" fmla="*/ 6538 h 10000"/>
              <a:gd name="connsiteX100" fmla="*/ 7596 w 9915"/>
              <a:gd name="connsiteY100" fmla="*/ 6486 h 10000"/>
              <a:gd name="connsiteX101" fmla="*/ 7715 w 9915"/>
              <a:gd name="connsiteY101" fmla="*/ 6446 h 10000"/>
              <a:gd name="connsiteX102" fmla="*/ 7699 w 9915"/>
              <a:gd name="connsiteY102" fmla="*/ 6405 h 10000"/>
              <a:gd name="connsiteX103" fmla="*/ 6703 w 9915"/>
              <a:gd name="connsiteY103" fmla="*/ 6488 h 10000"/>
              <a:gd name="connsiteX104" fmla="*/ 6469 w 9915"/>
              <a:gd name="connsiteY104" fmla="*/ 6463 h 10000"/>
              <a:gd name="connsiteX105" fmla="*/ 6375 w 9915"/>
              <a:gd name="connsiteY105" fmla="*/ 6493 h 10000"/>
              <a:gd name="connsiteX106" fmla="*/ 6344 w 9915"/>
              <a:gd name="connsiteY106" fmla="*/ 6436 h 10000"/>
              <a:gd name="connsiteX107" fmla="*/ 6233 w 9915"/>
              <a:gd name="connsiteY107" fmla="*/ 6384 h 10000"/>
              <a:gd name="connsiteX108" fmla="*/ 5789 w 9915"/>
              <a:gd name="connsiteY108" fmla="*/ 6282 h 10000"/>
              <a:gd name="connsiteX109" fmla="*/ 5528 w 9915"/>
              <a:gd name="connsiteY109" fmla="*/ 6298 h 10000"/>
              <a:gd name="connsiteX110" fmla="*/ 5424 w 9915"/>
              <a:gd name="connsiteY110" fmla="*/ 6270 h 10000"/>
              <a:gd name="connsiteX111" fmla="*/ 5534 w 9915"/>
              <a:gd name="connsiteY111" fmla="*/ 6245 h 10000"/>
              <a:gd name="connsiteX112" fmla="*/ 5617 w 9915"/>
              <a:gd name="connsiteY112" fmla="*/ 6190 h 10000"/>
              <a:gd name="connsiteX113" fmla="*/ 5741 w 9915"/>
              <a:gd name="connsiteY113" fmla="*/ 6208 h 10000"/>
              <a:gd name="connsiteX114" fmla="*/ 5888 w 9915"/>
              <a:gd name="connsiteY114" fmla="*/ 6193 h 10000"/>
              <a:gd name="connsiteX115" fmla="*/ 6110 w 9915"/>
              <a:gd name="connsiteY115" fmla="*/ 6211 h 10000"/>
              <a:gd name="connsiteX116" fmla="*/ 6136 w 9915"/>
              <a:gd name="connsiteY116" fmla="*/ 6204 h 10000"/>
              <a:gd name="connsiteX117" fmla="*/ 6309 w 9915"/>
              <a:gd name="connsiteY117" fmla="*/ 6287 h 10000"/>
              <a:gd name="connsiteX118" fmla="*/ 6435 w 9915"/>
              <a:gd name="connsiteY118" fmla="*/ 6257 h 10000"/>
              <a:gd name="connsiteX119" fmla="*/ 6447 w 9915"/>
              <a:gd name="connsiteY119" fmla="*/ 6229 h 10000"/>
              <a:gd name="connsiteX120" fmla="*/ 6563 w 9915"/>
              <a:gd name="connsiteY120" fmla="*/ 6278 h 10000"/>
              <a:gd name="connsiteX121" fmla="*/ 6717 w 9915"/>
              <a:gd name="connsiteY121" fmla="*/ 6304 h 10000"/>
              <a:gd name="connsiteX122" fmla="*/ 6779 w 9915"/>
              <a:gd name="connsiteY122" fmla="*/ 6255 h 10000"/>
              <a:gd name="connsiteX123" fmla="*/ 6828 w 9915"/>
              <a:gd name="connsiteY123" fmla="*/ 6282 h 10000"/>
              <a:gd name="connsiteX124" fmla="*/ 6900 w 9915"/>
              <a:gd name="connsiteY124" fmla="*/ 6377 h 10000"/>
              <a:gd name="connsiteX125" fmla="*/ 7049 w 9915"/>
              <a:gd name="connsiteY125" fmla="*/ 6399 h 10000"/>
              <a:gd name="connsiteX126" fmla="*/ 7659 w 9915"/>
              <a:gd name="connsiteY126" fmla="*/ 6259 h 10000"/>
              <a:gd name="connsiteX127" fmla="*/ 7958 w 9915"/>
              <a:gd name="connsiteY127" fmla="*/ 6064 h 10000"/>
              <a:gd name="connsiteX128" fmla="*/ 8027 w 9915"/>
              <a:gd name="connsiteY128" fmla="*/ 5921 h 10000"/>
              <a:gd name="connsiteX129" fmla="*/ 7919 w 9915"/>
              <a:gd name="connsiteY129" fmla="*/ 5792 h 10000"/>
              <a:gd name="connsiteX130" fmla="*/ 7691 w 9915"/>
              <a:gd name="connsiteY130" fmla="*/ 5715 h 10000"/>
              <a:gd name="connsiteX131" fmla="*/ 7530 w 9915"/>
              <a:gd name="connsiteY131" fmla="*/ 5589 h 10000"/>
              <a:gd name="connsiteX132" fmla="*/ 7680 w 9915"/>
              <a:gd name="connsiteY132" fmla="*/ 5584 h 10000"/>
              <a:gd name="connsiteX133" fmla="*/ 7670 w 9915"/>
              <a:gd name="connsiteY133" fmla="*/ 5554 h 10000"/>
              <a:gd name="connsiteX134" fmla="*/ 7279 w 9915"/>
              <a:gd name="connsiteY134" fmla="*/ 5465 h 10000"/>
              <a:gd name="connsiteX135" fmla="*/ 7262 w 9915"/>
              <a:gd name="connsiteY135" fmla="*/ 5383 h 10000"/>
              <a:gd name="connsiteX136" fmla="*/ 7186 w 9915"/>
              <a:gd name="connsiteY136" fmla="*/ 5299 h 10000"/>
              <a:gd name="connsiteX137" fmla="*/ 6878 w 9915"/>
              <a:gd name="connsiteY137" fmla="*/ 5314 h 10000"/>
              <a:gd name="connsiteX138" fmla="*/ 6767 w 9915"/>
              <a:gd name="connsiteY138" fmla="*/ 5224 h 10000"/>
              <a:gd name="connsiteX139" fmla="*/ 6703 w 9915"/>
              <a:gd name="connsiteY139" fmla="*/ 5219 h 10000"/>
              <a:gd name="connsiteX140" fmla="*/ 6703 w 9915"/>
              <a:gd name="connsiteY140" fmla="*/ 5256 h 10000"/>
              <a:gd name="connsiteX141" fmla="*/ 6563 w 9915"/>
              <a:gd name="connsiteY141" fmla="*/ 5408 h 10000"/>
              <a:gd name="connsiteX142" fmla="*/ 6413 w 9915"/>
              <a:gd name="connsiteY142" fmla="*/ 5498 h 10000"/>
              <a:gd name="connsiteX143" fmla="*/ 5941 w 9915"/>
              <a:gd name="connsiteY143" fmla="*/ 5651 h 10000"/>
              <a:gd name="connsiteX144" fmla="*/ 5777 w 9915"/>
              <a:gd name="connsiteY144" fmla="*/ 5646 h 10000"/>
              <a:gd name="connsiteX145" fmla="*/ 5550 w 9915"/>
              <a:gd name="connsiteY145" fmla="*/ 5669 h 10000"/>
              <a:gd name="connsiteX146" fmla="*/ 5424 w 9915"/>
              <a:gd name="connsiteY146" fmla="*/ 5646 h 10000"/>
              <a:gd name="connsiteX147" fmla="*/ 5590 w 9915"/>
              <a:gd name="connsiteY147" fmla="*/ 5604 h 10000"/>
              <a:gd name="connsiteX148" fmla="*/ 5807 w 9915"/>
              <a:gd name="connsiteY148" fmla="*/ 5584 h 10000"/>
              <a:gd name="connsiteX149" fmla="*/ 5984 w 9915"/>
              <a:gd name="connsiteY149" fmla="*/ 5513 h 10000"/>
              <a:gd name="connsiteX150" fmla="*/ 6159 w 9915"/>
              <a:gd name="connsiteY150" fmla="*/ 5480 h 10000"/>
              <a:gd name="connsiteX151" fmla="*/ 6487 w 9915"/>
              <a:gd name="connsiteY151" fmla="*/ 5355 h 10000"/>
              <a:gd name="connsiteX152" fmla="*/ 6548 w 9915"/>
              <a:gd name="connsiteY152" fmla="*/ 5274 h 10000"/>
              <a:gd name="connsiteX153" fmla="*/ 6554 w 9915"/>
              <a:gd name="connsiteY153" fmla="*/ 5168 h 10000"/>
              <a:gd name="connsiteX154" fmla="*/ 6403 w 9915"/>
              <a:gd name="connsiteY154" fmla="*/ 5150 h 10000"/>
              <a:gd name="connsiteX155" fmla="*/ 6469 w 9915"/>
              <a:gd name="connsiteY155" fmla="*/ 5086 h 10000"/>
              <a:gd name="connsiteX156" fmla="*/ 6491 w 9915"/>
              <a:gd name="connsiteY156" fmla="*/ 5005 h 10000"/>
              <a:gd name="connsiteX157" fmla="*/ 6427 w 9915"/>
              <a:gd name="connsiteY157" fmla="*/ 4928 h 10000"/>
              <a:gd name="connsiteX158" fmla="*/ 9786 w 9915"/>
              <a:gd name="connsiteY158" fmla="*/ 2263 h 10000"/>
              <a:gd name="connsiteX159" fmla="*/ 9233 w 9915"/>
              <a:gd name="connsiteY159" fmla="*/ 1639 h 10000"/>
              <a:gd name="connsiteX160" fmla="*/ 9303 w 9915"/>
              <a:gd name="connsiteY160" fmla="*/ 1480 h 10000"/>
              <a:gd name="connsiteX161" fmla="*/ 7880 w 9915"/>
              <a:gd name="connsiteY161" fmla="*/ 923 h 10000"/>
              <a:gd name="connsiteX162" fmla="*/ 7906 w 9915"/>
              <a:gd name="connsiteY162" fmla="*/ 649 h 10000"/>
              <a:gd name="connsiteX163" fmla="*/ 7370 w 9915"/>
              <a:gd name="connsiteY163" fmla="*/ 590 h 10000"/>
              <a:gd name="connsiteX164" fmla="*/ 6741 w 9915"/>
              <a:gd name="connsiteY164" fmla="*/ 332 h 10000"/>
              <a:gd name="connsiteX165" fmla="*/ 5358 w 9915"/>
              <a:gd name="connsiteY165" fmla="*/ 0 h 10000"/>
              <a:gd name="connsiteX166" fmla="*/ 5084 w 9915"/>
              <a:gd name="connsiteY166" fmla="*/ 82 h 10000"/>
              <a:gd name="connsiteX167" fmla="*/ 4910 w 9915"/>
              <a:gd name="connsiteY167" fmla="*/ 78 h 10000"/>
              <a:gd name="connsiteX168" fmla="*/ 4805 w 9915"/>
              <a:gd name="connsiteY168" fmla="*/ 107 h 10000"/>
              <a:gd name="connsiteX169" fmla="*/ 4518 w 9915"/>
              <a:gd name="connsiteY169" fmla="*/ 913 h 10000"/>
              <a:gd name="connsiteX170" fmla="*/ 3855 w 9915"/>
              <a:gd name="connsiteY170" fmla="*/ 1383 h 10000"/>
              <a:gd name="connsiteX171" fmla="*/ 3860 w 9915"/>
              <a:gd name="connsiteY171" fmla="*/ 1457 h 10000"/>
              <a:gd name="connsiteX172" fmla="*/ 4154 w 9915"/>
              <a:gd name="connsiteY172" fmla="*/ 1668 h 10000"/>
              <a:gd name="connsiteX173" fmla="*/ 4059 w 9915"/>
              <a:gd name="connsiteY173" fmla="*/ 1896 h 10000"/>
              <a:gd name="connsiteX174" fmla="*/ 3887 w 9915"/>
              <a:gd name="connsiteY174" fmla="*/ 1979 h 10000"/>
              <a:gd name="connsiteX175" fmla="*/ 3371 w 9915"/>
              <a:gd name="connsiteY175" fmla="*/ 1924 h 10000"/>
              <a:gd name="connsiteX176" fmla="*/ 3018 w 9915"/>
              <a:gd name="connsiteY176" fmla="*/ 1955 h 10000"/>
              <a:gd name="connsiteX177" fmla="*/ 2734 w 9915"/>
              <a:gd name="connsiteY177" fmla="*/ 2023 h 10000"/>
              <a:gd name="connsiteX178" fmla="*/ 2274 w 9915"/>
              <a:gd name="connsiteY178" fmla="*/ 2233 h 10000"/>
              <a:gd name="connsiteX179" fmla="*/ 2030 w 9915"/>
              <a:gd name="connsiteY179" fmla="*/ 2487 h 10000"/>
              <a:gd name="connsiteX180" fmla="*/ 2050 w 9915"/>
              <a:gd name="connsiteY180" fmla="*/ 2629 h 10000"/>
              <a:gd name="connsiteX181" fmla="*/ 2136 w 9915"/>
              <a:gd name="connsiteY181" fmla="*/ 2738 h 10000"/>
              <a:gd name="connsiteX182" fmla="*/ 2200 w 9915"/>
              <a:gd name="connsiteY182" fmla="*/ 2782 h 10000"/>
              <a:gd name="connsiteX183" fmla="*/ 2080 w 9915"/>
              <a:gd name="connsiteY183" fmla="*/ 2852 h 10000"/>
              <a:gd name="connsiteX184" fmla="*/ 1819 w 9915"/>
              <a:gd name="connsiteY184" fmla="*/ 3330 h 10000"/>
              <a:gd name="connsiteX185" fmla="*/ 1870 w 9915"/>
              <a:gd name="connsiteY185" fmla="*/ 3358 h 10000"/>
              <a:gd name="connsiteX186" fmla="*/ 1907 w 9915"/>
              <a:gd name="connsiteY186" fmla="*/ 3479 h 10000"/>
              <a:gd name="connsiteX187" fmla="*/ 1787 w 9915"/>
              <a:gd name="connsiteY187" fmla="*/ 3982 h 10000"/>
              <a:gd name="connsiteX188" fmla="*/ 1907 w 9915"/>
              <a:gd name="connsiteY188" fmla="*/ 4110 h 10000"/>
              <a:gd name="connsiteX189" fmla="*/ 2240 w 9915"/>
              <a:gd name="connsiteY189" fmla="*/ 4251 h 10000"/>
              <a:gd name="connsiteX190" fmla="*/ 2254 w 9915"/>
              <a:gd name="connsiteY190" fmla="*/ 4423 h 10000"/>
              <a:gd name="connsiteX191" fmla="*/ 2113 w 9915"/>
              <a:gd name="connsiteY191" fmla="*/ 4566 h 10000"/>
              <a:gd name="connsiteX192" fmla="*/ 1907 w 9915"/>
              <a:gd name="connsiteY192" fmla="*/ 4652 h 10000"/>
              <a:gd name="connsiteX193" fmla="*/ 1637 w 9915"/>
              <a:gd name="connsiteY193" fmla="*/ 4687 h 10000"/>
              <a:gd name="connsiteX194" fmla="*/ 1566 w 9915"/>
              <a:gd name="connsiteY194" fmla="*/ 4737 h 10000"/>
              <a:gd name="connsiteX195" fmla="*/ 1724 w 9915"/>
              <a:gd name="connsiteY195" fmla="*/ 4855 h 10000"/>
              <a:gd name="connsiteX196" fmla="*/ 1814 w 9915"/>
              <a:gd name="connsiteY196" fmla="*/ 5136 h 10000"/>
              <a:gd name="connsiteX197" fmla="*/ 1609 w 9915"/>
              <a:gd name="connsiteY197" fmla="*/ 5376 h 10000"/>
              <a:gd name="connsiteX198" fmla="*/ 1681 w 9915"/>
              <a:gd name="connsiteY198" fmla="*/ 5451 h 10000"/>
              <a:gd name="connsiteX199" fmla="*/ 1615 w 9915"/>
              <a:gd name="connsiteY199" fmla="*/ 5577 h 10000"/>
              <a:gd name="connsiteX200" fmla="*/ 1485 w 9915"/>
              <a:gd name="connsiteY200" fmla="*/ 5663 h 10000"/>
              <a:gd name="connsiteX201" fmla="*/ 962 w 9915"/>
              <a:gd name="connsiteY201" fmla="*/ 5730 h 10000"/>
              <a:gd name="connsiteX202" fmla="*/ 930 w 9915"/>
              <a:gd name="connsiteY202" fmla="*/ 5846 h 10000"/>
              <a:gd name="connsiteX203" fmla="*/ 648 w 9915"/>
              <a:gd name="connsiteY203" fmla="*/ 6019 h 10000"/>
              <a:gd name="connsiteX204" fmla="*/ 685 w 9915"/>
              <a:gd name="connsiteY204" fmla="*/ 6268 h 10000"/>
              <a:gd name="connsiteX205" fmla="*/ 449 w 9915"/>
              <a:gd name="connsiteY205" fmla="*/ 6587 h 10000"/>
              <a:gd name="connsiteX206" fmla="*/ 288 w 9915"/>
              <a:gd name="connsiteY206" fmla="*/ 6624 h 10000"/>
              <a:gd name="connsiteX207" fmla="*/ 221 w 9915"/>
              <a:gd name="connsiteY207" fmla="*/ 6548 h 10000"/>
              <a:gd name="connsiteX208" fmla="*/ 139 w 9915"/>
              <a:gd name="connsiteY208" fmla="*/ 6663 h 10000"/>
              <a:gd name="connsiteX209" fmla="*/ 192 w 9915"/>
              <a:gd name="connsiteY209" fmla="*/ 6465 h 10000"/>
              <a:gd name="connsiteX210" fmla="*/ 158 w 9915"/>
              <a:gd name="connsiteY210" fmla="*/ 6427 h 10000"/>
              <a:gd name="connsiteX0" fmla="*/ 159 w 10043"/>
              <a:gd name="connsiteY0" fmla="*/ 6427 h 10000"/>
              <a:gd name="connsiteX1" fmla="*/ 0 w 10043"/>
              <a:gd name="connsiteY1" fmla="*/ 6530 h 10000"/>
              <a:gd name="connsiteX2" fmla="*/ 0 w 10043"/>
              <a:gd name="connsiteY2" fmla="*/ 7039 h 10000"/>
              <a:gd name="connsiteX3" fmla="*/ 88 w 10043"/>
              <a:gd name="connsiteY3" fmla="*/ 7053 h 10000"/>
              <a:gd name="connsiteX4" fmla="*/ 109 w 10043"/>
              <a:gd name="connsiteY4" fmla="*/ 7092 h 10000"/>
              <a:gd name="connsiteX5" fmla="*/ 105 w 10043"/>
              <a:gd name="connsiteY5" fmla="*/ 7161 h 10000"/>
              <a:gd name="connsiteX6" fmla="*/ 72 w 10043"/>
              <a:gd name="connsiteY6" fmla="*/ 7192 h 10000"/>
              <a:gd name="connsiteX7" fmla="*/ 207 w 10043"/>
              <a:gd name="connsiteY7" fmla="*/ 7133 h 10000"/>
              <a:gd name="connsiteX8" fmla="*/ 263 w 10043"/>
              <a:gd name="connsiteY8" fmla="*/ 7075 h 10000"/>
              <a:gd name="connsiteX9" fmla="*/ 334 w 10043"/>
              <a:gd name="connsiteY9" fmla="*/ 7115 h 10000"/>
              <a:gd name="connsiteX10" fmla="*/ 256 w 10043"/>
              <a:gd name="connsiteY10" fmla="*/ 7198 h 10000"/>
              <a:gd name="connsiteX11" fmla="*/ 339 w 10043"/>
              <a:gd name="connsiteY11" fmla="*/ 7200 h 10000"/>
              <a:gd name="connsiteX12" fmla="*/ 380 w 10043"/>
              <a:gd name="connsiteY12" fmla="*/ 7221 h 10000"/>
              <a:gd name="connsiteX13" fmla="*/ 273 w 10043"/>
              <a:gd name="connsiteY13" fmla="*/ 7248 h 10000"/>
              <a:gd name="connsiteX14" fmla="*/ 105 w 10043"/>
              <a:gd name="connsiteY14" fmla="*/ 7333 h 10000"/>
              <a:gd name="connsiteX15" fmla="*/ 403 w 10043"/>
              <a:gd name="connsiteY15" fmla="*/ 7400 h 10000"/>
              <a:gd name="connsiteX16" fmla="*/ 441 w 10043"/>
              <a:gd name="connsiteY16" fmla="*/ 7496 h 10000"/>
              <a:gd name="connsiteX17" fmla="*/ 339 w 10043"/>
              <a:gd name="connsiteY17" fmla="*/ 7636 h 10000"/>
              <a:gd name="connsiteX18" fmla="*/ 557 w 10043"/>
              <a:gd name="connsiteY18" fmla="*/ 7627 h 10000"/>
              <a:gd name="connsiteX19" fmla="*/ 574 w 10043"/>
              <a:gd name="connsiteY19" fmla="*/ 7733 h 10000"/>
              <a:gd name="connsiteX20" fmla="*/ 429 w 10043"/>
              <a:gd name="connsiteY20" fmla="*/ 7805 h 10000"/>
              <a:gd name="connsiteX21" fmla="*/ 453 w 10043"/>
              <a:gd name="connsiteY21" fmla="*/ 7945 h 10000"/>
              <a:gd name="connsiteX22" fmla="*/ 396 w 10043"/>
              <a:gd name="connsiteY22" fmla="*/ 8053 h 10000"/>
              <a:gd name="connsiteX23" fmla="*/ 569 w 10043"/>
              <a:gd name="connsiteY23" fmla="*/ 8063 h 10000"/>
              <a:gd name="connsiteX24" fmla="*/ 736 w 10043"/>
              <a:gd name="connsiteY24" fmla="*/ 8478 h 10000"/>
              <a:gd name="connsiteX25" fmla="*/ 931 w 10043"/>
              <a:gd name="connsiteY25" fmla="*/ 8583 h 10000"/>
              <a:gd name="connsiteX26" fmla="*/ 1016 w 10043"/>
              <a:gd name="connsiteY26" fmla="*/ 8695 h 10000"/>
              <a:gd name="connsiteX27" fmla="*/ 1226 w 10043"/>
              <a:gd name="connsiteY27" fmla="*/ 8776 h 10000"/>
              <a:gd name="connsiteX28" fmla="*/ 1363 w 10043"/>
              <a:gd name="connsiteY28" fmla="*/ 8881 h 10000"/>
              <a:gd name="connsiteX29" fmla="*/ 1344 w 10043"/>
              <a:gd name="connsiteY29" fmla="*/ 8955 h 10000"/>
              <a:gd name="connsiteX30" fmla="*/ 1211 w 10043"/>
              <a:gd name="connsiteY30" fmla="*/ 8983 h 10000"/>
              <a:gd name="connsiteX31" fmla="*/ 1065 w 10043"/>
              <a:gd name="connsiteY31" fmla="*/ 8965 h 10000"/>
              <a:gd name="connsiteX32" fmla="*/ 1020 w 10043"/>
              <a:gd name="connsiteY32" fmla="*/ 8996 h 10000"/>
              <a:gd name="connsiteX33" fmla="*/ 1131 w 10043"/>
              <a:gd name="connsiteY33" fmla="*/ 9158 h 10000"/>
              <a:gd name="connsiteX34" fmla="*/ 975 w 10043"/>
              <a:gd name="connsiteY34" fmla="*/ 9144 h 10000"/>
              <a:gd name="connsiteX35" fmla="*/ 842 w 10043"/>
              <a:gd name="connsiteY35" fmla="*/ 9105 h 10000"/>
              <a:gd name="connsiteX36" fmla="*/ 819 w 10043"/>
              <a:gd name="connsiteY36" fmla="*/ 9165 h 10000"/>
              <a:gd name="connsiteX37" fmla="*/ 1260 w 10043"/>
              <a:gd name="connsiteY37" fmla="*/ 9718 h 10000"/>
              <a:gd name="connsiteX38" fmla="*/ 1189 w 10043"/>
              <a:gd name="connsiteY38" fmla="*/ 9770 h 10000"/>
              <a:gd name="connsiteX39" fmla="*/ 1140 w 10043"/>
              <a:gd name="connsiteY39" fmla="*/ 9876 h 10000"/>
              <a:gd name="connsiteX40" fmla="*/ 1076 w 10043"/>
              <a:gd name="connsiteY40" fmla="*/ 9885 h 10000"/>
              <a:gd name="connsiteX41" fmla="*/ 1037 w 10043"/>
              <a:gd name="connsiteY41" fmla="*/ 9931 h 10000"/>
              <a:gd name="connsiteX42" fmla="*/ 1303 w 10043"/>
              <a:gd name="connsiteY42" fmla="*/ 9936 h 10000"/>
              <a:gd name="connsiteX43" fmla="*/ 1538 w 10043"/>
              <a:gd name="connsiteY43" fmla="*/ 9982 h 10000"/>
              <a:gd name="connsiteX44" fmla="*/ 1929 w 10043"/>
              <a:gd name="connsiteY44" fmla="*/ 9933 h 10000"/>
              <a:gd name="connsiteX45" fmla="*/ 2280 w 10043"/>
              <a:gd name="connsiteY45" fmla="*/ 9941 h 10000"/>
              <a:gd name="connsiteX46" fmla="*/ 2487 w 10043"/>
              <a:gd name="connsiteY46" fmla="*/ 10000 h 10000"/>
              <a:gd name="connsiteX47" fmla="*/ 2601 w 10043"/>
              <a:gd name="connsiteY47" fmla="*/ 9961 h 10000"/>
              <a:gd name="connsiteX48" fmla="*/ 2710 w 10043"/>
              <a:gd name="connsiteY48" fmla="*/ 9834 h 10000"/>
              <a:gd name="connsiteX49" fmla="*/ 2682 w 10043"/>
              <a:gd name="connsiteY49" fmla="*/ 9625 h 10000"/>
              <a:gd name="connsiteX50" fmla="*/ 2949 w 10043"/>
              <a:gd name="connsiteY50" fmla="*/ 9392 h 10000"/>
              <a:gd name="connsiteX51" fmla="*/ 3144 w 10043"/>
              <a:gd name="connsiteY51" fmla="*/ 9428 h 10000"/>
              <a:gd name="connsiteX52" fmla="*/ 3258 w 10043"/>
              <a:gd name="connsiteY52" fmla="*/ 9335 h 10000"/>
              <a:gd name="connsiteX53" fmla="*/ 3476 w 10043"/>
              <a:gd name="connsiteY53" fmla="*/ 9282 h 10000"/>
              <a:gd name="connsiteX54" fmla="*/ 3771 w 10043"/>
              <a:gd name="connsiteY54" fmla="*/ 9295 h 10000"/>
              <a:gd name="connsiteX55" fmla="*/ 3949 w 10043"/>
              <a:gd name="connsiteY55" fmla="*/ 9332 h 10000"/>
              <a:gd name="connsiteX56" fmla="*/ 4185 w 10043"/>
              <a:gd name="connsiteY56" fmla="*/ 9315 h 10000"/>
              <a:gd name="connsiteX57" fmla="*/ 4424 w 10043"/>
              <a:gd name="connsiteY57" fmla="*/ 9356 h 10000"/>
              <a:gd name="connsiteX58" fmla="*/ 4662 w 10043"/>
              <a:gd name="connsiteY58" fmla="*/ 9361 h 10000"/>
              <a:gd name="connsiteX59" fmla="*/ 5196 w 10043"/>
              <a:gd name="connsiteY59" fmla="*/ 8817 h 10000"/>
              <a:gd name="connsiteX60" fmla="*/ 5332 w 10043"/>
              <a:gd name="connsiteY60" fmla="*/ 8375 h 10000"/>
              <a:gd name="connsiteX61" fmla="*/ 5549 w 10043"/>
              <a:gd name="connsiteY61" fmla="*/ 8177 h 10000"/>
              <a:gd name="connsiteX62" fmla="*/ 5549 w 10043"/>
              <a:gd name="connsiteY62" fmla="*/ 8073 h 10000"/>
              <a:gd name="connsiteX63" fmla="*/ 5470 w 10043"/>
              <a:gd name="connsiteY63" fmla="*/ 8015 h 10000"/>
              <a:gd name="connsiteX64" fmla="*/ 5598 w 10043"/>
              <a:gd name="connsiteY64" fmla="*/ 7922 h 10000"/>
              <a:gd name="connsiteX65" fmla="*/ 5575 w 10043"/>
              <a:gd name="connsiteY65" fmla="*/ 7844 h 10000"/>
              <a:gd name="connsiteX66" fmla="*/ 5488 w 10043"/>
              <a:gd name="connsiteY66" fmla="*/ 7776 h 10000"/>
              <a:gd name="connsiteX67" fmla="*/ 5470 w 10043"/>
              <a:gd name="connsiteY67" fmla="*/ 7728 h 10000"/>
              <a:gd name="connsiteX68" fmla="*/ 5493 w 10043"/>
              <a:gd name="connsiteY68" fmla="*/ 7691 h 10000"/>
              <a:gd name="connsiteX69" fmla="*/ 5611 w 10043"/>
              <a:gd name="connsiteY69" fmla="*/ 7721 h 10000"/>
              <a:gd name="connsiteX70" fmla="*/ 5704 w 10043"/>
              <a:gd name="connsiteY70" fmla="*/ 7719 h 10000"/>
              <a:gd name="connsiteX71" fmla="*/ 5653 w 10043"/>
              <a:gd name="connsiteY71" fmla="*/ 7655 h 10000"/>
              <a:gd name="connsiteX72" fmla="*/ 5669 w 10043"/>
              <a:gd name="connsiteY72" fmla="*/ 7619 h 10000"/>
              <a:gd name="connsiteX73" fmla="*/ 5739 w 10043"/>
              <a:gd name="connsiteY73" fmla="*/ 7565 h 10000"/>
              <a:gd name="connsiteX74" fmla="*/ 5726 w 10043"/>
              <a:gd name="connsiteY74" fmla="*/ 7521 h 10000"/>
              <a:gd name="connsiteX75" fmla="*/ 5790 w 10043"/>
              <a:gd name="connsiteY75" fmla="*/ 7373 h 10000"/>
              <a:gd name="connsiteX76" fmla="*/ 5772 w 10043"/>
              <a:gd name="connsiteY76" fmla="*/ 7327 h 10000"/>
              <a:gd name="connsiteX77" fmla="*/ 5448 w 10043"/>
              <a:gd name="connsiteY77" fmla="*/ 7216 h 10000"/>
              <a:gd name="connsiteX78" fmla="*/ 5493 w 10043"/>
              <a:gd name="connsiteY78" fmla="*/ 7211 h 10000"/>
              <a:gd name="connsiteX79" fmla="*/ 5665 w 10043"/>
              <a:gd name="connsiteY79" fmla="*/ 7241 h 10000"/>
              <a:gd name="connsiteX80" fmla="*/ 5853 w 10043"/>
              <a:gd name="connsiteY80" fmla="*/ 7230 h 10000"/>
              <a:gd name="connsiteX81" fmla="*/ 5906 w 10043"/>
              <a:gd name="connsiteY81" fmla="*/ 7189 h 10000"/>
              <a:gd name="connsiteX82" fmla="*/ 5726 w 10043"/>
              <a:gd name="connsiteY82" fmla="*/ 7113 h 10000"/>
              <a:gd name="connsiteX83" fmla="*/ 5192 w 10043"/>
              <a:gd name="connsiteY83" fmla="*/ 7062 h 10000"/>
              <a:gd name="connsiteX84" fmla="*/ 5228 w 10043"/>
              <a:gd name="connsiteY84" fmla="*/ 7039 h 10000"/>
              <a:gd name="connsiteX85" fmla="*/ 5665 w 10043"/>
              <a:gd name="connsiteY85" fmla="*/ 7023 h 10000"/>
              <a:gd name="connsiteX86" fmla="*/ 5906 w 10043"/>
              <a:gd name="connsiteY86" fmla="*/ 7069 h 10000"/>
              <a:gd name="connsiteX87" fmla="*/ 6044 w 10043"/>
              <a:gd name="connsiteY87" fmla="*/ 7039 h 10000"/>
              <a:gd name="connsiteX88" fmla="*/ 6095 w 10043"/>
              <a:gd name="connsiteY88" fmla="*/ 6959 h 10000"/>
              <a:gd name="connsiteX89" fmla="*/ 6347 w 10043"/>
              <a:gd name="connsiteY89" fmla="*/ 6959 h 10000"/>
              <a:gd name="connsiteX90" fmla="*/ 6688 w 10043"/>
              <a:gd name="connsiteY90" fmla="*/ 6799 h 10000"/>
              <a:gd name="connsiteX91" fmla="*/ 6699 w 10043"/>
              <a:gd name="connsiteY91" fmla="*/ 6693 h 10000"/>
              <a:gd name="connsiteX92" fmla="*/ 6843 w 10043"/>
              <a:gd name="connsiteY92" fmla="*/ 6718 h 10000"/>
              <a:gd name="connsiteX93" fmla="*/ 6837 w 10043"/>
              <a:gd name="connsiteY93" fmla="*/ 6824 h 10000"/>
              <a:gd name="connsiteX94" fmla="*/ 7065 w 10043"/>
              <a:gd name="connsiteY94" fmla="*/ 6817 h 10000"/>
              <a:gd name="connsiteX95" fmla="*/ 7215 w 10043"/>
              <a:gd name="connsiteY95" fmla="*/ 6707 h 10000"/>
              <a:gd name="connsiteX96" fmla="*/ 7495 w 10043"/>
              <a:gd name="connsiteY96" fmla="*/ 6607 h 10000"/>
              <a:gd name="connsiteX97" fmla="*/ 7451 w 10043"/>
              <a:gd name="connsiteY97" fmla="*/ 6493 h 10000"/>
              <a:gd name="connsiteX98" fmla="*/ 7534 w 10043"/>
              <a:gd name="connsiteY98" fmla="*/ 6538 h 10000"/>
              <a:gd name="connsiteX99" fmla="*/ 7661 w 10043"/>
              <a:gd name="connsiteY99" fmla="*/ 6538 h 10000"/>
              <a:gd name="connsiteX100" fmla="*/ 7661 w 10043"/>
              <a:gd name="connsiteY100" fmla="*/ 6486 h 10000"/>
              <a:gd name="connsiteX101" fmla="*/ 7781 w 10043"/>
              <a:gd name="connsiteY101" fmla="*/ 6446 h 10000"/>
              <a:gd name="connsiteX102" fmla="*/ 7765 w 10043"/>
              <a:gd name="connsiteY102" fmla="*/ 6405 h 10000"/>
              <a:gd name="connsiteX103" fmla="*/ 6760 w 10043"/>
              <a:gd name="connsiteY103" fmla="*/ 6488 h 10000"/>
              <a:gd name="connsiteX104" fmla="*/ 6524 w 10043"/>
              <a:gd name="connsiteY104" fmla="*/ 6463 h 10000"/>
              <a:gd name="connsiteX105" fmla="*/ 6430 w 10043"/>
              <a:gd name="connsiteY105" fmla="*/ 6493 h 10000"/>
              <a:gd name="connsiteX106" fmla="*/ 6398 w 10043"/>
              <a:gd name="connsiteY106" fmla="*/ 6436 h 10000"/>
              <a:gd name="connsiteX107" fmla="*/ 6286 w 10043"/>
              <a:gd name="connsiteY107" fmla="*/ 6384 h 10000"/>
              <a:gd name="connsiteX108" fmla="*/ 5839 w 10043"/>
              <a:gd name="connsiteY108" fmla="*/ 6282 h 10000"/>
              <a:gd name="connsiteX109" fmla="*/ 5575 w 10043"/>
              <a:gd name="connsiteY109" fmla="*/ 6298 h 10000"/>
              <a:gd name="connsiteX110" fmla="*/ 5470 w 10043"/>
              <a:gd name="connsiteY110" fmla="*/ 6270 h 10000"/>
              <a:gd name="connsiteX111" fmla="*/ 5581 w 10043"/>
              <a:gd name="connsiteY111" fmla="*/ 6245 h 10000"/>
              <a:gd name="connsiteX112" fmla="*/ 5665 w 10043"/>
              <a:gd name="connsiteY112" fmla="*/ 6190 h 10000"/>
              <a:gd name="connsiteX113" fmla="*/ 5790 w 10043"/>
              <a:gd name="connsiteY113" fmla="*/ 6208 h 10000"/>
              <a:gd name="connsiteX114" fmla="*/ 5938 w 10043"/>
              <a:gd name="connsiteY114" fmla="*/ 6193 h 10000"/>
              <a:gd name="connsiteX115" fmla="*/ 6162 w 10043"/>
              <a:gd name="connsiteY115" fmla="*/ 6211 h 10000"/>
              <a:gd name="connsiteX116" fmla="*/ 6189 w 10043"/>
              <a:gd name="connsiteY116" fmla="*/ 6204 h 10000"/>
              <a:gd name="connsiteX117" fmla="*/ 6363 w 10043"/>
              <a:gd name="connsiteY117" fmla="*/ 6287 h 10000"/>
              <a:gd name="connsiteX118" fmla="*/ 6490 w 10043"/>
              <a:gd name="connsiteY118" fmla="*/ 6257 h 10000"/>
              <a:gd name="connsiteX119" fmla="*/ 6502 w 10043"/>
              <a:gd name="connsiteY119" fmla="*/ 6229 h 10000"/>
              <a:gd name="connsiteX120" fmla="*/ 6619 w 10043"/>
              <a:gd name="connsiteY120" fmla="*/ 6278 h 10000"/>
              <a:gd name="connsiteX121" fmla="*/ 6775 w 10043"/>
              <a:gd name="connsiteY121" fmla="*/ 6304 h 10000"/>
              <a:gd name="connsiteX122" fmla="*/ 6837 w 10043"/>
              <a:gd name="connsiteY122" fmla="*/ 6255 h 10000"/>
              <a:gd name="connsiteX123" fmla="*/ 6887 w 10043"/>
              <a:gd name="connsiteY123" fmla="*/ 6282 h 10000"/>
              <a:gd name="connsiteX124" fmla="*/ 6959 w 10043"/>
              <a:gd name="connsiteY124" fmla="*/ 6377 h 10000"/>
              <a:gd name="connsiteX125" fmla="*/ 7109 w 10043"/>
              <a:gd name="connsiteY125" fmla="*/ 6399 h 10000"/>
              <a:gd name="connsiteX126" fmla="*/ 7725 w 10043"/>
              <a:gd name="connsiteY126" fmla="*/ 6259 h 10000"/>
              <a:gd name="connsiteX127" fmla="*/ 8026 w 10043"/>
              <a:gd name="connsiteY127" fmla="*/ 6064 h 10000"/>
              <a:gd name="connsiteX128" fmla="*/ 8096 w 10043"/>
              <a:gd name="connsiteY128" fmla="*/ 5921 h 10000"/>
              <a:gd name="connsiteX129" fmla="*/ 7987 w 10043"/>
              <a:gd name="connsiteY129" fmla="*/ 5792 h 10000"/>
              <a:gd name="connsiteX130" fmla="*/ 7757 w 10043"/>
              <a:gd name="connsiteY130" fmla="*/ 5715 h 10000"/>
              <a:gd name="connsiteX131" fmla="*/ 7595 w 10043"/>
              <a:gd name="connsiteY131" fmla="*/ 5589 h 10000"/>
              <a:gd name="connsiteX132" fmla="*/ 7746 w 10043"/>
              <a:gd name="connsiteY132" fmla="*/ 5584 h 10000"/>
              <a:gd name="connsiteX133" fmla="*/ 7736 w 10043"/>
              <a:gd name="connsiteY133" fmla="*/ 5554 h 10000"/>
              <a:gd name="connsiteX134" fmla="*/ 7341 w 10043"/>
              <a:gd name="connsiteY134" fmla="*/ 5465 h 10000"/>
              <a:gd name="connsiteX135" fmla="*/ 7324 w 10043"/>
              <a:gd name="connsiteY135" fmla="*/ 5383 h 10000"/>
              <a:gd name="connsiteX136" fmla="*/ 7248 w 10043"/>
              <a:gd name="connsiteY136" fmla="*/ 5299 h 10000"/>
              <a:gd name="connsiteX137" fmla="*/ 6937 w 10043"/>
              <a:gd name="connsiteY137" fmla="*/ 5314 h 10000"/>
              <a:gd name="connsiteX138" fmla="*/ 6825 w 10043"/>
              <a:gd name="connsiteY138" fmla="*/ 5224 h 10000"/>
              <a:gd name="connsiteX139" fmla="*/ 6760 w 10043"/>
              <a:gd name="connsiteY139" fmla="*/ 5219 h 10000"/>
              <a:gd name="connsiteX140" fmla="*/ 6760 w 10043"/>
              <a:gd name="connsiteY140" fmla="*/ 5256 h 10000"/>
              <a:gd name="connsiteX141" fmla="*/ 6619 w 10043"/>
              <a:gd name="connsiteY141" fmla="*/ 5408 h 10000"/>
              <a:gd name="connsiteX142" fmla="*/ 6468 w 10043"/>
              <a:gd name="connsiteY142" fmla="*/ 5498 h 10000"/>
              <a:gd name="connsiteX143" fmla="*/ 5992 w 10043"/>
              <a:gd name="connsiteY143" fmla="*/ 5651 h 10000"/>
              <a:gd name="connsiteX144" fmla="*/ 5827 w 10043"/>
              <a:gd name="connsiteY144" fmla="*/ 5646 h 10000"/>
              <a:gd name="connsiteX145" fmla="*/ 5598 w 10043"/>
              <a:gd name="connsiteY145" fmla="*/ 5669 h 10000"/>
              <a:gd name="connsiteX146" fmla="*/ 5470 w 10043"/>
              <a:gd name="connsiteY146" fmla="*/ 5646 h 10000"/>
              <a:gd name="connsiteX147" fmla="*/ 5638 w 10043"/>
              <a:gd name="connsiteY147" fmla="*/ 5604 h 10000"/>
              <a:gd name="connsiteX148" fmla="*/ 5857 w 10043"/>
              <a:gd name="connsiteY148" fmla="*/ 5584 h 10000"/>
              <a:gd name="connsiteX149" fmla="*/ 6035 w 10043"/>
              <a:gd name="connsiteY149" fmla="*/ 5513 h 10000"/>
              <a:gd name="connsiteX150" fmla="*/ 6212 w 10043"/>
              <a:gd name="connsiteY150" fmla="*/ 5480 h 10000"/>
              <a:gd name="connsiteX151" fmla="*/ 6543 w 10043"/>
              <a:gd name="connsiteY151" fmla="*/ 5355 h 10000"/>
              <a:gd name="connsiteX152" fmla="*/ 6604 w 10043"/>
              <a:gd name="connsiteY152" fmla="*/ 5274 h 10000"/>
              <a:gd name="connsiteX153" fmla="*/ 6610 w 10043"/>
              <a:gd name="connsiteY153" fmla="*/ 5168 h 10000"/>
              <a:gd name="connsiteX154" fmla="*/ 6458 w 10043"/>
              <a:gd name="connsiteY154" fmla="*/ 5150 h 10000"/>
              <a:gd name="connsiteX155" fmla="*/ 6524 w 10043"/>
              <a:gd name="connsiteY155" fmla="*/ 5086 h 10000"/>
              <a:gd name="connsiteX156" fmla="*/ 6547 w 10043"/>
              <a:gd name="connsiteY156" fmla="*/ 5005 h 10000"/>
              <a:gd name="connsiteX157" fmla="*/ 6482 w 10043"/>
              <a:gd name="connsiteY157" fmla="*/ 4928 h 10000"/>
              <a:gd name="connsiteX158" fmla="*/ 9870 w 10043"/>
              <a:gd name="connsiteY158" fmla="*/ 2263 h 10000"/>
              <a:gd name="connsiteX159" fmla="*/ 9383 w 10043"/>
              <a:gd name="connsiteY159" fmla="*/ 1480 h 10000"/>
              <a:gd name="connsiteX160" fmla="*/ 7948 w 10043"/>
              <a:gd name="connsiteY160" fmla="*/ 923 h 10000"/>
              <a:gd name="connsiteX161" fmla="*/ 7974 w 10043"/>
              <a:gd name="connsiteY161" fmla="*/ 649 h 10000"/>
              <a:gd name="connsiteX162" fmla="*/ 7433 w 10043"/>
              <a:gd name="connsiteY162" fmla="*/ 590 h 10000"/>
              <a:gd name="connsiteX163" fmla="*/ 6799 w 10043"/>
              <a:gd name="connsiteY163" fmla="*/ 332 h 10000"/>
              <a:gd name="connsiteX164" fmla="*/ 5404 w 10043"/>
              <a:gd name="connsiteY164" fmla="*/ 0 h 10000"/>
              <a:gd name="connsiteX165" fmla="*/ 5128 w 10043"/>
              <a:gd name="connsiteY165" fmla="*/ 82 h 10000"/>
              <a:gd name="connsiteX166" fmla="*/ 4952 w 10043"/>
              <a:gd name="connsiteY166" fmla="*/ 78 h 10000"/>
              <a:gd name="connsiteX167" fmla="*/ 4846 w 10043"/>
              <a:gd name="connsiteY167" fmla="*/ 107 h 10000"/>
              <a:gd name="connsiteX168" fmla="*/ 4557 w 10043"/>
              <a:gd name="connsiteY168" fmla="*/ 913 h 10000"/>
              <a:gd name="connsiteX169" fmla="*/ 3888 w 10043"/>
              <a:gd name="connsiteY169" fmla="*/ 1383 h 10000"/>
              <a:gd name="connsiteX170" fmla="*/ 3893 w 10043"/>
              <a:gd name="connsiteY170" fmla="*/ 1457 h 10000"/>
              <a:gd name="connsiteX171" fmla="*/ 4190 w 10043"/>
              <a:gd name="connsiteY171" fmla="*/ 1668 h 10000"/>
              <a:gd name="connsiteX172" fmla="*/ 4094 w 10043"/>
              <a:gd name="connsiteY172" fmla="*/ 1896 h 10000"/>
              <a:gd name="connsiteX173" fmla="*/ 3920 w 10043"/>
              <a:gd name="connsiteY173" fmla="*/ 1979 h 10000"/>
              <a:gd name="connsiteX174" fmla="*/ 3400 w 10043"/>
              <a:gd name="connsiteY174" fmla="*/ 1924 h 10000"/>
              <a:gd name="connsiteX175" fmla="*/ 3044 w 10043"/>
              <a:gd name="connsiteY175" fmla="*/ 1955 h 10000"/>
              <a:gd name="connsiteX176" fmla="*/ 2757 w 10043"/>
              <a:gd name="connsiteY176" fmla="*/ 2023 h 10000"/>
              <a:gd name="connsiteX177" fmla="*/ 2293 w 10043"/>
              <a:gd name="connsiteY177" fmla="*/ 2233 h 10000"/>
              <a:gd name="connsiteX178" fmla="*/ 2047 w 10043"/>
              <a:gd name="connsiteY178" fmla="*/ 2487 h 10000"/>
              <a:gd name="connsiteX179" fmla="*/ 2068 w 10043"/>
              <a:gd name="connsiteY179" fmla="*/ 2629 h 10000"/>
              <a:gd name="connsiteX180" fmla="*/ 2154 w 10043"/>
              <a:gd name="connsiteY180" fmla="*/ 2738 h 10000"/>
              <a:gd name="connsiteX181" fmla="*/ 2219 w 10043"/>
              <a:gd name="connsiteY181" fmla="*/ 2782 h 10000"/>
              <a:gd name="connsiteX182" fmla="*/ 2098 w 10043"/>
              <a:gd name="connsiteY182" fmla="*/ 2852 h 10000"/>
              <a:gd name="connsiteX183" fmla="*/ 1835 w 10043"/>
              <a:gd name="connsiteY183" fmla="*/ 3330 h 10000"/>
              <a:gd name="connsiteX184" fmla="*/ 1886 w 10043"/>
              <a:gd name="connsiteY184" fmla="*/ 3358 h 10000"/>
              <a:gd name="connsiteX185" fmla="*/ 1923 w 10043"/>
              <a:gd name="connsiteY185" fmla="*/ 3479 h 10000"/>
              <a:gd name="connsiteX186" fmla="*/ 1802 w 10043"/>
              <a:gd name="connsiteY186" fmla="*/ 3982 h 10000"/>
              <a:gd name="connsiteX187" fmla="*/ 1923 w 10043"/>
              <a:gd name="connsiteY187" fmla="*/ 4110 h 10000"/>
              <a:gd name="connsiteX188" fmla="*/ 2259 w 10043"/>
              <a:gd name="connsiteY188" fmla="*/ 4251 h 10000"/>
              <a:gd name="connsiteX189" fmla="*/ 2273 w 10043"/>
              <a:gd name="connsiteY189" fmla="*/ 4423 h 10000"/>
              <a:gd name="connsiteX190" fmla="*/ 2131 w 10043"/>
              <a:gd name="connsiteY190" fmla="*/ 4566 h 10000"/>
              <a:gd name="connsiteX191" fmla="*/ 1923 w 10043"/>
              <a:gd name="connsiteY191" fmla="*/ 4652 h 10000"/>
              <a:gd name="connsiteX192" fmla="*/ 1651 w 10043"/>
              <a:gd name="connsiteY192" fmla="*/ 4687 h 10000"/>
              <a:gd name="connsiteX193" fmla="*/ 1579 w 10043"/>
              <a:gd name="connsiteY193" fmla="*/ 4737 h 10000"/>
              <a:gd name="connsiteX194" fmla="*/ 1739 w 10043"/>
              <a:gd name="connsiteY194" fmla="*/ 4855 h 10000"/>
              <a:gd name="connsiteX195" fmla="*/ 1830 w 10043"/>
              <a:gd name="connsiteY195" fmla="*/ 5136 h 10000"/>
              <a:gd name="connsiteX196" fmla="*/ 1623 w 10043"/>
              <a:gd name="connsiteY196" fmla="*/ 5376 h 10000"/>
              <a:gd name="connsiteX197" fmla="*/ 1695 w 10043"/>
              <a:gd name="connsiteY197" fmla="*/ 5451 h 10000"/>
              <a:gd name="connsiteX198" fmla="*/ 1629 w 10043"/>
              <a:gd name="connsiteY198" fmla="*/ 5577 h 10000"/>
              <a:gd name="connsiteX199" fmla="*/ 1498 w 10043"/>
              <a:gd name="connsiteY199" fmla="*/ 5663 h 10000"/>
              <a:gd name="connsiteX200" fmla="*/ 970 w 10043"/>
              <a:gd name="connsiteY200" fmla="*/ 5730 h 10000"/>
              <a:gd name="connsiteX201" fmla="*/ 938 w 10043"/>
              <a:gd name="connsiteY201" fmla="*/ 5846 h 10000"/>
              <a:gd name="connsiteX202" fmla="*/ 654 w 10043"/>
              <a:gd name="connsiteY202" fmla="*/ 6019 h 10000"/>
              <a:gd name="connsiteX203" fmla="*/ 691 w 10043"/>
              <a:gd name="connsiteY203" fmla="*/ 6268 h 10000"/>
              <a:gd name="connsiteX204" fmla="*/ 453 w 10043"/>
              <a:gd name="connsiteY204" fmla="*/ 6587 h 10000"/>
              <a:gd name="connsiteX205" fmla="*/ 290 w 10043"/>
              <a:gd name="connsiteY205" fmla="*/ 6624 h 10000"/>
              <a:gd name="connsiteX206" fmla="*/ 223 w 10043"/>
              <a:gd name="connsiteY206" fmla="*/ 6548 h 10000"/>
              <a:gd name="connsiteX207" fmla="*/ 140 w 10043"/>
              <a:gd name="connsiteY207" fmla="*/ 6663 h 10000"/>
              <a:gd name="connsiteX208" fmla="*/ 194 w 10043"/>
              <a:gd name="connsiteY208" fmla="*/ 6465 h 10000"/>
              <a:gd name="connsiteX209" fmla="*/ 159 w 10043"/>
              <a:gd name="connsiteY209" fmla="*/ 6427 h 10000"/>
              <a:gd name="connsiteX0" fmla="*/ 159 w 9892"/>
              <a:gd name="connsiteY0" fmla="*/ 6427 h 10000"/>
              <a:gd name="connsiteX1" fmla="*/ 0 w 9892"/>
              <a:gd name="connsiteY1" fmla="*/ 6530 h 10000"/>
              <a:gd name="connsiteX2" fmla="*/ 0 w 9892"/>
              <a:gd name="connsiteY2" fmla="*/ 7039 h 10000"/>
              <a:gd name="connsiteX3" fmla="*/ 88 w 9892"/>
              <a:gd name="connsiteY3" fmla="*/ 7053 h 10000"/>
              <a:gd name="connsiteX4" fmla="*/ 109 w 9892"/>
              <a:gd name="connsiteY4" fmla="*/ 7092 h 10000"/>
              <a:gd name="connsiteX5" fmla="*/ 105 w 9892"/>
              <a:gd name="connsiteY5" fmla="*/ 7161 h 10000"/>
              <a:gd name="connsiteX6" fmla="*/ 72 w 9892"/>
              <a:gd name="connsiteY6" fmla="*/ 7192 h 10000"/>
              <a:gd name="connsiteX7" fmla="*/ 207 w 9892"/>
              <a:gd name="connsiteY7" fmla="*/ 7133 h 10000"/>
              <a:gd name="connsiteX8" fmla="*/ 263 w 9892"/>
              <a:gd name="connsiteY8" fmla="*/ 7075 h 10000"/>
              <a:gd name="connsiteX9" fmla="*/ 334 w 9892"/>
              <a:gd name="connsiteY9" fmla="*/ 7115 h 10000"/>
              <a:gd name="connsiteX10" fmla="*/ 256 w 9892"/>
              <a:gd name="connsiteY10" fmla="*/ 7198 h 10000"/>
              <a:gd name="connsiteX11" fmla="*/ 339 w 9892"/>
              <a:gd name="connsiteY11" fmla="*/ 7200 h 10000"/>
              <a:gd name="connsiteX12" fmla="*/ 380 w 9892"/>
              <a:gd name="connsiteY12" fmla="*/ 7221 h 10000"/>
              <a:gd name="connsiteX13" fmla="*/ 273 w 9892"/>
              <a:gd name="connsiteY13" fmla="*/ 7248 h 10000"/>
              <a:gd name="connsiteX14" fmla="*/ 105 w 9892"/>
              <a:gd name="connsiteY14" fmla="*/ 7333 h 10000"/>
              <a:gd name="connsiteX15" fmla="*/ 403 w 9892"/>
              <a:gd name="connsiteY15" fmla="*/ 7400 h 10000"/>
              <a:gd name="connsiteX16" fmla="*/ 441 w 9892"/>
              <a:gd name="connsiteY16" fmla="*/ 7496 h 10000"/>
              <a:gd name="connsiteX17" fmla="*/ 339 w 9892"/>
              <a:gd name="connsiteY17" fmla="*/ 7636 h 10000"/>
              <a:gd name="connsiteX18" fmla="*/ 557 w 9892"/>
              <a:gd name="connsiteY18" fmla="*/ 7627 h 10000"/>
              <a:gd name="connsiteX19" fmla="*/ 574 w 9892"/>
              <a:gd name="connsiteY19" fmla="*/ 7733 h 10000"/>
              <a:gd name="connsiteX20" fmla="*/ 429 w 9892"/>
              <a:gd name="connsiteY20" fmla="*/ 7805 h 10000"/>
              <a:gd name="connsiteX21" fmla="*/ 453 w 9892"/>
              <a:gd name="connsiteY21" fmla="*/ 7945 h 10000"/>
              <a:gd name="connsiteX22" fmla="*/ 396 w 9892"/>
              <a:gd name="connsiteY22" fmla="*/ 8053 h 10000"/>
              <a:gd name="connsiteX23" fmla="*/ 569 w 9892"/>
              <a:gd name="connsiteY23" fmla="*/ 8063 h 10000"/>
              <a:gd name="connsiteX24" fmla="*/ 736 w 9892"/>
              <a:gd name="connsiteY24" fmla="*/ 8478 h 10000"/>
              <a:gd name="connsiteX25" fmla="*/ 931 w 9892"/>
              <a:gd name="connsiteY25" fmla="*/ 8583 h 10000"/>
              <a:gd name="connsiteX26" fmla="*/ 1016 w 9892"/>
              <a:gd name="connsiteY26" fmla="*/ 8695 h 10000"/>
              <a:gd name="connsiteX27" fmla="*/ 1226 w 9892"/>
              <a:gd name="connsiteY27" fmla="*/ 8776 h 10000"/>
              <a:gd name="connsiteX28" fmla="*/ 1363 w 9892"/>
              <a:gd name="connsiteY28" fmla="*/ 8881 h 10000"/>
              <a:gd name="connsiteX29" fmla="*/ 1344 w 9892"/>
              <a:gd name="connsiteY29" fmla="*/ 8955 h 10000"/>
              <a:gd name="connsiteX30" fmla="*/ 1211 w 9892"/>
              <a:gd name="connsiteY30" fmla="*/ 8983 h 10000"/>
              <a:gd name="connsiteX31" fmla="*/ 1065 w 9892"/>
              <a:gd name="connsiteY31" fmla="*/ 8965 h 10000"/>
              <a:gd name="connsiteX32" fmla="*/ 1020 w 9892"/>
              <a:gd name="connsiteY32" fmla="*/ 8996 h 10000"/>
              <a:gd name="connsiteX33" fmla="*/ 1131 w 9892"/>
              <a:gd name="connsiteY33" fmla="*/ 9158 h 10000"/>
              <a:gd name="connsiteX34" fmla="*/ 975 w 9892"/>
              <a:gd name="connsiteY34" fmla="*/ 9144 h 10000"/>
              <a:gd name="connsiteX35" fmla="*/ 842 w 9892"/>
              <a:gd name="connsiteY35" fmla="*/ 9105 h 10000"/>
              <a:gd name="connsiteX36" fmla="*/ 819 w 9892"/>
              <a:gd name="connsiteY36" fmla="*/ 9165 h 10000"/>
              <a:gd name="connsiteX37" fmla="*/ 1260 w 9892"/>
              <a:gd name="connsiteY37" fmla="*/ 9718 h 10000"/>
              <a:gd name="connsiteX38" fmla="*/ 1189 w 9892"/>
              <a:gd name="connsiteY38" fmla="*/ 9770 h 10000"/>
              <a:gd name="connsiteX39" fmla="*/ 1140 w 9892"/>
              <a:gd name="connsiteY39" fmla="*/ 9876 h 10000"/>
              <a:gd name="connsiteX40" fmla="*/ 1076 w 9892"/>
              <a:gd name="connsiteY40" fmla="*/ 9885 h 10000"/>
              <a:gd name="connsiteX41" fmla="*/ 1037 w 9892"/>
              <a:gd name="connsiteY41" fmla="*/ 9931 h 10000"/>
              <a:gd name="connsiteX42" fmla="*/ 1303 w 9892"/>
              <a:gd name="connsiteY42" fmla="*/ 9936 h 10000"/>
              <a:gd name="connsiteX43" fmla="*/ 1538 w 9892"/>
              <a:gd name="connsiteY43" fmla="*/ 9982 h 10000"/>
              <a:gd name="connsiteX44" fmla="*/ 1929 w 9892"/>
              <a:gd name="connsiteY44" fmla="*/ 9933 h 10000"/>
              <a:gd name="connsiteX45" fmla="*/ 2280 w 9892"/>
              <a:gd name="connsiteY45" fmla="*/ 9941 h 10000"/>
              <a:gd name="connsiteX46" fmla="*/ 2487 w 9892"/>
              <a:gd name="connsiteY46" fmla="*/ 10000 h 10000"/>
              <a:gd name="connsiteX47" fmla="*/ 2601 w 9892"/>
              <a:gd name="connsiteY47" fmla="*/ 9961 h 10000"/>
              <a:gd name="connsiteX48" fmla="*/ 2710 w 9892"/>
              <a:gd name="connsiteY48" fmla="*/ 9834 h 10000"/>
              <a:gd name="connsiteX49" fmla="*/ 2682 w 9892"/>
              <a:gd name="connsiteY49" fmla="*/ 9625 h 10000"/>
              <a:gd name="connsiteX50" fmla="*/ 2949 w 9892"/>
              <a:gd name="connsiteY50" fmla="*/ 9392 h 10000"/>
              <a:gd name="connsiteX51" fmla="*/ 3144 w 9892"/>
              <a:gd name="connsiteY51" fmla="*/ 9428 h 10000"/>
              <a:gd name="connsiteX52" fmla="*/ 3258 w 9892"/>
              <a:gd name="connsiteY52" fmla="*/ 9335 h 10000"/>
              <a:gd name="connsiteX53" fmla="*/ 3476 w 9892"/>
              <a:gd name="connsiteY53" fmla="*/ 9282 h 10000"/>
              <a:gd name="connsiteX54" fmla="*/ 3771 w 9892"/>
              <a:gd name="connsiteY54" fmla="*/ 9295 h 10000"/>
              <a:gd name="connsiteX55" fmla="*/ 3949 w 9892"/>
              <a:gd name="connsiteY55" fmla="*/ 9332 h 10000"/>
              <a:gd name="connsiteX56" fmla="*/ 4185 w 9892"/>
              <a:gd name="connsiteY56" fmla="*/ 9315 h 10000"/>
              <a:gd name="connsiteX57" fmla="*/ 4424 w 9892"/>
              <a:gd name="connsiteY57" fmla="*/ 9356 h 10000"/>
              <a:gd name="connsiteX58" fmla="*/ 4662 w 9892"/>
              <a:gd name="connsiteY58" fmla="*/ 9361 h 10000"/>
              <a:gd name="connsiteX59" fmla="*/ 5196 w 9892"/>
              <a:gd name="connsiteY59" fmla="*/ 8817 h 10000"/>
              <a:gd name="connsiteX60" fmla="*/ 5332 w 9892"/>
              <a:gd name="connsiteY60" fmla="*/ 8375 h 10000"/>
              <a:gd name="connsiteX61" fmla="*/ 5549 w 9892"/>
              <a:gd name="connsiteY61" fmla="*/ 8177 h 10000"/>
              <a:gd name="connsiteX62" fmla="*/ 5549 w 9892"/>
              <a:gd name="connsiteY62" fmla="*/ 8073 h 10000"/>
              <a:gd name="connsiteX63" fmla="*/ 5470 w 9892"/>
              <a:gd name="connsiteY63" fmla="*/ 8015 h 10000"/>
              <a:gd name="connsiteX64" fmla="*/ 5598 w 9892"/>
              <a:gd name="connsiteY64" fmla="*/ 7922 h 10000"/>
              <a:gd name="connsiteX65" fmla="*/ 5575 w 9892"/>
              <a:gd name="connsiteY65" fmla="*/ 7844 h 10000"/>
              <a:gd name="connsiteX66" fmla="*/ 5488 w 9892"/>
              <a:gd name="connsiteY66" fmla="*/ 7776 h 10000"/>
              <a:gd name="connsiteX67" fmla="*/ 5470 w 9892"/>
              <a:gd name="connsiteY67" fmla="*/ 7728 h 10000"/>
              <a:gd name="connsiteX68" fmla="*/ 5493 w 9892"/>
              <a:gd name="connsiteY68" fmla="*/ 7691 h 10000"/>
              <a:gd name="connsiteX69" fmla="*/ 5611 w 9892"/>
              <a:gd name="connsiteY69" fmla="*/ 7721 h 10000"/>
              <a:gd name="connsiteX70" fmla="*/ 5704 w 9892"/>
              <a:gd name="connsiteY70" fmla="*/ 7719 h 10000"/>
              <a:gd name="connsiteX71" fmla="*/ 5653 w 9892"/>
              <a:gd name="connsiteY71" fmla="*/ 7655 h 10000"/>
              <a:gd name="connsiteX72" fmla="*/ 5669 w 9892"/>
              <a:gd name="connsiteY72" fmla="*/ 7619 h 10000"/>
              <a:gd name="connsiteX73" fmla="*/ 5739 w 9892"/>
              <a:gd name="connsiteY73" fmla="*/ 7565 h 10000"/>
              <a:gd name="connsiteX74" fmla="*/ 5726 w 9892"/>
              <a:gd name="connsiteY74" fmla="*/ 7521 h 10000"/>
              <a:gd name="connsiteX75" fmla="*/ 5790 w 9892"/>
              <a:gd name="connsiteY75" fmla="*/ 7373 h 10000"/>
              <a:gd name="connsiteX76" fmla="*/ 5772 w 9892"/>
              <a:gd name="connsiteY76" fmla="*/ 7327 h 10000"/>
              <a:gd name="connsiteX77" fmla="*/ 5448 w 9892"/>
              <a:gd name="connsiteY77" fmla="*/ 7216 h 10000"/>
              <a:gd name="connsiteX78" fmla="*/ 5493 w 9892"/>
              <a:gd name="connsiteY78" fmla="*/ 7211 h 10000"/>
              <a:gd name="connsiteX79" fmla="*/ 5665 w 9892"/>
              <a:gd name="connsiteY79" fmla="*/ 7241 h 10000"/>
              <a:gd name="connsiteX80" fmla="*/ 5853 w 9892"/>
              <a:gd name="connsiteY80" fmla="*/ 7230 h 10000"/>
              <a:gd name="connsiteX81" fmla="*/ 5906 w 9892"/>
              <a:gd name="connsiteY81" fmla="*/ 7189 h 10000"/>
              <a:gd name="connsiteX82" fmla="*/ 5726 w 9892"/>
              <a:gd name="connsiteY82" fmla="*/ 7113 h 10000"/>
              <a:gd name="connsiteX83" fmla="*/ 5192 w 9892"/>
              <a:gd name="connsiteY83" fmla="*/ 7062 h 10000"/>
              <a:gd name="connsiteX84" fmla="*/ 5228 w 9892"/>
              <a:gd name="connsiteY84" fmla="*/ 7039 h 10000"/>
              <a:gd name="connsiteX85" fmla="*/ 5665 w 9892"/>
              <a:gd name="connsiteY85" fmla="*/ 7023 h 10000"/>
              <a:gd name="connsiteX86" fmla="*/ 5906 w 9892"/>
              <a:gd name="connsiteY86" fmla="*/ 7069 h 10000"/>
              <a:gd name="connsiteX87" fmla="*/ 6044 w 9892"/>
              <a:gd name="connsiteY87" fmla="*/ 7039 h 10000"/>
              <a:gd name="connsiteX88" fmla="*/ 6095 w 9892"/>
              <a:gd name="connsiteY88" fmla="*/ 6959 h 10000"/>
              <a:gd name="connsiteX89" fmla="*/ 6347 w 9892"/>
              <a:gd name="connsiteY89" fmla="*/ 6959 h 10000"/>
              <a:gd name="connsiteX90" fmla="*/ 6688 w 9892"/>
              <a:gd name="connsiteY90" fmla="*/ 6799 h 10000"/>
              <a:gd name="connsiteX91" fmla="*/ 6699 w 9892"/>
              <a:gd name="connsiteY91" fmla="*/ 6693 h 10000"/>
              <a:gd name="connsiteX92" fmla="*/ 6843 w 9892"/>
              <a:gd name="connsiteY92" fmla="*/ 6718 h 10000"/>
              <a:gd name="connsiteX93" fmla="*/ 6837 w 9892"/>
              <a:gd name="connsiteY93" fmla="*/ 6824 h 10000"/>
              <a:gd name="connsiteX94" fmla="*/ 7065 w 9892"/>
              <a:gd name="connsiteY94" fmla="*/ 6817 h 10000"/>
              <a:gd name="connsiteX95" fmla="*/ 7215 w 9892"/>
              <a:gd name="connsiteY95" fmla="*/ 6707 h 10000"/>
              <a:gd name="connsiteX96" fmla="*/ 7495 w 9892"/>
              <a:gd name="connsiteY96" fmla="*/ 6607 h 10000"/>
              <a:gd name="connsiteX97" fmla="*/ 7451 w 9892"/>
              <a:gd name="connsiteY97" fmla="*/ 6493 h 10000"/>
              <a:gd name="connsiteX98" fmla="*/ 7534 w 9892"/>
              <a:gd name="connsiteY98" fmla="*/ 6538 h 10000"/>
              <a:gd name="connsiteX99" fmla="*/ 7661 w 9892"/>
              <a:gd name="connsiteY99" fmla="*/ 6538 h 10000"/>
              <a:gd name="connsiteX100" fmla="*/ 7661 w 9892"/>
              <a:gd name="connsiteY100" fmla="*/ 6486 h 10000"/>
              <a:gd name="connsiteX101" fmla="*/ 7781 w 9892"/>
              <a:gd name="connsiteY101" fmla="*/ 6446 h 10000"/>
              <a:gd name="connsiteX102" fmla="*/ 7765 w 9892"/>
              <a:gd name="connsiteY102" fmla="*/ 6405 h 10000"/>
              <a:gd name="connsiteX103" fmla="*/ 6760 w 9892"/>
              <a:gd name="connsiteY103" fmla="*/ 6488 h 10000"/>
              <a:gd name="connsiteX104" fmla="*/ 6524 w 9892"/>
              <a:gd name="connsiteY104" fmla="*/ 6463 h 10000"/>
              <a:gd name="connsiteX105" fmla="*/ 6430 w 9892"/>
              <a:gd name="connsiteY105" fmla="*/ 6493 h 10000"/>
              <a:gd name="connsiteX106" fmla="*/ 6398 w 9892"/>
              <a:gd name="connsiteY106" fmla="*/ 6436 h 10000"/>
              <a:gd name="connsiteX107" fmla="*/ 6286 w 9892"/>
              <a:gd name="connsiteY107" fmla="*/ 6384 h 10000"/>
              <a:gd name="connsiteX108" fmla="*/ 5839 w 9892"/>
              <a:gd name="connsiteY108" fmla="*/ 6282 h 10000"/>
              <a:gd name="connsiteX109" fmla="*/ 5575 w 9892"/>
              <a:gd name="connsiteY109" fmla="*/ 6298 h 10000"/>
              <a:gd name="connsiteX110" fmla="*/ 5470 w 9892"/>
              <a:gd name="connsiteY110" fmla="*/ 6270 h 10000"/>
              <a:gd name="connsiteX111" fmla="*/ 5581 w 9892"/>
              <a:gd name="connsiteY111" fmla="*/ 6245 h 10000"/>
              <a:gd name="connsiteX112" fmla="*/ 5665 w 9892"/>
              <a:gd name="connsiteY112" fmla="*/ 6190 h 10000"/>
              <a:gd name="connsiteX113" fmla="*/ 5790 w 9892"/>
              <a:gd name="connsiteY113" fmla="*/ 6208 h 10000"/>
              <a:gd name="connsiteX114" fmla="*/ 5938 w 9892"/>
              <a:gd name="connsiteY114" fmla="*/ 6193 h 10000"/>
              <a:gd name="connsiteX115" fmla="*/ 6162 w 9892"/>
              <a:gd name="connsiteY115" fmla="*/ 6211 h 10000"/>
              <a:gd name="connsiteX116" fmla="*/ 6189 w 9892"/>
              <a:gd name="connsiteY116" fmla="*/ 6204 h 10000"/>
              <a:gd name="connsiteX117" fmla="*/ 6363 w 9892"/>
              <a:gd name="connsiteY117" fmla="*/ 6287 h 10000"/>
              <a:gd name="connsiteX118" fmla="*/ 6490 w 9892"/>
              <a:gd name="connsiteY118" fmla="*/ 6257 h 10000"/>
              <a:gd name="connsiteX119" fmla="*/ 6502 w 9892"/>
              <a:gd name="connsiteY119" fmla="*/ 6229 h 10000"/>
              <a:gd name="connsiteX120" fmla="*/ 6619 w 9892"/>
              <a:gd name="connsiteY120" fmla="*/ 6278 h 10000"/>
              <a:gd name="connsiteX121" fmla="*/ 6775 w 9892"/>
              <a:gd name="connsiteY121" fmla="*/ 6304 h 10000"/>
              <a:gd name="connsiteX122" fmla="*/ 6837 w 9892"/>
              <a:gd name="connsiteY122" fmla="*/ 6255 h 10000"/>
              <a:gd name="connsiteX123" fmla="*/ 6887 w 9892"/>
              <a:gd name="connsiteY123" fmla="*/ 6282 h 10000"/>
              <a:gd name="connsiteX124" fmla="*/ 6959 w 9892"/>
              <a:gd name="connsiteY124" fmla="*/ 6377 h 10000"/>
              <a:gd name="connsiteX125" fmla="*/ 7109 w 9892"/>
              <a:gd name="connsiteY125" fmla="*/ 6399 h 10000"/>
              <a:gd name="connsiteX126" fmla="*/ 7725 w 9892"/>
              <a:gd name="connsiteY126" fmla="*/ 6259 h 10000"/>
              <a:gd name="connsiteX127" fmla="*/ 8026 w 9892"/>
              <a:gd name="connsiteY127" fmla="*/ 6064 h 10000"/>
              <a:gd name="connsiteX128" fmla="*/ 8096 w 9892"/>
              <a:gd name="connsiteY128" fmla="*/ 5921 h 10000"/>
              <a:gd name="connsiteX129" fmla="*/ 7987 w 9892"/>
              <a:gd name="connsiteY129" fmla="*/ 5792 h 10000"/>
              <a:gd name="connsiteX130" fmla="*/ 7757 w 9892"/>
              <a:gd name="connsiteY130" fmla="*/ 5715 h 10000"/>
              <a:gd name="connsiteX131" fmla="*/ 7595 w 9892"/>
              <a:gd name="connsiteY131" fmla="*/ 5589 h 10000"/>
              <a:gd name="connsiteX132" fmla="*/ 7746 w 9892"/>
              <a:gd name="connsiteY132" fmla="*/ 5584 h 10000"/>
              <a:gd name="connsiteX133" fmla="*/ 7736 w 9892"/>
              <a:gd name="connsiteY133" fmla="*/ 5554 h 10000"/>
              <a:gd name="connsiteX134" fmla="*/ 7341 w 9892"/>
              <a:gd name="connsiteY134" fmla="*/ 5465 h 10000"/>
              <a:gd name="connsiteX135" fmla="*/ 7324 w 9892"/>
              <a:gd name="connsiteY135" fmla="*/ 5383 h 10000"/>
              <a:gd name="connsiteX136" fmla="*/ 7248 w 9892"/>
              <a:gd name="connsiteY136" fmla="*/ 5299 h 10000"/>
              <a:gd name="connsiteX137" fmla="*/ 6937 w 9892"/>
              <a:gd name="connsiteY137" fmla="*/ 5314 h 10000"/>
              <a:gd name="connsiteX138" fmla="*/ 6825 w 9892"/>
              <a:gd name="connsiteY138" fmla="*/ 5224 h 10000"/>
              <a:gd name="connsiteX139" fmla="*/ 6760 w 9892"/>
              <a:gd name="connsiteY139" fmla="*/ 5219 h 10000"/>
              <a:gd name="connsiteX140" fmla="*/ 6760 w 9892"/>
              <a:gd name="connsiteY140" fmla="*/ 5256 h 10000"/>
              <a:gd name="connsiteX141" fmla="*/ 6619 w 9892"/>
              <a:gd name="connsiteY141" fmla="*/ 5408 h 10000"/>
              <a:gd name="connsiteX142" fmla="*/ 6468 w 9892"/>
              <a:gd name="connsiteY142" fmla="*/ 5498 h 10000"/>
              <a:gd name="connsiteX143" fmla="*/ 5992 w 9892"/>
              <a:gd name="connsiteY143" fmla="*/ 5651 h 10000"/>
              <a:gd name="connsiteX144" fmla="*/ 5827 w 9892"/>
              <a:gd name="connsiteY144" fmla="*/ 5646 h 10000"/>
              <a:gd name="connsiteX145" fmla="*/ 5598 w 9892"/>
              <a:gd name="connsiteY145" fmla="*/ 5669 h 10000"/>
              <a:gd name="connsiteX146" fmla="*/ 5470 w 9892"/>
              <a:gd name="connsiteY146" fmla="*/ 5646 h 10000"/>
              <a:gd name="connsiteX147" fmla="*/ 5638 w 9892"/>
              <a:gd name="connsiteY147" fmla="*/ 5604 h 10000"/>
              <a:gd name="connsiteX148" fmla="*/ 5857 w 9892"/>
              <a:gd name="connsiteY148" fmla="*/ 5584 h 10000"/>
              <a:gd name="connsiteX149" fmla="*/ 6035 w 9892"/>
              <a:gd name="connsiteY149" fmla="*/ 5513 h 10000"/>
              <a:gd name="connsiteX150" fmla="*/ 6212 w 9892"/>
              <a:gd name="connsiteY150" fmla="*/ 5480 h 10000"/>
              <a:gd name="connsiteX151" fmla="*/ 6543 w 9892"/>
              <a:gd name="connsiteY151" fmla="*/ 5355 h 10000"/>
              <a:gd name="connsiteX152" fmla="*/ 6604 w 9892"/>
              <a:gd name="connsiteY152" fmla="*/ 5274 h 10000"/>
              <a:gd name="connsiteX153" fmla="*/ 6610 w 9892"/>
              <a:gd name="connsiteY153" fmla="*/ 5168 h 10000"/>
              <a:gd name="connsiteX154" fmla="*/ 6458 w 9892"/>
              <a:gd name="connsiteY154" fmla="*/ 5150 h 10000"/>
              <a:gd name="connsiteX155" fmla="*/ 6524 w 9892"/>
              <a:gd name="connsiteY155" fmla="*/ 5086 h 10000"/>
              <a:gd name="connsiteX156" fmla="*/ 6547 w 9892"/>
              <a:gd name="connsiteY156" fmla="*/ 5005 h 10000"/>
              <a:gd name="connsiteX157" fmla="*/ 6482 w 9892"/>
              <a:gd name="connsiteY157" fmla="*/ 4928 h 10000"/>
              <a:gd name="connsiteX158" fmla="*/ 9870 w 9892"/>
              <a:gd name="connsiteY158" fmla="*/ 2263 h 10000"/>
              <a:gd name="connsiteX159" fmla="*/ 7948 w 9892"/>
              <a:gd name="connsiteY159" fmla="*/ 923 h 10000"/>
              <a:gd name="connsiteX160" fmla="*/ 7974 w 9892"/>
              <a:gd name="connsiteY160" fmla="*/ 649 h 10000"/>
              <a:gd name="connsiteX161" fmla="*/ 7433 w 9892"/>
              <a:gd name="connsiteY161" fmla="*/ 590 h 10000"/>
              <a:gd name="connsiteX162" fmla="*/ 6799 w 9892"/>
              <a:gd name="connsiteY162" fmla="*/ 332 h 10000"/>
              <a:gd name="connsiteX163" fmla="*/ 5404 w 9892"/>
              <a:gd name="connsiteY163" fmla="*/ 0 h 10000"/>
              <a:gd name="connsiteX164" fmla="*/ 5128 w 9892"/>
              <a:gd name="connsiteY164" fmla="*/ 82 h 10000"/>
              <a:gd name="connsiteX165" fmla="*/ 4952 w 9892"/>
              <a:gd name="connsiteY165" fmla="*/ 78 h 10000"/>
              <a:gd name="connsiteX166" fmla="*/ 4846 w 9892"/>
              <a:gd name="connsiteY166" fmla="*/ 107 h 10000"/>
              <a:gd name="connsiteX167" fmla="*/ 4557 w 9892"/>
              <a:gd name="connsiteY167" fmla="*/ 913 h 10000"/>
              <a:gd name="connsiteX168" fmla="*/ 3888 w 9892"/>
              <a:gd name="connsiteY168" fmla="*/ 1383 h 10000"/>
              <a:gd name="connsiteX169" fmla="*/ 3893 w 9892"/>
              <a:gd name="connsiteY169" fmla="*/ 1457 h 10000"/>
              <a:gd name="connsiteX170" fmla="*/ 4190 w 9892"/>
              <a:gd name="connsiteY170" fmla="*/ 1668 h 10000"/>
              <a:gd name="connsiteX171" fmla="*/ 4094 w 9892"/>
              <a:gd name="connsiteY171" fmla="*/ 1896 h 10000"/>
              <a:gd name="connsiteX172" fmla="*/ 3920 w 9892"/>
              <a:gd name="connsiteY172" fmla="*/ 1979 h 10000"/>
              <a:gd name="connsiteX173" fmla="*/ 3400 w 9892"/>
              <a:gd name="connsiteY173" fmla="*/ 1924 h 10000"/>
              <a:gd name="connsiteX174" fmla="*/ 3044 w 9892"/>
              <a:gd name="connsiteY174" fmla="*/ 1955 h 10000"/>
              <a:gd name="connsiteX175" fmla="*/ 2757 w 9892"/>
              <a:gd name="connsiteY175" fmla="*/ 2023 h 10000"/>
              <a:gd name="connsiteX176" fmla="*/ 2293 w 9892"/>
              <a:gd name="connsiteY176" fmla="*/ 2233 h 10000"/>
              <a:gd name="connsiteX177" fmla="*/ 2047 w 9892"/>
              <a:gd name="connsiteY177" fmla="*/ 2487 h 10000"/>
              <a:gd name="connsiteX178" fmla="*/ 2068 w 9892"/>
              <a:gd name="connsiteY178" fmla="*/ 2629 h 10000"/>
              <a:gd name="connsiteX179" fmla="*/ 2154 w 9892"/>
              <a:gd name="connsiteY179" fmla="*/ 2738 h 10000"/>
              <a:gd name="connsiteX180" fmla="*/ 2219 w 9892"/>
              <a:gd name="connsiteY180" fmla="*/ 2782 h 10000"/>
              <a:gd name="connsiteX181" fmla="*/ 2098 w 9892"/>
              <a:gd name="connsiteY181" fmla="*/ 2852 h 10000"/>
              <a:gd name="connsiteX182" fmla="*/ 1835 w 9892"/>
              <a:gd name="connsiteY182" fmla="*/ 3330 h 10000"/>
              <a:gd name="connsiteX183" fmla="*/ 1886 w 9892"/>
              <a:gd name="connsiteY183" fmla="*/ 3358 h 10000"/>
              <a:gd name="connsiteX184" fmla="*/ 1923 w 9892"/>
              <a:gd name="connsiteY184" fmla="*/ 3479 h 10000"/>
              <a:gd name="connsiteX185" fmla="*/ 1802 w 9892"/>
              <a:gd name="connsiteY185" fmla="*/ 3982 h 10000"/>
              <a:gd name="connsiteX186" fmla="*/ 1923 w 9892"/>
              <a:gd name="connsiteY186" fmla="*/ 4110 h 10000"/>
              <a:gd name="connsiteX187" fmla="*/ 2259 w 9892"/>
              <a:gd name="connsiteY187" fmla="*/ 4251 h 10000"/>
              <a:gd name="connsiteX188" fmla="*/ 2273 w 9892"/>
              <a:gd name="connsiteY188" fmla="*/ 4423 h 10000"/>
              <a:gd name="connsiteX189" fmla="*/ 2131 w 9892"/>
              <a:gd name="connsiteY189" fmla="*/ 4566 h 10000"/>
              <a:gd name="connsiteX190" fmla="*/ 1923 w 9892"/>
              <a:gd name="connsiteY190" fmla="*/ 4652 h 10000"/>
              <a:gd name="connsiteX191" fmla="*/ 1651 w 9892"/>
              <a:gd name="connsiteY191" fmla="*/ 4687 h 10000"/>
              <a:gd name="connsiteX192" fmla="*/ 1579 w 9892"/>
              <a:gd name="connsiteY192" fmla="*/ 4737 h 10000"/>
              <a:gd name="connsiteX193" fmla="*/ 1739 w 9892"/>
              <a:gd name="connsiteY193" fmla="*/ 4855 h 10000"/>
              <a:gd name="connsiteX194" fmla="*/ 1830 w 9892"/>
              <a:gd name="connsiteY194" fmla="*/ 5136 h 10000"/>
              <a:gd name="connsiteX195" fmla="*/ 1623 w 9892"/>
              <a:gd name="connsiteY195" fmla="*/ 5376 h 10000"/>
              <a:gd name="connsiteX196" fmla="*/ 1695 w 9892"/>
              <a:gd name="connsiteY196" fmla="*/ 5451 h 10000"/>
              <a:gd name="connsiteX197" fmla="*/ 1629 w 9892"/>
              <a:gd name="connsiteY197" fmla="*/ 5577 h 10000"/>
              <a:gd name="connsiteX198" fmla="*/ 1498 w 9892"/>
              <a:gd name="connsiteY198" fmla="*/ 5663 h 10000"/>
              <a:gd name="connsiteX199" fmla="*/ 970 w 9892"/>
              <a:gd name="connsiteY199" fmla="*/ 5730 h 10000"/>
              <a:gd name="connsiteX200" fmla="*/ 938 w 9892"/>
              <a:gd name="connsiteY200" fmla="*/ 5846 h 10000"/>
              <a:gd name="connsiteX201" fmla="*/ 654 w 9892"/>
              <a:gd name="connsiteY201" fmla="*/ 6019 h 10000"/>
              <a:gd name="connsiteX202" fmla="*/ 691 w 9892"/>
              <a:gd name="connsiteY202" fmla="*/ 6268 h 10000"/>
              <a:gd name="connsiteX203" fmla="*/ 453 w 9892"/>
              <a:gd name="connsiteY203" fmla="*/ 6587 h 10000"/>
              <a:gd name="connsiteX204" fmla="*/ 290 w 9892"/>
              <a:gd name="connsiteY204" fmla="*/ 6624 h 10000"/>
              <a:gd name="connsiteX205" fmla="*/ 223 w 9892"/>
              <a:gd name="connsiteY205" fmla="*/ 6548 h 10000"/>
              <a:gd name="connsiteX206" fmla="*/ 140 w 9892"/>
              <a:gd name="connsiteY206" fmla="*/ 6663 h 10000"/>
              <a:gd name="connsiteX207" fmla="*/ 194 w 9892"/>
              <a:gd name="connsiteY207" fmla="*/ 6465 h 10000"/>
              <a:gd name="connsiteX208" fmla="*/ 159 w 9892"/>
              <a:gd name="connsiteY208" fmla="*/ 6427 h 10000"/>
              <a:gd name="connsiteX0" fmla="*/ 161 w 8184"/>
              <a:gd name="connsiteY0" fmla="*/ 6427 h 10000"/>
              <a:gd name="connsiteX1" fmla="*/ 0 w 8184"/>
              <a:gd name="connsiteY1" fmla="*/ 6530 h 10000"/>
              <a:gd name="connsiteX2" fmla="*/ 0 w 8184"/>
              <a:gd name="connsiteY2" fmla="*/ 7039 h 10000"/>
              <a:gd name="connsiteX3" fmla="*/ 89 w 8184"/>
              <a:gd name="connsiteY3" fmla="*/ 7053 h 10000"/>
              <a:gd name="connsiteX4" fmla="*/ 110 w 8184"/>
              <a:gd name="connsiteY4" fmla="*/ 7092 h 10000"/>
              <a:gd name="connsiteX5" fmla="*/ 106 w 8184"/>
              <a:gd name="connsiteY5" fmla="*/ 7161 h 10000"/>
              <a:gd name="connsiteX6" fmla="*/ 73 w 8184"/>
              <a:gd name="connsiteY6" fmla="*/ 7192 h 10000"/>
              <a:gd name="connsiteX7" fmla="*/ 209 w 8184"/>
              <a:gd name="connsiteY7" fmla="*/ 7133 h 10000"/>
              <a:gd name="connsiteX8" fmla="*/ 266 w 8184"/>
              <a:gd name="connsiteY8" fmla="*/ 7075 h 10000"/>
              <a:gd name="connsiteX9" fmla="*/ 338 w 8184"/>
              <a:gd name="connsiteY9" fmla="*/ 7115 h 10000"/>
              <a:gd name="connsiteX10" fmla="*/ 259 w 8184"/>
              <a:gd name="connsiteY10" fmla="*/ 7198 h 10000"/>
              <a:gd name="connsiteX11" fmla="*/ 343 w 8184"/>
              <a:gd name="connsiteY11" fmla="*/ 7200 h 10000"/>
              <a:gd name="connsiteX12" fmla="*/ 384 w 8184"/>
              <a:gd name="connsiteY12" fmla="*/ 7221 h 10000"/>
              <a:gd name="connsiteX13" fmla="*/ 276 w 8184"/>
              <a:gd name="connsiteY13" fmla="*/ 7248 h 10000"/>
              <a:gd name="connsiteX14" fmla="*/ 106 w 8184"/>
              <a:gd name="connsiteY14" fmla="*/ 7333 h 10000"/>
              <a:gd name="connsiteX15" fmla="*/ 407 w 8184"/>
              <a:gd name="connsiteY15" fmla="*/ 7400 h 10000"/>
              <a:gd name="connsiteX16" fmla="*/ 446 w 8184"/>
              <a:gd name="connsiteY16" fmla="*/ 7496 h 10000"/>
              <a:gd name="connsiteX17" fmla="*/ 343 w 8184"/>
              <a:gd name="connsiteY17" fmla="*/ 7636 h 10000"/>
              <a:gd name="connsiteX18" fmla="*/ 563 w 8184"/>
              <a:gd name="connsiteY18" fmla="*/ 7627 h 10000"/>
              <a:gd name="connsiteX19" fmla="*/ 580 w 8184"/>
              <a:gd name="connsiteY19" fmla="*/ 7733 h 10000"/>
              <a:gd name="connsiteX20" fmla="*/ 434 w 8184"/>
              <a:gd name="connsiteY20" fmla="*/ 7805 h 10000"/>
              <a:gd name="connsiteX21" fmla="*/ 458 w 8184"/>
              <a:gd name="connsiteY21" fmla="*/ 7945 h 10000"/>
              <a:gd name="connsiteX22" fmla="*/ 400 w 8184"/>
              <a:gd name="connsiteY22" fmla="*/ 8053 h 10000"/>
              <a:gd name="connsiteX23" fmla="*/ 575 w 8184"/>
              <a:gd name="connsiteY23" fmla="*/ 8063 h 10000"/>
              <a:gd name="connsiteX24" fmla="*/ 744 w 8184"/>
              <a:gd name="connsiteY24" fmla="*/ 8478 h 10000"/>
              <a:gd name="connsiteX25" fmla="*/ 941 w 8184"/>
              <a:gd name="connsiteY25" fmla="*/ 8583 h 10000"/>
              <a:gd name="connsiteX26" fmla="*/ 1027 w 8184"/>
              <a:gd name="connsiteY26" fmla="*/ 8695 h 10000"/>
              <a:gd name="connsiteX27" fmla="*/ 1239 w 8184"/>
              <a:gd name="connsiteY27" fmla="*/ 8776 h 10000"/>
              <a:gd name="connsiteX28" fmla="*/ 1378 w 8184"/>
              <a:gd name="connsiteY28" fmla="*/ 8881 h 10000"/>
              <a:gd name="connsiteX29" fmla="*/ 1359 w 8184"/>
              <a:gd name="connsiteY29" fmla="*/ 8955 h 10000"/>
              <a:gd name="connsiteX30" fmla="*/ 1224 w 8184"/>
              <a:gd name="connsiteY30" fmla="*/ 8983 h 10000"/>
              <a:gd name="connsiteX31" fmla="*/ 1077 w 8184"/>
              <a:gd name="connsiteY31" fmla="*/ 8965 h 10000"/>
              <a:gd name="connsiteX32" fmla="*/ 1031 w 8184"/>
              <a:gd name="connsiteY32" fmla="*/ 8996 h 10000"/>
              <a:gd name="connsiteX33" fmla="*/ 1143 w 8184"/>
              <a:gd name="connsiteY33" fmla="*/ 9158 h 10000"/>
              <a:gd name="connsiteX34" fmla="*/ 986 w 8184"/>
              <a:gd name="connsiteY34" fmla="*/ 9144 h 10000"/>
              <a:gd name="connsiteX35" fmla="*/ 851 w 8184"/>
              <a:gd name="connsiteY35" fmla="*/ 9105 h 10000"/>
              <a:gd name="connsiteX36" fmla="*/ 828 w 8184"/>
              <a:gd name="connsiteY36" fmla="*/ 9165 h 10000"/>
              <a:gd name="connsiteX37" fmla="*/ 1274 w 8184"/>
              <a:gd name="connsiteY37" fmla="*/ 9718 h 10000"/>
              <a:gd name="connsiteX38" fmla="*/ 1202 w 8184"/>
              <a:gd name="connsiteY38" fmla="*/ 9770 h 10000"/>
              <a:gd name="connsiteX39" fmla="*/ 1152 w 8184"/>
              <a:gd name="connsiteY39" fmla="*/ 9876 h 10000"/>
              <a:gd name="connsiteX40" fmla="*/ 1088 w 8184"/>
              <a:gd name="connsiteY40" fmla="*/ 9885 h 10000"/>
              <a:gd name="connsiteX41" fmla="*/ 1048 w 8184"/>
              <a:gd name="connsiteY41" fmla="*/ 9931 h 10000"/>
              <a:gd name="connsiteX42" fmla="*/ 1317 w 8184"/>
              <a:gd name="connsiteY42" fmla="*/ 9936 h 10000"/>
              <a:gd name="connsiteX43" fmla="*/ 1555 w 8184"/>
              <a:gd name="connsiteY43" fmla="*/ 9982 h 10000"/>
              <a:gd name="connsiteX44" fmla="*/ 1950 w 8184"/>
              <a:gd name="connsiteY44" fmla="*/ 9933 h 10000"/>
              <a:gd name="connsiteX45" fmla="*/ 2305 w 8184"/>
              <a:gd name="connsiteY45" fmla="*/ 9941 h 10000"/>
              <a:gd name="connsiteX46" fmla="*/ 2514 w 8184"/>
              <a:gd name="connsiteY46" fmla="*/ 10000 h 10000"/>
              <a:gd name="connsiteX47" fmla="*/ 2629 w 8184"/>
              <a:gd name="connsiteY47" fmla="*/ 9961 h 10000"/>
              <a:gd name="connsiteX48" fmla="*/ 2740 w 8184"/>
              <a:gd name="connsiteY48" fmla="*/ 9834 h 10000"/>
              <a:gd name="connsiteX49" fmla="*/ 2711 w 8184"/>
              <a:gd name="connsiteY49" fmla="*/ 9625 h 10000"/>
              <a:gd name="connsiteX50" fmla="*/ 2981 w 8184"/>
              <a:gd name="connsiteY50" fmla="*/ 9392 h 10000"/>
              <a:gd name="connsiteX51" fmla="*/ 3178 w 8184"/>
              <a:gd name="connsiteY51" fmla="*/ 9428 h 10000"/>
              <a:gd name="connsiteX52" fmla="*/ 3294 w 8184"/>
              <a:gd name="connsiteY52" fmla="*/ 9335 h 10000"/>
              <a:gd name="connsiteX53" fmla="*/ 3514 w 8184"/>
              <a:gd name="connsiteY53" fmla="*/ 9282 h 10000"/>
              <a:gd name="connsiteX54" fmla="*/ 3812 w 8184"/>
              <a:gd name="connsiteY54" fmla="*/ 9295 h 10000"/>
              <a:gd name="connsiteX55" fmla="*/ 3992 w 8184"/>
              <a:gd name="connsiteY55" fmla="*/ 9332 h 10000"/>
              <a:gd name="connsiteX56" fmla="*/ 4231 w 8184"/>
              <a:gd name="connsiteY56" fmla="*/ 9315 h 10000"/>
              <a:gd name="connsiteX57" fmla="*/ 4472 w 8184"/>
              <a:gd name="connsiteY57" fmla="*/ 9356 h 10000"/>
              <a:gd name="connsiteX58" fmla="*/ 4713 w 8184"/>
              <a:gd name="connsiteY58" fmla="*/ 9361 h 10000"/>
              <a:gd name="connsiteX59" fmla="*/ 5253 w 8184"/>
              <a:gd name="connsiteY59" fmla="*/ 8817 h 10000"/>
              <a:gd name="connsiteX60" fmla="*/ 5390 w 8184"/>
              <a:gd name="connsiteY60" fmla="*/ 8375 h 10000"/>
              <a:gd name="connsiteX61" fmla="*/ 5610 w 8184"/>
              <a:gd name="connsiteY61" fmla="*/ 8177 h 10000"/>
              <a:gd name="connsiteX62" fmla="*/ 5610 w 8184"/>
              <a:gd name="connsiteY62" fmla="*/ 8073 h 10000"/>
              <a:gd name="connsiteX63" fmla="*/ 5530 w 8184"/>
              <a:gd name="connsiteY63" fmla="*/ 8015 h 10000"/>
              <a:gd name="connsiteX64" fmla="*/ 5659 w 8184"/>
              <a:gd name="connsiteY64" fmla="*/ 7922 h 10000"/>
              <a:gd name="connsiteX65" fmla="*/ 5636 w 8184"/>
              <a:gd name="connsiteY65" fmla="*/ 7844 h 10000"/>
              <a:gd name="connsiteX66" fmla="*/ 5548 w 8184"/>
              <a:gd name="connsiteY66" fmla="*/ 7776 h 10000"/>
              <a:gd name="connsiteX67" fmla="*/ 5530 w 8184"/>
              <a:gd name="connsiteY67" fmla="*/ 7728 h 10000"/>
              <a:gd name="connsiteX68" fmla="*/ 5553 w 8184"/>
              <a:gd name="connsiteY68" fmla="*/ 7691 h 10000"/>
              <a:gd name="connsiteX69" fmla="*/ 5672 w 8184"/>
              <a:gd name="connsiteY69" fmla="*/ 7721 h 10000"/>
              <a:gd name="connsiteX70" fmla="*/ 5766 w 8184"/>
              <a:gd name="connsiteY70" fmla="*/ 7719 h 10000"/>
              <a:gd name="connsiteX71" fmla="*/ 5715 w 8184"/>
              <a:gd name="connsiteY71" fmla="*/ 7655 h 10000"/>
              <a:gd name="connsiteX72" fmla="*/ 5731 w 8184"/>
              <a:gd name="connsiteY72" fmla="*/ 7619 h 10000"/>
              <a:gd name="connsiteX73" fmla="*/ 5802 w 8184"/>
              <a:gd name="connsiteY73" fmla="*/ 7565 h 10000"/>
              <a:gd name="connsiteX74" fmla="*/ 5789 w 8184"/>
              <a:gd name="connsiteY74" fmla="*/ 7521 h 10000"/>
              <a:gd name="connsiteX75" fmla="*/ 5853 w 8184"/>
              <a:gd name="connsiteY75" fmla="*/ 7373 h 10000"/>
              <a:gd name="connsiteX76" fmla="*/ 5835 w 8184"/>
              <a:gd name="connsiteY76" fmla="*/ 7327 h 10000"/>
              <a:gd name="connsiteX77" fmla="*/ 5507 w 8184"/>
              <a:gd name="connsiteY77" fmla="*/ 7216 h 10000"/>
              <a:gd name="connsiteX78" fmla="*/ 5553 w 8184"/>
              <a:gd name="connsiteY78" fmla="*/ 7211 h 10000"/>
              <a:gd name="connsiteX79" fmla="*/ 5727 w 8184"/>
              <a:gd name="connsiteY79" fmla="*/ 7241 h 10000"/>
              <a:gd name="connsiteX80" fmla="*/ 5917 w 8184"/>
              <a:gd name="connsiteY80" fmla="*/ 7230 h 10000"/>
              <a:gd name="connsiteX81" fmla="*/ 5970 w 8184"/>
              <a:gd name="connsiteY81" fmla="*/ 7189 h 10000"/>
              <a:gd name="connsiteX82" fmla="*/ 5789 w 8184"/>
              <a:gd name="connsiteY82" fmla="*/ 7113 h 10000"/>
              <a:gd name="connsiteX83" fmla="*/ 5249 w 8184"/>
              <a:gd name="connsiteY83" fmla="*/ 7062 h 10000"/>
              <a:gd name="connsiteX84" fmla="*/ 5285 w 8184"/>
              <a:gd name="connsiteY84" fmla="*/ 7039 h 10000"/>
              <a:gd name="connsiteX85" fmla="*/ 5727 w 8184"/>
              <a:gd name="connsiteY85" fmla="*/ 7023 h 10000"/>
              <a:gd name="connsiteX86" fmla="*/ 5970 w 8184"/>
              <a:gd name="connsiteY86" fmla="*/ 7069 h 10000"/>
              <a:gd name="connsiteX87" fmla="*/ 6110 w 8184"/>
              <a:gd name="connsiteY87" fmla="*/ 7039 h 10000"/>
              <a:gd name="connsiteX88" fmla="*/ 6162 w 8184"/>
              <a:gd name="connsiteY88" fmla="*/ 6959 h 10000"/>
              <a:gd name="connsiteX89" fmla="*/ 6416 w 8184"/>
              <a:gd name="connsiteY89" fmla="*/ 6959 h 10000"/>
              <a:gd name="connsiteX90" fmla="*/ 6761 w 8184"/>
              <a:gd name="connsiteY90" fmla="*/ 6799 h 10000"/>
              <a:gd name="connsiteX91" fmla="*/ 6772 w 8184"/>
              <a:gd name="connsiteY91" fmla="*/ 6693 h 10000"/>
              <a:gd name="connsiteX92" fmla="*/ 6918 w 8184"/>
              <a:gd name="connsiteY92" fmla="*/ 6718 h 10000"/>
              <a:gd name="connsiteX93" fmla="*/ 6912 w 8184"/>
              <a:gd name="connsiteY93" fmla="*/ 6824 h 10000"/>
              <a:gd name="connsiteX94" fmla="*/ 7142 w 8184"/>
              <a:gd name="connsiteY94" fmla="*/ 6817 h 10000"/>
              <a:gd name="connsiteX95" fmla="*/ 7294 w 8184"/>
              <a:gd name="connsiteY95" fmla="*/ 6707 h 10000"/>
              <a:gd name="connsiteX96" fmla="*/ 7577 w 8184"/>
              <a:gd name="connsiteY96" fmla="*/ 6607 h 10000"/>
              <a:gd name="connsiteX97" fmla="*/ 7532 w 8184"/>
              <a:gd name="connsiteY97" fmla="*/ 6493 h 10000"/>
              <a:gd name="connsiteX98" fmla="*/ 7616 w 8184"/>
              <a:gd name="connsiteY98" fmla="*/ 6538 h 10000"/>
              <a:gd name="connsiteX99" fmla="*/ 7745 w 8184"/>
              <a:gd name="connsiteY99" fmla="*/ 6538 h 10000"/>
              <a:gd name="connsiteX100" fmla="*/ 7745 w 8184"/>
              <a:gd name="connsiteY100" fmla="*/ 6486 h 10000"/>
              <a:gd name="connsiteX101" fmla="*/ 7866 w 8184"/>
              <a:gd name="connsiteY101" fmla="*/ 6446 h 10000"/>
              <a:gd name="connsiteX102" fmla="*/ 7850 w 8184"/>
              <a:gd name="connsiteY102" fmla="*/ 6405 h 10000"/>
              <a:gd name="connsiteX103" fmla="*/ 6834 w 8184"/>
              <a:gd name="connsiteY103" fmla="*/ 6488 h 10000"/>
              <a:gd name="connsiteX104" fmla="*/ 6595 w 8184"/>
              <a:gd name="connsiteY104" fmla="*/ 6463 h 10000"/>
              <a:gd name="connsiteX105" fmla="*/ 6500 w 8184"/>
              <a:gd name="connsiteY105" fmla="*/ 6493 h 10000"/>
              <a:gd name="connsiteX106" fmla="*/ 6468 w 8184"/>
              <a:gd name="connsiteY106" fmla="*/ 6436 h 10000"/>
              <a:gd name="connsiteX107" fmla="*/ 6355 w 8184"/>
              <a:gd name="connsiteY107" fmla="*/ 6384 h 10000"/>
              <a:gd name="connsiteX108" fmla="*/ 5903 w 8184"/>
              <a:gd name="connsiteY108" fmla="*/ 6282 h 10000"/>
              <a:gd name="connsiteX109" fmla="*/ 5636 w 8184"/>
              <a:gd name="connsiteY109" fmla="*/ 6298 h 10000"/>
              <a:gd name="connsiteX110" fmla="*/ 5530 w 8184"/>
              <a:gd name="connsiteY110" fmla="*/ 6270 h 10000"/>
              <a:gd name="connsiteX111" fmla="*/ 5642 w 8184"/>
              <a:gd name="connsiteY111" fmla="*/ 6245 h 10000"/>
              <a:gd name="connsiteX112" fmla="*/ 5727 w 8184"/>
              <a:gd name="connsiteY112" fmla="*/ 6190 h 10000"/>
              <a:gd name="connsiteX113" fmla="*/ 5853 w 8184"/>
              <a:gd name="connsiteY113" fmla="*/ 6208 h 10000"/>
              <a:gd name="connsiteX114" fmla="*/ 6003 w 8184"/>
              <a:gd name="connsiteY114" fmla="*/ 6193 h 10000"/>
              <a:gd name="connsiteX115" fmla="*/ 6229 w 8184"/>
              <a:gd name="connsiteY115" fmla="*/ 6211 h 10000"/>
              <a:gd name="connsiteX116" fmla="*/ 6257 w 8184"/>
              <a:gd name="connsiteY116" fmla="*/ 6204 h 10000"/>
              <a:gd name="connsiteX117" fmla="*/ 6432 w 8184"/>
              <a:gd name="connsiteY117" fmla="*/ 6287 h 10000"/>
              <a:gd name="connsiteX118" fmla="*/ 6561 w 8184"/>
              <a:gd name="connsiteY118" fmla="*/ 6257 h 10000"/>
              <a:gd name="connsiteX119" fmla="*/ 6573 w 8184"/>
              <a:gd name="connsiteY119" fmla="*/ 6229 h 10000"/>
              <a:gd name="connsiteX120" fmla="*/ 6691 w 8184"/>
              <a:gd name="connsiteY120" fmla="*/ 6278 h 10000"/>
              <a:gd name="connsiteX121" fmla="*/ 6849 w 8184"/>
              <a:gd name="connsiteY121" fmla="*/ 6304 h 10000"/>
              <a:gd name="connsiteX122" fmla="*/ 6912 w 8184"/>
              <a:gd name="connsiteY122" fmla="*/ 6255 h 10000"/>
              <a:gd name="connsiteX123" fmla="*/ 6962 w 8184"/>
              <a:gd name="connsiteY123" fmla="*/ 6282 h 10000"/>
              <a:gd name="connsiteX124" fmla="*/ 7035 w 8184"/>
              <a:gd name="connsiteY124" fmla="*/ 6377 h 10000"/>
              <a:gd name="connsiteX125" fmla="*/ 7187 w 8184"/>
              <a:gd name="connsiteY125" fmla="*/ 6399 h 10000"/>
              <a:gd name="connsiteX126" fmla="*/ 7809 w 8184"/>
              <a:gd name="connsiteY126" fmla="*/ 6259 h 10000"/>
              <a:gd name="connsiteX127" fmla="*/ 8114 w 8184"/>
              <a:gd name="connsiteY127" fmla="*/ 6064 h 10000"/>
              <a:gd name="connsiteX128" fmla="*/ 8184 w 8184"/>
              <a:gd name="connsiteY128" fmla="*/ 5921 h 10000"/>
              <a:gd name="connsiteX129" fmla="*/ 8074 w 8184"/>
              <a:gd name="connsiteY129" fmla="*/ 5792 h 10000"/>
              <a:gd name="connsiteX130" fmla="*/ 7842 w 8184"/>
              <a:gd name="connsiteY130" fmla="*/ 5715 h 10000"/>
              <a:gd name="connsiteX131" fmla="*/ 7678 w 8184"/>
              <a:gd name="connsiteY131" fmla="*/ 5589 h 10000"/>
              <a:gd name="connsiteX132" fmla="*/ 7831 w 8184"/>
              <a:gd name="connsiteY132" fmla="*/ 5584 h 10000"/>
              <a:gd name="connsiteX133" fmla="*/ 7820 w 8184"/>
              <a:gd name="connsiteY133" fmla="*/ 5554 h 10000"/>
              <a:gd name="connsiteX134" fmla="*/ 7421 w 8184"/>
              <a:gd name="connsiteY134" fmla="*/ 5465 h 10000"/>
              <a:gd name="connsiteX135" fmla="*/ 7404 w 8184"/>
              <a:gd name="connsiteY135" fmla="*/ 5383 h 10000"/>
              <a:gd name="connsiteX136" fmla="*/ 7327 w 8184"/>
              <a:gd name="connsiteY136" fmla="*/ 5299 h 10000"/>
              <a:gd name="connsiteX137" fmla="*/ 7013 w 8184"/>
              <a:gd name="connsiteY137" fmla="*/ 5314 h 10000"/>
              <a:gd name="connsiteX138" fmla="*/ 6900 w 8184"/>
              <a:gd name="connsiteY138" fmla="*/ 5224 h 10000"/>
              <a:gd name="connsiteX139" fmla="*/ 6834 w 8184"/>
              <a:gd name="connsiteY139" fmla="*/ 5219 h 10000"/>
              <a:gd name="connsiteX140" fmla="*/ 6834 w 8184"/>
              <a:gd name="connsiteY140" fmla="*/ 5256 h 10000"/>
              <a:gd name="connsiteX141" fmla="*/ 6691 w 8184"/>
              <a:gd name="connsiteY141" fmla="*/ 5408 h 10000"/>
              <a:gd name="connsiteX142" fmla="*/ 6539 w 8184"/>
              <a:gd name="connsiteY142" fmla="*/ 5498 h 10000"/>
              <a:gd name="connsiteX143" fmla="*/ 6057 w 8184"/>
              <a:gd name="connsiteY143" fmla="*/ 5651 h 10000"/>
              <a:gd name="connsiteX144" fmla="*/ 5891 w 8184"/>
              <a:gd name="connsiteY144" fmla="*/ 5646 h 10000"/>
              <a:gd name="connsiteX145" fmla="*/ 5659 w 8184"/>
              <a:gd name="connsiteY145" fmla="*/ 5669 h 10000"/>
              <a:gd name="connsiteX146" fmla="*/ 5530 w 8184"/>
              <a:gd name="connsiteY146" fmla="*/ 5646 h 10000"/>
              <a:gd name="connsiteX147" fmla="*/ 5700 w 8184"/>
              <a:gd name="connsiteY147" fmla="*/ 5604 h 10000"/>
              <a:gd name="connsiteX148" fmla="*/ 5921 w 8184"/>
              <a:gd name="connsiteY148" fmla="*/ 5584 h 10000"/>
              <a:gd name="connsiteX149" fmla="*/ 6101 w 8184"/>
              <a:gd name="connsiteY149" fmla="*/ 5513 h 10000"/>
              <a:gd name="connsiteX150" fmla="*/ 6280 w 8184"/>
              <a:gd name="connsiteY150" fmla="*/ 5480 h 10000"/>
              <a:gd name="connsiteX151" fmla="*/ 6614 w 8184"/>
              <a:gd name="connsiteY151" fmla="*/ 5355 h 10000"/>
              <a:gd name="connsiteX152" fmla="*/ 6676 w 8184"/>
              <a:gd name="connsiteY152" fmla="*/ 5274 h 10000"/>
              <a:gd name="connsiteX153" fmla="*/ 6682 w 8184"/>
              <a:gd name="connsiteY153" fmla="*/ 5168 h 10000"/>
              <a:gd name="connsiteX154" fmla="*/ 6529 w 8184"/>
              <a:gd name="connsiteY154" fmla="*/ 5150 h 10000"/>
              <a:gd name="connsiteX155" fmla="*/ 6595 w 8184"/>
              <a:gd name="connsiteY155" fmla="*/ 5086 h 10000"/>
              <a:gd name="connsiteX156" fmla="*/ 6618 w 8184"/>
              <a:gd name="connsiteY156" fmla="*/ 5005 h 10000"/>
              <a:gd name="connsiteX157" fmla="*/ 6553 w 8184"/>
              <a:gd name="connsiteY157" fmla="*/ 4928 h 10000"/>
              <a:gd name="connsiteX158" fmla="*/ 8035 w 8184"/>
              <a:gd name="connsiteY158" fmla="*/ 923 h 10000"/>
              <a:gd name="connsiteX159" fmla="*/ 8061 w 8184"/>
              <a:gd name="connsiteY159" fmla="*/ 649 h 10000"/>
              <a:gd name="connsiteX160" fmla="*/ 7514 w 8184"/>
              <a:gd name="connsiteY160" fmla="*/ 590 h 10000"/>
              <a:gd name="connsiteX161" fmla="*/ 6873 w 8184"/>
              <a:gd name="connsiteY161" fmla="*/ 332 h 10000"/>
              <a:gd name="connsiteX162" fmla="*/ 5463 w 8184"/>
              <a:gd name="connsiteY162" fmla="*/ 0 h 10000"/>
              <a:gd name="connsiteX163" fmla="*/ 5184 w 8184"/>
              <a:gd name="connsiteY163" fmla="*/ 82 h 10000"/>
              <a:gd name="connsiteX164" fmla="*/ 5006 w 8184"/>
              <a:gd name="connsiteY164" fmla="*/ 78 h 10000"/>
              <a:gd name="connsiteX165" fmla="*/ 4899 w 8184"/>
              <a:gd name="connsiteY165" fmla="*/ 107 h 10000"/>
              <a:gd name="connsiteX166" fmla="*/ 4607 w 8184"/>
              <a:gd name="connsiteY166" fmla="*/ 913 h 10000"/>
              <a:gd name="connsiteX167" fmla="*/ 3930 w 8184"/>
              <a:gd name="connsiteY167" fmla="*/ 1383 h 10000"/>
              <a:gd name="connsiteX168" fmla="*/ 3936 w 8184"/>
              <a:gd name="connsiteY168" fmla="*/ 1457 h 10000"/>
              <a:gd name="connsiteX169" fmla="*/ 4236 w 8184"/>
              <a:gd name="connsiteY169" fmla="*/ 1668 h 10000"/>
              <a:gd name="connsiteX170" fmla="*/ 4139 w 8184"/>
              <a:gd name="connsiteY170" fmla="*/ 1896 h 10000"/>
              <a:gd name="connsiteX171" fmla="*/ 3963 w 8184"/>
              <a:gd name="connsiteY171" fmla="*/ 1979 h 10000"/>
              <a:gd name="connsiteX172" fmla="*/ 3437 w 8184"/>
              <a:gd name="connsiteY172" fmla="*/ 1924 h 10000"/>
              <a:gd name="connsiteX173" fmla="*/ 3077 w 8184"/>
              <a:gd name="connsiteY173" fmla="*/ 1955 h 10000"/>
              <a:gd name="connsiteX174" fmla="*/ 2787 w 8184"/>
              <a:gd name="connsiteY174" fmla="*/ 2023 h 10000"/>
              <a:gd name="connsiteX175" fmla="*/ 2318 w 8184"/>
              <a:gd name="connsiteY175" fmla="*/ 2233 h 10000"/>
              <a:gd name="connsiteX176" fmla="*/ 2069 w 8184"/>
              <a:gd name="connsiteY176" fmla="*/ 2487 h 10000"/>
              <a:gd name="connsiteX177" fmla="*/ 2091 w 8184"/>
              <a:gd name="connsiteY177" fmla="*/ 2629 h 10000"/>
              <a:gd name="connsiteX178" fmla="*/ 2178 w 8184"/>
              <a:gd name="connsiteY178" fmla="*/ 2738 h 10000"/>
              <a:gd name="connsiteX179" fmla="*/ 2243 w 8184"/>
              <a:gd name="connsiteY179" fmla="*/ 2782 h 10000"/>
              <a:gd name="connsiteX180" fmla="*/ 2121 w 8184"/>
              <a:gd name="connsiteY180" fmla="*/ 2852 h 10000"/>
              <a:gd name="connsiteX181" fmla="*/ 1855 w 8184"/>
              <a:gd name="connsiteY181" fmla="*/ 3330 h 10000"/>
              <a:gd name="connsiteX182" fmla="*/ 1907 w 8184"/>
              <a:gd name="connsiteY182" fmla="*/ 3358 h 10000"/>
              <a:gd name="connsiteX183" fmla="*/ 1944 w 8184"/>
              <a:gd name="connsiteY183" fmla="*/ 3479 h 10000"/>
              <a:gd name="connsiteX184" fmla="*/ 1822 w 8184"/>
              <a:gd name="connsiteY184" fmla="*/ 3982 h 10000"/>
              <a:gd name="connsiteX185" fmla="*/ 1944 w 8184"/>
              <a:gd name="connsiteY185" fmla="*/ 4110 h 10000"/>
              <a:gd name="connsiteX186" fmla="*/ 2284 w 8184"/>
              <a:gd name="connsiteY186" fmla="*/ 4251 h 10000"/>
              <a:gd name="connsiteX187" fmla="*/ 2298 w 8184"/>
              <a:gd name="connsiteY187" fmla="*/ 4423 h 10000"/>
              <a:gd name="connsiteX188" fmla="*/ 2154 w 8184"/>
              <a:gd name="connsiteY188" fmla="*/ 4566 h 10000"/>
              <a:gd name="connsiteX189" fmla="*/ 1944 w 8184"/>
              <a:gd name="connsiteY189" fmla="*/ 4652 h 10000"/>
              <a:gd name="connsiteX190" fmla="*/ 1669 w 8184"/>
              <a:gd name="connsiteY190" fmla="*/ 4687 h 10000"/>
              <a:gd name="connsiteX191" fmla="*/ 1596 w 8184"/>
              <a:gd name="connsiteY191" fmla="*/ 4737 h 10000"/>
              <a:gd name="connsiteX192" fmla="*/ 1758 w 8184"/>
              <a:gd name="connsiteY192" fmla="*/ 4855 h 10000"/>
              <a:gd name="connsiteX193" fmla="*/ 1850 w 8184"/>
              <a:gd name="connsiteY193" fmla="*/ 5136 h 10000"/>
              <a:gd name="connsiteX194" fmla="*/ 1641 w 8184"/>
              <a:gd name="connsiteY194" fmla="*/ 5376 h 10000"/>
              <a:gd name="connsiteX195" fmla="*/ 1714 w 8184"/>
              <a:gd name="connsiteY195" fmla="*/ 5451 h 10000"/>
              <a:gd name="connsiteX196" fmla="*/ 1647 w 8184"/>
              <a:gd name="connsiteY196" fmla="*/ 5577 h 10000"/>
              <a:gd name="connsiteX197" fmla="*/ 1514 w 8184"/>
              <a:gd name="connsiteY197" fmla="*/ 5663 h 10000"/>
              <a:gd name="connsiteX198" fmla="*/ 981 w 8184"/>
              <a:gd name="connsiteY198" fmla="*/ 5730 h 10000"/>
              <a:gd name="connsiteX199" fmla="*/ 948 w 8184"/>
              <a:gd name="connsiteY199" fmla="*/ 5846 h 10000"/>
              <a:gd name="connsiteX200" fmla="*/ 661 w 8184"/>
              <a:gd name="connsiteY200" fmla="*/ 6019 h 10000"/>
              <a:gd name="connsiteX201" fmla="*/ 699 w 8184"/>
              <a:gd name="connsiteY201" fmla="*/ 6268 h 10000"/>
              <a:gd name="connsiteX202" fmla="*/ 458 w 8184"/>
              <a:gd name="connsiteY202" fmla="*/ 6587 h 10000"/>
              <a:gd name="connsiteX203" fmla="*/ 293 w 8184"/>
              <a:gd name="connsiteY203" fmla="*/ 6624 h 10000"/>
              <a:gd name="connsiteX204" fmla="*/ 225 w 8184"/>
              <a:gd name="connsiteY204" fmla="*/ 6548 h 10000"/>
              <a:gd name="connsiteX205" fmla="*/ 142 w 8184"/>
              <a:gd name="connsiteY205" fmla="*/ 6663 h 10000"/>
              <a:gd name="connsiteX206" fmla="*/ 196 w 8184"/>
              <a:gd name="connsiteY206" fmla="*/ 6465 h 10000"/>
              <a:gd name="connsiteX207" fmla="*/ 161 w 8184"/>
              <a:gd name="connsiteY207" fmla="*/ 6427 h 10000"/>
              <a:gd name="connsiteX0" fmla="*/ 197 w 10000"/>
              <a:gd name="connsiteY0" fmla="*/ 6427 h 10000"/>
              <a:gd name="connsiteX1" fmla="*/ 0 w 10000"/>
              <a:gd name="connsiteY1" fmla="*/ 6530 h 10000"/>
              <a:gd name="connsiteX2" fmla="*/ 0 w 10000"/>
              <a:gd name="connsiteY2" fmla="*/ 7039 h 10000"/>
              <a:gd name="connsiteX3" fmla="*/ 109 w 10000"/>
              <a:gd name="connsiteY3" fmla="*/ 7053 h 10000"/>
              <a:gd name="connsiteX4" fmla="*/ 134 w 10000"/>
              <a:gd name="connsiteY4" fmla="*/ 7092 h 10000"/>
              <a:gd name="connsiteX5" fmla="*/ 130 w 10000"/>
              <a:gd name="connsiteY5" fmla="*/ 7161 h 10000"/>
              <a:gd name="connsiteX6" fmla="*/ 89 w 10000"/>
              <a:gd name="connsiteY6" fmla="*/ 7192 h 10000"/>
              <a:gd name="connsiteX7" fmla="*/ 255 w 10000"/>
              <a:gd name="connsiteY7" fmla="*/ 7133 h 10000"/>
              <a:gd name="connsiteX8" fmla="*/ 325 w 10000"/>
              <a:gd name="connsiteY8" fmla="*/ 7075 h 10000"/>
              <a:gd name="connsiteX9" fmla="*/ 413 w 10000"/>
              <a:gd name="connsiteY9" fmla="*/ 7115 h 10000"/>
              <a:gd name="connsiteX10" fmla="*/ 316 w 10000"/>
              <a:gd name="connsiteY10" fmla="*/ 7198 h 10000"/>
              <a:gd name="connsiteX11" fmla="*/ 419 w 10000"/>
              <a:gd name="connsiteY11" fmla="*/ 7200 h 10000"/>
              <a:gd name="connsiteX12" fmla="*/ 469 w 10000"/>
              <a:gd name="connsiteY12" fmla="*/ 7221 h 10000"/>
              <a:gd name="connsiteX13" fmla="*/ 337 w 10000"/>
              <a:gd name="connsiteY13" fmla="*/ 7248 h 10000"/>
              <a:gd name="connsiteX14" fmla="*/ 130 w 10000"/>
              <a:gd name="connsiteY14" fmla="*/ 7333 h 10000"/>
              <a:gd name="connsiteX15" fmla="*/ 497 w 10000"/>
              <a:gd name="connsiteY15" fmla="*/ 7400 h 10000"/>
              <a:gd name="connsiteX16" fmla="*/ 545 w 10000"/>
              <a:gd name="connsiteY16" fmla="*/ 7496 h 10000"/>
              <a:gd name="connsiteX17" fmla="*/ 419 w 10000"/>
              <a:gd name="connsiteY17" fmla="*/ 7636 h 10000"/>
              <a:gd name="connsiteX18" fmla="*/ 688 w 10000"/>
              <a:gd name="connsiteY18" fmla="*/ 7627 h 10000"/>
              <a:gd name="connsiteX19" fmla="*/ 709 w 10000"/>
              <a:gd name="connsiteY19" fmla="*/ 7733 h 10000"/>
              <a:gd name="connsiteX20" fmla="*/ 530 w 10000"/>
              <a:gd name="connsiteY20" fmla="*/ 7805 h 10000"/>
              <a:gd name="connsiteX21" fmla="*/ 560 w 10000"/>
              <a:gd name="connsiteY21" fmla="*/ 7945 h 10000"/>
              <a:gd name="connsiteX22" fmla="*/ 489 w 10000"/>
              <a:gd name="connsiteY22" fmla="*/ 8053 h 10000"/>
              <a:gd name="connsiteX23" fmla="*/ 703 w 10000"/>
              <a:gd name="connsiteY23" fmla="*/ 8063 h 10000"/>
              <a:gd name="connsiteX24" fmla="*/ 909 w 10000"/>
              <a:gd name="connsiteY24" fmla="*/ 8478 h 10000"/>
              <a:gd name="connsiteX25" fmla="*/ 1150 w 10000"/>
              <a:gd name="connsiteY25" fmla="*/ 8583 h 10000"/>
              <a:gd name="connsiteX26" fmla="*/ 1255 w 10000"/>
              <a:gd name="connsiteY26" fmla="*/ 8695 h 10000"/>
              <a:gd name="connsiteX27" fmla="*/ 1514 w 10000"/>
              <a:gd name="connsiteY27" fmla="*/ 8776 h 10000"/>
              <a:gd name="connsiteX28" fmla="*/ 1684 w 10000"/>
              <a:gd name="connsiteY28" fmla="*/ 8881 h 10000"/>
              <a:gd name="connsiteX29" fmla="*/ 1661 w 10000"/>
              <a:gd name="connsiteY29" fmla="*/ 8955 h 10000"/>
              <a:gd name="connsiteX30" fmla="*/ 1496 w 10000"/>
              <a:gd name="connsiteY30" fmla="*/ 8983 h 10000"/>
              <a:gd name="connsiteX31" fmla="*/ 1316 w 10000"/>
              <a:gd name="connsiteY31" fmla="*/ 8965 h 10000"/>
              <a:gd name="connsiteX32" fmla="*/ 1260 w 10000"/>
              <a:gd name="connsiteY32" fmla="*/ 8996 h 10000"/>
              <a:gd name="connsiteX33" fmla="*/ 1397 w 10000"/>
              <a:gd name="connsiteY33" fmla="*/ 9158 h 10000"/>
              <a:gd name="connsiteX34" fmla="*/ 1205 w 10000"/>
              <a:gd name="connsiteY34" fmla="*/ 9144 h 10000"/>
              <a:gd name="connsiteX35" fmla="*/ 1040 w 10000"/>
              <a:gd name="connsiteY35" fmla="*/ 9105 h 10000"/>
              <a:gd name="connsiteX36" fmla="*/ 1012 w 10000"/>
              <a:gd name="connsiteY36" fmla="*/ 9165 h 10000"/>
              <a:gd name="connsiteX37" fmla="*/ 1557 w 10000"/>
              <a:gd name="connsiteY37" fmla="*/ 9718 h 10000"/>
              <a:gd name="connsiteX38" fmla="*/ 1469 w 10000"/>
              <a:gd name="connsiteY38" fmla="*/ 9770 h 10000"/>
              <a:gd name="connsiteX39" fmla="*/ 1408 w 10000"/>
              <a:gd name="connsiteY39" fmla="*/ 9876 h 10000"/>
              <a:gd name="connsiteX40" fmla="*/ 1329 w 10000"/>
              <a:gd name="connsiteY40" fmla="*/ 9885 h 10000"/>
              <a:gd name="connsiteX41" fmla="*/ 1281 w 10000"/>
              <a:gd name="connsiteY41" fmla="*/ 9931 h 10000"/>
              <a:gd name="connsiteX42" fmla="*/ 1609 w 10000"/>
              <a:gd name="connsiteY42" fmla="*/ 9936 h 10000"/>
              <a:gd name="connsiteX43" fmla="*/ 1900 w 10000"/>
              <a:gd name="connsiteY43" fmla="*/ 9982 h 10000"/>
              <a:gd name="connsiteX44" fmla="*/ 2383 w 10000"/>
              <a:gd name="connsiteY44" fmla="*/ 9933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4 h 10000"/>
              <a:gd name="connsiteX49" fmla="*/ 3313 w 10000"/>
              <a:gd name="connsiteY49" fmla="*/ 9625 h 10000"/>
              <a:gd name="connsiteX50" fmla="*/ 3642 w 10000"/>
              <a:gd name="connsiteY50" fmla="*/ 9392 h 10000"/>
              <a:gd name="connsiteX51" fmla="*/ 3883 w 10000"/>
              <a:gd name="connsiteY51" fmla="*/ 9428 h 10000"/>
              <a:gd name="connsiteX52" fmla="*/ 4025 w 10000"/>
              <a:gd name="connsiteY52" fmla="*/ 9335 h 10000"/>
              <a:gd name="connsiteX53" fmla="*/ 4294 w 10000"/>
              <a:gd name="connsiteY53" fmla="*/ 9282 h 10000"/>
              <a:gd name="connsiteX54" fmla="*/ 4658 w 10000"/>
              <a:gd name="connsiteY54" fmla="*/ 9295 h 10000"/>
              <a:gd name="connsiteX55" fmla="*/ 4878 w 10000"/>
              <a:gd name="connsiteY55" fmla="*/ 9332 h 10000"/>
              <a:gd name="connsiteX56" fmla="*/ 5170 w 10000"/>
              <a:gd name="connsiteY56" fmla="*/ 9315 h 10000"/>
              <a:gd name="connsiteX57" fmla="*/ 5464 w 10000"/>
              <a:gd name="connsiteY57" fmla="*/ 9356 h 10000"/>
              <a:gd name="connsiteX58" fmla="*/ 5759 w 10000"/>
              <a:gd name="connsiteY58" fmla="*/ 9361 h 10000"/>
              <a:gd name="connsiteX59" fmla="*/ 6419 w 10000"/>
              <a:gd name="connsiteY59" fmla="*/ 8817 h 10000"/>
              <a:gd name="connsiteX60" fmla="*/ 6586 w 10000"/>
              <a:gd name="connsiteY60" fmla="*/ 8375 h 10000"/>
              <a:gd name="connsiteX61" fmla="*/ 6855 w 10000"/>
              <a:gd name="connsiteY61" fmla="*/ 8177 h 10000"/>
              <a:gd name="connsiteX62" fmla="*/ 6855 w 10000"/>
              <a:gd name="connsiteY62" fmla="*/ 8073 h 10000"/>
              <a:gd name="connsiteX63" fmla="*/ 6757 w 10000"/>
              <a:gd name="connsiteY63" fmla="*/ 8015 h 10000"/>
              <a:gd name="connsiteX64" fmla="*/ 6915 w 10000"/>
              <a:gd name="connsiteY64" fmla="*/ 7922 h 10000"/>
              <a:gd name="connsiteX65" fmla="*/ 6887 w 10000"/>
              <a:gd name="connsiteY65" fmla="*/ 7844 h 10000"/>
              <a:gd name="connsiteX66" fmla="*/ 6779 w 10000"/>
              <a:gd name="connsiteY66" fmla="*/ 7776 h 10000"/>
              <a:gd name="connsiteX67" fmla="*/ 6757 w 10000"/>
              <a:gd name="connsiteY67" fmla="*/ 7728 h 10000"/>
              <a:gd name="connsiteX68" fmla="*/ 6785 w 10000"/>
              <a:gd name="connsiteY68" fmla="*/ 7691 h 10000"/>
              <a:gd name="connsiteX69" fmla="*/ 6931 w 10000"/>
              <a:gd name="connsiteY69" fmla="*/ 7721 h 10000"/>
              <a:gd name="connsiteX70" fmla="*/ 7045 w 10000"/>
              <a:gd name="connsiteY70" fmla="*/ 7719 h 10000"/>
              <a:gd name="connsiteX71" fmla="*/ 6983 w 10000"/>
              <a:gd name="connsiteY71" fmla="*/ 7655 h 10000"/>
              <a:gd name="connsiteX72" fmla="*/ 7003 w 10000"/>
              <a:gd name="connsiteY72" fmla="*/ 7619 h 10000"/>
              <a:gd name="connsiteX73" fmla="*/ 7089 w 10000"/>
              <a:gd name="connsiteY73" fmla="*/ 7565 h 10000"/>
              <a:gd name="connsiteX74" fmla="*/ 7074 w 10000"/>
              <a:gd name="connsiteY74" fmla="*/ 7521 h 10000"/>
              <a:gd name="connsiteX75" fmla="*/ 7152 w 10000"/>
              <a:gd name="connsiteY75" fmla="*/ 7373 h 10000"/>
              <a:gd name="connsiteX76" fmla="*/ 7130 w 10000"/>
              <a:gd name="connsiteY76" fmla="*/ 7327 h 10000"/>
              <a:gd name="connsiteX77" fmla="*/ 6729 w 10000"/>
              <a:gd name="connsiteY77" fmla="*/ 7216 h 10000"/>
              <a:gd name="connsiteX78" fmla="*/ 6785 w 10000"/>
              <a:gd name="connsiteY78" fmla="*/ 7211 h 10000"/>
              <a:gd name="connsiteX79" fmla="*/ 6998 w 10000"/>
              <a:gd name="connsiteY79" fmla="*/ 7241 h 10000"/>
              <a:gd name="connsiteX80" fmla="*/ 7230 w 10000"/>
              <a:gd name="connsiteY80" fmla="*/ 7230 h 10000"/>
              <a:gd name="connsiteX81" fmla="*/ 7295 w 10000"/>
              <a:gd name="connsiteY81" fmla="*/ 7189 h 10000"/>
              <a:gd name="connsiteX82" fmla="*/ 7074 w 10000"/>
              <a:gd name="connsiteY82" fmla="*/ 7113 h 10000"/>
              <a:gd name="connsiteX83" fmla="*/ 6414 w 10000"/>
              <a:gd name="connsiteY83" fmla="*/ 7062 h 10000"/>
              <a:gd name="connsiteX84" fmla="*/ 6458 w 10000"/>
              <a:gd name="connsiteY84" fmla="*/ 7039 h 10000"/>
              <a:gd name="connsiteX85" fmla="*/ 6998 w 10000"/>
              <a:gd name="connsiteY85" fmla="*/ 7023 h 10000"/>
              <a:gd name="connsiteX86" fmla="*/ 7295 w 10000"/>
              <a:gd name="connsiteY86" fmla="*/ 7069 h 10000"/>
              <a:gd name="connsiteX87" fmla="*/ 7466 w 10000"/>
              <a:gd name="connsiteY87" fmla="*/ 7039 h 10000"/>
              <a:gd name="connsiteX88" fmla="*/ 7529 w 10000"/>
              <a:gd name="connsiteY88" fmla="*/ 6959 h 10000"/>
              <a:gd name="connsiteX89" fmla="*/ 7840 w 10000"/>
              <a:gd name="connsiteY89" fmla="*/ 6959 h 10000"/>
              <a:gd name="connsiteX90" fmla="*/ 8261 w 10000"/>
              <a:gd name="connsiteY90" fmla="*/ 6799 h 10000"/>
              <a:gd name="connsiteX91" fmla="*/ 8275 w 10000"/>
              <a:gd name="connsiteY91" fmla="*/ 6693 h 10000"/>
              <a:gd name="connsiteX92" fmla="*/ 8453 w 10000"/>
              <a:gd name="connsiteY92" fmla="*/ 6718 h 10000"/>
              <a:gd name="connsiteX93" fmla="*/ 8446 w 10000"/>
              <a:gd name="connsiteY93" fmla="*/ 6824 h 10000"/>
              <a:gd name="connsiteX94" fmla="*/ 8727 w 10000"/>
              <a:gd name="connsiteY94" fmla="*/ 6817 h 10000"/>
              <a:gd name="connsiteX95" fmla="*/ 8913 w 10000"/>
              <a:gd name="connsiteY95" fmla="*/ 6707 h 10000"/>
              <a:gd name="connsiteX96" fmla="*/ 9258 w 10000"/>
              <a:gd name="connsiteY96" fmla="*/ 6607 h 10000"/>
              <a:gd name="connsiteX97" fmla="*/ 9203 w 10000"/>
              <a:gd name="connsiteY97" fmla="*/ 6493 h 10000"/>
              <a:gd name="connsiteX98" fmla="*/ 9306 w 10000"/>
              <a:gd name="connsiteY98" fmla="*/ 6538 h 10000"/>
              <a:gd name="connsiteX99" fmla="*/ 9464 w 10000"/>
              <a:gd name="connsiteY99" fmla="*/ 6538 h 10000"/>
              <a:gd name="connsiteX100" fmla="*/ 9464 w 10000"/>
              <a:gd name="connsiteY100" fmla="*/ 6486 h 10000"/>
              <a:gd name="connsiteX101" fmla="*/ 9611 w 10000"/>
              <a:gd name="connsiteY101" fmla="*/ 6446 h 10000"/>
              <a:gd name="connsiteX102" fmla="*/ 9592 w 10000"/>
              <a:gd name="connsiteY102" fmla="*/ 6405 h 10000"/>
              <a:gd name="connsiteX103" fmla="*/ 8350 w 10000"/>
              <a:gd name="connsiteY103" fmla="*/ 6488 h 10000"/>
              <a:gd name="connsiteX104" fmla="*/ 8058 w 10000"/>
              <a:gd name="connsiteY104" fmla="*/ 6463 h 10000"/>
              <a:gd name="connsiteX105" fmla="*/ 7942 w 10000"/>
              <a:gd name="connsiteY105" fmla="*/ 6493 h 10000"/>
              <a:gd name="connsiteX106" fmla="*/ 7903 w 10000"/>
              <a:gd name="connsiteY106" fmla="*/ 6436 h 10000"/>
              <a:gd name="connsiteX107" fmla="*/ 7765 w 10000"/>
              <a:gd name="connsiteY107" fmla="*/ 6384 h 10000"/>
              <a:gd name="connsiteX108" fmla="*/ 7213 w 10000"/>
              <a:gd name="connsiteY108" fmla="*/ 6282 h 10000"/>
              <a:gd name="connsiteX109" fmla="*/ 6887 w 10000"/>
              <a:gd name="connsiteY109" fmla="*/ 6298 h 10000"/>
              <a:gd name="connsiteX110" fmla="*/ 6757 w 10000"/>
              <a:gd name="connsiteY110" fmla="*/ 6270 h 10000"/>
              <a:gd name="connsiteX111" fmla="*/ 6894 w 10000"/>
              <a:gd name="connsiteY111" fmla="*/ 6245 h 10000"/>
              <a:gd name="connsiteX112" fmla="*/ 6998 w 10000"/>
              <a:gd name="connsiteY112" fmla="*/ 6190 h 10000"/>
              <a:gd name="connsiteX113" fmla="*/ 7152 w 10000"/>
              <a:gd name="connsiteY113" fmla="*/ 6208 h 10000"/>
              <a:gd name="connsiteX114" fmla="*/ 7335 w 10000"/>
              <a:gd name="connsiteY114" fmla="*/ 6193 h 10000"/>
              <a:gd name="connsiteX115" fmla="*/ 7611 w 10000"/>
              <a:gd name="connsiteY115" fmla="*/ 6211 h 10000"/>
              <a:gd name="connsiteX116" fmla="*/ 7645 w 10000"/>
              <a:gd name="connsiteY116" fmla="*/ 6204 h 10000"/>
              <a:gd name="connsiteX117" fmla="*/ 7859 w 10000"/>
              <a:gd name="connsiteY117" fmla="*/ 6287 h 10000"/>
              <a:gd name="connsiteX118" fmla="*/ 8017 w 10000"/>
              <a:gd name="connsiteY118" fmla="*/ 6257 h 10000"/>
              <a:gd name="connsiteX119" fmla="*/ 8032 w 10000"/>
              <a:gd name="connsiteY119" fmla="*/ 6229 h 10000"/>
              <a:gd name="connsiteX120" fmla="*/ 8176 w 10000"/>
              <a:gd name="connsiteY120" fmla="*/ 6278 h 10000"/>
              <a:gd name="connsiteX121" fmla="*/ 8369 w 10000"/>
              <a:gd name="connsiteY121" fmla="*/ 6304 h 10000"/>
              <a:gd name="connsiteX122" fmla="*/ 8446 w 10000"/>
              <a:gd name="connsiteY122" fmla="*/ 6255 h 10000"/>
              <a:gd name="connsiteX123" fmla="*/ 8507 w 10000"/>
              <a:gd name="connsiteY123" fmla="*/ 6282 h 10000"/>
              <a:gd name="connsiteX124" fmla="*/ 8596 w 10000"/>
              <a:gd name="connsiteY124" fmla="*/ 6377 h 10000"/>
              <a:gd name="connsiteX125" fmla="*/ 8782 w 10000"/>
              <a:gd name="connsiteY125" fmla="*/ 6399 h 10000"/>
              <a:gd name="connsiteX126" fmla="*/ 9542 w 10000"/>
              <a:gd name="connsiteY126" fmla="*/ 6259 h 10000"/>
              <a:gd name="connsiteX127" fmla="*/ 9914 w 10000"/>
              <a:gd name="connsiteY127" fmla="*/ 6064 h 10000"/>
              <a:gd name="connsiteX128" fmla="*/ 10000 w 10000"/>
              <a:gd name="connsiteY128" fmla="*/ 5921 h 10000"/>
              <a:gd name="connsiteX129" fmla="*/ 9866 w 10000"/>
              <a:gd name="connsiteY129" fmla="*/ 5792 h 10000"/>
              <a:gd name="connsiteX130" fmla="*/ 9582 w 10000"/>
              <a:gd name="connsiteY130" fmla="*/ 5715 h 10000"/>
              <a:gd name="connsiteX131" fmla="*/ 9382 w 10000"/>
              <a:gd name="connsiteY131" fmla="*/ 5589 h 10000"/>
              <a:gd name="connsiteX132" fmla="*/ 9569 w 10000"/>
              <a:gd name="connsiteY132" fmla="*/ 5584 h 10000"/>
              <a:gd name="connsiteX133" fmla="*/ 9555 w 10000"/>
              <a:gd name="connsiteY133" fmla="*/ 5554 h 10000"/>
              <a:gd name="connsiteX134" fmla="*/ 9068 w 10000"/>
              <a:gd name="connsiteY134" fmla="*/ 5465 h 10000"/>
              <a:gd name="connsiteX135" fmla="*/ 9047 w 10000"/>
              <a:gd name="connsiteY135" fmla="*/ 5383 h 10000"/>
              <a:gd name="connsiteX136" fmla="*/ 8953 w 10000"/>
              <a:gd name="connsiteY136" fmla="*/ 5299 h 10000"/>
              <a:gd name="connsiteX137" fmla="*/ 8569 w 10000"/>
              <a:gd name="connsiteY137" fmla="*/ 5314 h 10000"/>
              <a:gd name="connsiteX138" fmla="*/ 8431 w 10000"/>
              <a:gd name="connsiteY138" fmla="*/ 5224 h 10000"/>
              <a:gd name="connsiteX139" fmla="*/ 8350 w 10000"/>
              <a:gd name="connsiteY139" fmla="*/ 5219 h 10000"/>
              <a:gd name="connsiteX140" fmla="*/ 8350 w 10000"/>
              <a:gd name="connsiteY140" fmla="*/ 5256 h 10000"/>
              <a:gd name="connsiteX141" fmla="*/ 8176 w 10000"/>
              <a:gd name="connsiteY141" fmla="*/ 5408 h 10000"/>
              <a:gd name="connsiteX142" fmla="*/ 7990 w 10000"/>
              <a:gd name="connsiteY142" fmla="*/ 5498 h 10000"/>
              <a:gd name="connsiteX143" fmla="*/ 7401 w 10000"/>
              <a:gd name="connsiteY143" fmla="*/ 5651 h 10000"/>
              <a:gd name="connsiteX144" fmla="*/ 7198 w 10000"/>
              <a:gd name="connsiteY144" fmla="*/ 5646 h 10000"/>
              <a:gd name="connsiteX145" fmla="*/ 6915 w 10000"/>
              <a:gd name="connsiteY145" fmla="*/ 5669 h 10000"/>
              <a:gd name="connsiteX146" fmla="*/ 6757 w 10000"/>
              <a:gd name="connsiteY146" fmla="*/ 5646 h 10000"/>
              <a:gd name="connsiteX147" fmla="*/ 6965 w 10000"/>
              <a:gd name="connsiteY147" fmla="*/ 5604 h 10000"/>
              <a:gd name="connsiteX148" fmla="*/ 7235 w 10000"/>
              <a:gd name="connsiteY148" fmla="*/ 5584 h 10000"/>
              <a:gd name="connsiteX149" fmla="*/ 7455 w 10000"/>
              <a:gd name="connsiteY149" fmla="*/ 5513 h 10000"/>
              <a:gd name="connsiteX150" fmla="*/ 7674 w 10000"/>
              <a:gd name="connsiteY150" fmla="*/ 5480 h 10000"/>
              <a:gd name="connsiteX151" fmla="*/ 8082 w 10000"/>
              <a:gd name="connsiteY151" fmla="*/ 5355 h 10000"/>
              <a:gd name="connsiteX152" fmla="*/ 8157 w 10000"/>
              <a:gd name="connsiteY152" fmla="*/ 5274 h 10000"/>
              <a:gd name="connsiteX153" fmla="*/ 8165 w 10000"/>
              <a:gd name="connsiteY153" fmla="*/ 5168 h 10000"/>
              <a:gd name="connsiteX154" fmla="*/ 7978 w 10000"/>
              <a:gd name="connsiteY154" fmla="*/ 5150 h 10000"/>
              <a:gd name="connsiteX155" fmla="*/ 8058 w 10000"/>
              <a:gd name="connsiteY155" fmla="*/ 5086 h 10000"/>
              <a:gd name="connsiteX156" fmla="*/ 8087 w 10000"/>
              <a:gd name="connsiteY156" fmla="*/ 5005 h 10000"/>
              <a:gd name="connsiteX157" fmla="*/ 8007 w 10000"/>
              <a:gd name="connsiteY157" fmla="*/ 4928 h 10000"/>
              <a:gd name="connsiteX158" fmla="*/ 9850 w 10000"/>
              <a:gd name="connsiteY158" fmla="*/ 649 h 10000"/>
              <a:gd name="connsiteX159" fmla="*/ 9181 w 10000"/>
              <a:gd name="connsiteY159" fmla="*/ 590 h 10000"/>
              <a:gd name="connsiteX160" fmla="*/ 8398 w 10000"/>
              <a:gd name="connsiteY160" fmla="*/ 332 h 10000"/>
              <a:gd name="connsiteX161" fmla="*/ 6675 w 10000"/>
              <a:gd name="connsiteY161" fmla="*/ 0 h 10000"/>
              <a:gd name="connsiteX162" fmla="*/ 6334 w 10000"/>
              <a:gd name="connsiteY162" fmla="*/ 82 h 10000"/>
              <a:gd name="connsiteX163" fmla="*/ 6117 w 10000"/>
              <a:gd name="connsiteY163" fmla="*/ 78 h 10000"/>
              <a:gd name="connsiteX164" fmla="*/ 5986 w 10000"/>
              <a:gd name="connsiteY164" fmla="*/ 107 h 10000"/>
              <a:gd name="connsiteX165" fmla="*/ 5629 w 10000"/>
              <a:gd name="connsiteY165" fmla="*/ 913 h 10000"/>
              <a:gd name="connsiteX166" fmla="*/ 4802 w 10000"/>
              <a:gd name="connsiteY166" fmla="*/ 1383 h 10000"/>
              <a:gd name="connsiteX167" fmla="*/ 4809 w 10000"/>
              <a:gd name="connsiteY167" fmla="*/ 1457 h 10000"/>
              <a:gd name="connsiteX168" fmla="*/ 5176 w 10000"/>
              <a:gd name="connsiteY168" fmla="*/ 1668 h 10000"/>
              <a:gd name="connsiteX169" fmla="*/ 5057 w 10000"/>
              <a:gd name="connsiteY169" fmla="*/ 1896 h 10000"/>
              <a:gd name="connsiteX170" fmla="*/ 4842 w 10000"/>
              <a:gd name="connsiteY170" fmla="*/ 1979 h 10000"/>
              <a:gd name="connsiteX171" fmla="*/ 4200 w 10000"/>
              <a:gd name="connsiteY171" fmla="*/ 1924 h 10000"/>
              <a:gd name="connsiteX172" fmla="*/ 3760 w 10000"/>
              <a:gd name="connsiteY172" fmla="*/ 1955 h 10000"/>
              <a:gd name="connsiteX173" fmla="*/ 3405 w 10000"/>
              <a:gd name="connsiteY173" fmla="*/ 2023 h 10000"/>
              <a:gd name="connsiteX174" fmla="*/ 2832 w 10000"/>
              <a:gd name="connsiteY174" fmla="*/ 2233 h 10000"/>
              <a:gd name="connsiteX175" fmla="*/ 2528 w 10000"/>
              <a:gd name="connsiteY175" fmla="*/ 2487 h 10000"/>
              <a:gd name="connsiteX176" fmla="*/ 2555 w 10000"/>
              <a:gd name="connsiteY176" fmla="*/ 2629 h 10000"/>
              <a:gd name="connsiteX177" fmla="*/ 2661 w 10000"/>
              <a:gd name="connsiteY177" fmla="*/ 2738 h 10000"/>
              <a:gd name="connsiteX178" fmla="*/ 2741 w 10000"/>
              <a:gd name="connsiteY178" fmla="*/ 2782 h 10000"/>
              <a:gd name="connsiteX179" fmla="*/ 2592 w 10000"/>
              <a:gd name="connsiteY179" fmla="*/ 2852 h 10000"/>
              <a:gd name="connsiteX180" fmla="*/ 2267 w 10000"/>
              <a:gd name="connsiteY180" fmla="*/ 3330 h 10000"/>
              <a:gd name="connsiteX181" fmla="*/ 2330 w 10000"/>
              <a:gd name="connsiteY181" fmla="*/ 3358 h 10000"/>
              <a:gd name="connsiteX182" fmla="*/ 2375 w 10000"/>
              <a:gd name="connsiteY182" fmla="*/ 3479 h 10000"/>
              <a:gd name="connsiteX183" fmla="*/ 2226 w 10000"/>
              <a:gd name="connsiteY183" fmla="*/ 3982 h 10000"/>
              <a:gd name="connsiteX184" fmla="*/ 2375 w 10000"/>
              <a:gd name="connsiteY184" fmla="*/ 4110 h 10000"/>
              <a:gd name="connsiteX185" fmla="*/ 2791 w 10000"/>
              <a:gd name="connsiteY185" fmla="*/ 4251 h 10000"/>
              <a:gd name="connsiteX186" fmla="*/ 2808 w 10000"/>
              <a:gd name="connsiteY186" fmla="*/ 4423 h 10000"/>
              <a:gd name="connsiteX187" fmla="*/ 2632 w 10000"/>
              <a:gd name="connsiteY187" fmla="*/ 4566 h 10000"/>
              <a:gd name="connsiteX188" fmla="*/ 2375 w 10000"/>
              <a:gd name="connsiteY188" fmla="*/ 4652 h 10000"/>
              <a:gd name="connsiteX189" fmla="*/ 2039 w 10000"/>
              <a:gd name="connsiteY189" fmla="*/ 4687 h 10000"/>
              <a:gd name="connsiteX190" fmla="*/ 1950 w 10000"/>
              <a:gd name="connsiteY190" fmla="*/ 4737 h 10000"/>
              <a:gd name="connsiteX191" fmla="*/ 2148 w 10000"/>
              <a:gd name="connsiteY191" fmla="*/ 4855 h 10000"/>
              <a:gd name="connsiteX192" fmla="*/ 2261 w 10000"/>
              <a:gd name="connsiteY192" fmla="*/ 5136 h 10000"/>
              <a:gd name="connsiteX193" fmla="*/ 2005 w 10000"/>
              <a:gd name="connsiteY193" fmla="*/ 5376 h 10000"/>
              <a:gd name="connsiteX194" fmla="*/ 2094 w 10000"/>
              <a:gd name="connsiteY194" fmla="*/ 5451 h 10000"/>
              <a:gd name="connsiteX195" fmla="*/ 2012 w 10000"/>
              <a:gd name="connsiteY195" fmla="*/ 5577 h 10000"/>
              <a:gd name="connsiteX196" fmla="*/ 1850 w 10000"/>
              <a:gd name="connsiteY196" fmla="*/ 5663 h 10000"/>
              <a:gd name="connsiteX197" fmla="*/ 1199 w 10000"/>
              <a:gd name="connsiteY197" fmla="*/ 5730 h 10000"/>
              <a:gd name="connsiteX198" fmla="*/ 1158 w 10000"/>
              <a:gd name="connsiteY198" fmla="*/ 5846 h 10000"/>
              <a:gd name="connsiteX199" fmla="*/ 808 w 10000"/>
              <a:gd name="connsiteY199" fmla="*/ 6019 h 10000"/>
              <a:gd name="connsiteX200" fmla="*/ 854 w 10000"/>
              <a:gd name="connsiteY200" fmla="*/ 6268 h 10000"/>
              <a:gd name="connsiteX201" fmla="*/ 560 w 10000"/>
              <a:gd name="connsiteY201" fmla="*/ 6587 h 10000"/>
              <a:gd name="connsiteX202" fmla="*/ 358 w 10000"/>
              <a:gd name="connsiteY202" fmla="*/ 6624 h 10000"/>
              <a:gd name="connsiteX203" fmla="*/ 275 w 10000"/>
              <a:gd name="connsiteY203" fmla="*/ 6548 h 10000"/>
              <a:gd name="connsiteX204" fmla="*/ 174 w 10000"/>
              <a:gd name="connsiteY204" fmla="*/ 6663 h 10000"/>
              <a:gd name="connsiteX205" fmla="*/ 239 w 10000"/>
              <a:gd name="connsiteY205" fmla="*/ 6465 h 10000"/>
              <a:gd name="connsiteX206" fmla="*/ 197 w 10000"/>
              <a:gd name="connsiteY206" fmla="*/ 6427 h 10000"/>
              <a:gd name="connsiteX0" fmla="*/ 197 w 10000"/>
              <a:gd name="connsiteY0" fmla="*/ 6427 h 10000"/>
              <a:gd name="connsiteX1" fmla="*/ 0 w 10000"/>
              <a:gd name="connsiteY1" fmla="*/ 6530 h 10000"/>
              <a:gd name="connsiteX2" fmla="*/ 0 w 10000"/>
              <a:gd name="connsiteY2" fmla="*/ 7039 h 10000"/>
              <a:gd name="connsiteX3" fmla="*/ 109 w 10000"/>
              <a:gd name="connsiteY3" fmla="*/ 7053 h 10000"/>
              <a:gd name="connsiteX4" fmla="*/ 134 w 10000"/>
              <a:gd name="connsiteY4" fmla="*/ 7092 h 10000"/>
              <a:gd name="connsiteX5" fmla="*/ 130 w 10000"/>
              <a:gd name="connsiteY5" fmla="*/ 7161 h 10000"/>
              <a:gd name="connsiteX6" fmla="*/ 89 w 10000"/>
              <a:gd name="connsiteY6" fmla="*/ 7192 h 10000"/>
              <a:gd name="connsiteX7" fmla="*/ 255 w 10000"/>
              <a:gd name="connsiteY7" fmla="*/ 7133 h 10000"/>
              <a:gd name="connsiteX8" fmla="*/ 325 w 10000"/>
              <a:gd name="connsiteY8" fmla="*/ 7075 h 10000"/>
              <a:gd name="connsiteX9" fmla="*/ 413 w 10000"/>
              <a:gd name="connsiteY9" fmla="*/ 7115 h 10000"/>
              <a:gd name="connsiteX10" fmla="*/ 316 w 10000"/>
              <a:gd name="connsiteY10" fmla="*/ 7198 h 10000"/>
              <a:gd name="connsiteX11" fmla="*/ 419 w 10000"/>
              <a:gd name="connsiteY11" fmla="*/ 7200 h 10000"/>
              <a:gd name="connsiteX12" fmla="*/ 469 w 10000"/>
              <a:gd name="connsiteY12" fmla="*/ 7221 h 10000"/>
              <a:gd name="connsiteX13" fmla="*/ 337 w 10000"/>
              <a:gd name="connsiteY13" fmla="*/ 7248 h 10000"/>
              <a:gd name="connsiteX14" fmla="*/ 130 w 10000"/>
              <a:gd name="connsiteY14" fmla="*/ 7333 h 10000"/>
              <a:gd name="connsiteX15" fmla="*/ 497 w 10000"/>
              <a:gd name="connsiteY15" fmla="*/ 7400 h 10000"/>
              <a:gd name="connsiteX16" fmla="*/ 545 w 10000"/>
              <a:gd name="connsiteY16" fmla="*/ 7496 h 10000"/>
              <a:gd name="connsiteX17" fmla="*/ 419 w 10000"/>
              <a:gd name="connsiteY17" fmla="*/ 7636 h 10000"/>
              <a:gd name="connsiteX18" fmla="*/ 688 w 10000"/>
              <a:gd name="connsiteY18" fmla="*/ 7627 h 10000"/>
              <a:gd name="connsiteX19" fmla="*/ 709 w 10000"/>
              <a:gd name="connsiteY19" fmla="*/ 7733 h 10000"/>
              <a:gd name="connsiteX20" fmla="*/ 530 w 10000"/>
              <a:gd name="connsiteY20" fmla="*/ 7805 h 10000"/>
              <a:gd name="connsiteX21" fmla="*/ 560 w 10000"/>
              <a:gd name="connsiteY21" fmla="*/ 7945 h 10000"/>
              <a:gd name="connsiteX22" fmla="*/ 489 w 10000"/>
              <a:gd name="connsiteY22" fmla="*/ 8053 h 10000"/>
              <a:gd name="connsiteX23" fmla="*/ 703 w 10000"/>
              <a:gd name="connsiteY23" fmla="*/ 8063 h 10000"/>
              <a:gd name="connsiteX24" fmla="*/ 909 w 10000"/>
              <a:gd name="connsiteY24" fmla="*/ 8478 h 10000"/>
              <a:gd name="connsiteX25" fmla="*/ 1150 w 10000"/>
              <a:gd name="connsiteY25" fmla="*/ 8583 h 10000"/>
              <a:gd name="connsiteX26" fmla="*/ 1255 w 10000"/>
              <a:gd name="connsiteY26" fmla="*/ 8695 h 10000"/>
              <a:gd name="connsiteX27" fmla="*/ 1514 w 10000"/>
              <a:gd name="connsiteY27" fmla="*/ 8776 h 10000"/>
              <a:gd name="connsiteX28" fmla="*/ 1684 w 10000"/>
              <a:gd name="connsiteY28" fmla="*/ 8881 h 10000"/>
              <a:gd name="connsiteX29" fmla="*/ 1661 w 10000"/>
              <a:gd name="connsiteY29" fmla="*/ 8955 h 10000"/>
              <a:gd name="connsiteX30" fmla="*/ 1496 w 10000"/>
              <a:gd name="connsiteY30" fmla="*/ 8983 h 10000"/>
              <a:gd name="connsiteX31" fmla="*/ 1316 w 10000"/>
              <a:gd name="connsiteY31" fmla="*/ 8965 h 10000"/>
              <a:gd name="connsiteX32" fmla="*/ 1260 w 10000"/>
              <a:gd name="connsiteY32" fmla="*/ 8996 h 10000"/>
              <a:gd name="connsiteX33" fmla="*/ 1397 w 10000"/>
              <a:gd name="connsiteY33" fmla="*/ 9158 h 10000"/>
              <a:gd name="connsiteX34" fmla="*/ 1205 w 10000"/>
              <a:gd name="connsiteY34" fmla="*/ 9144 h 10000"/>
              <a:gd name="connsiteX35" fmla="*/ 1040 w 10000"/>
              <a:gd name="connsiteY35" fmla="*/ 9105 h 10000"/>
              <a:gd name="connsiteX36" fmla="*/ 1012 w 10000"/>
              <a:gd name="connsiteY36" fmla="*/ 9165 h 10000"/>
              <a:gd name="connsiteX37" fmla="*/ 1557 w 10000"/>
              <a:gd name="connsiteY37" fmla="*/ 9718 h 10000"/>
              <a:gd name="connsiteX38" fmla="*/ 1469 w 10000"/>
              <a:gd name="connsiteY38" fmla="*/ 9770 h 10000"/>
              <a:gd name="connsiteX39" fmla="*/ 1408 w 10000"/>
              <a:gd name="connsiteY39" fmla="*/ 9876 h 10000"/>
              <a:gd name="connsiteX40" fmla="*/ 1329 w 10000"/>
              <a:gd name="connsiteY40" fmla="*/ 9885 h 10000"/>
              <a:gd name="connsiteX41" fmla="*/ 1281 w 10000"/>
              <a:gd name="connsiteY41" fmla="*/ 9931 h 10000"/>
              <a:gd name="connsiteX42" fmla="*/ 1609 w 10000"/>
              <a:gd name="connsiteY42" fmla="*/ 9936 h 10000"/>
              <a:gd name="connsiteX43" fmla="*/ 1900 w 10000"/>
              <a:gd name="connsiteY43" fmla="*/ 9982 h 10000"/>
              <a:gd name="connsiteX44" fmla="*/ 2383 w 10000"/>
              <a:gd name="connsiteY44" fmla="*/ 9933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4 h 10000"/>
              <a:gd name="connsiteX49" fmla="*/ 3313 w 10000"/>
              <a:gd name="connsiteY49" fmla="*/ 9625 h 10000"/>
              <a:gd name="connsiteX50" fmla="*/ 3642 w 10000"/>
              <a:gd name="connsiteY50" fmla="*/ 9392 h 10000"/>
              <a:gd name="connsiteX51" fmla="*/ 3883 w 10000"/>
              <a:gd name="connsiteY51" fmla="*/ 9428 h 10000"/>
              <a:gd name="connsiteX52" fmla="*/ 4025 w 10000"/>
              <a:gd name="connsiteY52" fmla="*/ 9335 h 10000"/>
              <a:gd name="connsiteX53" fmla="*/ 4294 w 10000"/>
              <a:gd name="connsiteY53" fmla="*/ 9282 h 10000"/>
              <a:gd name="connsiteX54" fmla="*/ 4658 w 10000"/>
              <a:gd name="connsiteY54" fmla="*/ 9295 h 10000"/>
              <a:gd name="connsiteX55" fmla="*/ 4878 w 10000"/>
              <a:gd name="connsiteY55" fmla="*/ 9332 h 10000"/>
              <a:gd name="connsiteX56" fmla="*/ 5170 w 10000"/>
              <a:gd name="connsiteY56" fmla="*/ 9315 h 10000"/>
              <a:gd name="connsiteX57" fmla="*/ 5464 w 10000"/>
              <a:gd name="connsiteY57" fmla="*/ 9356 h 10000"/>
              <a:gd name="connsiteX58" fmla="*/ 5759 w 10000"/>
              <a:gd name="connsiteY58" fmla="*/ 9361 h 10000"/>
              <a:gd name="connsiteX59" fmla="*/ 6419 w 10000"/>
              <a:gd name="connsiteY59" fmla="*/ 8817 h 10000"/>
              <a:gd name="connsiteX60" fmla="*/ 6586 w 10000"/>
              <a:gd name="connsiteY60" fmla="*/ 8375 h 10000"/>
              <a:gd name="connsiteX61" fmla="*/ 6855 w 10000"/>
              <a:gd name="connsiteY61" fmla="*/ 8177 h 10000"/>
              <a:gd name="connsiteX62" fmla="*/ 6855 w 10000"/>
              <a:gd name="connsiteY62" fmla="*/ 8073 h 10000"/>
              <a:gd name="connsiteX63" fmla="*/ 6757 w 10000"/>
              <a:gd name="connsiteY63" fmla="*/ 8015 h 10000"/>
              <a:gd name="connsiteX64" fmla="*/ 6915 w 10000"/>
              <a:gd name="connsiteY64" fmla="*/ 7922 h 10000"/>
              <a:gd name="connsiteX65" fmla="*/ 6887 w 10000"/>
              <a:gd name="connsiteY65" fmla="*/ 7844 h 10000"/>
              <a:gd name="connsiteX66" fmla="*/ 6779 w 10000"/>
              <a:gd name="connsiteY66" fmla="*/ 7776 h 10000"/>
              <a:gd name="connsiteX67" fmla="*/ 6757 w 10000"/>
              <a:gd name="connsiteY67" fmla="*/ 7728 h 10000"/>
              <a:gd name="connsiteX68" fmla="*/ 6785 w 10000"/>
              <a:gd name="connsiteY68" fmla="*/ 7691 h 10000"/>
              <a:gd name="connsiteX69" fmla="*/ 6931 w 10000"/>
              <a:gd name="connsiteY69" fmla="*/ 7721 h 10000"/>
              <a:gd name="connsiteX70" fmla="*/ 7045 w 10000"/>
              <a:gd name="connsiteY70" fmla="*/ 7719 h 10000"/>
              <a:gd name="connsiteX71" fmla="*/ 6983 w 10000"/>
              <a:gd name="connsiteY71" fmla="*/ 7655 h 10000"/>
              <a:gd name="connsiteX72" fmla="*/ 7003 w 10000"/>
              <a:gd name="connsiteY72" fmla="*/ 7619 h 10000"/>
              <a:gd name="connsiteX73" fmla="*/ 7089 w 10000"/>
              <a:gd name="connsiteY73" fmla="*/ 7565 h 10000"/>
              <a:gd name="connsiteX74" fmla="*/ 7074 w 10000"/>
              <a:gd name="connsiteY74" fmla="*/ 7521 h 10000"/>
              <a:gd name="connsiteX75" fmla="*/ 7152 w 10000"/>
              <a:gd name="connsiteY75" fmla="*/ 7373 h 10000"/>
              <a:gd name="connsiteX76" fmla="*/ 7130 w 10000"/>
              <a:gd name="connsiteY76" fmla="*/ 7327 h 10000"/>
              <a:gd name="connsiteX77" fmla="*/ 6729 w 10000"/>
              <a:gd name="connsiteY77" fmla="*/ 7216 h 10000"/>
              <a:gd name="connsiteX78" fmla="*/ 6785 w 10000"/>
              <a:gd name="connsiteY78" fmla="*/ 7211 h 10000"/>
              <a:gd name="connsiteX79" fmla="*/ 6998 w 10000"/>
              <a:gd name="connsiteY79" fmla="*/ 7241 h 10000"/>
              <a:gd name="connsiteX80" fmla="*/ 7230 w 10000"/>
              <a:gd name="connsiteY80" fmla="*/ 7230 h 10000"/>
              <a:gd name="connsiteX81" fmla="*/ 7295 w 10000"/>
              <a:gd name="connsiteY81" fmla="*/ 7189 h 10000"/>
              <a:gd name="connsiteX82" fmla="*/ 7074 w 10000"/>
              <a:gd name="connsiteY82" fmla="*/ 7113 h 10000"/>
              <a:gd name="connsiteX83" fmla="*/ 6414 w 10000"/>
              <a:gd name="connsiteY83" fmla="*/ 7062 h 10000"/>
              <a:gd name="connsiteX84" fmla="*/ 6458 w 10000"/>
              <a:gd name="connsiteY84" fmla="*/ 7039 h 10000"/>
              <a:gd name="connsiteX85" fmla="*/ 6998 w 10000"/>
              <a:gd name="connsiteY85" fmla="*/ 7023 h 10000"/>
              <a:gd name="connsiteX86" fmla="*/ 7295 w 10000"/>
              <a:gd name="connsiteY86" fmla="*/ 7069 h 10000"/>
              <a:gd name="connsiteX87" fmla="*/ 7466 w 10000"/>
              <a:gd name="connsiteY87" fmla="*/ 7039 h 10000"/>
              <a:gd name="connsiteX88" fmla="*/ 7529 w 10000"/>
              <a:gd name="connsiteY88" fmla="*/ 6959 h 10000"/>
              <a:gd name="connsiteX89" fmla="*/ 7840 w 10000"/>
              <a:gd name="connsiteY89" fmla="*/ 6959 h 10000"/>
              <a:gd name="connsiteX90" fmla="*/ 8261 w 10000"/>
              <a:gd name="connsiteY90" fmla="*/ 6799 h 10000"/>
              <a:gd name="connsiteX91" fmla="*/ 8275 w 10000"/>
              <a:gd name="connsiteY91" fmla="*/ 6693 h 10000"/>
              <a:gd name="connsiteX92" fmla="*/ 8453 w 10000"/>
              <a:gd name="connsiteY92" fmla="*/ 6718 h 10000"/>
              <a:gd name="connsiteX93" fmla="*/ 8446 w 10000"/>
              <a:gd name="connsiteY93" fmla="*/ 6824 h 10000"/>
              <a:gd name="connsiteX94" fmla="*/ 8727 w 10000"/>
              <a:gd name="connsiteY94" fmla="*/ 6817 h 10000"/>
              <a:gd name="connsiteX95" fmla="*/ 8913 w 10000"/>
              <a:gd name="connsiteY95" fmla="*/ 6707 h 10000"/>
              <a:gd name="connsiteX96" fmla="*/ 9258 w 10000"/>
              <a:gd name="connsiteY96" fmla="*/ 6607 h 10000"/>
              <a:gd name="connsiteX97" fmla="*/ 9203 w 10000"/>
              <a:gd name="connsiteY97" fmla="*/ 6493 h 10000"/>
              <a:gd name="connsiteX98" fmla="*/ 9306 w 10000"/>
              <a:gd name="connsiteY98" fmla="*/ 6538 h 10000"/>
              <a:gd name="connsiteX99" fmla="*/ 9464 w 10000"/>
              <a:gd name="connsiteY99" fmla="*/ 6538 h 10000"/>
              <a:gd name="connsiteX100" fmla="*/ 9464 w 10000"/>
              <a:gd name="connsiteY100" fmla="*/ 6486 h 10000"/>
              <a:gd name="connsiteX101" fmla="*/ 9611 w 10000"/>
              <a:gd name="connsiteY101" fmla="*/ 6446 h 10000"/>
              <a:gd name="connsiteX102" fmla="*/ 9592 w 10000"/>
              <a:gd name="connsiteY102" fmla="*/ 6405 h 10000"/>
              <a:gd name="connsiteX103" fmla="*/ 8350 w 10000"/>
              <a:gd name="connsiteY103" fmla="*/ 6488 h 10000"/>
              <a:gd name="connsiteX104" fmla="*/ 8058 w 10000"/>
              <a:gd name="connsiteY104" fmla="*/ 6463 h 10000"/>
              <a:gd name="connsiteX105" fmla="*/ 7942 w 10000"/>
              <a:gd name="connsiteY105" fmla="*/ 6493 h 10000"/>
              <a:gd name="connsiteX106" fmla="*/ 7903 w 10000"/>
              <a:gd name="connsiteY106" fmla="*/ 6436 h 10000"/>
              <a:gd name="connsiteX107" fmla="*/ 7765 w 10000"/>
              <a:gd name="connsiteY107" fmla="*/ 6384 h 10000"/>
              <a:gd name="connsiteX108" fmla="*/ 7213 w 10000"/>
              <a:gd name="connsiteY108" fmla="*/ 6282 h 10000"/>
              <a:gd name="connsiteX109" fmla="*/ 6887 w 10000"/>
              <a:gd name="connsiteY109" fmla="*/ 6298 h 10000"/>
              <a:gd name="connsiteX110" fmla="*/ 6757 w 10000"/>
              <a:gd name="connsiteY110" fmla="*/ 6270 h 10000"/>
              <a:gd name="connsiteX111" fmla="*/ 6894 w 10000"/>
              <a:gd name="connsiteY111" fmla="*/ 6245 h 10000"/>
              <a:gd name="connsiteX112" fmla="*/ 6998 w 10000"/>
              <a:gd name="connsiteY112" fmla="*/ 6190 h 10000"/>
              <a:gd name="connsiteX113" fmla="*/ 7152 w 10000"/>
              <a:gd name="connsiteY113" fmla="*/ 6208 h 10000"/>
              <a:gd name="connsiteX114" fmla="*/ 7335 w 10000"/>
              <a:gd name="connsiteY114" fmla="*/ 6193 h 10000"/>
              <a:gd name="connsiteX115" fmla="*/ 7611 w 10000"/>
              <a:gd name="connsiteY115" fmla="*/ 6211 h 10000"/>
              <a:gd name="connsiteX116" fmla="*/ 7645 w 10000"/>
              <a:gd name="connsiteY116" fmla="*/ 6204 h 10000"/>
              <a:gd name="connsiteX117" fmla="*/ 7859 w 10000"/>
              <a:gd name="connsiteY117" fmla="*/ 6287 h 10000"/>
              <a:gd name="connsiteX118" fmla="*/ 8017 w 10000"/>
              <a:gd name="connsiteY118" fmla="*/ 6257 h 10000"/>
              <a:gd name="connsiteX119" fmla="*/ 8032 w 10000"/>
              <a:gd name="connsiteY119" fmla="*/ 6229 h 10000"/>
              <a:gd name="connsiteX120" fmla="*/ 8176 w 10000"/>
              <a:gd name="connsiteY120" fmla="*/ 6278 h 10000"/>
              <a:gd name="connsiteX121" fmla="*/ 8369 w 10000"/>
              <a:gd name="connsiteY121" fmla="*/ 6304 h 10000"/>
              <a:gd name="connsiteX122" fmla="*/ 8446 w 10000"/>
              <a:gd name="connsiteY122" fmla="*/ 6255 h 10000"/>
              <a:gd name="connsiteX123" fmla="*/ 8507 w 10000"/>
              <a:gd name="connsiteY123" fmla="*/ 6282 h 10000"/>
              <a:gd name="connsiteX124" fmla="*/ 8596 w 10000"/>
              <a:gd name="connsiteY124" fmla="*/ 6377 h 10000"/>
              <a:gd name="connsiteX125" fmla="*/ 8782 w 10000"/>
              <a:gd name="connsiteY125" fmla="*/ 6399 h 10000"/>
              <a:gd name="connsiteX126" fmla="*/ 9542 w 10000"/>
              <a:gd name="connsiteY126" fmla="*/ 6259 h 10000"/>
              <a:gd name="connsiteX127" fmla="*/ 9914 w 10000"/>
              <a:gd name="connsiteY127" fmla="*/ 6064 h 10000"/>
              <a:gd name="connsiteX128" fmla="*/ 10000 w 10000"/>
              <a:gd name="connsiteY128" fmla="*/ 5921 h 10000"/>
              <a:gd name="connsiteX129" fmla="*/ 9866 w 10000"/>
              <a:gd name="connsiteY129" fmla="*/ 5792 h 10000"/>
              <a:gd name="connsiteX130" fmla="*/ 9582 w 10000"/>
              <a:gd name="connsiteY130" fmla="*/ 5715 h 10000"/>
              <a:gd name="connsiteX131" fmla="*/ 9382 w 10000"/>
              <a:gd name="connsiteY131" fmla="*/ 5589 h 10000"/>
              <a:gd name="connsiteX132" fmla="*/ 9569 w 10000"/>
              <a:gd name="connsiteY132" fmla="*/ 5584 h 10000"/>
              <a:gd name="connsiteX133" fmla="*/ 9555 w 10000"/>
              <a:gd name="connsiteY133" fmla="*/ 5554 h 10000"/>
              <a:gd name="connsiteX134" fmla="*/ 9068 w 10000"/>
              <a:gd name="connsiteY134" fmla="*/ 5465 h 10000"/>
              <a:gd name="connsiteX135" fmla="*/ 9047 w 10000"/>
              <a:gd name="connsiteY135" fmla="*/ 5383 h 10000"/>
              <a:gd name="connsiteX136" fmla="*/ 8953 w 10000"/>
              <a:gd name="connsiteY136" fmla="*/ 5299 h 10000"/>
              <a:gd name="connsiteX137" fmla="*/ 8569 w 10000"/>
              <a:gd name="connsiteY137" fmla="*/ 5314 h 10000"/>
              <a:gd name="connsiteX138" fmla="*/ 8431 w 10000"/>
              <a:gd name="connsiteY138" fmla="*/ 5224 h 10000"/>
              <a:gd name="connsiteX139" fmla="*/ 8350 w 10000"/>
              <a:gd name="connsiteY139" fmla="*/ 5219 h 10000"/>
              <a:gd name="connsiteX140" fmla="*/ 8350 w 10000"/>
              <a:gd name="connsiteY140" fmla="*/ 5256 h 10000"/>
              <a:gd name="connsiteX141" fmla="*/ 8176 w 10000"/>
              <a:gd name="connsiteY141" fmla="*/ 5408 h 10000"/>
              <a:gd name="connsiteX142" fmla="*/ 7990 w 10000"/>
              <a:gd name="connsiteY142" fmla="*/ 5498 h 10000"/>
              <a:gd name="connsiteX143" fmla="*/ 7401 w 10000"/>
              <a:gd name="connsiteY143" fmla="*/ 5651 h 10000"/>
              <a:gd name="connsiteX144" fmla="*/ 7198 w 10000"/>
              <a:gd name="connsiteY144" fmla="*/ 5646 h 10000"/>
              <a:gd name="connsiteX145" fmla="*/ 6915 w 10000"/>
              <a:gd name="connsiteY145" fmla="*/ 5669 h 10000"/>
              <a:gd name="connsiteX146" fmla="*/ 6757 w 10000"/>
              <a:gd name="connsiteY146" fmla="*/ 5646 h 10000"/>
              <a:gd name="connsiteX147" fmla="*/ 6965 w 10000"/>
              <a:gd name="connsiteY147" fmla="*/ 5604 h 10000"/>
              <a:gd name="connsiteX148" fmla="*/ 7235 w 10000"/>
              <a:gd name="connsiteY148" fmla="*/ 5584 h 10000"/>
              <a:gd name="connsiteX149" fmla="*/ 7455 w 10000"/>
              <a:gd name="connsiteY149" fmla="*/ 5513 h 10000"/>
              <a:gd name="connsiteX150" fmla="*/ 7674 w 10000"/>
              <a:gd name="connsiteY150" fmla="*/ 5480 h 10000"/>
              <a:gd name="connsiteX151" fmla="*/ 8082 w 10000"/>
              <a:gd name="connsiteY151" fmla="*/ 5355 h 10000"/>
              <a:gd name="connsiteX152" fmla="*/ 8157 w 10000"/>
              <a:gd name="connsiteY152" fmla="*/ 5274 h 10000"/>
              <a:gd name="connsiteX153" fmla="*/ 8165 w 10000"/>
              <a:gd name="connsiteY153" fmla="*/ 5168 h 10000"/>
              <a:gd name="connsiteX154" fmla="*/ 7978 w 10000"/>
              <a:gd name="connsiteY154" fmla="*/ 5150 h 10000"/>
              <a:gd name="connsiteX155" fmla="*/ 8058 w 10000"/>
              <a:gd name="connsiteY155" fmla="*/ 5086 h 10000"/>
              <a:gd name="connsiteX156" fmla="*/ 8087 w 10000"/>
              <a:gd name="connsiteY156" fmla="*/ 5005 h 10000"/>
              <a:gd name="connsiteX157" fmla="*/ 8007 w 10000"/>
              <a:gd name="connsiteY157" fmla="*/ 4928 h 10000"/>
              <a:gd name="connsiteX158" fmla="*/ 9181 w 10000"/>
              <a:gd name="connsiteY158" fmla="*/ 590 h 10000"/>
              <a:gd name="connsiteX159" fmla="*/ 8398 w 10000"/>
              <a:gd name="connsiteY159" fmla="*/ 332 h 10000"/>
              <a:gd name="connsiteX160" fmla="*/ 6675 w 10000"/>
              <a:gd name="connsiteY160" fmla="*/ 0 h 10000"/>
              <a:gd name="connsiteX161" fmla="*/ 6334 w 10000"/>
              <a:gd name="connsiteY161" fmla="*/ 82 h 10000"/>
              <a:gd name="connsiteX162" fmla="*/ 6117 w 10000"/>
              <a:gd name="connsiteY162" fmla="*/ 78 h 10000"/>
              <a:gd name="connsiteX163" fmla="*/ 5986 w 10000"/>
              <a:gd name="connsiteY163" fmla="*/ 107 h 10000"/>
              <a:gd name="connsiteX164" fmla="*/ 5629 w 10000"/>
              <a:gd name="connsiteY164" fmla="*/ 913 h 10000"/>
              <a:gd name="connsiteX165" fmla="*/ 4802 w 10000"/>
              <a:gd name="connsiteY165" fmla="*/ 1383 h 10000"/>
              <a:gd name="connsiteX166" fmla="*/ 4809 w 10000"/>
              <a:gd name="connsiteY166" fmla="*/ 1457 h 10000"/>
              <a:gd name="connsiteX167" fmla="*/ 5176 w 10000"/>
              <a:gd name="connsiteY167" fmla="*/ 1668 h 10000"/>
              <a:gd name="connsiteX168" fmla="*/ 5057 w 10000"/>
              <a:gd name="connsiteY168" fmla="*/ 1896 h 10000"/>
              <a:gd name="connsiteX169" fmla="*/ 4842 w 10000"/>
              <a:gd name="connsiteY169" fmla="*/ 1979 h 10000"/>
              <a:gd name="connsiteX170" fmla="*/ 4200 w 10000"/>
              <a:gd name="connsiteY170" fmla="*/ 1924 h 10000"/>
              <a:gd name="connsiteX171" fmla="*/ 3760 w 10000"/>
              <a:gd name="connsiteY171" fmla="*/ 1955 h 10000"/>
              <a:gd name="connsiteX172" fmla="*/ 3405 w 10000"/>
              <a:gd name="connsiteY172" fmla="*/ 2023 h 10000"/>
              <a:gd name="connsiteX173" fmla="*/ 2832 w 10000"/>
              <a:gd name="connsiteY173" fmla="*/ 2233 h 10000"/>
              <a:gd name="connsiteX174" fmla="*/ 2528 w 10000"/>
              <a:gd name="connsiteY174" fmla="*/ 2487 h 10000"/>
              <a:gd name="connsiteX175" fmla="*/ 2555 w 10000"/>
              <a:gd name="connsiteY175" fmla="*/ 2629 h 10000"/>
              <a:gd name="connsiteX176" fmla="*/ 2661 w 10000"/>
              <a:gd name="connsiteY176" fmla="*/ 2738 h 10000"/>
              <a:gd name="connsiteX177" fmla="*/ 2741 w 10000"/>
              <a:gd name="connsiteY177" fmla="*/ 2782 h 10000"/>
              <a:gd name="connsiteX178" fmla="*/ 2592 w 10000"/>
              <a:gd name="connsiteY178" fmla="*/ 2852 h 10000"/>
              <a:gd name="connsiteX179" fmla="*/ 2267 w 10000"/>
              <a:gd name="connsiteY179" fmla="*/ 3330 h 10000"/>
              <a:gd name="connsiteX180" fmla="*/ 2330 w 10000"/>
              <a:gd name="connsiteY180" fmla="*/ 3358 h 10000"/>
              <a:gd name="connsiteX181" fmla="*/ 2375 w 10000"/>
              <a:gd name="connsiteY181" fmla="*/ 3479 h 10000"/>
              <a:gd name="connsiteX182" fmla="*/ 2226 w 10000"/>
              <a:gd name="connsiteY182" fmla="*/ 3982 h 10000"/>
              <a:gd name="connsiteX183" fmla="*/ 2375 w 10000"/>
              <a:gd name="connsiteY183" fmla="*/ 4110 h 10000"/>
              <a:gd name="connsiteX184" fmla="*/ 2791 w 10000"/>
              <a:gd name="connsiteY184" fmla="*/ 4251 h 10000"/>
              <a:gd name="connsiteX185" fmla="*/ 2808 w 10000"/>
              <a:gd name="connsiteY185" fmla="*/ 4423 h 10000"/>
              <a:gd name="connsiteX186" fmla="*/ 2632 w 10000"/>
              <a:gd name="connsiteY186" fmla="*/ 4566 h 10000"/>
              <a:gd name="connsiteX187" fmla="*/ 2375 w 10000"/>
              <a:gd name="connsiteY187" fmla="*/ 4652 h 10000"/>
              <a:gd name="connsiteX188" fmla="*/ 2039 w 10000"/>
              <a:gd name="connsiteY188" fmla="*/ 4687 h 10000"/>
              <a:gd name="connsiteX189" fmla="*/ 1950 w 10000"/>
              <a:gd name="connsiteY189" fmla="*/ 4737 h 10000"/>
              <a:gd name="connsiteX190" fmla="*/ 2148 w 10000"/>
              <a:gd name="connsiteY190" fmla="*/ 4855 h 10000"/>
              <a:gd name="connsiteX191" fmla="*/ 2261 w 10000"/>
              <a:gd name="connsiteY191" fmla="*/ 5136 h 10000"/>
              <a:gd name="connsiteX192" fmla="*/ 2005 w 10000"/>
              <a:gd name="connsiteY192" fmla="*/ 5376 h 10000"/>
              <a:gd name="connsiteX193" fmla="*/ 2094 w 10000"/>
              <a:gd name="connsiteY193" fmla="*/ 5451 h 10000"/>
              <a:gd name="connsiteX194" fmla="*/ 2012 w 10000"/>
              <a:gd name="connsiteY194" fmla="*/ 5577 h 10000"/>
              <a:gd name="connsiteX195" fmla="*/ 1850 w 10000"/>
              <a:gd name="connsiteY195" fmla="*/ 5663 h 10000"/>
              <a:gd name="connsiteX196" fmla="*/ 1199 w 10000"/>
              <a:gd name="connsiteY196" fmla="*/ 5730 h 10000"/>
              <a:gd name="connsiteX197" fmla="*/ 1158 w 10000"/>
              <a:gd name="connsiteY197" fmla="*/ 5846 h 10000"/>
              <a:gd name="connsiteX198" fmla="*/ 808 w 10000"/>
              <a:gd name="connsiteY198" fmla="*/ 6019 h 10000"/>
              <a:gd name="connsiteX199" fmla="*/ 854 w 10000"/>
              <a:gd name="connsiteY199" fmla="*/ 6268 h 10000"/>
              <a:gd name="connsiteX200" fmla="*/ 560 w 10000"/>
              <a:gd name="connsiteY200" fmla="*/ 6587 h 10000"/>
              <a:gd name="connsiteX201" fmla="*/ 358 w 10000"/>
              <a:gd name="connsiteY201" fmla="*/ 6624 h 10000"/>
              <a:gd name="connsiteX202" fmla="*/ 275 w 10000"/>
              <a:gd name="connsiteY202" fmla="*/ 6548 h 10000"/>
              <a:gd name="connsiteX203" fmla="*/ 174 w 10000"/>
              <a:gd name="connsiteY203" fmla="*/ 6663 h 10000"/>
              <a:gd name="connsiteX204" fmla="*/ 239 w 10000"/>
              <a:gd name="connsiteY204" fmla="*/ 6465 h 10000"/>
              <a:gd name="connsiteX205" fmla="*/ 197 w 10000"/>
              <a:gd name="connsiteY205" fmla="*/ 6427 h 10000"/>
              <a:gd name="connsiteX0" fmla="*/ 197 w 10000"/>
              <a:gd name="connsiteY0" fmla="*/ 6427 h 10000"/>
              <a:gd name="connsiteX1" fmla="*/ 0 w 10000"/>
              <a:gd name="connsiteY1" fmla="*/ 6530 h 10000"/>
              <a:gd name="connsiteX2" fmla="*/ 0 w 10000"/>
              <a:gd name="connsiteY2" fmla="*/ 7039 h 10000"/>
              <a:gd name="connsiteX3" fmla="*/ 109 w 10000"/>
              <a:gd name="connsiteY3" fmla="*/ 7053 h 10000"/>
              <a:gd name="connsiteX4" fmla="*/ 134 w 10000"/>
              <a:gd name="connsiteY4" fmla="*/ 7092 h 10000"/>
              <a:gd name="connsiteX5" fmla="*/ 130 w 10000"/>
              <a:gd name="connsiteY5" fmla="*/ 7161 h 10000"/>
              <a:gd name="connsiteX6" fmla="*/ 89 w 10000"/>
              <a:gd name="connsiteY6" fmla="*/ 7192 h 10000"/>
              <a:gd name="connsiteX7" fmla="*/ 255 w 10000"/>
              <a:gd name="connsiteY7" fmla="*/ 7133 h 10000"/>
              <a:gd name="connsiteX8" fmla="*/ 325 w 10000"/>
              <a:gd name="connsiteY8" fmla="*/ 7075 h 10000"/>
              <a:gd name="connsiteX9" fmla="*/ 413 w 10000"/>
              <a:gd name="connsiteY9" fmla="*/ 7115 h 10000"/>
              <a:gd name="connsiteX10" fmla="*/ 316 w 10000"/>
              <a:gd name="connsiteY10" fmla="*/ 7198 h 10000"/>
              <a:gd name="connsiteX11" fmla="*/ 419 w 10000"/>
              <a:gd name="connsiteY11" fmla="*/ 7200 h 10000"/>
              <a:gd name="connsiteX12" fmla="*/ 469 w 10000"/>
              <a:gd name="connsiteY12" fmla="*/ 7221 h 10000"/>
              <a:gd name="connsiteX13" fmla="*/ 337 w 10000"/>
              <a:gd name="connsiteY13" fmla="*/ 7248 h 10000"/>
              <a:gd name="connsiteX14" fmla="*/ 130 w 10000"/>
              <a:gd name="connsiteY14" fmla="*/ 7333 h 10000"/>
              <a:gd name="connsiteX15" fmla="*/ 497 w 10000"/>
              <a:gd name="connsiteY15" fmla="*/ 7400 h 10000"/>
              <a:gd name="connsiteX16" fmla="*/ 545 w 10000"/>
              <a:gd name="connsiteY16" fmla="*/ 7496 h 10000"/>
              <a:gd name="connsiteX17" fmla="*/ 419 w 10000"/>
              <a:gd name="connsiteY17" fmla="*/ 7636 h 10000"/>
              <a:gd name="connsiteX18" fmla="*/ 688 w 10000"/>
              <a:gd name="connsiteY18" fmla="*/ 7627 h 10000"/>
              <a:gd name="connsiteX19" fmla="*/ 709 w 10000"/>
              <a:gd name="connsiteY19" fmla="*/ 7733 h 10000"/>
              <a:gd name="connsiteX20" fmla="*/ 530 w 10000"/>
              <a:gd name="connsiteY20" fmla="*/ 7805 h 10000"/>
              <a:gd name="connsiteX21" fmla="*/ 560 w 10000"/>
              <a:gd name="connsiteY21" fmla="*/ 7945 h 10000"/>
              <a:gd name="connsiteX22" fmla="*/ 489 w 10000"/>
              <a:gd name="connsiteY22" fmla="*/ 8053 h 10000"/>
              <a:gd name="connsiteX23" fmla="*/ 703 w 10000"/>
              <a:gd name="connsiteY23" fmla="*/ 8063 h 10000"/>
              <a:gd name="connsiteX24" fmla="*/ 909 w 10000"/>
              <a:gd name="connsiteY24" fmla="*/ 8478 h 10000"/>
              <a:gd name="connsiteX25" fmla="*/ 1150 w 10000"/>
              <a:gd name="connsiteY25" fmla="*/ 8583 h 10000"/>
              <a:gd name="connsiteX26" fmla="*/ 1255 w 10000"/>
              <a:gd name="connsiteY26" fmla="*/ 8695 h 10000"/>
              <a:gd name="connsiteX27" fmla="*/ 1514 w 10000"/>
              <a:gd name="connsiteY27" fmla="*/ 8776 h 10000"/>
              <a:gd name="connsiteX28" fmla="*/ 1684 w 10000"/>
              <a:gd name="connsiteY28" fmla="*/ 8881 h 10000"/>
              <a:gd name="connsiteX29" fmla="*/ 1661 w 10000"/>
              <a:gd name="connsiteY29" fmla="*/ 8955 h 10000"/>
              <a:gd name="connsiteX30" fmla="*/ 1496 w 10000"/>
              <a:gd name="connsiteY30" fmla="*/ 8983 h 10000"/>
              <a:gd name="connsiteX31" fmla="*/ 1316 w 10000"/>
              <a:gd name="connsiteY31" fmla="*/ 8965 h 10000"/>
              <a:gd name="connsiteX32" fmla="*/ 1260 w 10000"/>
              <a:gd name="connsiteY32" fmla="*/ 8996 h 10000"/>
              <a:gd name="connsiteX33" fmla="*/ 1397 w 10000"/>
              <a:gd name="connsiteY33" fmla="*/ 9158 h 10000"/>
              <a:gd name="connsiteX34" fmla="*/ 1205 w 10000"/>
              <a:gd name="connsiteY34" fmla="*/ 9144 h 10000"/>
              <a:gd name="connsiteX35" fmla="*/ 1040 w 10000"/>
              <a:gd name="connsiteY35" fmla="*/ 9105 h 10000"/>
              <a:gd name="connsiteX36" fmla="*/ 1012 w 10000"/>
              <a:gd name="connsiteY36" fmla="*/ 9165 h 10000"/>
              <a:gd name="connsiteX37" fmla="*/ 1557 w 10000"/>
              <a:gd name="connsiteY37" fmla="*/ 9718 h 10000"/>
              <a:gd name="connsiteX38" fmla="*/ 1469 w 10000"/>
              <a:gd name="connsiteY38" fmla="*/ 9770 h 10000"/>
              <a:gd name="connsiteX39" fmla="*/ 1408 w 10000"/>
              <a:gd name="connsiteY39" fmla="*/ 9876 h 10000"/>
              <a:gd name="connsiteX40" fmla="*/ 1329 w 10000"/>
              <a:gd name="connsiteY40" fmla="*/ 9885 h 10000"/>
              <a:gd name="connsiteX41" fmla="*/ 1281 w 10000"/>
              <a:gd name="connsiteY41" fmla="*/ 9931 h 10000"/>
              <a:gd name="connsiteX42" fmla="*/ 1609 w 10000"/>
              <a:gd name="connsiteY42" fmla="*/ 9936 h 10000"/>
              <a:gd name="connsiteX43" fmla="*/ 1900 w 10000"/>
              <a:gd name="connsiteY43" fmla="*/ 9982 h 10000"/>
              <a:gd name="connsiteX44" fmla="*/ 2383 w 10000"/>
              <a:gd name="connsiteY44" fmla="*/ 9933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4 h 10000"/>
              <a:gd name="connsiteX49" fmla="*/ 3313 w 10000"/>
              <a:gd name="connsiteY49" fmla="*/ 9625 h 10000"/>
              <a:gd name="connsiteX50" fmla="*/ 3642 w 10000"/>
              <a:gd name="connsiteY50" fmla="*/ 9392 h 10000"/>
              <a:gd name="connsiteX51" fmla="*/ 3883 w 10000"/>
              <a:gd name="connsiteY51" fmla="*/ 9428 h 10000"/>
              <a:gd name="connsiteX52" fmla="*/ 4025 w 10000"/>
              <a:gd name="connsiteY52" fmla="*/ 9335 h 10000"/>
              <a:gd name="connsiteX53" fmla="*/ 4294 w 10000"/>
              <a:gd name="connsiteY53" fmla="*/ 9282 h 10000"/>
              <a:gd name="connsiteX54" fmla="*/ 4658 w 10000"/>
              <a:gd name="connsiteY54" fmla="*/ 9295 h 10000"/>
              <a:gd name="connsiteX55" fmla="*/ 4878 w 10000"/>
              <a:gd name="connsiteY55" fmla="*/ 9332 h 10000"/>
              <a:gd name="connsiteX56" fmla="*/ 5170 w 10000"/>
              <a:gd name="connsiteY56" fmla="*/ 9315 h 10000"/>
              <a:gd name="connsiteX57" fmla="*/ 5464 w 10000"/>
              <a:gd name="connsiteY57" fmla="*/ 9356 h 10000"/>
              <a:gd name="connsiteX58" fmla="*/ 5759 w 10000"/>
              <a:gd name="connsiteY58" fmla="*/ 9361 h 10000"/>
              <a:gd name="connsiteX59" fmla="*/ 6419 w 10000"/>
              <a:gd name="connsiteY59" fmla="*/ 8817 h 10000"/>
              <a:gd name="connsiteX60" fmla="*/ 6586 w 10000"/>
              <a:gd name="connsiteY60" fmla="*/ 8375 h 10000"/>
              <a:gd name="connsiteX61" fmla="*/ 6855 w 10000"/>
              <a:gd name="connsiteY61" fmla="*/ 8177 h 10000"/>
              <a:gd name="connsiteX62" fmla="*/ 6855 w 10000"/>
              <a:gd name="connsiteY62" fmla="*/ 8073 h 10000"/>
              <a:gd name="connsiteX63" fmla="*/ 6757 w 10000"/>
              <a:gd name="connsiteY63" fmla="*/ 8015 h 10000"/>
              <a:gd name="connsiteX64" fmla="*/ 6915 w 10000"/>
              <a:gd name="connsiteY64" fmla="*/ 7922 h 10000"/>
              <a:gd name="connsiteX65" fmla="*/ 6887 w 10000"/>
              <a:gd name="connsiteY65" fmla="*/ 7844 h 10000"/>
              <a:gd name="connsiteX66" fmla="*/ 6779 w 10000"/>
              <a:gd name="connsiteY66" fmla="*/ 7776 h 10000"/>
              <a:gd name="connsiteX67" fmla="*/ 6757 w 10000"/>
              <a:gd name="connsiteY67" fmla="*/ 7728 h 10000"/>
              <a:gd name="connsiteX68" fmla="*/ 6785 w 10000"/>
              <a:gd name="connsiteY68" fmla="*/ 7691 h 10000"/>
              <a:gd name="connsiteX69" fmla="*/ 6931 w 10000"/>
              <a:gd name="connsiteY69" fmla="*/ 7721 h 10000"/>
              <a:gd name="connsiteX70" fmla="*/ 7045 w 10000"/>
              <a:gd name="connsiteY70" fmla="*/ 7719 h 10000"/>
              <a:gd name="connsiteX71" fmla="*/ 6983 w 10000"/>
              <a:gd name="connsiteY71" fmla="*/ 7655 h 10000"/>
              <a:gd name="connsiteX72" fmla="*/ 7003 w 10000"/>
              <a:gd name="connsiteY72" fmla="*/ 7619 h 10000"/>
              <a:gd name="connsiteX73" fmla="*/ 7089 w 10000"/>
              <a:gd name="connsiteY73" fmla="*/ 7565 h 10000"/>
              <a:gd name="connsiteX74" fmla="*/ 7074 w 10000"/>
              <a:gd name="connsiteY74" fmla="*/ 7521 h 10000"/>
              <a:gd name="connsiteX75" fmla="*/ 7152 w 10000"/>
              <a:gd name="connsiteY75" fmla="*/ 7373 h 10000"/>
              <a:gd name="connsiteX76" fmla="*/ 7130 w 10000"/>
              <a:gd name="connsiteY76" fmla="*/ 7327 h 10000"/>
              <a:gd name="connsiteX77" fmla="*/ 6729 w 10000"/>
              <a:gd name="connsiteY77" fmla="*/ 7216 h 10000"/>
              <a:gd name="connsiteX78" fmla="*/ 6785 w 10000"/>
              <a:gd name="connsiteY78" fmla="*/ 7211 h 10000"/>
              <a:gd name="connsiteX79" fmla="*/ 6998 w 10000"/>
              <a:gd name="connsiteY79" fmla="*/ 7241 h 10000"/>
              <a:gd name="connsiteX80" fmla="*/ 7230 w 10000"/>
              <a:gd name="connsiteY80" fmla="*/ 7230 h 10000"/>
              <a:gd name="connsiteX81" fmla="*/ 7295 w 10000"/>
              <a:gd name="connsiteY81" fmla="*/ 7189 h 10000"/>
              <a:gd name="connsiteX82" fmla="*/ 7074 w 10000"/>
              <a:gd name="connsiteY82" fmla="*/ 7113 h 10000"/>
              <a:gd name="connsiteX83" fmla="*/ 6414 w 10000"/>
              <a:gd name="connsiteY83" fmla="*/ 7062 h 10000"/>
              <a:gd name="connsiteX84" fmla="*/ 6458 w 10000"/>
              <a:gd name="connsiteY84" fmla="*/ 7039 h 10000"/>
              <a:gd name="connsiteX85" fmla="*/ 6998 w 10000"/>
              <a:gd name="connsiteY85" fmla="*/ 7023 h 10000"/>
              <a:gd name="connsiteX86" fmla="*/ 7295 w 10000"/>
              <a:gd name="connsiteY86" fmla="*/ 7069 h 10000"/>
              <a:gd name="connsiteX87" fmla="*/ 7466 w 10000"/>
              <a:gd name="connsiteY87" fmla="*/ 7039 h 10000"/>
              <a:gd name="connsiteX88" fmla="*/ 7529 w 10000"/>
              <a:gd name="connsiteY88" fmla="*/ 6959 h 10000"/>
              <a:gd name="connsiteX89" fmla="*/ 7840 w 10000"/>
              <a:gd name="connsiteY89" fmla="*/ 6959 h 10000"/>
              <a:gd name="connsiteX90" fmla="*/ 8261 w 10000"/>
              <a:gd name="connsiteY90" fmla="*/ 6799 h 10000"/>
              <a:gd name="connsiteX91" fmla="*/ 8275 w 10000"/>
              <a:gd name="connsiteY91" fmla="*/ 6693 h 10000"/>
              <a:gd name="connsiteX92" fmla="*/ 8453 w 10000"/>
              <a:gd name="connsiteY92" fmla="*/ 6718 h 10000"/>
              <a:gd name="connsiteX93" fmla="*/ 8446 w 10000"/>
              <a:gd name="connsiteY93" fmla="*/ 6824 h 10000"/>
              <a:gd name="connsiteX94" fmla="*/ 8727 w 10000"/>
              <a:gd name="connsiteY94" fmla="*/ 6817 h 10000"/>
              <a:gd name="connsiteX95" fmla="*/ 8913 w 10000"/>
              <a:gd name="connsiteY95" fmla="*/ 6707 h 10000"/>
              <a:gd name="connsiteX96" fmla="*/ 9258 w 10000"/>
              <a:gd name="connsiteY96" fmla="*/ 6607 h 10000"/>
              <a:gd name="connsiteX97" fmla="*/ 9203 w 10000"/>
              <a:gd name="connsiteY97" fmla="*/ 6493 h 10000"/>
              <a:gd name="connsiteX98" fmla="*/ 9306 w 10000"/>
              <a:gd name="connsiteY98" fmla="*/ 6538 h 10000"/>
              <a:gd name="connsiteX99" fmla="*/ 9464 w 10000"/>
              <a:gd name="connsiteY99" fmla="*/ 6538 h 10000"/>
              <a:gd name="connsiteX100" fmla="*/ 9464 w 10000"/>
              <a:gd name="connsiteY100" fmla="*/ 6486 h 10000"/>
              <a:gd name="connsiteX101" fmla="*/ 9611 w 10000"/>
              <a:gd name="connsiteY101" fmla="*/ 6446 h 10000"/>
              <a:gd name="connsiteX102" fmla="*/ 9592 w 10000"/>
              <a:gd name="connsiteY102" fmla="*/ 6405 h 10000"/>
              <a:gd name="connsiteX103" fmla="*/ 8350 w 10000"/>
              <a:gd name="connsiteY103" fmla="*/ 6488 h 10000"/>
              <a:gd name="connsiteX104" fmla="*/ 8058 w 10000"/>
              <a:gd name="connsiteY104" fmla="*/ 6463 h 10000"/>
              <a:gd name="connsiteX105" fmla="*/ 7942 w 10000"/>
              <a:gd name="connsiteY105" fmla="*/ 6493 h 10000"/>
              <a:gd name="connsiteX106" fmla="*/ 7903 w 10000"/>
              <a:gd name="connsiteY106" fmla="*/ 6436 h 10000"/>
              <a:gd name="connsiteX107" fmla="*/ 7765 w 10000"/>
              <a:gd name="connsiteY107" fmla="*/ 6384 h 10000"/>
              <a:gd name="connsiteX108" fmla="*/ 7213 w 10000"/>
              <a:gd name="connsiteY108" fmla="*/ 6282 h 10000"/>
              <a:gd name="connsiteX109" fmla="*/ 6887 w 10000"/>
              <a:gd name="connsiteY109" fmla="*/ 6298 h 10000"/>
              <a:gd name="connsiteX110" fmla="*/ 6757 w 10000"/>
              <a:gd name="connsiteY110" fmla="*/ 6270 h 10000"/>
              <a:gd name="connsiteX111" fmla="*/ 6894 w 10000"/>
              <a:gd name="connsiteY111" fmla="*/ 6245 h 10000"/>
              <a:gd name="connsiteX112" fmla="*/ 6998 w 10000"/>
              <a:gd name="connsiteY112" fmla="*/ 6190 h 10000"/>
              <a:gd name="connsiteX113" fmla="*/ 7152 w 10000"/>
              <a:gd name="connsiteY113" fmla="*/ 6208 h 10000"/>
              <a:gd name="connsiteX114" fmla="*/ 7335 w 10000"/>
              <a:gd name="connsiteY114" fmla="*/ 6193 h 10000"/>
              <a:gd name="connsiteX115" fmla="*/ 7611 w 10000"/>
              <a:gd name="connsiteY115" fmla="*/ 6211 h 10000"/>
              <a:gd name="connsiteX116" fmla="*/ 7645 w 10000"/>
              <a:gd name="connsiteY116" fmla="*/ 6204 h 10000"/>
              <a:gd name="connsiteX117" fmla="*/ 7859 w 10000"/>
              <a:gd name="connsiteY117" fmla="*/ 6287 h 10000"/>
              <a:gd name="connsiteX118" fmla="*/ 8017 w 10000"/>
              <a:gd name="connsiteY118" fmla="*/ 6257 h 10000"/>
              <a:gd name="connsiteX119" fmla="*/ 8032 w 10000"/>
              <a:gd name="connsiteY119" fmla="*/ 6229 h 10000"/>
              <a:gd name="connsiteX120" fmla="*/ 8176 w 10000"/>
              <a:gd name="connsiteY120" fmla="*/ 6278 h 10000"/>
              <a:gd name="connsiteX121" fmla="*/ 8369 w 10000"/>
              <a:gd name="connsiteY121" fmla="*/ 6304 h 10000"/>
              <a:gd name="connsiteX122" fmla="*/ 8446 w 10000"/>
              <a:gd name="connsiteY122" fmla="*/ 6255 h 10000"/>
              <a:gd name="connsiteX123" fmla="*/ 8507 w 10000"/>
              <a:gd name="connsiteY123" fmla="*/ 6282 h 10000"/>
              <a:gd name="connsiteX124" fmla="*/ 8596 w 10000"/>
              <a:gd name="connsiteY124" fmla="*/ 6377 h 10000"/>
              <a:gd name="connsiteX125" fmla="*/ 8782 w 10000"/>
              <a:gd name="connsiteY125" fmla="*/ 6399 h 10000"/>
              <a:gd name="connsiteX126" fmla="*/ 9542 w 10000"/>
              <a:gd name="connsiteY126" fmla="*/ 6259 h 10000"/>
              <a:gd name="connsiteX127" fmla="*/ 9914 w 10000"/>
              <a:gd name="connsiteY127" fmla="*/ 6064 h 10000"/>
              <a:gd name="connsiteX128" fmla="*/ 10000 w 10000"/>
              <a:gd name="connsiteY128" fmla="*/ 5921 h 10000"/>
              <a:gd name="connsiteX129" fmla="*/ 9866 w 10000"/>
              <a:gd name="connsiteY129" fmla="*/ 5792 h 10000"/>
              <a:gd name="connsiteX130" fmla="*/ 9582 w 10000"/>
              <a:gd name="connsiteY130" fmla="*/ 5715 h 10000"/>
              <a:gd name="connsiteX131" fmla="*/ 9382 w 10000"/>
              <a:gd name="connsiteY131" fmla="*/ 5589 h 10000"/>
              <a:gd name="connsiteX132" fmla="*/ 9569 w 10000"/>
              <a:gd name="connsiteY132" fmla="*/ 5584 h 10000"/>
              <a:gd name="connsiteX133" fmla="*/ 9555 w 10000"/>
              <a:gd name="connsiteY133" fmla="*/ 5554 h 10000"/>
              <a:gd name="connsiteX134" fmla="*/ 9068 w 10000"/>
              <a:gd name="connsiteY134" fmla="*/ 5465 h 10000"/>
              <a:gd name="connsiteX135" fmla="*/ 9047 w 10000"/>
              <a:gd name="connsiteY135" fmla="*/ 5383 h 10000"/>
              <a:gd name="connsiteX136" fmla="*/ 8953 w 10000"/>
              <a:gd name="connsiteY136" fmla="*/ 5299 h 10000"/>
              <a:gd name="connsiteX137" fmla="*/ 8569 w 10000"/>
              <a:gd name="connsiteY137" fmla="*/ 5314 h 10000"/>
              <a:gd name="connsiteX138" fmla="*/ 8431 w 10000"/>
              <a:gd name="connsiteY138" fmla="*/ 5224 h 10000"/>
              <a:gd name="connsiteX139" fmla="*/ 8350 w 10000"/>
              <a:gd name="connsiteY139" fmla="*/ 5219 h 10000"/>
              <a:gd name="connsiteX140" fmla="*/ 8350 w 10000"/>
              <a:gd name="connsiteY140" fmla="*/ 5256 h 10000"/>
              <a:gd name="connsiteX141" fmla="*/ 8176 w 10000"/>
              <a:gd name="connsiteY141" fmla="*/ 5408 h 10000"/>
              <a:gd name="connsiteX142" fmla="*/ 7990 w 10000"/>
              <a:gd name="connsiteY142" fmla="*/ 5498 h 10000"/>
              <a:gd name="connsiteX143" fmla="*/ 7401 w 10000"/>
              <a:gd name="connsiteY143" fmla="*/ 5651 h 10000"/>
              <a:gd name="connsiteX144" fmla="*/ 7198 w 10000"/>
              <a:gd name="connsiteY144" fmla="*/ 5646 h 10000"/>
              <a:gd name="connsiteX145" fmla="*/ 6915 w 10000"/>
              <a:gd name="connsiteY145" fmla="*/ 5669 h 10000"/>
              <a:gd name="connsiteX146" fmla="*/ 6757 w 10000"/>
              <a:gd name="connsiteY146" fmla="*/ 5646 h 10000"/>
              <a:gd name="connsiteX147" fmla="*/ 6965 w 10000"/>
              <a:gd name="connsiteY147" fmla="*/ 5604 h 10000"/>
              <a:gd name="connsiteX148" fmla="*/ 7235 w 10000"/>
              <a:gd name="connsiteY148" fmla="*/ 5584 h 10000"/>
              <a:gd name="connsiteX149" fmla="*/ 7455 w 10000"/>
              <a:gd name="connsiteY149" fmla="*/ 5513 h 10000"/>
              <a:gd name="connsiteX150" fmla="*/ 7674 w 10000"/>
              <a:gd name="connsiteY150" fmla="*/ 5480 h 10000"/>
              <a:gd name="connsiteX151" fmla="*/ 8082 w 10000"/>
              <a:gd name="connsiteY151" fmla="*/ 5355 h 10000"/>
              <a:gd name="connsiteX152" fmla="*/ 8157 w 10000"/>
              <a:gd name="connsiteY152" fmla="*/ 5274 h 10000"/>
              <a:gd name="connsiteX153" fmla="*/ 8165 w 10000"/>
              <a:gd name="connsiteY153" fmla="*/ 5168 h 10000"/>
              <a:gd name="connsiteX154" fmla="*/ 7978 w 10000"/>
              <a:gd name="connsiteY154" fmla="*/ 5150 h 10000"/>
              <a:gd name="connsiteX155" fmla="*/ 8058 w 10000"/>
              <a:gd name="connsiteY155" fmla="*/ 5086 h 10000"/>
              <a:gd name="connsiteX156" fmla="*/ 8087 w 10000"/>
              <a:gd name="connsiteY156" fmla="*/ 5005 h 10000"/>
              <a:gd name="connsiteX157" fmla="*/ 8007 w 10000"/>
              <a:gd name="connsiteY157" fmla="*/ 4928 h 10000"/>
              <a:gd name="connsiteX158" fmla="*/ 8398 w 10000"/>
              <a:gd name="connsiteY158" fmla="*/ 332 h 10000"/>
              <a:gd name="connsiteX159" fmla="*/ 6675 w 10000"/>
              <a:gd name="connsiteY159" fmla="*/ 0 h 10000"/>
              <a:gd name="connsiteX160" fmla="*/ 6334 w 10000"/>
              <a:gd name="connsiteY160" fmla="*/ 82 h 10000"/>
              <a:gd name="connsiteX161" fmla="*/ 6117 w 10000"/>
              <a:gd name="connsiteY161" fmla="*/ 78 h 10000"/>
              <a:gd name="connsiteX162" fmla="*/ 5986 w 10000"/>
              <a:gd name="connsiteY162" fmla="*/ 107 h 10000"/>
              <a:gd name="connsiteX163" fmla="*/ 5629 w 10000"/>
              <a:gd name="connsiteY163" fmla="*/ 913 h 10000"/>
              <a:gd name="connsiteX164" fmla="*/ 4802 w 10000"/>
              <a:gd name="connsiteY164" fmla="*/ 1383 h 10000"/>
              <a:gd name="connsiteX165" fmla="*/ 4809 w 10000"/>
              <a:gd name="connsiteY165" fmla="*/ 1457 h 10000"/>
              <a:gd name="connsiteX166" fmla="*/ 5176 w 10000"/>
              <a:gd name="connsiteY166" fmla="*/ 1668 h 10000"/>
              <a:gd name="connsiteX167" fmla="*/ 5057 w 10000"/>
              <a:gd name="connsiteY167" fmla="*/ 1896 h 10000"/>
              <a:gd name="connsiteX168" fmla="*/ 4842 w 10000"/>
              <a:gd name="connsiteY168" fmla="*/ 1979 h 10000"/>
              <a:gd name="connsiteX169" fmla="*/ 4200 w 10000"/>
              <a:gd name="connsiteY169" fmla="*/ 1924 h 10000"/>
              <a:gd name="connsiteX170" fmla="*/ 3760 w 10000"/>
              <a:gd name="connsiteY170" fmla="*/ 1955 h 10000"/>
              <a:gd name="connsiteX171" fmla="*/ 3405 w 10000"/>
              <a:gd name="connsiteY171" fmla="*/ 2023 h 10000"/>
              <a:gd name="connsiteX172" fmla="*/ 2832 w 10000"/>
              <a:gd name="connsiteY172" fmla="*/ 2233 h 10000"/>
              <a:gd name="connsiteX173" fmla="*/ 2528 w 10000"/>
              <a:gd name="connsiteY173" fmla="*/ 2487 h 10000"/>
              <a:gd name="connsiteX174" fmla="*/ 2555 w 10000"/>
              <a:gd name="connsiteY174" fmla="*/ 2629 h 10000"/>
              <a:gd name="connsiteX175" fmla="*/ 2661 w 10000"/>
              <a:gd name="connsiteY175" fmla="*/ 2738 h 10000"/>
              <a:gd name="connsiteX176" fmla="*/ 2741 w 10000"/>
              <a:gd name="connsiteY176" fmla="*/ 2782 h 10000"/>
              <a:gd name="connsiteX177" fmla="*/ 2592 w 10000"/>
              <a:gd name="connsiteY177" fmla="*/ 2852 h 10000"/>
              <a:gd name="connsiteX178" fmla="*/ 2267 w 10000"/>
              <a:gd name="connsiteY178" fmla="*/ 3330 h 10000"/>
              <a:gd name="connsiteX179" fmla="*/ 2330 w 10000"/>
              <a:gd name="connsiteY179" fmla="*/ 3358 h 10000"/>
              <a:gd name="connsiteX180" fmla="*/ 2375 w 10000"/>
              <a:gd name="connsiteY180" fmla="*/ 3479 h 10000"/>
              <a:gd name="connsiteX181" fmla="*/ 2226 w 10000"/>
              <a:gd name="connsiteY181" fmla="*/ 3982 h 10000"/>
              <a:gd name="connsiteX182" fmla="*/ 2375 w 10000"/>
              <a:gd name="connsiteY182" fmla="*/ 4110 h 10000"/>
              <a:gd name="connsiteX183" fmla="*/ 2791 w 10000"/>
              <a:gd name="connsiteY183" fmla="*/ 4251 h 10000"/>
              <a:gd name="connsiteX184" fmla="*/ 2808 w 10000"/>
              <a:gd name="connsiteY184" fmla="*/ 4423 h 10000"/>
              <a:gd name="connsiteX185" fmla="*/ 2632 w 10000"/>
              <a:gd name="connsiteY185" fmla="*/ 4566 h 10000"/>
              <a:gd name="connsiteX186" fmla="*/ 2375 w 10000"/>
              <a:gd name="connsiteY186" fmla="*/ 4652 h 10000"/>
              <a:gd name="connsiteX187" fmla="*/ 2039 w 10000"/>
              <a:gd name="connsiteY187" fmla="*/ 4687 h 10000"/>
              <a:gd name="connsiteX188" fmla="*/ 1950 w 10000"/>
              <a:gd name="connsiteY188" fmla="*/ 4737 h 10000"/>
              <a:gd name="connsiteX189" fmla="*/ 2148 w 10000"/>
              <a:gd name="connsiteY189" fmla="*/ 4855 h 10000"/>
              <a:gd name="connsiteX190" fmla="*/ 2261 w 10000"/>
              <a:gd name="connsiteY190" fmla="*/ 5136 h 10000"/>
              <a:gd name="connsiteX191" fmla="*/ 2005 w 10000"/>
              <a:gd name="connsiteY191" fmla="*/ 5376 h 10000"/>
              <a:gd name="connsiteX192" fmla="*/ 2094 w 10000"/>
              <a:gd name="connsiteY192" fmla="*/ 5451 h 10000"/>
              <a:gd name="connsiteX193" fmla="*/ 2012 w 10000"/>
              <a:gd name="connsiteY193" fmla="*/ 5577 h 10000"/>
              <a:gd name="connsiteX194" fmla="*/ 1850 w 10000"/>
              <a:gd name="connsiteY194" fmla="*/ 5663 h 10000"/>
              <a:gd name="connsiteX195" fmla="*/ 1199 w 10000"/>
              <a:gd name="connsiteY195" fmla="*/ 5730 h 10000"/>
              <a:gd name="connsiteX196" fmla="*/ 1158 w 10000"/>
              <a:gd name="connsiteY196" fmla="*/ 5846 h 10000"/>
              <a:gd name="connsiteX197" fmla="*/ 808 w 10000"/>
              <a:gd name="connsiteY197" fmla="*/ 6019 h 10000"/>
              <a:gd name="connsiteX198" fmla="*/ 854 w 10000"/>
              <a:gd name="connsiteY198" fmla="*/ 6268 h 10000"/>
              <a:gd name="connsiteX199" fmla="*/ 560 w 10000"/>
              <a:gd name="connsiteY199" fmla="*/ 6587 h 10000"/>
              <a:gd name="connsiteX200" fmla="*/ 358 w 10000"/>
              <a:gd name="connsiteY200" fmla="*/ 6624 h 10000"/>
              <a:gd name="connsiteX201" fmla="*/ 275 w 10000"/>
              <a:gd name="connsiteY201" fmla="*/ 6548 h 10000"/>
              <a:gd name="connsiteX202" fmla="*/ 174 w 10000"/>
              <a:gd name="connsiteY202" fmla="*/ 6663 h 10000"/>
              <a:gd name="connsiteX203" fmla="*/ 239 w 10000"/>
              <a:gd name="connsiteY203" fmla="*/ 6465 h 10000"/>
              <a:gd name="connsiteX204" fmla="*/ 197 w 10000"/>
              <a:gd name="connsiteY204" fmla="*/ 6427 h 10000"/>
              <a:gd name="connsiteX0" fmla="*/ 197 w 10000"/>
              <a:gd name="connsiteY0" fmla="*/ 6427 h 10000"/>
              <a:gd name="connsiteX1" fmla="*/ 0 w 10000"/>
              <a:gd name="connsiteY1" fmla="*/ 6530 h 10000"/>
              <a:gd name="connsiteX2" fmla="*/ 0 w 10000"/>
              <a:gd name="connsiteY2" fmla="*/ 7039 h 10000"/>
              <a:gd name="connsiteX3" fmla="*/ 109 w 10000"/>
              <a:gd name="connsiteY3" fmla="*/ 7053 h 10000"/>
              <a:gd name="connsiteX4" fmla="*/ 134 w 10000"/>
              <a:gd name="connsiteY4" fmla="*/ 7092 h 10000"/>
              <a:gd name="connsiteX5" fmla="*/ 130 w 10000"/>
              <a:gd name="connsiteY5" fmla="*/ 7161 h 10000"/>
              <a:gd name="connsiteX6" fmla="*/ 89 w 10000"/>
              <a:gd name="connsiteY6" fmla="*/ 7192 h 10000"/>
              <a:gd name="connsiteX7" fmla="*/ 255 w 10000"/>
              <a:gd name="connsiteY7" fmla="*/ 7133 h 10000"/>
              <a:gd name="connsiteX8" fmla="*/ 325 w 10000"/>
              <a:gd name="connsiteY8" fmla="*/ 7075 h 10000"/>
              <a:gd name="connsiteX9" fmla="*/ 413 w 10000"/>
              <a:gd name="connsiteY9" fmla="*/ 7115 h 10000"/>
              <a:gd name="connsiteX10" fmla="*/ 316 w 10000"/>
              <a:gd name="connsiteY10" fmla="*/ 7198 h 10000"/>
              <a:gd name="connsiteX11" fmla="*/ 419 w 10000"/>
              <a:gd name="connsiteY11" fmla="*/ 7200 h 10000"/>
              <a:gd name="connsiteX12" fmla="*/ 469 w 10000"/>
              <a:gd name="connsiteY12" fmla="*/ 7221 h 10000"/>
              <a:gd name="connsiteX13" fmla="*/ 337 w 10000"/>
              <a:gd name="connsiteY13" fmla="*/ 7248 h 10000"/>
              <a:gd name="connsiteX14" fmla="*/ 130 w 10000"/>
              <a:gd name="connsiteY14" fmla="*/ 7333 h 10000"/>
              <a:gd name="connsiteX15" fmla="*/ 497 w 10000"/>
              <a:gd name="connsiteY15" fmla="*/ 7400 h 10000"/>
              <a:gd name="connsiteX16" fmla="*/ 545 w 10000"/>
              <a:gd name="connsiteY16" fmla="*/ 7496 h 10000"/>
              <a:gd name="connsiteX17" fmla="*/ 419 w 10000"/>
              <a:gd name="connsiteY17" fmla="*/ 7636 h 10000"/>
              <a:gd name="connsiteX18" fmla="*/ 688 w 10000"/>
              <a:gd name="connsiteY18" fmla="*/ 7627 h 10000"/>
              <a:gd name="connsiteX19" fmla="*/ 709 w 10000"/>
              <a:gd name="connsiteY19" fmla="*/ 7733 h 10000"/>
              <a:gd name="connsiteX20" fmla="*/ 530 w 10000"/>
              <a:gd name="connsiteY20" fmla="*/ 7805 h 10000"/>
              <a:gd name="connsiteX21" fmla="*/ 560 w 10000"/>
              <a:gd name="connsiteY21" fmla="*/ 7945 h 10000"/>
              <a:gd name="connsiteX22" fmla="*/ 489 w 10000"/>
              <a:gd name="connsiteY22" fmla="*/ 8053 h 10000"/>
              <a:gd name="connsiteX23" fmla="*/ 703 w 10000"/>
              <a:gd name="connsiteY23" fmla="*/ 8063 h 10000"/>
              <a:gd name="connsiteX24" fmla="*/ 909 w 10000"/>
              <a:gd name="connsiteY24" fmla="*/ 8478 h 10000"/>
              <a:gd name="connsiteX25" fmla="*/ 1150 w 10000"/>
              <a:gd name="connsiteY25" fmla="*/ 8583 h 10000"/>
              <a:gd name="connsiteX26" fmla="*/ 1255 w 10000"/>
              <a:gd name="connsiteY26" fmla="*/ 8695 h 10000"/>
              <a:gd name="connsiteX27" fmla="*/ 1514 w 10000"/>
              <a:gd name="connsiteY27" fmla="*/ 8776 h 10000"/>
              <a:gd name="connsiteX28" fmla="*/ 1684 w 10000"/>
              <a:gd name="connsiteY28" fmla="*/ 8881 h 10000"/>
              <a:gd name="connsiteX29" fmla="*/ 1661 w 10000"/>
              <a:gd name="connsiteY29" fmla="*/ 8955 h 10000"/>
              <a:gd name="connsiteX30" fmla="*/ 1496 w 10000"/>
              <a:gd name="connsiteY30" fmla="*/ 8983 h 10000"/>
              <a:gd name="connsiteX31" fmla="*/ 1316 w 10000"/>
              <a:gd name="connsiteY31" fmla="*/ 8965 h 10000"/>
              <a:gd name="connsiteX32" fmla="*/ 1260 w 10000"/>
              <a:gd name="connsiteY32" fmla="*/ 8996 h 10000"/>
              <a:gd name="connsiteX33" fmla="*/ 1397 w 10000"/>
              <a:gd name="connsiteY33" fmla="*/ 9158 h 10000"/>
              <a:gd name="connsiteX34" fmla="*/ 1205 w 10000"/>
              <a:gd name="connsiteY34" fmla="*/ 9144 h 10000"/>
              <a:gd name="connsiteX35" fmla="*/ 1040 w 10000"/>
              <a:gd name="connsiteY35" fmla="*/ 9105 h 10000"/>
              <a:gd name="connsiteX36" fmla="*/ 1012 w 10000"/>
              <a:gd name="connsiteY36" fmla="*/ 9165 h 10000"/>
              <a:gd name="connsiteX37" fmla="*/ 1557 w 10000"/>
              <a:gd name="connsiteY37" fmla="*/ 9718 h 10000"/>
              <a:gd name="connsiteX38" fmla="*/ 1469 w 10000"/>
              <a:gd name="connsiteY38" fmla="*/ 9770 h 10000"/>
              <a:gd name="connsiteX39" fmla="*/ 1408 w 10000"/>
              <a:gd name="connsiteY39" fmla="*/ 9876 h 10000"/>
              <a:gd name="connsiteX40" fmla="*/ 1329 w 10000"/>
              <a:gd name="connsiteY40" fmla="*/ 9885 h 10000"/>
              <a:gd name="connsiteX41" fmla="*/ 1281 w 10000"/>
              <a:gd name="connsiteY41" fmla="*/ 9931 h 10000"/>
              <a:gd name="connsiteX42" fmla="*/ 1609 w 10000"/>
              <a:gd name="connsiteY42" fmla="*/ 9936 h 10000"/>
              <a:gd name="connsiteX43" fmla="*/ 1900 w 10000"/>
              <a:gd name="connsiteY43" fmla="*/ 9982 h 10000"/>
              <a:gd name="connsiteX44" fmla="*/ 2383 w 10000"/>
              <a:gd name="connsiteY44" fmla="*/ 9933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4 h 10000"/>
              <a:gd name="connsiteX49" fmla="*/ 3313 w 10000"/>
              <a:gd name="connsiteY49" fmla="*/ 9625 h 10000"/>
              <a:gd name="connsiteX50" fmla="*/ 3642 w 10000"/>
              <a:gd name="connsiteY50" fmla="*/ 9392 h 10000"/>
              <a:gd name="connsiteX51" fmla="*/ 3883 w 10000"/>
              <a:gd name="connsiteY51" fmla="*/ 9428 h 10000"/>
              <a:gd name="connsiteX52" fmla="*/ 4025 w 10000"/>
              <a:gd name="connsiteY52" fmla="*/ 9335 h 10000"/>
              <a:gd name="connsiteX53" fmla="*/ 4294 w 10000"/>
              <a:gd name="connsiteY53" fmla="*/ 9282 h 10000"/>
              <a:gd name="connsiteX54" fmla="*/ 4658 w 10000"/>
              <a:gd name="connsiteY54" fmla="*/ 9295 h 10000"/>
              <a:gd name="connsiteX55" fmla="*/ 4878 w 10000"/>
              <a:gd name="connsiteY55" fmla="*/ 9332 h 10000"/>
              <a:gd name="connsiteX56" fmla="*/ 5170 w 10000"/>
              <a:gd name="connsiteY56" fmla="*/ 9315 h 10000"/>
              <a:gd name="connsiteX57" fmla="*/ 5464 w 10000"/>
              <a:gd name="connsiteY57" fmla="*/ 9356 h 10000"/>
              <a:gd name="connsiteX58" fmla="*/ 5759 w 10000"/>
              <a:gd name="connsiteY58" fmla="*/ 9361 h 10000"/>
              <a:gd name="connsiteX59" fmla="*/ 6419 w 10000"/>
              <a:gd name="connsiteY59" fmla="*/ 8817 h 10000"/>
              <a:gd name="connsiteX60" fmla="*/ 6586 w 10000"/>
              <a:gd name="connsiteY60" fmla="*/ 8375 h 10000"/>
              <a:gd name="connsiteX61" fmla="*/ 6855 w 10000"/>
              <a:gd name="connsiteY61" fmla="*/ 8177 h 10000"/>
              <a:gd name="connsiteX62" fmla="*/ 6855 w 10000"/>
              <a:gd name="connsiteY62" fmla="*/ 8073 h 10000"/>
              <a:gd name="connsiteX63" fmla="*/ 6757 w 10000"/>
              <a:gd name="connsiteY63" fmla="*/ 8015 h 10000"/>
              <a:gd name="connsiteX64" fmla="*/ 6915 w 10000"/>
              <a:gd name="connsiteY64" fmla="*/ 7922 h 10000"/>
              <a:gd name="connsiteX65" fmla="*/ 6887 w 10000"/>
              <a:gd name="connsiteY65" fmla="*/ 7844 h 10000"/>
              <a:gd name="connsiteX66" fmla="*/ 6779 w 10000"/>
              <a:gd name="connsiteY66" fmla="*/ 7776 h 10000"/>
              <a:gd name="connsiteX67" fmla="*/ 6757 w 10000"/>
              <a:gd name="connsiteY67" fmla="*/ 7728 h 10000"/>
              <a:gd name="connsiteX68" fmla="*/ 6785 w 10000"/>
              <a:gd name="connsiteY68" fmla="*/ 7691 h 10000"/>
              <a:gd name="connsiteX69" fmla="*/ 6931 w 10000"/>
              <a:gd name="connsiteY69" fmla="*/ 7721 h 10000"/>
              <a:gd name="connsiteX70" fmla="*/ 7045 w 10000"/>
              <a:gd name="connsiteY70" fmla="*/ 7719 h 10000"/>
              <a:gd name="connsiteX71" fmla="*/ 6983 w 10000"/>
              <a:gd name="connsiteY71" fmla="*/ 7655 h 10000"/>
              <a:gd name="connsiteX72" fmla="*/ 7003 w 10000"/>
              <a:gd name="connsiteY72" fmla="*/ 7619 h 10000"/>
              <a:gd name="connsiteX73" fmla="*/ 7089 w 10000"/>
              <a:gd name="connsiteY73" fmla="*/ 7565 h 10000"/>
              <a:gd name="connsiteX74" fmla="*/ 7074 w 10000"/>
              <a:gd name="connsiteY74" fmla="*/ 7521 h 10000"/>
              <a:gd name="connsiteX75" fmla="*/ 7152 w 10000"/>
              <a:gd name="connsiteY75" fmla="*/ 7373 h 10000"/>
              <a:gd name="connsiteX76" fmla="*/ 7130 w 10000"/>
              <a:gd name="connsiteY76" fmla="*/ 7327 h 10000"/>
              <a:gd name="connsiteX77" fmla="*/ 6729 w 10000"/>
              <a:gd name="connsiteY77" fmla="*/ 7216 h 10000"/>
              <a:gd name="connsiteX78" fmla="*/ 6785 w 10000"/>
              <a:gd name="connsiteY78" fmla="*/ 7211 h 10000"/>
              <a:gd name="connsiteX79" fmla="*/ 6998 w 10000"/>
              <a:gd name="connsiteY79" fmla="*/ 7241 h 10000"/>
              <a:gd name="connsiteX80" fmla="*/ 7230 w 10000"/>
              <a:gd name="connsiteY80" fmla="*/ 7230 h 10000"/>
              <a:gd name="connsiteX81" fmla="*/ 7295 w 10000"/>
              <a:gd name="connsiteY81" fmla="*/ 7189 h 10000"/>
              <a:gd name="connsiteX82" fmla="*/ 7074 w 10000"/>
              <a:gd name="connsiteY82" fmla="*/ 7113 h 10000"/>
              <a:gd name="connsiteX83" fmla="*/ 6414 w 10000"/>
              <a:gd name="connsiteY83" fmla="*/ 7062 h 10000"/>
              <a:gd name="connsiteX84" fmla="*/ 6458 w 10000"/>
              <a:gd name="connsiteY84" fmla="*/ 7039 h 10000"/>
              <a:gd name="connsiteX85" fmla="*/ 6998 w 10000"/>
              <a:gd name="connsiteY85" fmla="*/ 7023 h 10000"/>
              <a:gd name="connsiteX86" fmla="*/ 7295 w 10000"/>
              <a:gd name="connsiteY86" fmla="*/ 7069 h 10000"/>
              <a:gd name="connsiteX87" fmla="*/ 7466 w 10000"/>
              <a:gd name="connsiteY87" fmla="*/ 7039 h 10000"/>
              <a:gd name="connsiteX88" fmla="*/ 7529 w 10000"/>
              <a:gd name="connsiteY88" fmla="*/ 6959 h 10000"/>
              <a:gd name="connsiteX89" fmla="*/ 7840 w 10000"/>
              <a:gd name="connsiteY89" fmla="*/ 6959 h 10000"/>
              <a:gd name="connsiteX90" fmla="*/ 8261 w 10000"/>
              <a:gd name="connsiteY90" fmla="*/ 6799 h 10000"/>
              <a:gd name="connsiteX91" fmla="*/ 8275 w 10000"/>
              <a:gd name="connsiteY91" fmla="*/ 6693 h 10000"/>
              <a:gd name="connsiteX92" fmla="*/ 8453 w 10000"/>
              <a:gd name="connsiteY92" fmla="*/ 6718 h 10000"/>
              <a:gd name="connsiteX93" fmla="*/ 8446 w 10000"/>
              <a:gd name="connsiteY93" fmla="*/ 6824 h 10000"/>
              <a:gd name="connsiteX94" fmla="*/ 8727 w 10000"/>
              <a:gd name="connsiteY94" fmla="*/ 6817 h 10000"/>
              <a:gd name="connsiteX95" fmla="*/ 8913 w 10000"/>
              <a:gd name="connsiteY95" fmla="*/ 6707 h 10000"/>
              <a:gd name="connsiteX96" fmla="*/ 9258 w 10000"/>
              <a:gd name="connsiteY96" fmla="*/ 6607 h 10000"/>
              <a:gd name="connsiteX97" fmla="*/ 9203 w 10000"/>
              <a:gd name="connsiteY97" fmla="*/ 6493 h 10000"/>
              <a:gd name="connsiteX98" fmla="*/ 9306 w 10000"/>
              <a:gd name="connsiteY98" fmla="*/ 6538 h 10000"/>
              <a:gd name="connsiteX99" fmla="*/ 9464 w 10000"/>
              <a:gd name="connsiteY99" fmla="*/ 6538 h 10000"/>
              <a:gd name="connsiteX100" fmla="*/ 9464 w 10000"/>
              <a:gd name="connsiteY100" fmla="*/ 6486 h 10000"/>
              <a:gd name="connsiteX101" fmla="*/ 9611 w 10000"/>
              <a:gd name="connsiteY101" fmla="*/ 6446 h 10000"/>
              <a:gd name="connsiteX102" fmla="*/ 9592 w 10000"/>
              <a:gd name="connsiteY102" fmla="*/ 6405 h 10000"/>
              <a:gd name="connsiteX103" fmla="*/ 8350 w 10000"/>
              <a:gd name="connsiteY103" fmla="*/ 6488 h 10000"/>
              <a:gd name="connsiteX104" fmla="*/ 8058 w 10000"/>
              <a:gd name="connsiteY104" fmla="*/ 6463 h 10000"/>
              <a:gd name="connsiteX105" fmla="*/ 7942 w 10000"/>
              <a:gd name="connsiteY105" fmla="*/ 6493 h 10000"/>
              <a:gd name="connsiteX106" fmla="*/ 7903 w 10000"/>
              <a:gd name="connsiteY106" fmla="*/ 6436 h 10000"/>
              <a:gd name="connsiteX107" fmla="*/ 7765 w 10000"/>
              <a:gd name="connsiteY107" fmla="*/ 6384 h 10000"/>
              <a:gd name="connsiteX108" fmla="*/ 7213 w 10000"/>
              <a:gd name="connsiteY108" fmla="*/ 6282 h 10000"/>
              <a:gd name="connsiteX109" fmla="*/ 6887 w 10000"/>
              <a:gd name="connsiteY109" fmla="*/ 6298 h 10000"/>
              <a:gd name="connsiteX110" fmla="*/ 6757 w 10000"/>
              <a:gd name="connsiteY110" fmla="*/ 6270 h 10000"/>
              <a:gd name="connsiteX111" fmla="*/ 6894 w 10000"/>
              <a:gd name="connsiteY111" fmla="*/ 6245 h 10000"/>
              <a:gd name="connsiteX112" fmla="*/ 6998 w 10000"/>
              <a:gd name="connsiteY112" fmla="*/ 6190 h 10000"/>
              <a:gd name="connsiteX113" fmla="*/ 7152 w 10000"/>
              <a:gd name="connsiteY113" fmla="*/ 6208 h 10000"/>
              <a:gd name="connsiteX114" fmla="*/ 7335 w 10000"/>
              <a:gd name="connsiteY114" fmla="*/ 6193 h 10000"/>
              <a:gd name="connsiteX115" fmla="*/ 7611 w 10000"/>
              <a:gd name="connsiteY115" fmla="*/ 6211 h 10000"/>
              <a:gd name="connsiteX116" fmla="*/ 7645 w 10000"/>
              <a:gd name="connsiteY116" fmla="*/ 6204 h 10000"/>
              <a:gd name="connsiteX117" fmla="*/ 7859 w 10000"/>
              <a:gd name="connsiteY117" fmla="*/ 6287 h 10000"/>
              <a:gd name="connsiteX118" fmla="*/ 8017 w 10000"/>
              <a:gd name="connsiteY118" fmla="*/ 6257 h 10000"/>
              <a:gd name="connsiteX119" fmla="*/ 8032 w 10000"/>
              <a:gd name="connsiteY119" fmla="*/ 6229 h 10000"/>
              <a:gd name="connsiteX120" fmla="*/ 8176 w 10000"/>
              <a:gd name="connsiteY120" fmla="*/ 6278 h 10000"/>
              <a:gd name="connsiteX121" fmla="*/ 8369 w 10000"/>
              <a:gd name="connsiteY121" fmla="*/ 6304 h 10000"/>
              <a:gd name="connsiteX122" fmla="*/ 8446 w 10000"/>
              <a:gd name="connsiteY122" fmla="*/ 6255 h 10000"/>
              <a:gd name="connsiteX123" fmla="*/ 8507 w 10000"/>
              <a:gd name="connsiteY123" fmla="*/ 6282 h 10000"/>
              <a:gd name="connsiteX124" fmla="*/ 8596 w 10000"/>
              <a:gd name="connsiteY124" fmla="*/ 6377 h 10000"/>
              <a:gd name="connsiteX125" fmla="*/ 8782 w 10000"/>
              <a:gd name="connsiteY125" fmla="*/ 6399 h 10000"/>
              <a:gd name="connsiteX126" fmla="*/ 9542 w 10000"/>
              <a:gd name="connsiteY126" fmla="*/ 6259 h 10000"/>
              <a:gd name="connsiteX127" fmla="*/ 9914 w 10000"/>
              <a:gd name="connsiteY127" fmla="*/ 6064 h 10000"/>
              <a:gd name="connsiteX128" fmla="*/ 10000 w 10000"/>
              <a:gd name="connsiteY128" fmla="*/ 5921 h 10000"/>
              <a:gd name="connsiteX129" fmla="*/ 9866 w 10000"/>
              <a:gd name="connsiteY129" fmla="*/ 5792 h 10000"/>
              <a:gd name="connsiteX130" fmla="*/ 9582 w 10000"/>
              <a:gd name="connsiteY130" fmla="*/ 5715 h 10000"/>
              <a:gd name="connsiteX131" fmla="*/ 9382 w 10000"/>
              <a:gd name="connsiteY131" fmla="*/ 5589 h 10000"/>
              <a:gd name="connsiteX132" fmla="*/ 9569 w 10000"/>
              <a:gd name="connsiteY132" fmla="*/ 5584 h 10000"/>
              <a:gd name="connsiteX133" fmla="*/ 9555 w 10000"/>
              <a:gd name="connsiteY133" fmla="*/ 5554 h 10000"/>
              <a:gd name="connsiteX134" fmla="*/ 9068 w 10000"/>
              <a:gd name="connsiteY134" fmla="*/ 5465 h 10000"/>
              <a:gd name="connsiteX135" fmla="*/ 9047 w 10000"/>
              <a:gd name="connsiteY135" fmla="*/ 5383 h 10000"/>
              <a:gd name="connsiteX136" fmla="*/ 8953 w 10000"/>
              <a:gd name="connsiteY136" fmla="*/ 5299 h 10000"/>
              <a:gd name="connsiteX137" fmla="*/ 8569 w 10000"/>
              <a:gd name="connsiteY137" fmla="*/ 5314 h 10000"/>
              <a:gd name="connsiteX138" fmla="*/ 8431 w 10000"/>
              <a:gd name="connsiteY138" fmla="*/ 5224 h 10000"/>
              <a:gd name="connsiteX139" fmla="*/ 8350 w 10000"/>
              <a:gd name="connsiteY139" fmla="*/ 5219 h 10000"/>
              <a:gd name="connsiteX140" fmla="*/ 8350 w 10000"/>
              <a:gd name="connsiteY140" fmla="*/ 5256 h 10000"/>
              <a:gd name="connsiteX141" fmla="*/ 8176 w 10000"/>
              <a:gd name="connsiteY141" fmla="*/ 5408 h 10000"/>
              <a:gd name="connsiteX142" fmla="*/ 7990 w 10000"/>
              <a:gd name="connsiteY142" fmla="*/ 5498 h 10000"/>
              <a:gd name="connsiteX143" fmla="*/ 7401 w 10000"/>
              <a:gd name="connsiteY143" fmla="*/ 5651 h 10000"/>
              <a:gd name="connsiteX144" fmla="*/ 7198 w 10000"/>
              <a:gd name="connsiteY144" fmla="*/ 5646 h 10000"/>
              <a:gd name="connsiteX145" fmla="*/ 6915 w 10000"/>
              <a:gd name="connsiteY145" fmla="*/ 5669 h 10000"/>
              <a:gd name="connsiteX146" fmla="*/ 6757 w 10000"/>
              <a:gd name="connsiteY146" fmla="*/ 5646 h 10000"/>
              <a:gd name="connsiteX147" fmla="*/ 6965 w 10000"/>
              <a:gd name="connsiteY147" fmla="*/ 5604 h 10000"/>
              <a:gd name="connsiteX148" fmla="*/ 7235 w 10000"/>
              <a:gd name="connsiteY148" fmla="*/ 5584 h 10000"/>
              <a:gd name="connsiteX149" fmla="*/ 7455 w 10000"/>
              <a:gd name="connsiteY149" fmla="*/ 5513 h 10000"/>
              <a:gd name="connsiteX150" fmla="*/ 7674 w 10000"/>
              <a:gd name="connsiteY150" fmla="*/ 5480 h 10000"/>
              <a:gd name="connsiteX151" fmla="*/ 8082 w 10000"/>
              <a:gd name="connsiteY151" fmla="*/ 5355 h 10000"/>
              <a:gd name="connsiteX152" fmla="*/ 8157 w 10000"/>
              <a:gd name="connsiteY152" fmla="*/ 5274 h 10000"/>
              <a:gd name="connsiteX153" fmla="*/ 8165 w 10000"/>
              <a:gd name="connsiteY153" fmla="*/ 5168 h 10000"/>
              <a:gd name="connsiteX154" fmla="*/ 7978 w 10000"/>
              <a:gd name="connsiteY154" fmla="*/ 5150 h 10000"/>
              <a:gd name="connsiteX155" fmla="*/ 8058 w 10000"/>
              <a:gd name="connsiteY155" fmla="*/ 5086 h 10000"/>
              <a:gd name="connsiteX156" fmla="*/ 8087 w 10000"/>
              <a:gd name="connsiteY156" fmla="*/ 5005 h 10000"/>
              <a:gd name="connsiteX157" fmla="*/ 8007 w 10000"/>
              <a:gd name="connsiteY157" fmla="*/ 4928 h 10000"/>
              <a:gd name="connsiteX158" fmla="*/ 6675 w 10000"/>
              <a:gd name="connsiteY158" fmla="*/ 0 h 10000"/>
              <a:gd name="connsiteX159" fmla="*/ 6334 w 10000"/>
              <a:gd name="connsiteY159" fmla="*/ 82 h 10000"/>
              <a:gd name="connsiteX160" fmla="*/ 6117 w 10000"/>
              <a:gd name="connsiteY160" fmla="*/ 78 h 10000"/>
              <a:gd name="connsiteX161" fmla="*/ 5986 w 10000"/>
              <a:gd name="connsiteY161" fmla="*/ 107 h 10000"/>
              <a:gd name="connsiteX162" fmla="*/ 5629 w 10000"/>
              <a:gd name="connsiteY162" fmla="*/ 913 h 10000"/>
              <a:gd name="connsiteX163" fmla="*/ 4802 w 10000"/>
              <a:gd name="connsiteY163" fmla="*/ 1383 h 10000"/>
              <a:gd name="connsiteX164" fmla="*/ 4809 w 10000"/>
              <a:gd name="connsiteY164" fmla="*/ 1457 h 10000"/>
              <a:gd name="connsiteX165" fmla="*/ 5176 w 10000"/>
              <a:gd name="connsiteY165" fmla="*/ 1668 h 10000"/>
              <a:gd name="connsiteX166" fmla="*/ 5057 w 10000"/>
              <a:gd name="connsiteY166" fmla="*/ 1896 h 10000"/>
              <a:gd name="connsiteX167" fmla="*/ 4842 w 10000"/>
              <a:gd name="connsiteY167" fmla="*/ 1979 h 10000"/>
              <a:gd name="connsiteX168" fmla="*/ 4200 w 10000"/>
              <a:gd name="connsiteY168" fmla="*/ 1924 h 10000"/>
              <a:gd name="connsiteX169" fmla="*/ 3760 w 10000"/>
              <a:gd name="connsiteY169" fmla="*/ 1955 h 10000"/>
              <a:gd name="connsiteX170" fmla="*/ 3405 w 10000"/>
              <a:gd name="connsiteY170" fmla="*/ 2023 h 10000"/>
              <a:gd name="connsiteX171" fmla="*/ 2832 w 10000"/>
              <a:gd name="connsiteY171" fmla="*/ 2233 h 10000"/>
              <a:gd name="connsiteX172" fmla="*/ 2528 w 10000"/>
              <a:gd name="connsiteY172" fmla="*/ 2487 h 10000"/>
              <a:gd name="connsiteX173" fmla="*/ 2555 w 10000"/>
              <a:gd name="connsiteY173" fmla="*/ 2629 h 10000"/>
              <a:gd name="connsiteX174" fmla="*/ 2661 w 10000"/>
              <a:gd name="connsiteY174" fmla="*/ 2738 h 10000"/>
              <a:gd name="connsiteX175" fmla="*/ 2741 w 10000"/>
              <a:gd name="connsiteY175" fmla="*/ 2782 h 10000"/>
              <a:gd name="connsiteX176" fmla="*/ 2592 w 10000"/>
              <a:gd name="connsiteY176" fmla="*/ 2852 h 10000"/>
              <a:gd name="connsiteX177" fmla="*/ 2267 w 10000"/>
              <a:gd name="connsiteY177" fmla="*/ 3330 h 10000"/>
              <a:gd name="connsiteX178" fmla="*/ 2330 w 10000"/>
              <a:gd name="connsiteY178" fmla="*/ 3358 h 10000"/>
              <a:gd name="connsiteX179" fmla="*/ 2375 w 10000"/>
              <a:gd name="connsiteY179" fmla="*/ 3479 h 10000"/>
              <a:gd name="connsiteX180" fmla="*/ 2226 w 10000"/>
              <a:gd name="connsiteY180" fmla="*/ 3982 h 10000"/>
              <a:gd name="connsiteX181" fmla="*/ 2375 w 10000"/>
              <a:gd name="connsiteY181" fmla="*/ 4110 h 10000"/>
              <a:gd name="connsiteX182" fmla="*/ 2791 w 10000"/>
              <a:gd name="connsiteY182" fmla="*/ 4251 h 10000"/>
              <a:gd name="connsiteX183" fmla="*/ 2808 w 10000"/>
              <a:gd name="connsiteY183" fmla="*/ 4423 h 10000"/>
              <a:gd name="connsiteX184" fmla="*/ 2632 w 10000"/>
              <a:gd name="connsiteY184" fmla="*/ 4566 h 10000"/>
              <a:gd name="connsiteX185" fmla="*/ 2375 w 10000"/>
              <a:gd name="connsiteY185" fmla="*/ 4652 h 10000"/>
              <a:gd name="connsiteX186" fmla="*/ 2039 w 10000"/>
              <a:gd name="connsiteY186" fmla="*/ 4687 h 10000"/>
              <a:gd name="connsiteX187" fmla="*/ 1950 w 10000"/>
              <a:gd name="connsiteY187" fmla="*/ 4737 h 10000"/>
              <a:gd name="connsiteX188" fmla="*/ 2148 w 10000"/>
              <a:gd name="connsiteY188" fmla="*/ 4855 h 10000"/>
              <a:gd name="connsiteX189" fmla="*/ 2261 w 10000"/>
              <a:gd name="connsiteY189" fmla="*/ 5136 h 10000"/>
              <a:gd name="connsiteX190" fmla="*/ 2005 w 10000"/>
              <a:gd name="connsiteY190" fmla="*/ 5376 h 10000"/>
              <a:gd name="connsiteX191" fmla="*/ 2094 w 10000"/>
              <a:gd name="connsiteY191" fmla="*/ 5451 h 10000"/>
              <a:gd name="connsiteX192" fmla="*/ 2012 w 10000"/>
              <a:gd name="connsiteY192" fmla="*/ 5577 h 10000"/>
              <a:gd name="connsiteX193" fmla="*/ 1850 w 10000"/>
              <a:gd name="connsiteY193" fmla="*/ 5663 h 10000"/>
              <a:gd name="connsiteX194" fmla="*/ 1199 w 10000"/>
              <a:gd name="connsiteY194" fmla="*/ 5730 h 10000"/>
              <a:gd name="connsiteX195" fmla="*/ 1158 w 10000"/>
              <a:gd name="connsiteY195" fmla="*/ 5846 h 10000"/>
              <a:gd name="connsiteX196" fmla="*/ 808 w 10000"/>
              <a:gd name="connsiteY196" fmla="*/ 6019 h 10000"/>
              <a:gd name="connsiteX197" fmla="*/ 854 w 10000"/>
              <a:gd name="connsiteY197" fmla="*/ 6268 h 10000"/>
              <a:gd name="connsiteX198" fmla="*/ 560 w 10000"/>
              <a:gd name="connsiteY198" fmla="*/ 6587 h 10000"/>
              <a:gd name="connsiteX199" fmla="*/ 358 w 10000"/>
              <a:gd name="connsiteY199" fmla="*/ 6624 h 10000"/>
              <a:gd name="connsiteX200" fmla="*/ 275 w 10000"/>
              <a:gd name="connsiteY200" fmla="*/ 6548 h 10000"/>
              <a:gd name="connsiteX201" fmla="*/ 174 w 10000"/>
              <a:gd name="connsiteY201" fmla="*/ 6663 h 10000"/>
              <a:gd name="connsiteX202" fmla="*/ 239 w 10000"/>
              <a:gd name="connsiteY202" fmla="*/ 6465 h 10000"/>
              <a:gd name="connsiteX203" fmla="*/ 197 w 10000"/>
              <a:gd name="connsiteY203" fmla="*/ 6427 h 10000"/>
              <a:gd name="connsiteX0" fmla="*/ 197 w 10000"/>
              <a:gd name="connsiteY0" fmla="*/ 6349 h 9922"/>
              <a:gd name="connsiteX1" fmla="*/ 0 w 10000"/>
              <a:gd name="connsiteY1" fmla="*/ 6452 h 9922"/>
              <a:gd name="connsiteX2" fmla="*/ 0 w 10000"/>
              <a:gd name="connsiteY2" fmla="*/ 6961 h 9922"/>
              <a:gd name="connsiteX3" fmla="*/ 109 w 10000"/>
              <a:gd name="connsiteY3" fmla="*/ 6975 h 9922"/>
              <a:gd name="connsiteX4" fmla="*/ 134 w 10000"/>
              <a:gd name="connsiteY4" fmla="*/ 7014 h 9922"/>
              <a:gd name="connsiteX5" fmla="*/ 130 w 10000"/>
              <a:gd name="connsiteY5" fmla="*/ 7083 h 9922"/>
              <a:gd name="connsiteX6" fmla="*/ 89 w 10000"/>
              <a:gd name="connsiteY6" fmla="*/ 7114 h 9922"/>
              <a:gd name="connsiteX7" fmla="*/ 255 w 10000"/>
              <a:gd name="connsiteY7" fmla="*/ 7055 h 9922"/>
              <a:gd name="connsiteX8" fmla="*/ 325 w 10000"/>
              <a:gd name="connsiteY8" fmla="*/ 6997 h 9922"/>
              <a:gd name="connsiteX9" fmla="*/ 413 w 10000"/>
              <a:gd name="connsiteY9" fmla="*/ 7037 h 9922"/>
              <a:gd name="connsiteX10" fmla="*/ 316 w 10000"/>
              <a:gd name="connsiteY10" fmla="*/ 7120 h 9922"/>
              <a:gd name="connsiteX11" fmla="*/ 419 w 10000"/>
              <a:gd name="connsiteY11" fmla="*/ 7122 h 9922"/>
              <a:gd name="connsiteX12" fmla="*/ 469 w 10000"/>
              <a:gd name="connsiteY12" fmla="*/ 7143 h 9922"/>
              <a:gd name="connsiteX13" fmla="*/ 337 w 10000"/>
              <a:gd name="connsiteY13" fmla="*/ 7170 h 9922"/>
              <a:gd name="connsiteX14" fmla="*/ 130 w 10000"/>
              <a:gd name="connsiteY14" fmla="*/ 7255 h 9922"/>
              <a:gd name="connsiteX15" fmla="*/ 497 w 10000"/>
              <a:gd name="connsiteY15" fmla="*/ 7322 h 9922"/>
              <a:gd name="connsiteX16" fmla="*/ 545 w 10000"/>
              <a:gd name="connsiteY16" fmla="*/ 7418 h 9922"/>
              <a:gd name="connsiteX17" fmla="*/ 419 w 10000"/>
              <a:gd name="connsiteY17" fmla="*/ 7558 h 9922"/>
              <a:gd name="connsiteX18" fmla="*/ 688 w 10000"/>
              <a:gd name="connsiteY18" fmla="*/ 7549 h 9922"/>
              <a:gd name="connsiteX19" fmla="*/ 709 w 10000"/>
              <a:gd name="connsiteY19" fmla="*/ 7655 h 9922"/>
              <a:gd name="connsiteX20" fmla="*/ 530 w 10000"/>
              <a:gd name="connsiteY20" fmla="*/ 7727 h 9922"/>
              <a:gd name="connsiteX21" fmla="*/ 560 w 10000"/>
              <a:gd name="connsiteY21" fmla="*/ 7867 h 9922"/>
              <a:gd name="connsiteX22" fmla="*/ 489 w 10000"/>
              <a:gd name="connsiteY22" fmla="*/ 7975 h 9922"/>
              <a:gd name="connsiteX23" fmla="*/ 703 w 10000"/>
              <a:gd name="connsiteY23" fmla="*/ 7985 h 9922"/>
              <a:gd name="connsiteX24" fmla="*/ 909 w 10000"/>
              <a:gd name="connsiteY24" fmla="*/ 8400 h 9922"/>
              <a:gd name="connsiteX25" fmla="*/ 1150 w 10000"/>
              <a:gd name="connsiteY25" fmla="*/ 8505 h 9922"/>
              <a:gd name="connsiteX26" fmla="*/ 1255 w 10000"/>
              <a:gd name="connsiteY26" fmla="*/ 8617 h 9922"/>
              <a:gd name="connsiteX27" fmla="*/ 1514 w 10000"/>
              <a:gd name="connsiteY27" fmla="*/ 8698 h 9922"/>
              <a:gd name="connsiteX28" fmla="*/ 1684 w 10000"/>
              <a:gd name="connsiteY28" fmla="*/ 8803 h 9922"/>
              <a:gd name="connsiteX29" fmla="*/ 1661 w 10000"/>
              <a:gd name="connsiteY29" fmla="*/ 8877 h 9922"/>
              <a:gd name="connsiteX30" fmla="*/ 1496 w 10000"/>
              <a:gd name="connsiteY30" fmla="*/ 8905 h 9922"/>
              <a:gd name="connsiteX31" fmla="*/ 1316 w 10000"/>
              <a:gd name="connsiteY31" fmla="*/ 8887 h 9922"/>
              <a:gd name="connsiteX32" fmla="*/ 1260 w 10000"/>
              <a:gd name="connsiteY32" fmla="*/ 8918 h 9922"/>
              <a:gd name="connsiteX33" fmla="*/ 1397 w 10000"/>
              <a:gd name="connsiteY33" fmla="*/ 9080 h 9922"/>
              <a:gd name="connsiteX34" fmla="*/ 1205 w 10000"/>
              <a:gd name="connsiteY34" fmla="*/ 9066 h 9922"/>
              <a:gd name="connsiteX35" fmla="*/ 1040 w 10000"/>
              <a:gd name="connsiteY35" fmla="*/ 9027 h 9922"/>
              <a:gd name="connsiteX36" fmla="*/ 1012 w 10000"/>
              <a:gd name="connsiteY36" fmla="*/ 9087 h 9922"/>
              <a:gd name="connsiteX37" fmla="*/ 1557 w 10000"/>
              <a:gd name="connsiteY37" fmla="*/ 9640 h 9922"/>
              <a:gd name="connsiteX38" fmla="*/ 1469 w 10000"/>
              <a:gd name="connsiteY38" fmla="*/ 9692 h 9922"/>
              <a:gd name="connsiteX39" fmla="*/ 1408 w 10000"/>
              <a:gd name="connsiteY39" fmla="*/ 9798 h 9922"/>
              <a:gd name="connsiteX40" fmla="*/ 1329 w 10000"/>
              <a:gd name="connsiteY40" fmla="*/ 9807 h 9922"/>
              <a:gd name="connsiteX41" fmla="*/ 1281 w 10000"/>
              <a:gd name="connsiteY41" fmla="*/ 9853 h 9922"/>
              <a:gd name="connsiteX42" fmla="*/ 1609 w 10000"/>
              <a:gd name="connsiteY42" fmla="*/ 9858 h 9922"/>
              <a:gd name="connsiteX43" fmla="*/ 1900 w 10000"/>
              <a:gd name="connsiteY43" fmla="*/ 9904 h 9922"/>
              <a:gd name="connsiteX44" fmla="*/ 2383 w 10000"/>
              <a:gd name="connsiteY44" fmla="*/ 9855 h 9922"/>
              <a:gd name="connsiteX45" fmla="*/ 2816 w 10000"/>
              <a:gd name="connsiteY45" fmla="*/ 9863 h 9922"/>
              <a:gd name="connsiteX46" fmla="*/ 3072 w 10000"/>
              <a:gd name="connsiteY46" fmla="*/ 9922 h 9922"/>
              <a:gd name="connsiteX47" fmla="*/ 3212 w 10000"/>
              <a:gd name="connsiteY47" fmla="*/ 9883 h 9922"/>
              <a:gd name="connsiteX48" fmla="*/ 3348 w 10000"/>
              <a:gd name="connsiteY48" fmla="*/ 9756 h 9922"/>
              <a:gd name="connsiteX49" fmla="*/ 3313 w 10000"/>
              <a:gd name="connsiteY49" fmla="*/ 9547 h 9922"/>
              <a:gd name="connsiteX50" fmla="*/ 3642 w 10000"/>
              <a:gd name="connsiteY50" fmla="*/ 9314 h 9922"/>
              <a:gd name="connsiteX51" fmla="*/ 3883 w 10000"/>
              <a:gd name="connsiteY51" fmla="*/ 9350 h 9922"/>
              <a:gd name="connsiteX52" fmla="*/ 4025 w 10000"/>
              <a:gd name="connsiteY52" fmla="*/ 9257 h 9922"/>
              <a:gd name="connsiteX53" fmla="*/ 4294 w 10000"/>
              <a:gd name="connsiteY53" fmla="*/ 9204 h 9922"/>
              <a:gd name="connsiteX54" fmla="*/ 4658 w 10000"/>
              <a:gd name="connsiteY54" fmla="*/ 9217 h 9922"/>
              <a:gd name="connsiteX55" fmla="*/ 4878 w 10000"/>
              <a:gd name="connsiteY55" fmla="*/ 9254 h 9922"/>
              <a:gd name="connsiteX56" fmla="*/ 5170 w 10000"/>
              <a:gd name="connsiteY56" fmla="*/ 9237 h 9922"/>
              <a:gd name="connsiteX57" fmla="*/ 5464 w 10000"/>
              <a:gd name="connsiteY57" fmla="*/ 9278 h 9922"/>
              <a:gd name="connsiteX58" fmla="*/ 5759 w 10000"/>
              <a:gd name="connsiteY58" fmla="*/ 9283 h 9922"/>
              <a:gd name="connsiteX59" fmla="*/ 6419 w 10000"/>
              <a:gd name="connsiteY59" fmla="*/ 8739 h 9922"/>
              <a:gd name="connsiteX60" fmla="*/ 6586 w 10000"/>
              <a:gd name="connsiteY60" fmla="*/ 8297 h 9922"/>
              <a:gd name="connsiteX61" fmla="*/ 6855 w 10000"/>
              <a:gd name="connsiteY61" fmla="*/ 8099 h 9922"/>
              <a:gd name="connsiteX62" fmla="*/ 6855 w 10000"/>
              <a:gd name="connsiteY62" fmla="*/ 7995 h 9922"/>
              <a:gd name="connsiteX63" fmla="*/ 6757 w 10000"/>
              <a:gd name="connsiteY63" fmla="*/ 7937 h 9922"/>
              <a:gd name="connsiteX64" fmla="*/ 6915 w 10000"/>
              <a:gd name="connsiteY64" fmla="*/ 7844 h 9922"/>
              <a:gd name="connsiteX65" fmla="*/ 6887 w 10000"/>
              <a:gd name="connsiteY65" fmla="*/ 7766 h 9922"/>
              <a:gd name="connsiteX66" fmla="*/ 6779 w 10000"/>
              <a:gd name="connsiteY66" fmla="*/ 7698 h 9922"/>
              <a:gd name="connsiteX67" fmla="*/ 6757 w 10000"/>
              <a:gd name="connsiteY67" fmla="*/ 7650 h 9922"/>
              <a:gd name="connsiteX68" fmla="*/ 6785 w 10000"/>
              <a:gd name="connsiteY68" fmla="*/ 7613 h 9922"/>
              <a:gd name="connsiteX69" fmla="*/ 6931 w 10000"/>
              <a:gd name="connsiteY69" fmla="*/ 7643 h 9922"/>
              <a:gd name="connsiteX70" fmla="*/ 7045 w 10000"/>
              <a:gd name="connsiteY70" fmla="*/ 7641 h 9922"/>
              <a:gd name="connsiteX71" fmla="*/ 6983 w 10000"/>
              <a:gd name="connsiteY71" fmla="*/ 7577 h 9922"/>
              <a:gd name="connsiteX72" fmla="*/ 7003 w 10000"/>
              <a:gd name="connsiteY72" fmla="*/ 7541 h 9922"/>
              <a:gd name="connsiteX73" fmla="*/ 7089 w 10000"/>
              <a:gd name="connsiteY73" fmla="*/ 7487 h 9922"/>
              <a:gd name="connsiteX74" fmla="*/ 7074 w 10000"/>
              <a:gd name="connsiteY74" fmla="*/ 7443 h 9922"/>
              <a:gd name="connsiteX75" fmla="*/ 7152 w 10000"/>
              <a:gd name="connsiteY75" fmla="*/ 7295 h 9922"/>
              <a:gd name="connsiteX76" fmla="*/ 7130 w 10000"/>
              <a:gd name="connsiteY76" fmla="*/ 7249 h 9922"/>
              <a:gd name="connsiteX77" fmla="*/ 6729 w 10000"/>
              <a:gd name="connsiteY77" fmla="*/ 7138 h 9922"/>
              <a:gd name="connsiteX78" fmla="*/ 6785 w 10000"/>
              <a:gd name="connsiteY78" fmla="*/ 7133 h 9922"/>
              <a:gd name="connsiteX79" fmla="*/ 6998 w 10000"/>
              <a:gd name="connsiteY79" fmla="*/ 7163 h 9922"/>
              <a:gd name="connsiteX80" fmla="*/ 7230 w 10000"/>
              <a:gd name="connsiteY80" fmla="*/ 7152 h 9922"/>
              <a:gd name="connsiteX81" fmla="*/ 7295 w 10000"/>
              <a:gd name="connsiteY81" fmla="*/ 7111 h 9922"/>
              <a:gd name="connsiteX82" fmla="*/ 7074 w 10000"/>
              <a:gd name="connsiteY82" fmla="*/ 7035 h 9922"/>
              <a:gd name="connsiteX83" fmla="*/ 6414 w 10000"/>
              <a:gd name="connsiteY83" fmla="*/ 6984 h 9922"/>
              <a:gd name="connsiteX84" fmla="*/ 6458 w 10000"/>
              <a:gd name="connsiteY84" fmla="*/ 6961 h 9922"/>
              <a:gd name="connsiteX85" fmla="*/ 6998 w 10000"/>
              <a:gd name="connsiteY85" fmla="*/ 6945 h 9922"/>
              <a:gd name="connsiteX86" fmla="*/ 7295 w 10000"/>
              <a:gd name="connsiteY86" fmla="*/ 6991 h 9922"/>
              <a:gd name="connsiteX87" fmla="*/ 7466 w 10000"/>
              <a:gd name="connsiteY87" fmla="*/ 6961 h 9922"/>
              <a:gd name="connsiteX88" fmla="*/ 7529 w 10000"/>
              <a:gd name="connsiteY88" fmla="*/ 6881 h 9922"/>
              <a:gd name="connsiteX89" fmla="*/ 7840 w 10000"/>
              <a:gd name="connsiteY89" fmla="*/ 6881 h 9922"/>
              <a:gd name="connsiteX90" fmla="*/ 8261 w 10000"/>
              <a:gd name="connsiteY90" fmla="*/ 6721 h 9922"/>
              <a:gd name="connsiteX91" fmla="*/ 8275 w 10000"/>
              <a:gd name="connsiteY91" fmla="*/ 6615 h 9922"/>
              <a:gd name="connsiteX92" fmla="*/ 8453 w 10000"/>
              <a:gd name="connsiteY92" fmla="*/ 6640 h 9922"/>
              <a:gd name="connsiteX93" fmla="*/ 8446 w 10000"/>
              <a:gd name="connsiteY93" fmla="*/ 6746 h 9922"/>
              <a:gd name="connsiteX94" fmla="*/ 8727 w 10000"/>
              <a:gd name="connsiteY94" fmla="*/ 6739 h 9922"/>
              <a:gd name="connsiteX95" fmla="*/ 8913 w 10000"/>
              <a:gd name="connsiteY95" fmla="*/ 6629 h 9922"/>
              <a:gd name="connsiteX96" fmla="*/ 9258 w 10000"/>
              <a:gd name="connsiteY96" fmla="*/ 6529 h 9922"/>
              <a:gd name="connsiteX97" fmla="*/ 9203 w 10000"/>
              <a:gd name="connsiteY97" fmla="*/ 6415 h 9922"/>
              <a:gd name="connsiteX98" fmla="*/ 9306 w 10000"/>
              <a:gd name="connsiteY98" fmla="*/ 6460 h 9922"/>
              <a:gd name="connsiteX99" fmla="*/ 9464 w 10000"/>
              <a:gd name="connsiteY99" fmla="*/ 6460 h 9922"/>
              <a:gd name="connsiteX100" fmla="*/ 9464 w 10000"/>
              <a:gd name="connsiteY100" fmla="*/ 6408 h 9922"/>
              <a:gd name="connsiteX101" fmla="*/ 9611 w 10000"/>
              <a:gd name="connsiteY101" fmla="*/ 6368 h 9922"/>
              <a:gd name="connsiteX102" fmla="*/ 9592 w 10000"/>
              <a:gd name="connsiteY102" fmla="*/ 6327 h 9922"/>
              <a:gd name="connsiteX103" fmla="*/ 8350 w 10000"/>
              <a:gd name="connsiteY103" fmla="*/ 6410 h 9922"/>
              <a:gd name="connsiteX104" fmla="*/ 8058 w 10000"/>
              <a:gd name="connsiteY104" fmla="*/ 6385 h 9922"/>
              <a:gd name="connsiteX105" fmla="*/ 7942 w 10000"/>
              <a:gd name="connsiteY105" fmla="*/ 6415 h 9922"/>
              <a:gd name="connsiteX106" fmla="*/ 7903 w 10000"/>
              <a:gd name="connsiteY106" fmla="*/ 6358 h 9922"/>
              <a:gd name="connsiteX107" fmla="*/ 7765 w 10000"/>
              <a:gd name="connsiteY107" fmla="*/ 6306 h 9922"/>
              <a:gd name="connsiteX108" fmla="*/ 7213 w 10000"/>
              <a:gd name="connsiteY108" fmla="*/ 6204 h 9922"/>
              <a:gd name="connsiteX109" fmla="*/ 6887 w 10000"/>
              <a:gd name="connsiteY109" fmla="*/ 6220 h 9922"/>
              <a:gd name="connsiteX110" fmla="*/ 6757 w 10000"/>
              <a:gd name="connsiteY110" fmla="*/ 6192 h 9922"/>
              <a:gd name="connsiteX111" fmla="*/ 6894 w 10000"/>
              <a:gd name="connsiteY111" fmla="*/ 6167 h 9922"/>
              <a:gd name="connsiteX112" fmla="*/ 6998 w 10000"/>
              <a:gd name="connsiteY112" fmla="*/ 6112 h 9922"/>
              <a:gd name="connsiteX113" fmla="*/ 7152 w 10000"/>
              <a:gd name="connsiteY113" fmla="*/ 6130 h 9922"/>
              <a:gd name="connsiteX114" fmla="*/ 7335 w 10000"/>
              <a:gd name="connsiteY114" fmla="*/ 6115 h 9922"/>
              <a:gd name="connsiteX115" fmla="*/ 7611 w 10000"/>
              <a:gd name="connsiteY115" fmla="*/ 6133 h 9922"/>
              <a:gd name="connsiteX116" fmla="*/ 7645 w 10000"/>
              <a:gd name="connsiteY116" fmla="*/ 6126 h 9922"/>
              <a:gd name="connsiteX117" fmla="*/ 7859 w 10000"/>
              <a:gd name="connsiteY117" fmla="*/ 6209 h 9922"/>
              <a:gd name="connsiteX118" fmla="*/ 8017 w 10000"/>
              <a:gd name="connsiteY118" fmla="*/ 6179 h 9922"/>
              <a:gd name="connsiteX119" fmla="*/ 8032 w 10000"/>
              <a:gd name="connsiteY119" fmla="*/ 6151 h 9922"/>
              <a:gd name="connsiteX120" fmla="*/ 8176 w 10000"/>
              <a:gd name="connsiteY120" fmla="*/ 6200 h 9922"/>
              <a:gd name="connsiteX121" fmla="*/ 8369 w 10000"/>
              <a:gd name="connsiteY121" fmla="*/ 6226 h 9922"/>
              <a:gd name="connsiteX122" fmla="*/ 8446 w 10000"/>
              <a:gd name="connsiteY122" fmla="*/ 6177 h 9922"/>
              <a:gd name="connsiteX123" fmla="*/ 8507 w 10000"/>
              <a:gd name="connsiteY123" fmla="*/ 6204 h 9922"/>
              <a:gd name="connsiteX124" fmla="*/ 8596 w 10000"/>
              <a:gd name="connsiteY124" fmla="*/ 6299 h 9922"/>
              <a:gd name="connsiteX125" fmla="*/ 8782 w 10000"/>
              <a:gd name="connsiteY125" fmla="*/ 6321 h 9922"/>
              <a:gd name="connsiteX126" fmla="*/ 9542 w 10000"/>
              <a:gd name="connsiteY126" fmla="*/ 6181 h 9922"/>
              <a:gd name="connsiteX127" fmla="*/ 9914 w 10000"/>
              <a:gd name="connsiteY127" fmla="*/ 5986 h 9922"/>
              <a:gd name="connsiteX128" fmla="*/ 10000 w 10000"/>
              <a:gd name="connsiteY128" fmla="*/ 5843 h 9922"/>
              <a:gd name="connsiteX129" fmla="*/ 9866 w 10000"/>
              <a:gd name="connsiteY129" fmla="*/ 5714 h 9922"/>
              <a:gd name="connsiteX130" fmla="*/ 9582 w 10000"/>
              <a:gd name="connsiteY130" fmla="*/ 5637 h 9922"/>
              <a:gd name="connsiteX131" fmla="*/ 9382 w 10000"/>
              <a:gd name="connsiteY131" fmla="*/ 5511 h 9922"/>
              <a:gd name="connsiteX132" fmla="*/ 9569 w 10000"/>
              <a:gd name="connsiteY132" fmla="*/ 5506 h 9922"/>
              <a:gd name="connsiteX133" fmla="*/ 9555 w 10000"/>
              <a:gd name="connsiteY133" fmla="*/ 5476 h 9922"/>
              <a:gd name="connsiteX134" fmla="*/ 9068 w 10000"/>
              <a:gd name="connsiteY134" fmla="*/ 5387 h 9922"/>
              <a:gd name="connsiteX135" fmla="*/ 9047 w 10000"/>
              <a:gd name="connsiteY135" fmla="*/ 5305 h 9922"/>
              <a:gd name="connsiteX136" fmla="*/ 8953 w 10000"/>
              <a:gd name="connsiteY136" fmla="*/ 5221 h 9922"/>
              <a:gd name="connsiteX137" fmla="*/ 8569 w 10000"/>
              <a:gd name="connsiteY137" fmla="*/ 5236 h 9922"/>
              <a:gd name="connsiteX138" fmla="*/ 8431 w 10000"/>
              <a:gd name="connsiteY138" fmla="*/ 5146 h 9922"/>
              <a:gd name="connsiteX139" fmla="*/ 8350 w 10000"/>
              <a:gd name="connsiteY139" fmla="*/ 5141 h 9922"/>
              <a:gd name="connsiteX140" fmla="*/ 8350 w 10000"/>
              <a:gd name="connsiteY140" fmla="*/ 5178 h 9922"/>
              <a:gd name="connsiteX141" fmla="*/ 8176 w 10000"/>
              <a:gd name="connsiteY141" fmla="*/ 5330 h 9922"/>
              <a:gd name="connsiteX142" fmla="*/ 7990 w 10000"/>
              <a:gd name="connsiteY142" fmla="*/ 5420 h 9922"/>
              <a:gd name="connsiteX143" fmla="*/ 7401 w 10000"/>
              <a:gd name="connsiteY143" fmla="*/ 5573 h 9922"/>
              <a:gd name="connsiteX144" fmla="*/ 7198 w 10000"/>
              <a:gd name="connsiteY144" fmla="*/ 5568 h 9922"/>
              <a:gd name="connsiteX145" fmla="*/ 6915 w 10000"/>
              <a:gd name="connsiteY145" fmla="*/ 5591 h 9922"/>
              <a:gd name="connsiteX146" fmla="*/ 6757 w 10000"/>
              <a:gd name="connsiteY146" fmla="*/ 5568 h 9922"/>
              <a:gd name="connsiteX147" fmla="*/ 6965 w 10000"/>
              <a:gd name="connsiteY147" fmla="*/ 5526 h 9922"/>
              <a:gd name="connsiteX148" fmla="*/ 7235 w 10000"/>
              <a:gd name="connsiteY148" fmla="*/ 5506 h 9922"/>
              <a:gd name="connsiteX149" fmla="*/ 7455 w 10000"/>
              <a:gd name="connsiteY149" fmla="*/ 5435 h 9922"/>
              <a:gd name="connsiteX150" fmla="*/ 7674 w 10000"/>
              <a:gd name="connsiteY150" fmla="*/ 5402 h 9922"/>
              <a:gd name="connsiteX151" fmla="*/ 8082 w 10000"/>
              <a:gd name="connsiteY151" fmla="*/ 5277 h 9922"/>
              <a:gd name="connsiteX152" fmla="*/ 8157 w 10000"/>
              <a:gd name="connsiteY152" fmla="*/ 5196 h 9922"/>
              <a:gd name="connsiteX153" fmla="*/ 8165 w 10000"/>
              <a:gd name="connsiteY153" fmla="*/ 5090 h 9922"/>
              <a:gd name="connsiteX154" fmla="*/ 7978 w 10000"/>
              <a:gd name="connsiteY154" fmla="*/ 5072 h 9922"/>
              <a:gd name="connsiteX155" fmla="*/ 8058 w 10000"/>
              <a:gd name="connsiteY155" fmla="*/ 5008 h 9922"/>
              <a:gd name="connsiteX156" fmla="*/ 8087 w 10000"/>
              <a:gd name="connsiteY156" fmla="*/ 4927 h 9922"/>
              <a:gd name="connsiteX157" fmla="*/ 8007 w 10000"/>
              <a:gd name="connsiteY157" fmla="*/ 4850 h 9922"/>
              <a:gd name="connsiteX158" fmla="*/ 6334 w 10000"/>
              <a:gd name="connsiteY158" fmla="*/ 4 h 9922"/>
              <a:gd name="connsiteX159" fmla="*/ 6117 w 10000"/>
              <a:gd name="connsiteY159" fmla="*/ 0 h 9922"/>
              <a:gd name="connsiteX160" fmla="*/ 5986 w 10000"/>
              <a:gd name="connsiteY160" fmla="*/ 29 h 9922"/>
              <a:gd name="connsiteX161" fmla="*/ 5629 w 10000"/>
              <a:gd name="connsiteY161" fmla="*/ 835 h 9922"/>
              <a:gd name="connsiteX162" fmla="*/ 4802 w 10000"/>
              <a:gd name="connsiteY162" fmla="*/ 1305 h 9922"/>
              <a:gd name="connsiteX163" fmla="*/ 4809 w 10000"/>
              <a:gd name="connsiteY163" fmla="*/ 1379 h 9922"/>
              <a:gd name="connsiteX164" fmla="*/ 5176 w 10000"/>
              <a:gd name="connsiteY164" fmla="*/ 1590 h 9922"/>
              <a:gd name="connsiteX165" fmla="*/ 5057 w 10000"/>
              <a:gd name="connsiteY165" fmla="*/ 1818 h 9922"/>
              <a:gd name="connsiteX166" fmla="*/ 4842 w 10000"/>
              <a:gd name="connsiteY166" fmla="*/ 1901 h 9922"/>
              <a:gd name="connsiteX167" fmla="*/ 4200 w 10000"/>
              <a:gd name="connsiteY167" fmla="*/ 1846 h 9922"/>
              <a:gd name="connsiteX168" fmla="*/ 3760 w 10000"/>
              <a:gd name="connsiteY168" fmla="*/ 1877 h 9922"/>
              <a:gd name="connsiteX169" fmla="*/ 3405 w 10000"/>
              <a:gd name="connsiteY169" fmla="*/ 1945 h 9922"/>
              <a:gd name="connsiteX170" fmla="*/ 2832 w 10000"/>
              <a:gd name="connsiteY170" fmla="*/ 2155 h 9922"/>
              <a:gd name="connsiteX171" fmla="*/ 2528 w 10000"/>
              <a:gd name="connsiteY171" fmla="*/ 2409 h 9922"/>
              <a:gd name="connsiteX172" fmla="*/ 2555 w 10000"/>
              <a:gd name="connsiteY172" fmla="*/ 2551 h 9922"/>
              <a:gd name="connsiteX173" fmla="*/ 2661 w 10000"/>
              <a:gd name="connsiteY173" fmla="*/ 2660 h 9922"/>
              <a:gd name="connsiteX174" fmla="*/ 2741 w 10000"/>
              <a:gd name="connsiteY174" fmla="*/ 2704 h 9922"/>
              <a:gd name="connsiteX175" fmla="*/ 2592 w 10000"/>
              <a:gd name="connsiteY175" fmla="*/ 2774 h 9922"/>
              <a:gd name="connsiteX176" fmla="*/ 2267 w 10000"/>
              <a:gd name="connsiteY176" fmla="*/ 3252 h 9922"/>
              <a:gd name="connsiteX177" fmla="*/ 2330 w 10000"/>
              <a:gd name="connsiteY177" fmla="*/ 3280 h 9922"/>
              <a:gd name="connsiteX178" fmla="*/ 2375 w 10000"/>
              <a:gd name="connsiteY178" fmla="*/ 3401 h 9922"/>
              <a:gd name="connsiteX179" fmla="*/ 2226 w 10000"/>
              <a:gd name="connsiteY179" fmla="*/ 3904 h 9922"/>
              <a:gd name="connsiteX180" fmla="*/ 2375 w 10000"/>
              <a:gd name="connsiteY180" fmla="*/ 4032 h 9922"/>
              <a:gd name="connsiteX181" fmla="*/ 2791 w 10000"/>
              <a:gd name="connsiteY181" fmla="*/ 4173 h 9922"/>
              <a:gd name="connsiteX182" fmla="*/ 2808 w 10000"/>
              <a:gd name="connsiteY182" fmla="*/ 4345 h 9922"/>
              <a:gd name="connsiteX183" fmla="*/ 2632 w 10000"/>
              <a:gd name="connsiteY183" fmla="*/ 4488 h 9922"/>
              <a:gd name="connsiteX184" fmla="*/ 2375 w 10000"/>
              <a:gd name="connsiteY184" fmla="*/ 4574 h 9922"/>
              <a:gd name="connsiteX185" fmla="*/ 2039 w 10000"/>
              <a:gd name="connsiteY185" fmla="*/ 4609 h 9922"/>
              <a:gd name="connsiteX186" fmla="*/ 1950 w 10000"/>
              <a:gd name="connsiteY186" fmla="*/ 4659 h 9922"/>
              <a:gd name="connsiteX187" fmla="*/ 2148 w 10000"/>
              <a:gd name="connsiteY187" fmla="*/ 4777 h 9922"/>
              <a:gd name="connsiteX188" fmla="*/ 2261 w 10000"/>
              <a:gd name="connsiteY188" fmla="*/ 5058 h 9922"/>
              <a:gd name="connsiteX189" fmla="*/ 2005 w 10000"/>
              <a:gd name="connsiteY189" fmla="*/ 5298 h 9922"/>
              <a:gd name="connsiteX190" fmla="*/ 2094 w 10000"/>
              <a:gd name="connsiteY190" fmla="*/ 5373 h 9922"/>
              <a:gd name="connsiteX191" fmla="*/ 2012 w 10000"/>
              <a:gd name="connsiteY191" fmla="*/ 5499 h 9922"/>
              <a:gd name="connsiteX192" fmla="*/ 1850 w 10000"/>
              <a:gd name="connsiteY192" fmla="*/ 5585 h 9922"/>
              <a:gd name="connsiteX193" fmla="*/ 1199 w 10000"/>
              <a:gd name="connsiteY193" fmla="*/ 5652 h 9922"/>
              <a:gd name="connsiteX194" fmla="*/ 1158 w 10000"/>
              <a:gd name="connsiteY194" fmla="*/ 5768 h 9922"/>
              <a:gd name="connsiteX195" fmla="*/ 808 w 10000"/>
              <a:gd name="connsiteY195" fmla="*/ 5941 h 9922"/>
              <a:gd name="connsiteX196" fmla="*/ 854 w 10000"/>
              <a:gd name="connsiteY196" fmla="*/ 6190 h 9922"/>
              <a:gd name="connsiteX197" fmla="*/ 560 w 10000"/>
              <a:gd name="connsiteY197" fmla="*/ 6509 h 9922"/>
              <a:gd name="connsiteX198" fmla="*/ 358 w 10000"/>
              <a:gd name="connsiteY198" fmla="*/ 6546 h 9922"/>
              <a:gd name="connsiteX199" fmla="*/ 275 w 10000"/>
              <a:gd name="connsiteY199" fmla="*/ 6470 h 9922"/>
              <a:gd name="connsiteX200" fmla="*/ 174 w 10000"/>
              <a:gd name="connsiteY200" fmla="*/ 6585 h 9922"/>
              <a:gd name="connsiteX201" fmla="*/ 239 w 10000"/>
              <a:gd name="connsiteY201" fmla="*/ 6387 h 9922"/>
              <a:gd name="connsiteX202" fmla="*/ 197 w 10000"/>
              <a:gd name="connsiteY202" fmla="*/ 6349 h 9922"/>
              <a:gd name="connsiteX0" fmla="*/ 197 w 10000"/>
              <a:gd name="connsiteY0" fmla="*/ 6395 h 9996"/>
              <a:gd name="connsiteX1" fmla="*/ 0 w 10000"/>
              <a:gd name="connsiteY1" fmla="*/ 6499 h 9996"/>
              <a:gd name="connsiteX2" fmla="*/ 0 w 10000"/>
              <a:gd name="connsiteY2" fmla="*/ 7012 h 9996"/>
              <a:gd name="connsiteX3" fmla="*/ 109 w 10000"/>
              <a:gd name="connsiteY3" fmla="*/ 7026 h 9996"/>
              <a:gd name="connsiteX4" fmla="*/ 134 w 10000"/>
              <a:gd name="connsiteY4" fmla="*/ 7065 h 9996"/>
              <a:gd name="connsiteX5" fmla="*/ 130 w 10000"/>
              <a:gd name="connsiteY5" fmla="*/ 7135 h 9996"/>
              <a:gd name="connsiteX6" fmla="*/ 89 w 10000"/>
              <a:gd name="connsiteY6" fmla="*/ 7166 h 9996"/>
              <a:gd name="connsiteX7" fmla="*/ 255 w 10000"/>
              <a:gd name="connsiteY7" fmla="*/ 7106 h 9996"/>
              <a:gd name="connsiteX8" fmla="*/ 325 w 10000"/>
              <a:gd name="connsiteY8" fmla="*/ 7048 h 9996"/>
              <a:gd name="connsiteX9" fmla="*/ 413 w 10000"/>
              <a:gd name="connsiteY9" fmla="*/ 7088 h 9996"/>
              <a:gd name="connsiteX10" fmla="*/ 316 w 10000"/>
              <a:gd name="connsiteY10" fmla="*/ 7172 h 9996"/>
              <a:gd name="connsiteX11" fmla="*/ 419 w 10000"/>
              <a:gd name="connsiteY11" fmla="*/ 7174 h 9996"/>
              <a:gd name="connsiteX12" fmla="*/ 469 w 10000"/>
              <a:gd name="connsiteY12" fmla="*/ 7195 h 9996"/>
              <a:gd name="connsiteX13" fmla="*/ 337 w 10000"/>
              <a:gd name="connsiteY13" fmla="*/ 7222 h 9996"/>
              <a:gd name="connsiteX14" fmla="*/ 130 w 10000"/>
              <a:gd name="connsiteY14" fmla="*/ 7308 h 9996"/>
              <a:gd name="connsiteX15" fmla="*/ 497 w 10000"/>
              <a:gd name="connsiteY15" fmla="*/ 7376 h 9996"/>
              <a:gd name="connsiteX16" fmla="*/ 545 w 10000"/>
              <a:gd name="connsiteY16" fmla="*/ 7472 h 9996"/>
              <a:gd name="connsiteX17" fmla="*/ 419 w 10000"/>
              <a:gd name="connsiteY17" fmla="*/ 7613 h 9996"/>
              <a:gd name="connsiteX18" fmla="*/ 688 w 10000"/>
              <a:gd name="connsiteY18" fmla="*/ 7604 h 9996"/>
              <a:gd name="connsiteX19" fmla="*/ 709 w 10000"/>
              <a:gd name="connsiteY19" fmla="*/ 7711 h 9996"/>
              <a:gd name="connsiteX20" fmla="*/ 530 w 10000"/>
              <a:gd name="connsiteY20" fmla="*/ 7784 h 9996"/>
              <a:gd name="connsiteX21" fmla="*/ 560 w 10000"/>
              <a:gd name="connsiteY21" fmla="*/ 7925 h 9996"/>
              <a:gd name="connsiteX22" fmla="*/ 489 w 10000"/>
              <a:gd name="connsiteY22" fmla="*/ 8034 h 9996"/>
              <a:gd name="connsiteX23" fmla="*/ 703 w 10000"/>
              <a:gd name="connsiteY23" fmla="*/ 8044 h 9996"/>
              <a:gd name="connsiteX24" fmla="*/ 909 w 10000"/>
              <a:gd name="connsiteY24" fmla="*/ 8462 h 9996"/>
              <a:gd name="connsiteX25" fmla="*/ 1150 w 10000"/>
              <a:gd name="connsiteY25" fmla="*/ 8568 h 9996"/>
              <a:gd name="connsiteX26" fmla="*/ 1255 w 10000"/>
              <a:gd name="connsiteY26" fmla="*/ 8681 h 9996"/>
              <a:gd name="connsiteX27" fmla="*/ 1514 w 10000"/>
              <a:gd name="connsiteY27" fmla="*/ 8762 h 9996"/>
              <a:gd name="connsiteX28" fmla="*/ 1684 w 10000"/>
              <a:gd name="connsiteY28" fmla="*/ 8868 h 9996"/>
              <a:gd name="connsiteX29" fmla="*/ 1661 w 10000"/>
              <a:gd name="connsiteY29" fmla="*/ 8943 h 9996"/>
              <a:gd name="connsiteX30" fmla="*/ 1496 w 10000"/>
              <a:gd name="connsiteY30" fmla="*/ 8971 h 9996"/>
              <a:gd name="connsiteX31" fmla="*/ 1316 w 10000"/>
              <a:gd name="connsiteY31" fmla="*/ 8953 h 9996"/>
              <a:gd name="connsiteX32" fmla="*/ 1260 w 10000"/>
              <a:gd name="connsiteY32" fmla="*/ 8984 h 9996"/>
              <a:gd name="connsiteX33" fmla="*/ 1397 w 10000"/>
              <a:gd name="connsiteY33" fmla="*/ 9147 h 9996"/>
              <a:gd name="connsiteX34" fmla="*/ 1205 w 10000"/>
              <a:gd name="connsiteY34" fmla="*/ 9133 h 9996"/>
              <a:gd name="connsiteX35" fmla="*/ 1040 w 10000"/>
              <a:gd name="connsiteY35" fmla="*/ 9094 h 9996"/>
              <a:gd name="connsiteX36" fmla="*/ 1012 w 10000"/>
              <a:gd name="connsiteY36" fmla="*/ 9154 h 9996"/>
              <a:gd name="connsiteX37" fmla="*/ 1557 w 10000"/>
              <a:gd name="connsiteY37" fmla="*/ 9712 h 9996"/>
              <a:gd name="connsiteX38" fmla="*/ 1469 w 10000"/>
              <a:gd name="connsiteY38" fmla="*/ 9764 h 9996"/>
              <a:gd name="connsiteX39" fmla="*/ 1408 w 10000"/>
              <a:gd name="connsiteY39" fmla="*/ 9871 h 9996"/>
              <a:gd name="connsiteX40" fmla="*/ 1329 w 10000"/>
              <a:gd name="connsiteY40" fmla="*/ 9880 h 9996"/>
              <a:gd name="connsiteX41" fmla="*/ 1281 w 10000"/>
              <a:gd name="connsiteY41" fmla="*/ 9926 h 9996"/>
              <a:gd name="connsiteX42" fmla="*/ 1609 w 10000"/>
              <a:gd name="connsiteY42" fmla="*/ 9931 h 9996"/>
              <a:gd name="connsiteX43" fmla="*/ 1900 w 10000"/>
              <a:gd name="connsiteY43" fmla="*/ 9978 h 9996"/>
              <a:gd name="connsiteX44" fmla="*/ 2383 w 10000"/>
              <a:gd name="connsiteY44" fmla="*/ 9928 h 9996"/>
              <a:gd name="connsiteX45" fmla="*/ 2816 w 10000"/>
              <a:gd name="connsiteY45" fmla="*/ 9937 h 9996"/>
              <a:gd name="connsiteX46" fmla="*/ 3072 w 10000"/>
              <a:gd name="connsiteY46" fmla="*/ 9996 h 9996"/>
              <a:gd name="connsiteX47" fmla="*/ 3212 w 10000"/>
              <a:gd name="connsiteY47" fmla="*/ 9957 h 9996"/>
              <a:gd name="connsiteX48" fmla="*/ 3348 w 10000"/>
              <a:gd name="connsiteY48" fmla="*/ 9829 h 9996"/>
              <a:gd name="connsiteX49" fmla="*/ 3313 w 10000"/>
              <a:gd name="connsiteY49" fmla="*/ 9618 h 9996"/>
              <a:gd name="connsiteX50" fmla="*/ 3642 w 10000"/>
              <a:gd name="connsiteY50" fmla="*/ 9383 h 9996"/>
              <a:gd name="connsiteX51" fmla="*/ 3883 w 10000"/>
              <a:gd name="connsiteY51" fmla="*/ 9420 h 9996"/>
              <a:gd name="connsiteX52" fmla="*/ 4025 w 10000"/>
              <a:gd name="connsiteY52" fmla="*/ 9326 h 9996"/>
              <a:gd name="connsiteX53" fmla="*/ 4294 w 10000"/>
              <a:gd name="connsiteY53" fmla="*/ 9272 h 9996"/>
              <a:gd name="connsiteX54" fmla="*/ 4658 w 10000"/>
              <a:gd name="connsiteY54" fmla="*/ 9285 h 9996"/>
              <a:gd name="connsiteX55" fmla="*/ 4878 w 10000"/>
              <a:gd name="connsiteY55" fmla="*/ 9323 h 9996"/>
              <a:gd name="connsiteX56" fmla="*/ 5170 w 10000"/>
              <a:gd name="connsiteY56" fmla="*/ 9306 h 9996"/>
              <a:gd name="connsiteX57" fmla="*/ 5464 w 10000"/>
              <a:gd name="connsiteY57" fmla="*/ 9347 h 9996"/>
              <a:gd name="connsiteX58" fmla="*/ 5759 w 10000"/>
              <a:gd name="connsiteY58" fmla="*/ 9352 h 9996"/>
              <a:gd name="connsiteX59" fmla="*/ 6419 w 10000"/>
              <a:gd name="connsiteY59" fmla="*/ 8804 h 9996"/>
              <a:gd name="connsiteX60" fmla="*/ 6586 w 10000"/>
              <a:gd name="connsiteY60" fmla="*/ 8358 h 9996"/>
              <a:gd name="connsiteX61" fmla="*/ 6855 w 10000"/>
              <a:gd name="connsiteY61" fmla="*/ 8159 h 9996"/>
              <a:gd name="connsiteX62" fmla="*/ 6855 w 10000"/>
              <a:gd name="connsiteY62" fmla="*/ 8054 h 9996"/>
              <a:gd name="connsiteX63" fmla="*/ 6757 w 10000"/>
              <a:gd name="connsiteY63" fmla="*/ 7995 h 9996"/>
              <a:gd name="connsiteX64" fmla="*/ 6915 w 10000"/>
              <a:gd name="connsiteY64" fmla="*/ 7902 h 9996"/>
              <a:gd name="connsiteX65" fmla="*/ 6887 w 10000"/>
              <a:gd name="connsiteY65" fmla="*/ 7823 h 9996"/>
              <a:gd name="connsiteX66" fmla="*/ 6779 w 10000"/>
              <a:gd name="connsiteY66" fmla="*/ 7755 h 9996"/>
              <a:gd name="connsiteX67" fmla="*/ 6757 w 10000"/>
              <a:gd name="connsiteY67" fmla="*/ 7706 h 9996"/>
              <a:gd name="connsiteX68" fmla="*/ 6785 w 10000"/>
              <a:gd name="connsiteY68" fmla="*/ 7669 h 9996"/>
              <a:gd name="connsiteX69" fmla="*/ 6931 w 10000"/>
              <a:gd name="connsiteY69" fmla="*/ 7699 h 9996"/>
              <a:gd name="connsiteX70" fmla="*/ 7045 w 10000"/>
              <a:gd name="connsiteY70" fmla="*/ 7697 h 9996"/>
              <a:gd name="connsiteX71" fmla="*/ 6983 w 10000"/>
              <a:gd name="connsiteY71" fmla="*/ 7633 h 9996"/>
              <a:gd name="connsiteX72" fmla="*/ 7003 w 10000"/>
              <a:gd name="connsiteY72" fmla="*/ 7596 h 9996"/>
              <a:gd name="connsiteX73" fmla="*/ 7089 w 10000"/>
              <a:gd name="connsiteY73" fmla="*/ 7542 h 9996"/>
              <a:gd name="connsiteX74" fmla="*/ 7074 w 10000"/>
              <a:gd name="connsiteY74" fmla="*/ 7498 h 9996"/>
              <a:gd name="connsiteX75" fmla="*/ 7152 w 10000"/>
              <a:gd name="connsiteY75" fmla="*/ 7348 h 9996"/>
              <a:gd name="connsiteX76" fmla="*/ 7130 w 10000"/>
              <a:gd name="connsiteY76" fmla="*/ 7302 h 9996"/>
              <a:gd name="connsiteX77" fmla="*/ 6729 w 10000"/>
              <a:gd name="connsiteY77" fmla="*/ 7190 h 9996"/>
              <a:gd name="connsiteX78" fmla="*/ 6785 w 10000"/>
              <a:gd name="connsiteY78" fmla="*/ 7185 h 9996"/>
              <a:gd name="connsiteX79" fmla="*/ 6998 w 10000"/>
              <a:gd name="connsiteY79" fmla="*/ 7215 h 9996"/>
              <a:gd name="connsiteX80" fmla="*/ 7230 w 10000"/>
              <a:gd name="connsiteY80" fmla="*/ 7204 h 9996"/>
              <a:gd name="connsiteX81" fmla="*/ 7295 w 10000"/>
              <a:gd name="connsiteY81" fmla="*/ 7163 h 9996"/>
              <a:gd name="connsiteX82" fmla="*/ 7074 w 10000"/>
              <a:gd name="connsiteY82" fmla="*/ 7086 h 9996"/>
              <a:gd name="connsiteX83" fmla="*/ 6414 w 10000"/>
              <a:gd name="connsiteY83" fmla="*/ 7035 h 9996"/>
              <a:gd name="connsiteX84" fmla="*/ 6458 w 10000"/>
              <a:gd name="connsiteY84" fmla="*/ 7012 h 9996"/>
              <a:gd name="connsiteX85" fmla="*/ 6998 w 10000"/>
              <a:gd name="connsiteY85" fmla="*/ 6996 h 9996"/>
              <a:gd name="connsiteX86" fmla="*/ 7295 w 10000"/>
              <a:gd name="connsiteY86" fmla="*/ 7042 h 9996"/>
              <a:gd name="connsiteX87" fmla="*/ 7466 w 10000"/>
              <a:gd name="connsiteY87" fmla="*/ 7012 h 9996"/>
              <a:gd name="connsiteX88" fmla="*/ 7529 w 10000"/>
              <a:gd name="connsiteY88" fmla="*/ 6931 h 9996"/>
              <a:gd name="connsiteX89" fmla="*/ 7840 w 10000"/>
              <a:gd name="connsiteY89" fmla="*/ 6931 h 9996"/>
              <a:gd name="connsiteX90" fmla="*/ 8261 w 10000"/>
              <a:gd name="connsiteY90" fmla="*/ 6770 h 9996"/>
              <a:gd name="connsiteX91" fmla="*/ 8275 w 10000"/>
              <a:gd name="connsiteY91" fmla="*/ 6663 h 9996"/>
              <a:gd name="connsiteX92" fmla="*/ 8453 w 10000"/>
              <a:gd name="connsiteY92" fmla="*/ 6688 h 9996"/>
              <a:gd name="connsiteX93" fmla="*/ 8446 w 10000"/>
              <a:gd name="connsiteY93" fmla="*/ 6795 h 9996"/>
              <a:gd name="connsiteX94" fmla="*/ 8727 w 10000"/>
              <a:gd name="connsiteY94" fmla="*/ 6788 h 9996"/>
              <a:gd name="connsiteX95" fmla="*/ 8913 w 10000"/>
              <a:gd name="connsiteY95" fmla="*/ 6677 h 9996"/>
              <a:gd name="connsiteX96" fmla="*/ 9258 w 10000"/>
              <a:gd name="connsiteY96" fmla="*/ 6576 h 9996"/>
              <a:gd name="connsiteX97" fmla="*/ 9203 w 10000"/>
              <a:gd name="connsiteY97" fmla="*/ 6461 h 9996"/>
              <a:gd name="connsiteX98" fmla="*/ 9306 w 10000"/>
              <a:gd name="connsiteY98" fmla="*/ 6507 h 9996"/>
              <a:gd name="connsiteX99" fmla="*/ 9464 w 10000"/>
              <a:gd name="connsiteY99" fmla="*/ 6507 h 9996"/>
              <a:gd name="connsiteX100" fmla="*/ 9464 w 10000"/>
              <a:gd name="connsiteY100" fmla="*/ 6454 h 9996"/>
              <a:gd name="connsiteX101" fmla="*/ 9611 w 10000"/>
              <a:gd name="connsiteY101" fmla="*/ 6414 h 9996"/>
              <a:gd name="connsiteX102" fmla="*/ 9592 w 10000"/>
              <a:gd name="connsiteY102" fmla="*/ 6373 h 9996"/>
              <a:gd name="connsiteX103" fmla="*/ 8350 w 10000"/>
              <a:gd name="connsiteY103" fmla="*/ 6456 h 9996"/>
              <a:gd name="connsiteX104" fmla="*/ 8058 w 10000"/>
              <a:gd name="connsiteY104" fmla="*/ 6431 h 9996"/>
              <a:gd name="connsiteX105" fmla="*/ 7942 w 10000"/>
              <a:gd name="connsiteY105" fmla="*/ 6461 h 9996"/>
              <a:gd name="connsiteX106" fmla="*/ 7903 w 10000"/>
              <a:gd name="connsiteY106" fmla="*/ 6404 h 9996"/>
              <a:gd name="connsiteX107" fmla="*/ 7765 w 10000"/>
              <a:gd name="connsiteY107" fmla="*/ 6352 h 9996"/>
              <a:gd name="connsiteX108" fmla="*/ 7213 w 10000"/>
              <a:gd name="connsiteY108" fmla="*/ 6249 h 9996"/>
              <a:gd name="connsiteX109" fmla="*/ 6887 w 10000"/>
              <a:gd name="connsiteY109" fmla="*/ 6265 h 9996"/>
              <a:gd name="connsiteX110" fmla="*/ 6757 w 10000"/>
              <a:gd name="connsiteY110" fmla="*/ 6237 h 9996"/>
              <a:gd name="connsiteX111" fmla="*/ 6894 w 10000"/>
              <a:gd name="connsiteY111" fmla="*/ 6211 h 9996"/>
              <a:gd name="connsiteX112" fmla="*/ 6998 w 10000"/>
              <a:gd name="connsiteY112" fmla="*/ 6156 h 9996"/>
              <a:gd name="connsiteX113" fmla="*/ 7152 w 10000"/>
              <a:gd name="connsiteY113" fmla="*/ 6174 h 9996"/>
              <a:gd name="connsiteX114" fmla="*/ 7335 w 10000"/>
              <a:gd name="connsiteY114" fmla="*/ 6159 h 9996"/>
              <a:gd name="connsiteX115" fmla="*/ 7611 w 10000"/>
              <a:gd name="connsiteY115" fmla="*/ 6177 h 9996"/>
              <a:gd name="connsiteX116" fmla="*/ 7645 w 10000"/>
              <a:gd name="connsiteY116" fmla="*/ 6170 h 9996"/>
              <a:gd name="connsiteX117" fmla="*/ 7859 w 10000"/>
              <a:gd name="connsiteY117" fmla="*/ 6254 h 9996"/>
              <a:gd name="connsiteX118" fmla="*/ 8017 w 10000"/>
              <a:gd name="connsiteY118" fmla="*/ 6224 h 9996"/>
              <a:gd name="connsiteX119" fmla="*/ 8032 w 10000"/>
              <a:gd name="connsiteY119" fmla="*/ 6195 h 9996"/>
              <a:gd name="connsiteX120" fmla="*/ 8176 w 10000"/>
              <a:gd name="connsiteY120" fmla="*/ 6245 h 9996"/>
              <a:gd name="connsiteX121" fmla="*/ 8369 w 10000"/>
              <a:gd name="connsiteY121" fmla="*/ 6271 h 9996"/>
              <a:gd name="connsiteX122" fmla="*/ 8446 w 10000"/>
              <a:gd name="connsiteY122" fmla="*/ 6222 h 9996"/>
              <a:gd name="connsiteX123" fmla="*/ 8507 w 10000"/>
              <a:gd name="connsiteY123" fmla="*/ 6249 h 9996"/>
              <a:gd name="connsiteX124" fmla="*/ 8596 w 10000"/>
              <a:gd name="connsiteY124" fmla="*/ 6345 h 9996"/>
              <a:gd name="connsiteX125" fmla="*/ 8782 w 10000"/>
              <a:gd name="connsiteY125" fmla="*/ 6367 h 9996"/>
              <a:gd name="connsiteX126" fmla="*/ 9542 w 10000"/>
              <a:gd name="connsiteY126" fmla="*/ 6226 h 9996"/>
              <a:gd name="connsiteX127" fmla="*/ 9914 w 10000"/>
              <a:gd name="connsiteY127" fmla="*/ 6029 h 9996"/>
              <a:gd name="connsiteX128" fmla="*/ 10000 w 10000"/>
              <a:gd name="connsiteY128" fmla="*/ 5885 h 9996"/>
              <a:gd name="connsiteX129" fmla="*/ 9866 w 10000"/>
              <a:gd name="connsiteY129" fmla="*/ 5755 h 9996"/>
              <a:gd name="connsiteX130" fmla="*/ 9582 w 10000"/>
              <a:gd name="connsiteY130" fmla="*/ 5677 h 9996"/>
              <a:gd name="connsiteX131" fmla="*/ 9382 w 10000"/>
              <a:gd name="connsiteY131" fmla="*/ 5550 h 9996"/>
              <a:gd name="connsiteX132" fmla="*/ 9569 w 10000"/>
              <a:gd name="connsiteY132" fmla="*/ 5545 h 9996"/>
              <a:gd name="connsiteX133" fmla="*/ 9555 w 10000"/>
              <a:gd name="connsiteY133" fmla="*/ 5515 h 9996"/>
              <a:gd name="connsiteX134" fmla="*/ 9068 w 10000"/>
              <a:gd name="connsiteY134" fmla="*/ 5425 h 9996"/>
              <a:gd name="connsiteX135" fmla="*/ 9047 w 10000"/>
              <a:gd name="connsiteY135" fmla="*/ 5343 h 9996"/>
              <a:gd name="connsiteX136" fmla="*/ 8953 w 10000"/>
              <a:gd name="connsiteY136" fmla="*/ 5258 h 9996"/>
              <a:gd name="connsiteX137" fmla="*/ 8569 w 10000"/>
              <a:gd name="connsiteY137" fmla="*/ 5273 h 9996"/>
              <a:gd name="connsiteX138" fmla="*/ 8431 w 10000"/>
              <a:gd name="connsiteY138" fmla="*/ 5182 h 9996"/>
              <a:gd name="connsiteX139" fmla="*/ 8350 w 10000"/>
              <a:gd name="connsiteY139" fmla="*/ 5177 h 9996"/>
              <a:gd name="connsiteX140" fmla="*/ 8350 w 10000"/>
              <a:gd name="connsiteY140" fmla="*/ 5215 h 9996"/>
              <a:gd name="connsiteX141" fmla="*/ 8176 w 10000"/>
              <a:gd name="connsiteY141" fmla="*/ 5368 h 9996"/>
              <a:gd name="connsiteX142" fmla="*/ 7990 w 10000"/>
              <a:gd name="connsiteY142" fmla="*/ 5459 h 9996"/>
              <a:gd name="connsiteX143" fmla="*/ 7401 w 10000"/>
              <a:gd name="connsiteY143" fmla="*/ 5613 h 9996"/>
              <a:gd name="connsiteX144" fmla="*/ 7198 w 10000"/>
              <a:gd name="connsiteY144" fmla="*/ 5608 h 9996"/>
              <a:gd name="connsiteX145" fmla="*/ 6915 w 10000"/>
              <a:gd name="connsiteY145" fmla="*/ 5631 h 9996"/>
              <a:gd name="connsiteX146" fmla="*/ 6757 w 10000"/>
              <a:gd name="connsiteY146" fmla="*/ 5608 h 9996"/>
              <a:gd name="connsiteX147" fmla="*/ 6965 w 10000"/>
              <a:gd name="connsiteY147" fmla="*/ 5565 h 9996"/>
              <a:gd name="connsiteX148" fmla="*/ 7235 w 10000"/>
              <a:gd name="connsiteY148" fmla="*/ 5545 h 9996"/>
              <a:gd name="connsiteX149" fmla="*/ 7455 w 10000"/>
              <a:gd name="connsiteY149" fmla="*/ 5474 h 9996"/>
              <a:gd name="connsiteX150" fmla="*/ 7674 w 10000"/>
              <a:gd name="connsiteY150" fmla="*/ 5440 h 9996"/>
              <a:gd name="connsiteX151" fmla="*/ 8082 w 10000"/>
              <a:gd name="connsiteY151" fmla="*/ 5314 h 9996"/>
              <a:gd name="connsiteX152" fmla="*/ 8157 w 10000"/>
              <a:gd name="connsiteY152" fmla="*/ 5233 h 9996"/>
              <a:gd name="connsiteX153" fmla="*/ 8165 w 10000"/>
              <a:gd name="connsiteY153" fmla="*/ 5126 h 9996"/>
              <a:gd name="connsiteX154" fmla="*/ 7978 w 10000"/>
              <a:gd name="connsiteY154" fmla="*/ 5108 h 9996"/>
              <a:gd name="connsiteX155" fmla="*/ 8058 w 10000"/>
              <a:gd name="connsiteY155" fmla="*/ 5043 h 9996"/>
              <a:gd name="connsiteX156" fmla="*/ 8087 w 10000"/>
              <a:gd name="connsiteY156" fmla="*/ 4962 h 9996"/>
              <a:gd name="connsiteX157" fmla="*/ 8007 w 10000"/>
              <a:gd name="connsiteY157" fmla="*/ 4884 h 9996"/>
              <a:gd name="connsiteX158" fmla="*/ 6334 w 10000"/>
              <a:gd name="connsiteY158" fmla="*/ 0 h 9996"/>
              <a:gd name="connsiteX159" fmla="*/ 5986 w 10000"/>
              <a:gd name="connsiteY159" fmla="*/ 25 h 9996"/>
              <a:gd name="connsiteX160" fmla="*/ 5629 w 10000"/>
              <a:gd name="connsiteY160" fmla="*/ 838 h 9996"/>
              <a:gd name="connsiteX161" fmla="*/ 4802 w 10000"/>
              <a:gd name="connsiteY161" fmla="*/ 1311 h 9996"/>
              <a:gd name="connsiteX162" fmla="*/ 4809 w 10000"/>
              <a:gd name="connsiteY162" fmla="*/ 1386 h 9996"/>
              <a:gd name="connsiteX163" fmla="*/ 5176 w 10000"/>
              <a:gd name="connsiteY163" fmla="*/ 1598 h 9996"/>
              <a:gd name="connsiteX164" fmla="*/ 5057 w 10000"/>
              <a:gd name="connsiteY164" fmla="*/ 1828 h 9996"/>
              <a:gd name="connsiteX165" fmla="*/ 4842 w 10000"/>
              <a:gd name="connsiteY165" fmla="*/ 1912 h 9996"/>
              <a:gd name="connsiteX166" fmla="*/ 4200 w 10000"/>
              <a:gd name="connsiteY166" fmla="*/ 1857 h 9996"/>
              <a:gd name="connsiteX167" fmla="*/ 3760 w 10000"/>
              <a:gd name="connsiteY167" fmla="*/ 1888 h 9996"/>
              <a:gd name="connsiteX168" fmla="*/ 3405 w 10000"/>
              <a:gd name="connsiteY168" fmla="*/ 1956 h 9996"/>
              <a:gd name="connsiteX169" fmla="*/ 2832 w 10000"/>
              <a:gd name="connsiteY169" fmla="*/ 2168 h 9996"/>
              <a:gd name="connsiteX170" fmla="*/ 2528 w 10000"/>
              <a:gd name="connsiteY170" fmla="*/ 2424 h 9996"/>
              <a:gd name="connsiteX171" fmla="*/ 2555 w 10000"/>
              <a:gd name="connsiteY171" fmla="*/ 2567 h 9996"/>
              <a:gd name="connsiteX172" fmla="*/ 2661 w 10000"/>
              <a:gd name="connsiteY172" fmla="*/ 2677 h 9996"/>
              <a:gd name="connsiteX173" fmla="*/ 2741 w 10000"/>
              <a:gd name="connsiteY173" fmla="*/ 2721 h 9996"/>
              <a:gd name="connsiteX174" fmla="*/ 2592 w 10000"/>
              <a:gd name="connsiteY174" fmla="*/ 2792 h 9996"/>
              <a:gd name="connsiteX175" fmla="*/ 2267 w 10000"/>
              <a:gd name="connsiteY175" fmla="*/ 3274 h 9996"/>
              <a:gd name="connsiteX176" fmla="*/ 2330 w 10000"/>
              <a:gd name="connsiteY176" fmla="*/ 3302 h 9996"/>
              <a:gd name="connsiteX177" fmla="*/ 2375 w 10000"/>
              <a:gd name="connsiteY177" fmla="*/ 3424 h 9996"/>
              <a:gd name="connsiteX178" fmla="*/ 2226 w 10000"/>
              <a:gd name="connsiteY178" fmla="*/ 3931 h 9996"/>
              <a:gd name="connsiteX179" fmla="*/ 2375 w 10000"/>
              <a:gd name="connsiteY179" fmla="*/ 4060 h 9996"/>
              <a:gd name="connsiteX180" fmla="*/ 2791 w 10000"/>
              <a:gd name="connsiteY180" fmla="*/ 4202 h 9996"/>
              <a:gd name="connsiteX181" fmla="*/ 2808 w 10000"/>
              <a:gd name="connsiteY181" fmla="*/ 4375 h 9996"/>
              <a:gd name="connsiteX182" fmla="*/ 2632 w 10000"/>
              <a:gd name="connsiteY182" fmla="*/ 4519 h 9996"/>
              <a:gd name="connsiteX183" fmla="*/ 2375 w 10000"/>
              <a:gd name="connsiteY183" fmla="*/ 4606 h 9996"/>
              <a:gd name="connsiteX184" fmla="*/ 2039 w 10000"/>
              <a:gd name="connsiteY184" fmla="*/ 4641 h 9996"/>
              <a:gd name="connsiteX185" fmla="*/ 1950 w 10000"/>
              <a:gd name="connsiteY185" fmla="*/ 4692 h 9996"/>
              <a:gd name="connsiteX186" fmla="*/ 2148 w 10000"/>
              <a:gd name="connsiteY186" fmla="*/ 4811 h 9996"/>
              <a:gd name="connsiteX187" fmla="*/ 2261 w 10000"/>
              <a:gd name="connsiteY187" fmla="*/ 5094 h 9996"/>
              <a:gd name="connsiteX188" fmla="*/ 2005 w 10000"/>
              <a:gd name="connsiteY188" fmla="*/ 5336 h 9996"/>
              <a:gd name="connsiteX189" fmla="*/ 2094 w 10000"/>
              <a:gd name="connsiteY189" fmla="*/ 5411 h 9996"/>
              <a:gd name="connsiteX190" fmla="*/ 2012 w 10000"/>
              <a:gd name="connsiteY190" fmla="*/ 5538 h 9996"/>
              <a:gd name="connsiteX191" fmla="*/ 1850 w 10000"/>
              <a:gd name="connsiteY191" fmla="*/ 5625 h 9996"/>
              <a:gd name="connsiteX192" fmla="*/ 1199 w 10000"/>
              <a:gd name="connsiteY192" fmla="*/ 5692 h 9996"/>
              <a:gd name="connsiteX193" fmla="*/ 1158 w 10000"/>
              <a:gd name="connsiteY193" fmla="*/ 5809 h 9996"/>
              <a:gd name="connsiteX194" fmla="*/ 808 w 10000"/>
              <a:gd name="connsiteY194" fmla="*/ 5984 h 9996"/>
              <a:gd name="connsiteX195" fmla="*/ 854 w 10000"/>
              <a:gd name="connsiteY195" fmla="*/ 6235 h 9996"/>
              <a:gd name="connsiteX196" fmla="*/ 560 w 10000"/>
              <a:gd name="connsiteY196" fmla="*/ 6556 h 9996"/>
              <a:gd name="connsiteX197" fmla="*/ 358 w 10000"/>
              <a:gd name="connsiteY197" fmla="*/ 6593 h 9996"/>
              <a:gd name="connsiteX198" fmla="*/ 275 w 10000"/>
              <a:gd name="connsiteY198" fmla="*/ 6517 h 9996"/>
              <a:gd name="connsiteX199" fmla="*/ 174 w 10000"/>
              <a:gd name="connsiteY199" fmla="*/ 6633 h 9996"/>
              <a:gd name="connsiteX200" fmla="*/ 239 w 10000"/>
              <a:gd name="connsiteY200" fmla="*/ 6433 h 9996"/>
              <a:gd name="connsiteX201" fmla="*/ 197 w 10000"/>
              <a:gd name="connsiteY201" fmla="*/ 6395 h 9996"/>
              <a:gd name="connsiteX0" fmla="*/ 197 w 10000"/>
              <a:gd name="connsiteY0" fmla="*/ 6398 h 10000"/>
              <a:gd name="connsiteX1" fmla="*/ 0 w 10000"/>
              <a:gd name="connsiteY1" fmla="*/ 6502 h 10000"/>
              <a:gd name="connsiteX2" fmla="*/ 0 w 10000"/>
              <a:gd name="connsiteY2" fmla="*/ 7015 h 10000"/>
              <a:gd name="connsiteX3" fmla="*/ 109 w 10000"/>
              <a:gd name="connsiteY3" fmla="*/ 7029 h 10000"/>
              <a:gd name="connsiteX4" fmla="*/ 134 w 10000"/>
              <a:gd name="connsiteY4" fmla="*/ 7068 h 10000"/>
              <a:gd name="connsiteX5" fmla="*/ 130 w 10000"/>
              <a:gd name="connsiteY5" fmla="*/ 7138 h 10000"/>
              <a:gd name="connsiteX6" fmla="*/ 89 w 10000"/>
              <a:gd name="connsiteY6" fmla="*/ 7169 h 10000"/>
              <a:gd name="connsiteX7" fmla="*/ 255 w 10000"/>
              <a:gd name="connsiteY7" fmla="*/ 7109 h 10000"/>
              <a:gd name="connsiteX8" fmla="*/ 325 w 10000"/>
              <a:gd name="connsiteY8" fmla="*/ 7051 h 10000"/>
              <a:gd name="connsiteX9" fmla="*/ 413 w 10000"/>
              <a:gd name="connsiteY9" fmla="*/ 7091 h 10000"/>
              <a:gd name="connsiteX10" fmla="*/ 316 w 10000"/>
              <a:gd name="connsiteY10" fmla="*/ 7175 h 10000"/>
              <a:gd name="connsiteX11" fmla="*/ 419 w 10000"/>
              <a:gd name="connsiteY11" fmla="*/ 7177 h 10000"/>
              <a:gd name="connsiteX12" fmla="*/ 469 w 10000"/>
              <a:gd name="connsiteY12" fmla="*/ 7198 h 10000"/>
              <a:gd name="connsiteX13" fmla="*/ 337 w 10000"/>
              <a:gd name="connsiteY13" fmla="*/ 7225 h 10000"/>
              <a:gd name="connsiteX14" fmla="*/ 130 w 10000"/>
              <a:gd name="connsiteY14" fmla="*/ 7311 h 10000"/>
              <a:gd name="connsiteX15" fmla="*/ 497 w 10000"/>
              <a:gd name="connsiteY15" fmla="*/ 7379 h 10000"/>
              <a:gd name="connsiteX16" fmla="*/ 545 w 10000"/>
              <a:gd name="connsiteY16" fmla="*/ 7475 h 10000"/>
              <a:gd name="connsiteX17" fmla="*/ 419 w 10000"/>
              <a:gd name="connsiteY17" fmla="*/ 7616 h 10000"/>
              <a:gd name="connsiteX18" fmla="*/ 688 w 10000"/>
              <a:gd name="connsiteY18" fmla="*/ 7607 h 10000"/>
              <a:gd name="connsiteX19" fmla="*/ 709 w 10000"/>
              <a:gd name="connsiteY19" fmla="*/ 7714 h 10000"/>
              <a:gd name="connsiteX20" fmla="*/ 530 w 10000"/>
              <a:gd name="connsiteY20" fmla="*/ 7787 h 10000"/>
              <a:gd name="connsiteX21" fmla="*/ 560 w 10000"/>
              <a:gd name="connsiteY21" fmla="*/ 7928 h 10000"/>
              <a:gd name="connsiteX22" fmla="*/ 489 w 10000"/>
              <a:gd name="connsiteY22" fmla="*/ 8037 h 10000"/>
              <a:gd name="connsiteX23" fmla="*/ 703 w 10000"/>
              <a:gd name="connsiteY23" fmla="*/ 8047 h 10000"/>
              <a:gd name="connsiteX24" fmla="*/ 909 w 10000"/>
              <a:gd name="connsiteY24" fmla="*/ 8465 h 10000"/>
              <a:gd name="connsiteX25" fmla="*/ 1150 w 10000"/>
              <a:gd name="connsiteY25" fmla="*/ 8571 h 10000"/>
              <a:gd name="connsiteX26" fmla="*/ 1255 w 10000"/>
              <a:gd name="connsiteY26" fmla="*/ 8684 h 10000"/>
              <a:gd name="connsiteX27" fmla="*/ 1514 w 10000"/>
              <a:gd name="connsiteY27" fmla="*/ 8766 h 10000"/>
              <a:gd name="connsiteX28" fmla="*/ 1684 w 10000"/>
              <a:gd name="connsiteY28" fmla="*/ 8872 h 10000"/>
              <a:gd name="connsiteX29" fmla="*/ 1661 w 10000"/>
              <a:gd name="connsiteY29" fmla="*/ 8947 h 10000"/>
              <a:gd name="connsiteX30" fmla="*/ 1496 w 10000"/>
              <a:gd name="connsiteY30" fmla="*/ 8975 h 10000"/>
              <a:gd name="connsiteX31" fmla="*/ 1316 w 10000"/>
              <a:gd name="connsiteY31" fmla="*/ 8957 h 10000"/>
              <a:gd name="connsiteX32" fmla="*/ 1260 w 10000"/>
              <a:gd name="connsiteY32" fmla="*/ 8988 h 10000"/>
              <a:gd name="connsiteX33" fmla="*/ 1397 w 10000"/>
              <a:gd name="connsiteY33" fmla="*/ 9151 h 10000"/>
              <a:gd name="connsiteX34" fmla="*/ 1205 w 10000"/>
              <a:gd name="connsiteY34" fmla="*/ 9137 h 10000"/>
              <a:gd name="connsiteX35" fmla="*/ 1040 w 10000"/>
              <a:gd name="connsiteY35" fmla="*/ 9098 h 10000"/>
              <a:gd name="connsiteX36" fmla="*/ 1012 w 10000"/>
              <a:gd name="connsiteY36" fmla="*/ 9158 h 10000"/>
              <a:gd name="connsiteX37" fmla="*/ 1557 w 10000"/>
              <a:gd name="connsiteY37" fmla="*/ 9716 h 10000"/>
              <a:gd name="connsiteX38" fmla="*/ 1469 w 10000"/>
              <a:gd name="connsiteY38" fmla="*/ 9768 h 10000"/>
              <a:gd name="connsiteX39" fmla="*/ 1408 w 10000"/>
              <a:gd name="connsiteY39" fmla="*/ 9875 h 10000"/>
              <a:gd name="connsiteX40" fmla="*/ 1329 w 10000"/>
              <a:gd name="connsiteY40" fmla="*/ 9884 h 10000"/>
              <a:gd name="connsiteX41" fmla="*/ 1281 w 10000"/>
              <a:gd name="connsiteY41" fmla="*/ 9930 h 10000"/>
              <a:gd name="connsiteX42" fmla="*/ 1609 w 10000"/>
              <a:gd name="connsiteY42" fmla="*/ 9935 h 10000"/>
              <a:gd name="connsiteX43" fmla="*/ 1900 w 10000"/>
              <a:gd name="connsiteY43" fmla="*/ 9982 h 10000"/>
              <a:gd name="connsiteX44" fmla="*/ 2383 w 10000"/>
              <a:gd name="connsiteY44" fmla="*/ 9932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3 h 10000"/>
              <a:gd name="connsiteX49" fmla="*/ 3313 w 10000"/>
              <a:gd name="connsiteY49" fmla="*/ 9622 h 10000"/>
              <a:gd name="connsiteX50" fmla="*/ 3642 w 10000"/>
              <a:gd name="connsiteY50" fmla="*/ 9387 h 10000"/>
              <a:gd name="connsiteX51" fmla="*/ 3883 w 10000"/>
              <a:gd name="connsiteY51" fmla="*/ 9424 h 10000"/>
              <a:gd name="connsiteX52" fmla="*/ 4025 w 10000"/>
              <a:gd name="connsiteY52" fmla="*/ 9330 h 10000"/>
              <a:gd name="connsiteX53" fmla="*/ 4294 w 10000"/>
              <a:gd name="connsiteY53" fmla="*/ 9276 h 10000"/>
              <a:gd name="connsiteX54" fmla="*/ 4658 w 10000"/>
              <a:gd name="connsiteY54" fmla="*/ 9289 h 10000"/>
              <a:gd name="connsiteX55" fmla="*/ 4878 w 10000"/>
              <a:gd name="connsiteY55" fmla="*/ 9327 h 10000"/>
              <a:gd name="connsiteX56" fmla="*/ 5170 w 10000"/>
              <a:gd name="connsiteY56" fmla="*/ 9310 h 10000"/>
              <a:gd name="connsiteX57" fmla="*/ 5464 w 10000"/>
              <a:gd name="connsiteY57" fmla="*/ 9351 h 10000"/>
              <a:gd name="connsiteX58" fmla="*/ 5759 w 10000"/>
              <a:gd name="connsiteY58" fmla="*/ 9356 h 10000"/>
              <a:gd name="connsiteX59" fmla="*/ 6419 w 10000"/>
              <a:gd name="connsiteY59" fmla="*/ 8808 h 10000"/>
              <a:gd name="connsiteX60" fmla="*/ 6586 w 10000"/>
              <a:gd name="connsiteY60" fmla="*/ 8361 h 10000"/>
              <a:gd name="connsiteX61" fmla="*/ 6855 w 10000"/>
              <a:gd name="connsiteY61" fmla="*/ 8162 h 10000"/>
              <a:gd name="connsiteX62" fmla="*/ 6855 w 10000"/>
              <a:gd name="connsiteY62" fmla="*/ 8057 h 10000"/>
              <a:gd name="connsiteX63" fmla="*/ 6757 w 10000"/>
              <a:gd name="connsiteY63" fmla="*/ 7998 h 10000"/>
              <a:gd name="connsiteX64" fmla="*/ 6915 w 10000"/>
              <a:gd name="connsiteY64" fmla="*/ 7905 h 10000"/>
              <a:gd name="connsiteX65" fmla="*/ 6887 w 10000"/>
              <a:gd name="connsiteY65" fmla="*/ 7826 h 10000"/>
              <a:gd name="connsiteX66" fmla="*/ 6779 w 10000"/>
              <a:gd name="connsiteY66" fmla="*/ 7758 h 10000"/>
              <a:gd name="connsiteX67" fmla="*/ 6757 w 10000"/>
              <a:gd name="connsiteY67" fmla="*/ 7709 h 10000"/>
              <a:gd name="connsiteX68" fmla="*/ 6785 w 10000"/>
              <a:gd name="connsiteY68" fmla="*/ 7672 h 10000"/>
              <a:gd name="connsiteX69" fmla="*/ 6931 w 10000"/>
              <a:gd name="connsiteY69" fmla="*/ 7702 h 10000"/>
              <a:gd name="connsiteX70" fmla="*/ 7045 w 10000"/>
              <a:gd name="connsiteY70" fmla="*/ 7700 h 10000"/>
              <a:gd name="connsiteX71" fmla="*/ 6983 w 10000"/>
              <a:gd name="connsiteY71" fmla="*/ 7636 h 10000"/>
              <a:gd name="connsiteX72" fmla="*/ 7003 w 10000"/>
              <a:gd name="connsiteY72" fmla="*/ 7599 h 10000"/>
              <a:gd name="connsiteX73" fmla="*/ 7089 w 10000"/>
              <a:gd name="connsiteY73" fmla="*/ 7545 h 10000"/>
              <a:gd name="connsiteX74" fmla="*/ 7074 w 10000"/>
              <a:gd name="connsiteY74" fmla="*/ 7501 h 10000"/>
              <a:gd name="connsiteX75" fmla="*/ 7152 w 10000"/>
              <a:gd name="connsiteY75" fmla="*/ 7351 h 10000"/>
              <a:gd name="connsiteX76" fmla="*/ 7130 w 10000"/>
              <a:gd name="connsiteY76" fmla="*/ 7305 h 10000"/>
              <a:gd name="connsiteX77" fmla="*/ 6729 w 10000"/>
              <a:gd name="connsiteY77" fmla="*/ 7193 h 10000"/>
              <a:gd name="connsiteX78" fmla="*/ 6785 w 10000"/>
              <a:gd name="connsiteY78" fmla="*/ 7188 h 10000"/>
              <a:gd name="connsiteX79" fmla="*/ 6998 w 10000"/>
              <a:gd name="connsiteY79" fmla="*/ 7218 h 10000"/>
              <a:gd name="connsiteX80" fmla="*/ 7230 w 10000"/>
              <a:gd name="connsiteY80" fmla="*/ 7207 h 10000"/>
              <a:gd name="connsiteX81" fmla="*/ 7295 w 10000"/>
              <a:gd name="connsiteY81" fmla="*/ 7166 h 10000"/>
              <a:gd name="connsiteX82" fmla="*/ 7074 w 10000"/>
              <a:gd name="connsiteY82" fmla="*/ 7089 h 10000"/>
              <a:gd name="connsiteX83" fmla="*/ 6414 w 10000"/>
              <a:gd name="connsiteY83" fmla="*/ 7038 h 10000"/>
              <a:gd name="connsiteX84" fmla="*/ 6458 w 10000"/>
              <a:gd name="connsiteY84" fmla="*/ 7015 h 10000"/>
              <a:gd name="connsiteX85" fmla="*/ 6998 w 10000"/>
              <a:gd name="connsiteY85" fmla="*/ 6999 h 10000"/>
              <a:gd name="connsiteX86" fmla="*/ 7295 w 10000"/>
              <a:gd name="connsiteY86" fmla="*/ 7045 h 10000"/>
              <a:gd name="connsiteX87" fmla="*/ 7466 w 10000"/>
              <a:gd name="connsiteY87" fmla="*/ 7015 h 10000"/>
              <a:gd name="connsiteX88" fmla="*/ 7529 w 10000"/>
              <a:gd name="connsiteY88" fmla="*/ 6934 h 10000"/>
              <a:gd name="connsiteX89" fmla="*/ 7840 w 10000"/>
              <a:gd name="connsiteY89" fmla="*/ 6934 h 10000"/>
              <a:gd name="connsiteX90" fmla="*/ 8261 w 10000"/>
              <a:gd name="connsiteY90" fmla="*/ 6773 h 10000"/>
              <a:gd name="connsiteX91" fmla="*/ 8275 w 10000"/>
              <a:gd name="connsiteY91" fmla="*/ 6666 h 10000"/>
              <a:gd name="connsiteX92" fmla="*/ 8453 w 10000"/>
              <a:gd name="connsiteY92" fmla="*/ 6691 h 10000"/>
              <a:gd name="connsiteX93" fmla="*/ 8446 w 10000"/>
              <a:gd name="connsiteY93" fmla="*/ 6798 h 10000"/>
              <a:gd name="connsiteX94" fmla="*/ 8727 w 10000"/>
              <a:gd name="connsiteY94" fmla="*/ 6791 h 10000"/>
              <a:gd name="connsiteX95" fmla="*/ 8913 w 10000"/>
              <a:gd name="connsiteY95" fmla="*/ 6680 h 10000"/>
              <a:gd name="connsiteX96" fmla="*/ 9258 w 10000"/>
              <a:gd name="connsiteY96" fmla="*/ 6579 h 10000"/>
              <a:gd name="connsiteX97" fmla="*/ 9203 w 10000"/>
              <a:gd name="connsiteY97" fmla="*/ 6464 h 10000"/>
              <a:gd name="connsiteX98" fmla="*/ 9306 w 10000"/>
              <a:gd name="connsiteY98" fmla="*/ 6510 h 10000"/>
              <a:gd name="connsiteX99" fmla="*/ 9464 w 10000"/>
              <a:gd name="connsiteY99" fmla="*/ 6510 h 10000"/>
              <a:gd name="connsiteX100" fmla="*/ 9464 w 10000"/>
              <a:gd name="connsiteY100" fmla="*/ 6457 h 10000"/>
              <a:gd name="connsiteX101" fmla="*/ 9611 w 10000"/>
              <a:gd name="connsiteY101" fmla="*/ 6417 h 10000"/>
              <a:gd name="connsiteX102" fmla="*/ 9592 w 10000"/>
              <a:gd name="connsiteY102" fmla="*/ 6376 h 10000"/>
              <a:gd name="connsiteX103" fmla="*/ 8350 w 10000"/>
              <a:gd name="connsiteY103" fmla="*/ 6459 h 10000"/>
              <a:gd name="connsiteX104" fmla="*/ 8058 w 10000"/>
              <a:gd name="connsiteY104" fmla="*/ 6434 h 10000"/>
              <a:gd name="connsiteX105" fmla="*/ 7942 w 10000"/>
              <a:gd name="connsiteY105" fmla="*/ 6464 h 10000"/>
              <a:gd name="connsiteX106" fmla="*/ 7903 w 10000"/>
              <a:gd name="connsiteY106" fmla="*/ 6407 h 10000"/>
              <a:gd name="connsiteX107" fmla="*/ 7765 w 10000"/>
              <a:gd name="connsiteY107" fmla="*/ 6355 h 10000"/>
              <a:gd name="connsiteX108" fmla="*/ 7213 w 10000"/>
              <a:gd name="connsiteY108" fmla="*/ 6252 h 10000"/>
              <a:gd name="connsiteX109" fmla="*/ 6887 w 10000"/>
              <a:gd name="connsiteY109" fmla="*/ 6268 h 10000"/>
              <a:gd name="connsiteX110" fmla="*/ 6757 w 10000"/>
              <a:gd name="connsiteY110" fmla="*/ 6239 h 10000"/>
              <a:gd name="connsiteX111" fmla="*/ 6894 w 10000"/>
              <a:gd name="connsiteY111" fmla="*/ 6213 h 10000"/>
              <a:gd name="connsiteX112" fmla="*/ 6998 w 10000"/>
              <a:gd name="connsiteY112" fmla="*/ 6158 h 10000"/>
              <a:gd name="connsiteX113" fmla="*/ 7152 w 10000"/>
              <a:gd name="connsiteY113" fmla="*/ 6176 h 10000"/>
              <a:gd name="connsiteX114" fmla="*/ 7335 w 10000"/>
              <a:gd name="connsiteY114" fmla="*/ 6161 h 10000"/>
              <a:gd name="connsiteX115" fmla="*/ 7611 w 10000"/>
              <a:gd name="connsiteY115" fmla="*/ 6179 h 10000"/>
              <a:gd name="connsiteX116" fmla="*/ 7645 w 10000"/>
              <a:gd name="connsiteY116" fmla="*/ 6172 h 10000"/>
              <a:gd name="connsiteX117" fmla="*/ 7859 w 10000"/>
              <a:gd name="connsiteY117" fmla="*/ 6257 h 10000"/>
              <a:gd name="connsiteX118" fmla="*/ 8017 w 10000"/>
              <a:gd name="connsiteY118" fmla="*/ 6226 h 10000"/>
              <a:gd name="connsiteX119" fmla="*/ 8032 w 10000"/>
              <a:gd name="connsiteY119" fmla="*/ 6197 h 10000"/>
              <a:gd name="connsiteX120" fmla="*/ 8176 w 10000"/>
              <a:gd name="connsiteY120" fmla="*/ 6247 h 10000"/>
              <a:gd name="connsiteX121" fmla="*/ 8369 w 10000"/>
              <a:gd name="connsiteY121" fmla="*/ 6274 h 10000"/>
              <a:gd name="connsiteX122" fmla="*/ 8446 w 10000"/>
              <a:gd name="connsiteY122" fmla="*/ 6224 h 10000"/>
              <a:gd name="connsiteX123" fmla="*/ 8507 w 10000"/>
              <a:gd name="connsiteY123" fmla="*/ 6252 h 10000"/>
              <a:gd name="connsiteX124" fmla="*/ 8596 w 10000"/>
              <a:gd name="connsiteY124" fmla="*/ 6348 h 10000"/>
              <a:gd name="connsiteX125" fmla="*/ 8782 w 10000"/>
              <a:gd name="connsiteY125" fmla="*/ 6370 h 10000"/>
              <a:gd name="connsiteX126" fmla="*/ 9542 w 10000"/>
              <a:gd name="connsiteY126" fmla="*/ 6228 h 10000"/>
              <a:gd name="connsiteX127" fmla="*/ 9914 w 10000"/>
              <a:gd name="connsiteY127" fmla="*/ 6031 h 10000"/>
              <a:gd name="connsiteX128" fmla="*/ 10000 w 10000"/>
              <a:gd name="connsiteY128" fmla="*/ 5887 h 10000"/>
              <a:gd name="connsiteX129" fmla="*/ 9866 w 10000"/>
              <a:gd name="connsiteY129" fmla="*/ 5757 h 10000"/>
              <a:gd name="connsiteX130" fmla="*/ 9582 w 10000"/>
              <a:gd name="connsiteY130" fmla="*/ 5679 h 10000"/>
              <a:gd name="connsiteX131" fmla="*/ 9382 w 10000"/>
              <a:gd name="connsiteY131" fmla="*/ 5552 h 10000"/>
              <a:gd name="connsiteX132" fmla="*/ 9569 w 10000"/>
              <a:gd name="connsiteY132" fmla="*/ 5547 h 10000"/>
              <a:gd name="connsiteX133" fmla="*/ 9555 w 10000"/>
              <a:gd name="connsiteY133" fmla="*/ 5517 h 10000"/>
              <a:gd name="connsiteX134" fmla="*/ 9068 w 10000"/>
              <a:gd name="connsiteY134" fmla="*/ 5427 h 10000"/>
              <a:gd name="connsiteX135" fmla="*/ 9047 w 10000"/>
              <a:gd name="connsiteY135" fmla="*/ 5345 h 10000"/>
              <a:gd name="connsiteX136" fmla="*/ 8953 w 10000"/>
              <a:gd name="connsiteY136" fmla="*/ 5260 h 10000"/>
              <a:gd name="connsiteX137" fmla="*/ 8569 w 10000"/>
              <a:gd name="connsiteY137" fmla="*/ 5275 h 10000"/>
              <a:gd name="connsiteX138" fmla="*/ 8431 w 10000"/>
              <a:gd name="connsiteY138" fmla="*/ 5184 h 10000"/>
              <a:gd name="connsiteX139" fmla="*/ 8350 w 10000"/>
              <a:gd name="connsiteY139" fmla="*/ 5179 h 10000"/>
              <a:gd name="connsiteX140" fmla="*/ 8350 w 10000"/>
              <a:gd name="connsiteY140" fmla="*/ 5217 h 10000"/>
              <a:gd name="connsiteX141" fmla="*/ 8176 w 10000"/>
              <a:gd name="connsiteY141" fmla="*/ 5370 h 10000"/>
              <a:gd name="connsiteX142" fmla="*/ 7990 w 10000"/>
              <a:gd name="connsiteY142" fmla="*/ 5461 h 10000"/>
              <a:gd name="connsiteX143" fmla="*/ 7401 w 10000"/>
              <a:gd name="connsiteY143" fmla="*/ 5615 h 10000"/>
              <a:gd name="connsiteX144" fmla="*/ 7198 w 10000"/>
              <a:gd name="connsiteY144" fmla="*/ 5610 h 10000"/>
              <a:gd name="connsiteX145" fmla="*/ 6915 w 10000"/>
              <a:gd name="connsiteY145" fmla="*/ 5633 h 10000"/>
              <a:gd name="connsiteX146" fmla="*/ 6757 w 10000"/>
              <a:gd name="connsiteY146" fmla="*/ 5610 h 10000"/>
              <a:gd name="connsiteX147" fmla="*/ 6965 w 10000"/>
              <a:gd name="connsiteY147" fmla="*/ 5567 h 10000"/>
              <a:gd name="connsiteX148" fmla="*/ 7235 w 10000"/>
              <a:gd name="connsiteY148" fmla="*/ 5547 h 10000"/>
              <a:gd name="connsiteX149" fmla="*/ 7455 w 10000"/>
              <a:gd name="connsiteY149" fmla="*/ 5476 h 10000"/>
              <a:gd name="connsiteX150" fmla="*/ 7674 w 10000"/>
              <a:gd name="connsiteY150" fmla="*/ 5442 h 10000"/>
              <a:gd name="connsiteX151" fmla="*/ 8082 w 10000"/>
              <a:gd name="connsiteY151" fmla="*/ 5316 h 10000"/>
              <a:gd name="connsiteX152" fmla="*/ 8157 w 10000"/>
              <a:gd name="connsiteY152" fmla="*/ 5235 h 10000"/>
              <a:gd name="connsiteX153" fmla="*/ 8165 w 10000"/>
              <a:gd name="connsiteY153" fmla="*/ 5128 h 10000"/>
              <a:gd name="connsiteX154" fmla="*/ 7978 w 10000"/>
              <a:gd name="connsiteY154" fmla="*/ 5110 h 10000"/>
              <a:gd name="connsiteX155" fmla="*/ 8058 w 10000"/>
              <a:gd name="connsiteY155" fmla="*/ 5045 h 10000"/>
              <a:gd name="connsiteX156" fmla="*/ 8087 w 10000"/>
              <a:gd name="connsiteY156" fmla="*/ 4964 h 10000"/>
              <a:gd name="connsiteX157" fmla="*/ 8007 w 10000"/>
              <a:gd name="connsiteY157" fmla="*/ 4886 h 10000"/>
              <a:gd name="connsiteX158" fmla="*/ 6334 w 10000"/>
              <a:gd name="connsiteY158" fmla="*/ 0 h 10000"/>
              <a:gd name="connsiteX159" fmla="*/ 5629 w 10000"/>
              <a:gd name="connsiteY159" fmla="*/ 838 h 10000"/>
              <a:gd name="connsiteX160" fmla="*/ 4802 w 10000"/>
              <a:gd name="connsiteY160" fmla="*/ 1312 h 10000"/>
              <a:gd name="connsiteX161" fmla="*/ 4809 w 10000"/>
              <a:gd name="connsiteY161" fmla="*/ 1387 h 10000"/>
              <a:gd name="connsiteX162" fmla="*/ 5176 w 10000"/>
              <a:gd name="connsiteY162" fmla="*/ 1599 h 10000"/>
              <a:gd name="connsiteX163" fmla="*/ 5057 w 10000"/>
              <a:gd name="connsiteY163" fmla="*/ 1829 h 10000"/>
              <a:gd name="connsiteX164" fmla="*/ 4842 w 10000"/>
              <a:gd name="connsiteY164" fmla="*/ 1913 h 10000"/>
              <a:gd name="connsiteX165" fmla="*/ 4200 w 10000"/>
              <a:gd name="connsiteY165" fmla="*/ 1858 h 10000"/>
              <a:gd name="connsiteX166" fmla="*/ 3760 w 10000"/>
              <a:gd name="connsiteY166" fmla="*/ 1889 h 10000"/>
              <a:gd name="connsiteX167" fmla="*/ 3405 w 10000"/>
              <a:gd name="connsiteY167" fmla="*/ 1957 h 10000"/>
              <a:gd name="connsiteX168" fmla="*/ 2832 w 10000"/>
              <a:gd name="connsiteY168" fmla="*/ 2169 h 10000"/>
              <a:gd name="connsiteX169" fmla="*/ 2528 w 10000"/>
              <a:gd name="connsiteY169" fmla="*/ 2425 h 10000"/>
              <a:gd name="connsiteX170" fmla="*/ 2555 w 10000"/>
              <a:gd name="connsiteY170" fmla="*/ 2568 h 10000"/>
              <a:gd name="connsiteX171" fmla="*/ 2661 w 10000"/>
              <a:gd name="connsiteY171" fmla="*/ 2678 h 10000"/>
              <a:gd name="connsiteX172" fmla="*/ 2741 w 10000"/>
              <a:gd name="connsiteY172" fmla="*/ 2722 h 10000"/>
              <a:gd name="connsiteX173" fmla="*/ 2592 w 10000"/>
              <a:gd name="connsiteY173" fmla="*/ 2793 h 10000"/>
              <a:gd name="connsiteX174" fmla="*/ 2267 w 10000"/>
              <a:gd name="connsiteY174" fmla="*/ 3275 h 10000"/>
              <a:gd name="connsiteX175" fmla="*/ 2330 w 10000"/>
              <a:gd name="connsiteY175" fmla="*/ 3303 h 10000"/>
              <a:gd name="connsiteX176" fmla="*/ 2375 w 10000"/>
              <a:gd name="connsiteY176" fmla="*/ 3425 h 10000"/>
              <a:gd name="connsiteX177" fmla="*/ 2226 w 10000"/>
              <a:gd name="connsiteY177" fmla="*/ 3933 h 10000"/>
              <a:gd name="connsiteX178" fmla="*/ 2375 w 10000"/>
              <a:gd name="connsiteY178" fmla="*/ 4062 h 10000"/>
              <a:gd name="connsiteX179" fmla="*/ 2791 w 10000"/>
              <a:gd name="connsiteY179" fmla="*/ 4204 h 10000"/>
              <a:gd name="connsiteX180" fmla="*/ 2808 w 10000"/>
              <a:gd name="connsiteY180" fmla="*/ 4377 h 10000"/>
              <a:gd name="connsiteX181" fmla="*/ 2632 w 10000"/>
              <a:gd name="connsiteY181" fmla="*/ 4521 h 10000"/>
              <a:gd name="connsiteX182" fmla="*/ 2375 w 10000"/>
              <a:gd name="connsiteY182" fmla="*/ 4608 h 10000"/>
              <a:gd name="connsiteX183" fmla="*/ 2039 w 10000"/>
              <a:gd name="connsiteY183" fmla="*/ 4643 h 10000"/>
              <a:gd name="connsiteX184" fmla="*/ 1950 w 10000"/>
              <a:gd name="connsiteY184" fmla="*/ 4694 h 10000"/>
              <a:gd name="connsiteX185" fmla="*/ 2148 w 10000"/>
              <a:gd name="connsiteY185" fmla="*/ 4813 h 10000"/>
              <a:gd name="connsiteX186" fmla="*/ 2261 w 10000"/>
              <a:gd name="connsiteY186" fmla="*/ 5096 h 10000"/>
              <a:gd name="connsiteX187" fmla="*/ 2005 w 10000"/>
              <a:gd name="connsiteY187" fmla="*/ 5338 h 10000"/>
              <a:gd name="connsiteX188" fmla="*/ 2094 w 10000"/>
              <a:gd name="connsiteY188" fmla="*/ 5413 h 10000"/>
              <a:gd name="connsiteX189" fmla="*/ 2012 w 10000"/>
              <a:gd name="connsiteY189" fmla="*/ 5540 h 10000"/>
              <a:gd name="connsiteX190" fmla="*/ 1850 w 10000"/>
              <a:gd name="connsiteY190" fmla="*/ 5627 h 10000"/>
              <a:gd name="connsiteX191" fmla="*/ 1199 w 10000"/>
              <a:gd name="connsiteY191" fmla="*/ 5694 h 10000"/>
              <a:gd name="connsiteX192" fmla="*/ 1158 w 10000"/>
              <a:gd name="connsiteY192" fmla="*/ 5811 h 10000"/>
              <a:gd name="connsiteX193" fmla="*/ 808 w 10000"/>
              <a:gd name="connsiteY193" fmla="*/ 5986 h 10000"/>
              <a:gd name="connsiteX194" fmla="*/ 854 w 10000"/>
              <a:gd name="connsiteY194" fmla="*/ 6237 h 10000"/>
              <a:gd name="connsiteX195" fmla="*/ 560 w 10000"/>
              <a:gd name="connsiteY195" fmla="*/ 6559 h 10000"/>
              <a:gd name="connsiteX196" fmla="*/ 358 w 10000"/>
              <a:gd name="connsiteY196" fmla="*/ 6596 h 10000"/>
              <a:gd name="connsiteX197" fmla="*/ 275 w 10000"/>
              <a:gd name="connsiteY197" fmla="*/ 6520 h 10000"/>
              <a:gd name="connsiteX198" fmla="*/ 174 w 10000"/>
              <a:gd name="connsiteY198" fmla="*/ 6636 h 10000"/>
              <a:gd name="connsiteX199" fmla="*/ 239 w 10000"/>
              <a:gd name="connsiteY199" fmla="*/ 6436 h 10000"/>
              <a:gd name="connsiteX200" fmla="*/ 197 w 10000"/>
              <a:gd name="connsiteY200" fmla="*/ 6398 h 10000"/>
              <a:gd name="connsiteX0" fmla="*/ 197 w 10000"/>
              <a:gd name="connsiteY0" fmla="*/ 5560 h 9162"/>
              <a:gd name="connsiteX1" fmla="*/ 0 w 10000"/>
              <a:gd name="connsiteY1" fmla="*/ 5664 h 9162"/>
              <a:gd name="connsiteX2" fmla="*/ 0 w 10000"/>
              <a:gd name="connsiteY2" fmla="*/ 6177 h 9162"/>
              <a:gd name="connsiteX3" fmla="*/ 109 w 10000"/>
              <a:gd name="connsiteY3" fmla="*/ 6191 h 9162"/>
              <a:gd name="connsiteX4" fmla="*/ 134 w 10000"/>
              <a:gd name="connsiteY4" fmla="*/ 6230 h 9162"/>
              <a:gd name="connsiteX5" fmla="*/ 130 w 10000"/>
              <a:gd name="connsiteY5" fmla="*/ 6300 h 9162"/>
              <a:gd name="connsiteX6" fmla="*/ 89 w 10000"/>
              <a:gd name="connsiteY6" fmla="*/ 6331 h 9162"/>
              <a:gd name="connsiteX7" fmla="*/ 255 w 10000"/>
              <a:gd name="connsiteY7" fmla="*/ 6271 h 9162"/>
              <a:gd name="connsiteX8" fmla="*/ 325 w 10000"/>
              <a:gd name="connsiteY8" fmla="*/ 6213 h 9162"/>
              <a:gd name="connsiteX9" fmla="*/ 413 w 10000"/>
              <a:gd name="connsiteY9" fmla="*/ 6253 h 9162"/>
              <a:gd name="connsiteX10" fmla="*/ 316 w 10000"/>
              <a:gd name="connsiteY10" fmla="*/ 6337 h 9162"/>
              <a:gd name="connsiteX11" fmla="*/ 419 w 10000"/>
              <a:gd name="connsiteY11" fmla="*/ 6339 h 9162"/>
              <a:gd name="connsiteX12" fmla="*/ 469 w 10000"/>
              <a:gd name="connsiteY12" fmla="*/ 6360 h 9162"/>
              <a:gd name="connsiteX13" fmla="*/ 337 w 10000"/>
              <a:gd name="connsiteY13" fmla="*/ 6387 h 9162"/>
              <a:gd name="connsiteX14" fmla="*/ 130 w 10000"/>
              <a:gd name="connsiteY14" fmla="*/ 6473 h 9162"/>
              <a:gd name="connsiteX15" fmla="*/ 497 w 10000"/>
              <a:gd name="connsiteY15" fmla="*/ 6541 h 9162"/>
              <a:gd name="connsiteX16" fmla="*/ 545 w 10000"/>
              <a:gd name="connsiteY16" fmla="*/ 6637 h 9162"/>
              <a:gd name="connsiteX17" fmla="*/ 419 w 10000"/>
              <a:gd name="connsiteY17" fmla="*/ 6778 h 9162"/>
              <a:gd name="connsiteX18" fmla="*/ 688 w 10000"/>
              <a:gd name="connsiteY18" fmla="*/ 6769 h 9162"/>
              <a:gd name="connsiteX19" fmla="*/ 709 w 10000"/>
              <a:gd name="connsiteY19" fmla="*/ 6876 h 9162"/>
              <a:gd name="connsiteX20" fmla="*/ 530 w 10000"/>
              <a:gd name="connsiteY20" fmla="*/ 6949 h 9162"/>
              <a:gd name="connsiteX21" fmla="*/ 560 w 10000"/>
              <a:gd name="connsiteY21" fmla="*/ 7090 h 9162"/>
              <a:gd name="connsiteX22" fmla="*/ 489 w 10000"/>
              <a:gd name="connsiteY22" fmla="*/ 7199 h 9162"/>
              <a:gd name="connsiteX23" fmla="*/ 703 w 10000"/>
              <a:gd name="connsiteY23" fmla="*/ 7209 h 9162"/>
              <a:gd name="connsiteX24" fmla="*/ 909 w 10000"/>
              <a:gd name="connsiteY24" fmla="*/ 7627 h 9162"/>
              <a:gd name="connsiteX25" fmla="*/ 1150 w 10000"/>
              <a:gd name="connsiteY25" fmla="*/ 7733 h 9162"/>
              <a:gd name="connsiteX26" fmla="*/ 1255 w 10000"/>
              <a:gd name="connsiteY26" fmla="*/ 7846 h 9162"/>
              <a:gd name="connsiteX27" fmla="*/ 1514 w 10000"/>
              <a:gd name="connsiteY27" fmla="*/ 7928 h 9162"/>
              <a:gd name="connsiteX28" fmla="*/ 1684 w 10000"/>
              <a:gd name="connsiteY28" fmla="*/ 8034 h 9162"/>
              <a:gd name="connsiteX29" fmla="*/ 1661 w 10000"/>
              <a:gd name="connsiteY29" fmla="*/ 8109 h 9162"/>
              <a:gd name="connsiteX30" fmla="*/ 1496 w 10000"/>
              <a:gd name="connsiteY30" fmla="*/ 8137 h 9162"/>
              <a:gd name="connsiteX31" fmla="*/ 1316 w 10000"/>
              <a:gd name="connsiteY31" fmla="*/ 8119 h 9162"/>
              <a:gd name="connsiteX32" fmla="*/ 1260 w 10000"/>
              <a:gd name="connsiteY32" fmla="*/ 8150 h 9162"/>
              <a:gd name="connsiteX33" fmla="*/ 1397 w 10000"/>
              <a:gd name="connsiteY33" fmla="*/ 8313 h 9162"/>
              <a:gd name="connsiteX34" fmla="*/ 1205 w 10000"/>
              <a:gd name="connsiteY34" fmla="*/ 8299 h 9162"/>
              <a:gd name="connsiteX35" fmla="*/ 1040 w 10000"/>
              <a:gd name="connsiteY35" fmla="*/ 8260 h 9162"/>
              <a:gd name="connsiteX36" fmla="*/ 1012 w 10000"/>
              <a:gd name="connsiteY36" fmla="*/ 8320 h 9162"/>
              <a:gd name="connsiteX37" fmla="*/ 1557 w 10000"/>
              <a:gd name="connsiteY37" fmla="*/ 8878 h 9162"/>
              <a:gd name="connsiteX38" fmla="*/ 1469 w 10000"/>
              <a:gd name="connsiteY38" fmla="*/ 8930 h 9162"/>
              <a:gd name="connsiteX39" fmla="*/ 1408 w 10000"/>
              <a:gd name="connsiteY39" fmla="*/ 9037 h 9162"/>
              <a:gd name="connsiteX40" fmla="*/ 1329 w 10000"/>
              <a:gd name="connsiteY40" fmla="*/ 9046 h 9162"/>
              <a:gd name="connsiteX41" fmla="*/ 1281 w 10000"/>
              <a:gd name="connsiteY41" fmla="*/ 9092 h 9162"/>
              <a:gd name="connsiteX42" fmla="*/ 1609 w 10000"/>
              <a:gd name="connsiteY42" fmla="*/ 9097 h 9162"/>
              <a:gd name="connsiteX43" fmla="*/ 1900 w 10000"/>
              <a:gd name="connsiteY43" fmla="*/ 9144 h 9162"/>
              <a:gd name="connsiteX44" fmla="*/ 2383 w 10000"/>
              <a:gd name="connsiteY44" fmla="*/ 9094 h 9162"/>
              <a:gd name="connsiteX45" fmla="*/ 2816 w 10000"/>
              <a:gd name="connsiteY45" fmla="*/ 9103 h 9162"/>
              <a:gd name="connsiteX46" fmla="*/ 3072 w 10000"/>
              <a:gd name="connsiteY46" fmla="*/ 9162 h 9162"/>
              <a:gd name="connsiteX47" fmla="*/ 3212 w 10000"/>
              <a:gd name="connsiteY47" fmla="*/ 9123 h 9162"/>
              <a:gd name="connsiteX48" fmla="*/ 3348 w 10000"/>
              <a:gd name="connsiteY48" fmla="*/ 8995 h 9162"/>
              <a:gd name="connsiteX49" fmla="*/ 3313 w 10000"/>
              <a:gd name="connsiteY49" fmla="*/ 8784 h 9162"/>
              <a:gd name="connsiteX50" fmla="*/ 3642 w 10000"/>
              <a:gd name="connsiteY50" fmla="*/ 8549 h 9162"/>
              <a:gd name="connsiteX51" fmla="*/ 3883 w 10000"/>
              <a:gd name="connsiteY51" fmla="*/ 8586 h 9162"/>
              <a:gd name="connsiteX52" fmla="*/ 4025 w 10000"/>
              <a:gd name="connsiteY52" fmla="*/ 8492 h 9162"/>
              <a:gd name="connsiteX53" fmla="*/ 4294 w 10000"/>
              <a:gd name="connsiteY53" fmla="*/ 8438 h 9162"/>
              <a:gd name="connsiteX54" fmla="*/ 4658 w 10000"/>
              <a:gd name="connsiteY54" fmla="*/ 8451 h 9162"/>
              <a:gd name="connsiteX55" fmla="*/ 4878 w 10000"/>
              <a:gd name="connsiteY55" fmla="*/ 8489 h 9162"/>
              <a:gd name="connsiteX56" fmla="*/ 5170 w 10000"/>
              <a:gd name="connsiteY56" fmla="*/ 8472 h 9162"/>
              <a:gd name="connsiteX57" fmla="*/ 5464 w 10000"/>
              <a:gd name="connsiteY57" fmla="*/ 8513 h 9162"/>
              <a:gd name="connsiteX58" fmla="*/ 5759 w 10000"/>
              <a:gd name="connsiteY58" fmla="*/ 8518 h 9162"/>
              <a:gd name="connsiteX59" fmla="*/ 6419 w 10000"/>
              <a:gd name="connsiteY59" fmla="*/ 7970 h 9162"/>
              <a:gd name="connsiteX60" fmla="*/ 6586 w 10000"/>
              <a:gd name="connsiteY60" fmla="*/ 7523 h 9162"/>
              <a:gd name="connsiteX61" fmla="*/ 6855 w 10000"/>
              <a:gd name="connsiteY61" fmla="*/ 7324 h 9162"/>
              <a:gd name="connsiteX62" fmla="*/ 6855 w 10000"/>
              <a:gd name="connsiteY62" fmla="*/ 7219 h 9162"/>
              <a:gd name="connsiteX63" fmla="*/ 6757 w 10000"/>
              <a:gd name="connsiteY63" fmla="*/ 7160 h 9162"/>
              <a:gd name="connsiteX64" fmla="*/ 6915 w 10000"/>
              <a:gd name="connsiteY64" fmla="*/ 7067 h 9162"/>
              <a:gd name="connsiteX65" fmla="*/ 6887 w 10000"/>
              <a:gd name="connsiteY65" fmla="*/ 6988 h 9162"/>
              <a:gd name="connsiteX66" fmla="*/ 6779 w 10000"/>
              <a:gd name="connsiteY66" fmla="*/ 6920 h 9162"/>
              <a:gd name="connsiteX67" fmla="*/ 6757 w 10000"/>
              <a:gd name="connsiteY67" fmla="*/ 6871 h 9162"/>
              <a:gd name="connsiteX68" fmla="*/ 6785 w 10000"/>
              <a:gd name="connsiteY68" fmla="*/ 6834 h 9162"/>
              <a:gd name="connsiteX69" fmla="*/ 6931 w 10000"/>
              <a:gd name="connsiteY69" fmla="*/ 6864 h 9162"/>
              <a:gd name="connsiteX70" fmla="*/ 7045 w 10000"/>
              <a:gd name="connsiteY70" fmla="*/ 6862 h 9162"/>
              <a:gd name="connsiteX71" fmla="*/ 6983 w 10000"/>
              <a:gd name="connsiteY71" fmla="*/ 6798 h 9162"/>
              <a:gd name="connsiteX72" fmla="*/ 7003 w 10000"/>
              <a:gd name="connsiteY72" fmla="*/ 6761 h 9162"/>
              <a:gd name="connsiteX73" fmla="*/ 7089 w 10000"/>
              <a:gd name="connsiteY73" fmla="*/ 6707 h 9162"/>
              <a:gd name="connsiteX74" fmla="*/ 7074 w 10000"/>
              <a:gd name="connsiteY74" fmla="*/ 6663 h 9162"/>
              <a:gd name="connsiteX75" fmla="*/ 7152 w 10000"/>
              <a:gd name="connsiteY75" fmla="*/ 6513 h 9162"/>
              <a:gd name="connsiteX76" fmla="*/ 7130 w 10000"/>
              <a:gd name="connsiteY76" fmla="*/ 6467 h 9162"/>
              <a:gd name="connsiteX77" fmla="*/ 6729 w 10000"/>
              <a:gd name="connsiteY77" fmla="*/ 6355 h 9162"/>
              <a:gd name="connsiteX78" fmla="*/ 6785 w 10000"/>
              <a:gd name="connsiteY78" fmla="*/ 6350 h 9162"/>
              <a:gd name="connsiteX79" fmla="*/ 6998 w 10000"/>
              <a:gd name="connsiteY79" fmla="*/ 6380 h 9162"/>
              <a:gd name="connsiteX80" fmla="*/ 7230 w 10000"/>
              <a:gd name="connsiteY80" fmla="*/ 6369 h 9162"/>
              <a:gd name="connsiteX81" fmla="*/ 7295 w 10000"/>
              <a:gd name="connsiteY81" fmla="*/ 6328 h 9162"/>
              <a:gd name="connsiteX82" fmla="*/ 7074 w 10000"/>
              <a:gd name="connsiteY82" fmla="*/ 6251 h 9162"/>
              <a:gd name="connsiteX83" fmla="*/ 6414 w 10000"/>
              <a:gd name="connsiteY83" fmla="*/ 6200 h 9162"/>
              <a:gd name="connsiteX84" fmla="*/ 6458 w 10000"/>
              <a:gd name="connsiteY84" fmla="*/ 6177 h 9162"/>
              <a:gd name="connsiteX85" fmla="*/ 6998 w 10000"/>
              <a:gd name="connsiteY85" fmla="*/ 6161 h 9162"/>
              <a:gd name="connsiteX86" fmla="*/ 7295 w 10000"/>
              <a:gd name="connsiteY86" fmla="*/ 6207 h 9162"/>
              <a:gd name="connsiteX87" fmla="*/ 7466 w 10000"/>
              <a:gd name="connsiteY87" fmla="*/ 6177 h 9162"/>
              <a:gd name="connsiteX88" fmla="*/ 7529 w 10000"/>
              <a:gd name="connsiteY88" fmla="*/ 6096 h 9162"/>
              <a:gd name="connsiteX89" fmla="*/ 7840 w 10000"/>
              <a:gd name="connsiteY89" fmla="*/ 6096 h 9162"/>
              <a:gd name="connsiteX90" fmla="*/ 8261 w 10000"/>
              <a:gd name="connsiteY90" fmla="*/ 5935 h 9162"/>
              <a:gd name="connsiteX91" fmla="*/ 8275 w 10000"/>
              <a:gd name="connsiteY91" fmla="*/ 5828 h 9162"/>
              <a:gd name="connsiteX92" fmla="*/ 8453 w 10000"/>
              <a:gd name="connsiteY92" fmla="*/ 5853 h 9162"/>
              <a:gd name="connsiteX93" fmla="*/ 8446 w 10000"/>
              <a:gd name="connsiteY93" fmla="*/ 5960 h 9162"/>
              <a:gd name="connsiteX94" fmla="*/ 8727 w 10000"/>
              <a:gd name="connsiteY94" fmla="*/ 5953 h 9162"/>
              <a:gd name="connsiteX95" fmla="*/ 8913 w 10000"/>
              <a:gd name="connsiteY95" fmla="*/ 5842 h 9162"/>
              <a:gd name="connsiteX96" fmla="*/ 9258 w 10000"/>
              <a:gd name="connsiteY96" fmla="*/ 5741 h 9162"/>
              <a:gd name="connsiteX97" fmla="*/ 9203 w 10000"/>
              <a:gd name="connsiteY97" fmla="*/ 5626 h 9162"/>
              <a:gd name="connsiteX98" fmla="*/ 9306 w 10000"/>
              <a:gd name="connsiteY98" fmla="*/ 5672 h 9162"/>
              <a:gd name="connsiteX99" fmla="*/ 9464 w 10000"/>
              <a:gd name="connsiteY99" fmla="*/ 5672 h 9162"/>
              <a:gd name="connsiteX100" fmla="*/ 9464 w 10000"/>
              <a:gd name="connsiteY100" fmla="*/ 5619 h 9162"/>
              <a:gd name="connsiteX101" fmla="*/ 9611 w 10000"/>
              <a:gd name="connsiteY101" fmla="*/ 5579 h 9162"/>
              <a:gd name="connsiteX102" fmla="*/ 9592 w 10000"/>
              <a:gd name="connsiteY102" fmla="*/ 5538 h 9162"/>
              <a:gd name="connsiteX103" fmla="*/ 8350 w 10000"/>
              <a:gd name="connsiteY103" fmla="*/ 5621 h 9162"/>
              <a:gd name="connsiteX104" fmla="*/ 8058 w 10000"/>
              <a:gd name="connsiteY104" fmla="*/ 5596 h 9162"/>
              <a:gd name="connsiteX105" fmla="*/ 7942 w 10000"/>
              <a:gd name="connsiteY105" fmla="*/ 5626 h 9162"/>
              <a:gd name="connsiteX106" fmla="*/ 7903 w 10000"/>
              <a:gd name="connsiteY106" fmla="*/ 5569 h 9162"/>
              <a:gd name="connsiteX107" fmla="*/ 7765 w 10000"/>
              <a:gd name="connsiteY107" fmla="*/ 5517 h 9162"/>
              <a:gd name="connsiteX108" fmla="*/ 7213 w 10000"/>
              <a:gd name="connsiteY108" fmla="*/ 5414 h 9162"/>
              <a:gd name="connsiteX109" fmla="*/ 6887 w 10000"/>
              <a:gd name="connsiteY109" fmla="*/ 5430 h 9162"/>
              <a:gd name="connsiteX110" fmla="*/ 6757 w 10000"/>
              <a:gd name="connsiteY110" fmla="*/ 5401 h 9162"/>
              <a:gd name="connsiteX111" fmla="*/ 6894 w 10000"/>
              <a:gd name="connsiteY111" fmla="*/ 5375 h 9162"/>
              <a:gd name="connsiteX112" fmla="*/ 6998 w 10000"/>
              <a:gd name="connsiteY112" fmla="*/ 5320 h 9162"/>
              <a:gd name="connsiteX113" fmla="*/ 7152 w 10000"/>
              <a:gd name="connsiteY113" fmla="*/ 5338 h 9162"/>
              <a:gd name="connsiteX114" fmla="*/ 7335 w 10000"/>
              <a:gd name="connsiteY114" fmla="*/ 5323 h 9162"/>
              <a:gd name="connsiteX115" fmla="*/ 7611 w 10000"/>
              <a:gd name="connsiteY115" fmla="*/ 5341 h 9162"/>
              <a:gd name="connsiteX116" fmla="*/ 7645 w 10000"/>
              <a:gd name="connsiteY116" fmla="*/ 5334 h 9162"/>
              <a:gd name="connsiteX117" fmla="*/ 7859 w 10000"/>
              <a:gd name="connsiteY117" fmla="*/ 5419 h 9162"/>
              <a:gd name="connsiteX118" fmla="*/ 8017 w 10000"/>
              <a:gd name="connsiteY118" fmla="*/ 5388 h 9162"/>
              <a:gd name="connsiteX119" fmla="*/ 8032 w 10000"/>
              <a:gd name="connsiteY119" fmla="*/ 5359 h 9162"/>
              <a:gd name="connsiteX120" fmla="*/ 8176 w 10000"/>
              <a:gd name="connsiteY120" fmla="*/ 5409 h 9162"/>
              <a:gd name="connsiteX121" fmla="*/ 8369 w 10000"/>
              <a:gd name="connsiteY121" fmla="*/ 5436 h 9162"/>
              <a:gd name="connsiteX122" fmla="*/ 8446 w 10000"/>
              <a:gd name="connsiteY122" fmla="*/ 5386 h 9162"/>
              <a:gd name="connsiteX123" fmla="*/ 8507 w 10000"/>
              <a:gd name="connsiteY123" fmla="*/ 5414 h 9162"/>
              <a:gd name="connsiteX124" fmla="*/ 8596 w 10000"/>
              <a:gd name="connsiteY124" fmla="*/ 5510 h 9162"/>
              <a:gd name="connsiteX125" fmla="*/ 8782 w 10000"/>
              <a:gd name="connsiteY125" fmla="*/ 5532 h 9162"/>
              <a:gd name="connsiteX126" fmla="*/ 9542 w 10000"/>
              <a:gd name="connsiteY126" fmla="*/ 5390 h 9162"/>
              <a:gd name="connsiteX127" fmla="*/ 9914 w 10000"/>
              <a:gd name="connsiteY127" fmla="*/ 5193 h 9162"/>
              <a:gd name="connsiteX128" fmla="*/ 10000 w 10000"/>
              <a:gd name="connsiteY128" fmla="*/ 5049 h 9162"/>
              <a:gd name="connsiteX129" fmla="*/ 9866 w 10000"/>
              <a:gd name="connsiteY129" fmla="*/ 4919 h 9162"/>
              <a:gd name="connsiteX130" fmla="*/ 9582 w 10000"/>
              <a:gd name="connsiteY130" fmla="*/ 4841 h 9162"/>
              <a:gd name="connsiteX131" fmla="*/ 9382 w 10000"/>
              <a:gd name="connsiteY131" fmla="*/ 4714 h 9162"/>
              <a:gd name="connsiteX132" fmla="*/ 9569 w 10000"/>
              <a:gd name="connsiteY132" fmla="*/ 4709 h 9162"/>
              <a:gd name="connsiteX133" fmla="*/ 9555 w 10000"/>
              <a:gd name="connsiteY133" fmla="*/ 4679 h 9162"/>
              <a:gd name="connsiteX134" fmla="*/ 9068 w 10000"/>
              <a:gd name="connsiteY134" fmla="*/ 4589 h 9162"/>
              <a:gd name="connsiteX135" fmla="*/ 9047 w 10000"/>
              <a:gd name="connsiteY135" fmla="*/ 4507 h 9162"/>
              <a:gd name="connsiteX136" fmla="*/ 8953 w 10000"/>
              <a:gd name="connsiteY136" fmla="*/ 4422 h 9162"/>
              <a:gd name="connsiteX137" fmla="*/ 8569 w 10000"/>
              <a:gd name="connsiteY137" fmla="*/ 4437 h 9162"/>
              <a:gd name="connsiteX138" fmla="*/ 8431 w 10000"/>
              <a:gd name="connsiteY138" fmla="*/ 4346 h 9162"/>
              <a:gd name="connsiteX139" fmla="*/ 8350 w 10000"/>
              <a:gd name="connsiteY139" fmla="*/ 4341 h 9162"/>
              <a:gd name="connsiteX140" fmla="*/ 8350 w 10000"/>
              <a:gd name="connsiteY140" fmla="*/ 4379 h 9162"/>
              <a:gd name="connsiteX141" fmla="*/ 8176 w 10000"/>
              <a:gd name="connsiteY141" fmla="*/ 4532 h 9162"/>
              <a:gd name="connsiteX142" fmla="*/ 7990 w 10000"/>
              <a:gd name="connsiteY142" fmla="*/ 4623 h 9162"/>
              <a:gd name="connsiteX143" fmla="*/ 7401 w 10000"/>
              <a:gd name="connsiteY143" fmla="*/ 4777 h 9162"/>
              <a:gd name="connsiteX144" fmla="*/ 7198 w 10000"/>
              <a:gd name="connsiteY144" fmla="*/ 4772 h 9162"/>
              <a:gd name="connsiteX145" fmla="*/ 6915 w 10000"/>
              <a:gd name="connsiteY145" fmla="*/ 4795 h 9162"/>
              <a:gd name="connsiteX146" fmla="*/ 6757 w 10000"/>
              <a:gd name="connsiteY146" fmla="*/ 4772 h 9162"/>
              <a:gd name="connsiteX147" fmla="*/ 6965 w 10000"/>
              <a:gd name="connsiteY147" fmla="*/ 4729 h 9162"/>
              <a:gd name="connsiteX148" fmla="*/ 7235 w 10000"/>
              <a:gd name="connsiteY148" fmla="*/ 4709 h 9162"/>
              <a:gd name="connsiteX149" fmla="*/ 7455 w 10000"/>
              <a:gd name="connsiteY149" fmla="*/ 4638 h 9162"/>
              <a:gd name="connsiteX150" fmla="*/ 7674 w 10000"/>
              <a:gd name="connsiteY150" fmla="*/ 4604 h 9162"/>
              <a:gd name="connsiteX151" fmla="*/ 8082 w 10000"/>
              <a:gd name="connsiteY151" fmla="*/ 4478 h 9162"/>
              <a:gd name="connsiteX152" fmla="*/ 8157 w 10000"/>
              <a:gd name="connsiteY152" fmla="*/ 4397 h 9162"/>
              <a:gd name="connsiteX153" fmla="*/ 8165 w 10000"/>
              <a:gd name="connsiteY153" fmla="*/ 4290 h 9162"/>
              <a:gd name="connsiteX154" fmla="*/ 7978 w 10000"/>
              <a:gd name="connsiteY154" fmla="*/ 4272 h 9162"/>
              <a:gd name="connsiteX155" fmla="*/ 8058 w 10000"/>
              <a:gd name="connsiteY155" fmla="*/ 4207 h 9162"/>
              <a:gd name="connsiteX156" fmla="*/ 8087 w 10000"/>
              <a:gd name="connsiteY156" fmla="*/ 4126 h 9162"/>
              <a:gd name="connsiteX157" fmla="*/ 8007 w 10000"/>
              <a:gd name="connsiteY157" fmla="*/ 4048 h 9162"/>
              <a:gd name="connsiteX158" fmla="*/ 5629 w 10000"/>
              <a:gd name="connsiteY158" fmla="*/ 0 h 9162"/>
              <a:gd name="connsiteX159" fmla="*/ 4802 w 10000"/>
              <a:gd name="connsiteY159" fmla="*/ 474 h 9162"/>
              <a:gd name="connsiteX160" fmla="*/ 4809 w 10000"/>
              <a:gd name="connsiteY160" fmla="*/ 549 h 9162"/>
              <a:gd name="connsiteX161" fmla="*/ 5176 w 10000"/>
              <a:gd name="connsiteY161" fmla="*/ 761 h 9162"/>
              <a:gd name="connsiteX162" fmla="*/ 5057 w 10000"/>
              <a:gd name="connsiteY162" fmla="*/ 991 h 9162"/>
              <a:gd name="connsiteX163" fmla="*/ 4842 w 10000"/>
              <a:gd name="connsiteY163" fmla="*/ 1075 h 9162"/>
              <a:gd name="connsiteX164" fmla="*/ 4200 w 10000"/>
              <a:gd name="connsiteY164" fmla="*/ 1020 h 9162"/>
              <a:gd name="connsiteX165" fmla="*/ 3760 w 10000"/>
              <a:gd name="connsiteY165" fmla="*/ 1051 h 9162"/>
              <a:gd name="connsiteX166" fmla="*/ 3405 w 10000"/>
              <a:gd name="connsiteY166" fmla="*/ 1119 h 9162"/>
              <a:gd name="connsiteX167" fmla="*/ 2832 w 10000"/>
              <a:gd name="connsiteY167" fmla="*/ 1331 h 9162"/>
              <a:gd name="connsiteX168" fmla="*/ 2528 w 10000"/>
              <a:gd name="connsiteY168" fmla="*/ 1587 h 9162"/>
              <a:gd name="connsiteX169" fmla="*/ 2555 w 10000"/>
              <a:gd name="connsiteY169" fmla="*/ 1730 h 9162"/>
              <a:gd name="connsiteX170" fmla="*/ 2661 w 10000"/>
              <a:gd name="connsiteY170" fmla="*/ 1840 h 9162"/>
              <a:gd name="connsiteX171" fmla="*/ 2741 w 10000"/>
              <a:gd name="connsiteY171" fmla="*/ 1884 h 9162"/>
              <a:gd name="connsiteX172" fmla="*/ 2592 w 10000"/>
              <a:gd name="connsiteY172" fmla="*/ 1955 h 9162"/>
              <a:gd name="connsiteX173" fmla="*/ 2267 w 10000"/>
              <a:gd name="connsiteY173" fmla="*/ 2437 h 9162"/>
              <a:gd name="connsiteX174" fmla="*/ 2330 w 10000"/>
              <a:gd name="connsiteY174" fmla="*/ 2465 h 9162"/>
              <a:gd name="connsiteX175" fmla="*/ 2375 w 10000"/>
              <a:gd name="connsiteY175" fmla="*/ 2587 h 9162"/>
              <a:gd name="connsiteX176" fmla="*/ 2226 w 10000"/>
              <a:gd name="connsiteY176" fmla="*/ 3095 h 9162"/>
              <a:gd name="connsiteX177" fmla="*/ 2375 w 10000"/>
              <a:gd name="connsiteY177" fmla="*/ 3224 h 9162"/>
              <a:gd name="connsiteX178" fmla="*/ 2791 w 10000"/>
              <a:gd name="connsiteY178" fmla="*/ 3366 h 9162"/>
              <a:gd name="connsiteX179" fmla="*/ 2808 w 10000"/>
              <a:gd name="connsiteY179" fmla="*/ 3539 h 9162"/>
              <a:gd name="connsiteX180" fmla="*/ 2632 w 10000"/>
              <a:gd name="connsiteY180" fmla="*/ 3683 h 9162"/>
              <a:gd name="connsiteX181" fmla="*/ 2375 w 10000"/>
              <a:gd name="connsiteY181" fmla="*/ 3770 h 9162"/>
              <a:gd name="connsiteX182" fmla="*/ 2039 w 10000"/>
              <a:gd name="connsiteY182" fmla="*/ 3805 h 9162"/>
              <a:gd name="connsiteX183" fmla="*/ 1950 w 10000"/>
              <a:gd name="connsiteY183" fmla="*/ 3856 h 9162"/>
              <a:gd name="connsiteX184" fmla="*/ 2148 w 10000"/>
              <a:gd name="connsiteY184" fmla="*/ 3975 h 9162"/>
              <a:gd name="connsiteX185" fmla="*/ 2261 w 10000"/>
              <a:gd name="connsiteY185" fmla="*/ 4258 h 9162"/>
              <a:gd name="connsiteX186" fmla="*/ 2005 w 10000"/>
              <a:gd name="connsiteY186" fmla="*/ 4500 h 9162"/>
              <a:gd name="connsiteX187" fmla="*/ 2094 w 10000"/>
              <a:gd name="connsiteY187" fmla="*/ 4575 h 9162"/>
              <a:gd name="connsiteX188" fmla="*/ 2012 w 10000"/>
              <a:gd name="connsiteY188" fmla="*/ 4702 h 9162"/>
              <a:gd name="connsiteX189" fmla="*/ 1850 w 10000"/>
              <a:gd name="connsiteY189" fmla="*/ 4789 h 9162"/>
              <a:gd name="connsiteX190" fmla="*/ 1199 w 10000"/>
              <a:gd name="connsiteY190" fmla="*/ 4856 h 9162"/>
              <a:gd name="connsiteX191" fmla="*/ 1158 w 10000"/>
              <a:gd name="connsiteY191" fmla="*/ 4973 h 9162"/>
              <a:gd name="connsiteX192" fmla="*/ 808 w 10000"/>
              <a:gd name="connsiteY192" fmla="*/ 5148 h 9162"/>
              <a:gd name="connsiteX193" fmla="*/ 854 w 10000"/>
              <a:gd name="connsiteY193" fmla="*/ 5399 h 9162"/>
              <a:gd name="connsiteX194" fmla="*/ 560 w 10000"/>
              <a:gd name="connsiteY194" fmla="*/ 5721 h 9162"/>
              <a:gd name="connsiteX195" fmla="*/ 358 w 10000"/>
              <a:gd name="connsiteY195" fmla="*/ 5758 h 9162"/>
              <a:gd name="connsiteX196" fmla="*/ 275 w 10000"/>
              <a:gd name="connsiteY196" fmla="*/ 5682 h 9162"/>
              <a:gd name="connsiteX197" fmla="*/ 174 w 10000"/>
              <a:gd name="connsiteY197" fmla="*/ 5798 h 9162"/>
              <a:gd name="connsiteX198" fmla="*/ 239 w 10000"/>
              <a:gd name="connsiteY198" fmla="*/ 5598 h 9162"/>
              <a:gd name="connsiteX199" fmla="*/ 197 w 10000"/>
              <a:gd name="connsiteY199" fmla="*/ 5560 h 9162"/>
              <a:gd name="connsiteX0" fmla="*/ 197 w 10000"/>
              <a:gd name="connsiteY0" fmla="*/ 5552 h 9483"/>
              <a:gd name="connsiteX1" fmla="*/ 0 w 10000"/>
              <a:gd name="connsiteY1" fmla="*/ 5665 h 9483"/>
              <a:gd name="connsiteX2" fmla="*/ 0 w 10000"/>
              <a:gd name="connsiteY2" fmla="*/ 6225 h 9483"/>
              <a:gd name="connsiteX3" fmla="*/ 109 w 10000"/>
              <a:gd name="connsiteY3" fmla="*/ 6240 h 9483"/>
              <a:gd name="connsiteX4" fmla="*/ 134 w 10000"/>
              <a:gd name="connsiteY4" fmla="*/ 6283 h 9483"/>
              <a:gd name="connsiteX5" fmla="*/ 130 w 10000"/>
              <a:gd name="connsiteY5" fmla="*/ 6359 h 9483"/>
              <a:gd name="connsiteX6" fmla="*/ 89 w 10000"/>
              <a:gd name="connsiteY6" fmla="*/ 6393 h 9483"/>
              <a:gd name="connsiteX7" fmla="*/ 255 w 10000"/>
              <a:gd name="connsiteY7" fmla="*/ 6328 h 9483"/>
              <a:gd name="connsiteX8" fmla="*/ 325 w 10000"/>
              <a:gd name="connsiteY8" fmla="*/ 6264 h 9483"/>
              <a:gd name="connsiteX9" fmla="*/ 413 w 10000"/>
              <a:gd name="connsiteY9" fmla="*/ 6308 h 9483"/>
              <a:gd name="connsiteX10" fmla="*/ 316 w 10000"/>
              <a:gd name="connsiteY10" fmla="*/ 6400 h 9483"/>
              <a:gd name="connsiteX11" fmla="*/ 419 w 10000"/>
              <a:gd name="connsiteY11" fmla="*/ 6402 h 9483"/>
              <a:gd name="connsiteX12" fmla="*/ 469 w 10000"/>
              <a:gd name="connsiteY12" fmla="*/ 6425 h 9483"/>
              <a:gd name="connsiteX13" fmla="*/ 337 w 10000"/>
              <a:gd name="connsiteY13" fmla="*/ 6454 h 9483"/>
              <a:gd name="connsiteX14" fmla="*/ 130 w 10000"/>
              <a:gd name="connsiteY14" fmla="*/ 6548 h 9483"/>
              <a:gd name="connsiteX15" fmla="*/ 497 w 10000"/>
              <a:gd name="connsiteY15" fmla="*/ 6622 h 9483"/>
              <a:gd name="connsiteX16" fmla="*/ 545 w 10000"/>
              <a:gd name="connsiteY16" fmla="*/ 6727 h 9483"/>
              <a:gd name="connsiteX17" fmla="*/ 419 w 10000"/>
              <a:gd name="connsiteY17" fmla="*/ 6881 h 9483"/>
              <a:gd name="connsiteX18" fmla="*/ 688 w 10000"/>
              <a:gd name="connsiteY18" fmla="*/ 6871 h 9483"/>
              <a:gd name="connsiteX19" fmla="*/ 709 w 10000"/>
              <a:gd name="connsiteY19" fmla="*/ 6988 h 9483"/>
              <a:gd name="connsiteX20" fmla="*/ 530 w 10000"/>
              <a:gd name="connsiteY20" fmla="*/ 7068 h 9483"/>
              <a:gd name="connsiteX21" fmla="*/ 560 w 10000"/>
              <a:gd name="connsiteY21" fmla="*/ 7221 h 9483"/>
              <a:gd name="connsiteX22" fmla="*/ 489 w 10000"/>
              <a:gd name="connsiteY22" fmla="*/ 7340 h 9483"/>
              <a:gd name="connsiteX23" fmla="*/ 703 w 10000"/>
              <a:gd name="connsiteY23" fmla="*/ 7351 h 9483"/>
              <a:gd name="connsiteX24" fmla="*/ 909 w 10000"/>
              <a:gd name="connsiteY24" fmla="*/ 7808 h 9483"/>
              <a:gd name="connsiteX25" fmla="*/ 1150 w 10000"/>
              <a:gd name="connsiteY25" fmla="*/ 7923 h 9483"/>
              <a:gd name="connsiteX26" fmla="*/ 1255 w 10000"/>
              <a:gd name="connsiteY26" fmla="*/ 8047 h 9483"/>
              <a:gd name="connsiteX27" fmla="*/ 1514 w 10000"/>
              <a:gd name="connsiteY27" fmla="*/ 8136 h 9483"/>
              <a:gd name="connsiteX28" fmla="*/ 1684 w 10000"/>
              <a:gd name="connsiteY28" fmla="*/ 8252 h 9483"/>
              <a:gd name="connsiteX29" fmla="*/ 1661 w 10000"/>
              <a:gd name="connsiteY29" fmla="*/ 8334 h 9483"/>
              <a:gd name="connsiteX30" fmla="*/ 1496 w 10000"/>
              <a:gd name="connsiteY30" fmla="*/ 8364 h 9483"/>
              <a:gd name="connsiteX31" fmla="*/ 1316 w 10000"/>
              <a:gd name="connsiteY31" fmla="*/ 8345 h 9483"/>
              <a:gd name="connsiteX32" fmla="*/ 1260 w 10000"/>
              <a:gd name="connsiteY32" fmla="*/ 8378 h 9483"/>
              <a:gd name="connsiteX33" fmla="*/ 1397 w 10000"/>
              <a:gd name="connsiteY33" fmla="*/ 8556 h 9483"/>
              <a:gd name="connsiteX34" fmla="*/ 1205 w 10000"/>
              <a:gd name="connsiteY34" fmla="*/ 8541 h 9483"/>
              <a:gd name="connsiteX35" fmla="*/ 1040 w 10000"/>
              <a:gd name="connsiteY35" fmla="*/ 8498 h 9483"/>
              <a:gd name="connsiteX36" fmla="*/ 1012 w 10000"/>
              <a:gd name="connsiteY36" fmla="*/ 8564 h 9483"/>
              <a:gd name="connsiteX37" fmla="*/ 1557 w 10000"/>
              <a:gd name="connsiteY37" fmla="*/ 9173 h 9483"/>
              <a:gd name="connsiteX38" fmla="*/ 1469 w 10000"/>
              <a:gd name="connsiteY38" fmla="*/ 9230 h 9483"/>
              <a:gd name="connsiteX39" fmla="*/ 1408 w 10000"/>
              <a:gd name="connsiteY39" fmla="*/ 9347 h 9483"/>
              <a:gd name="connsiteX40" fmla="*/ 1329 w 10000"/>
              <a:gd name="connsiteY40" fmla="*/ 9356 h 9483"/>
              <a:gd name="connsiteX41" fmla="*/ 1281 w 10000"/>
              <a:gd name="connsiteY41" fmla="*/ 9407 h 9483"/>
              <a:gd name="connsiteX42" fmla="*/ 1609 w 10000"/>
              <a:gd name="connsiteY42" fmla="*/ 9412 h 9483"/>
              <a:gd name="connsiteX43" fmla="*/ 1900 w 10000"/>
              <a:gd name="connsiteY43" fmla="*/ 9463 h 9483"/>
              <a:gd name="connsiteX44" fmla="*/ 2383 w 10000"/>
              <a:gd name="connsiteY44" fmla="*/ 9409 h 9483"/>
              <a:gd name="connsiteX45" fmla="*/ 2816 w 10000"/>
              <a:gd name="connsiteY45" fmla="*/ 9419 h 9483"/>
              <a:gd name="connsiteX46" fmla="*/ 3072 w 10000"/>
              <a:gd name="connsiteY46" fmla="*/ 9483 h 9483"/>
              <a:gd name="connsiteX47" fmla="*/ 3212 w 10000"/>
              <a:gd name="connsiteY47" fmla="*/ 9440 h 9483"/>
              <a:gd name="connsiteX48" fmla="*/ 3348 w 10000"/>
              <a:gd name="connsiteY48" fmla="*/ 9301 h 9483"/>
              <a:gd name="connsiteX49" fmla="*/ 3313 w 10000"/>
              <a:gd name="connsiteY49" fmla="*/ 9070 h 9483"/>
              <a:gd name="connsiteX50" fmla="*/ 3642 w 10000"/>
              <a:gd name="connsiteY50" fmla="*/ 8814 h 9483"/>
              <a:gd name="connsiteX51" fmla="*/ 3883 w 10000"/>
              <a:gd name="connsiteY51" fmla="*/ 8854 h 9483"/>
              <a:gd name="connsiteX52" fmla="*/ 4025 w 10000"/>
              <a:gd name="connsiteY52" fmla="*/ 8752 h 9483"/>
              <a:gd name="connsiteX53" fmla="*/ 4294 w 10000"/>
              <a:gd name="connsiteY53" fmla="*/ 8693 h 9483"/>
              <a:gd name="connsiteX54" fmla="*/ 4658 w 10000"/>
              <a:gd name="connsiteY54" fmla="*/ 8707 h 9483"/>
              <a:gd name="connsiteX55" fmla="*/ 4878 w 10000"/>
              <a:gd name="connsiteY55" fmla="*/ 8748 h 9483"/>
              <a:gd name="connsiteX56" fmla="*/ 5170 w 10000"/>
              <a:gd name="connsiteY56" fmla="*/ 8730 h 9483"/>
              <a:gd name="connsiteX57" fmla="*/ 5464 w 10000"/>
              <a:gd name="connsiteY57" fmla="*/ 8775 h 9483"/>
              <a:gd name="connsiteX58" fmla="*/ 5759 w 10000"/>
              <a:gd name="connsiteY58" fmla="*/ 8780 h 9483"/>
              <a:gd name="connsiteX59" fmla="*/ 6419 w 10000"/>
              <a:gd name="connsiteY59" fmla="*/ 8182 h 9483"/>
              <a:gd name="connsiteX60" fmla="*/ 6586 w 10000"/>
              <a:gd name="connsiteY60" fmla="*/ 7694 h 9483"/>
              <a:gd name="connsiteX61" fmla="*/ 6855 w 10000"/>
              <a:gd name="connsiteY61" fmla="*/ 7477 h 9483"/>
              <a:gd name="connsiteX62" fmla="*/ 6855 w 10000"/>
              <a:gd name="connsiteY62" fmla="*/ 7362 h 9483"/>
              <a:gd name="connsiteX63" fmla="*/ 6757 w 10000"/>
              <a:gd name="connsiteY63" fmla="*/ 7298 h 9483"/>
              <a:gd name="connsiteX64" fmla="*/ 6915 w 10000"/>
              <a:gd name="connsiteY64" fmla="*/ 7196 h 9483"/>
              <a:gd name="connsiteX65" fmla="*/ 6887 w 10000"/>
              <a:gd name="connsiteY65" fmla="*/ 7110 h 9483"/>
              <a:gd name="connsiteX66" fmla="*/ 6779 w 10000"/>
              <a:gd name="connsiteY66" fmla="*/ 7036 h 9483"/>
              <a:gd name="connsiteX67" fmla="*/ 6757 w 10000"/>
              <a:gd name="connsiteY67" fmla="*/ 6982 h 9483"/>
              <a:gd name="connsiteX68" fmla="*/ 6785 w 10000"/>
              <a:gd name="connsiteY68" fmla="*/ 6942 h 9483"/>
              <a:gd name="connsiteX69" fmla="*/ 6931 w 10000"/>
              <a:gd name="connsiteY69" fmla="*/ 6975 h 9483"/>
              <a:gd name="connsiteX70" fmla="*/ 7045 w 10000"/>
              <a:gd name="connsiteY70" fmla="*/ 6973 h 9483"/>
              <a:gd name="connsiteX71" fmla="*/ 6983 w 10000"/>
              <a:gd name="connsiteY71" fmla="*/ 6903 h 9483"/>
              <a:gd name="connsiteX72" fmla="*/ 7003 w 10000"/>
              <a:gd name="connsiteY72" fmla="*/ 6862 h 9483"/>
              <a:gd name="connsiteX73" fmla="*/ 7089 w 10000"/>
              <a:gd name="connsiteY73" fmla="*/ 6803 h 9483"/>
              <a:gd name="connsiteX74" fmla="*/ 7074 w 10000"/>
              <a:gd name="connsiteY74" fmla="*/ 6755 h 9483"/>
              <a:gd name="connsiteX75" fmla="*/ 7152 w 10000"/>
              <a:gd name="connsiteY75" fmla="*/ 6592 h 9483"/>
              <a:gd name="connsiteX76" fmla="*/ 7130 w 10000"/>
              <a:gd name="connsiteY76" fmla="*/ 6542 h 9483"/>
              <a:gd name="connsiteX77" fmla="*/ 6729 w 10000"/>
              <a:gd name="connsiteY77" fmla="*/ 6419 h 9483"/>
              <a:gd name="connsiteX78" fmla="*/ 6785 w 10000"/>
              <a:gd name="connsiteY78" fmla="*/ 6414 h 9483"/>
              <a:gd name="connsiteX79" fmla="*/ 6998 w 10000"/>
              <a:gd name="connsiteY79" fmla="*/ 6447 h 9483"/>
              <a:gd name="connsiteX80" fmla="*/ 7230 w 10000"/>
              <a:gd name="connsiteY80" fmla="*/ 6435 h 9483"/>
              <a:gd name="connsiteX81" fmla="*/ 7295 w 10000"/>
              <a:gd name="connsiteY81" fmla="*/ 6390 h 9483"/>
              <a:gd name="connsiteX82" fmla="*/ 7074 w 10000"/>
              <a:gd name="connsiteY82" fmla="*/ 6306 h 9483"/>
              <a:gd name="connsiteX83" fmla="*/ 6414 w 10000"/>
              <a:gd name="connsiteY83" fmla="*/ 6250 h 9483"/>
              <a:gd name="connsiteX84" fmla="*/ 6458 w 10000"/>
              <a:gd name="connsiteY84" fmla="*/ 6225 h 9483"/>
              <a:gd name="connsiteX85" fmla="*/ 6998 w 10000"/>
              <a:gd name="connsiteY85" fmla="*/ 6208 h 9483"/>
              <a:gd name="connsiteX86" fmla="*/ 7295 w 10000"/>
              <a:gd name="connsiteY86" fmla="*/ 6258 h 9483"/>
              <a:gd name="connsiteX87" fmla="*/ 7466 w 10000"/>
              <a:gd name="connsiteY87" fmla="*/ 6225 h 9483"/>
              <a:gd name="connsiteX88" fmla="*/ 7529 w 10000"/>
              <a:gd name="connsiteY88" fmla="*/ 6137 h 9483"/>
              <a:gd name="connsiteX89" fmla="*/ 7840 w 10000"/>
              <a:gd name="connsiteY89" fmla="*/ 6137 h 9483"/>
              <a:gd name="connsiteX90" fmla="*/ 8261 w 10000"/>
              <a:gd name="connsiteY90" fmla="*/ 5961 h 9483"/>
              <a:gd name="connsiteX91" fmla="*/ 8275 w 10000"/>
              <a:gd name="connsiteY91" fmla="*/ 5844 h 9483"/>
              <a:gd name="connsiteX92" fmla="*/ 8453 w 10000"/>
              <a:gd name="connsiteY92" fmla="*/ 5871 h 9483"/>
              <a:gd name="connsiteX93" fmla="*/ 8446 w 10000"/>
              <a:gd name="connsiteY93" fmla="*/ 5988 h 9483"/>
              <a:gd name="connsiteX94" fmla="*/ 8727 w 10000"/>
              <a:gd name="connsiteY94" fmla="*/ 5980 h 9483"/>
              <a:gd name="connsiteX95" fmla="*/ 8913 w 10000"/>
              <a:gd name="connsiteY95" fmla="*/ 5859 h 9483"/>
              <a:gd name="connsiteX96" fmla="*/ 9258 w 10000"/>
              <a:gd name="connsiteY96" fmla="*/ 5749 h 9483"/>
              <a:gd name="connsiteX97" fmla="*/ 9203 w 10000"/>
              <a:gd name="connsiteY97" fmla="*/ 5624 h 9483"/>
              <a:gd name="connsiteX98" fmla="*/ 9306 w 10000"/>
              <a:gd name="connsiteY98" fmla="*/ 5674 h 9483"/>
              <a:gd name="connsiteX99" fmla="*/ 9464 w 10000"/>
              <a:gd name="connsiteY99" fmla="*/ 5674 h 9483"/>
              <a:gd name="connsiteX100" fmla="*/ 9464 w 10000"/>
              <a:gd name="connsiteY100" fmla="*/ 5616 h 9483"/>
              <a:gd name="connsiteX101" fmla="*/ 9611 w 10000"/>
              <a:gd name="connsiteY101" fmla="*/ 5572 h 9483"/>
              <a:gd name="connsiteX102" fmla="*/ 9592 w 10000"/>
              <a:gd name="connsiteY102" fmla="*/ 5528 h 9483"/>
              <a:gd name="connsiteX103" fmla="*/ 8350 w 10000"/>
              <a:gd name="connsiteY103" fmla="*/ 5618 h 9483"/>
              <a:gd name="connsiteX104" fmla="*/ 8058 w 10000"/>
              <a:gd name="connsiteY104" fmla="*/ 5591 h 9483"/>
              <a:gd name="connsiteX105" fmla="*/ 7942 w 10000"/>
              <a:gd name="connsiteY105" fmla="*/ 5624 h 9483"/>
              <a:gd name="connsiteX106" fmla="*/ 7903 w 10000"/>
              <a:gd name="connsiteY106" fmla="*/ 5561 h 9483"/>
              <a:gd name="connsiteX107" fmla="*/ 7765 w 10000"/>
              <a:gd name="connsiteY107" fmla="*/ 5505 h 9483"/>
              <a:gd name="connsiteX108" fmla="*/ 7213 w 10000"/>
              <a:gd name="connsiteY108" fmla="*/ 5392 h 9483"/>
              <a:gd name="connsiteX109" fmla="*/ 6887 w 10000"/>
              <a:gd name="connsiteY109" fmla="*/ 5410 h 9483"/>
              <a:gd name="connsiteX110" fmla="*/ 6757 w 10000"/>
              <a:gd name="connsiteY110" fmla="*/ 5378 h 9483"/>
              <a:gd name="connsiteX111" fmla="*/ 6894 w 10000"/>
              <a:gd name="connsiteY111" fmla="*/ 5350 h 9483"/>
              <a:gd name="connsiteX112" fmla="*/ 6998 w 10000"/>
              <a:gd name="connsiteY112" fmla="*/ 5290 h 9483"/>
              <a:gd name="connsiteX113" fmla="*/ 7152 w 10000"/>
              <a:gd name="connsiteY113" fmla="*/ 5309 h 9483"/>
              <a:gd name="connsiteX114" fmla="*/ 7335 w 10000"/>
              <a:gd name="connsiteY114" fmla="*/ 5293 h 9483"/>
              <a:gd name="connsiteX115" fmla="*/ 7611 w 10000"/>
              <a:gd name="connsiteY115" fmla="*/ 5313 h 9483"/>
              <a:gd name="connsiteX116" fmla="*/ 7645 w 10000"/>
              <a:gd name="connsiteY116" fmla="*/ 5305 h 9483"/>
              <a:gd name="connsiteX117" fmla="*/ 7859 w 10000"/>
              <a:gd name="connsiteY117" fmla="*/ 5398 h 9483"/>
              <a:gd name="connsiteX118" fmla="*/ 8017 w 10000"/>
              <a:gd name="connsiteY118" fmla="*/ 5364 h 9483"/>
              <a:gd name="connsiteX119" fmla="*/ 8032 w 10000"/>
              <a:gd name="connsiteY119" fmla="*/ 5332 h 9483"/>
              <a:gd name="connsiteX120" fmla="*/ 8176 w 10000"/>
              <a:gd name="connsiteY120" fmla="*/ 5387 h 9483"/>
              <a:gd name="connsiteX121" fmla="*/ 8369 w 10000"/>
              <a:gd name="connsiteY121" fmla="*/ 5416 h 9483"/>
              <a:gd name="connsiteX122" fmla="*/ 8446 w 10000"/>
              <a:gd name="connsiteY122" fmla="*/ 5362 h 9483"/>
              <a:gd name="connsiteX123" fmla="*/ 8507 w 10000"/>
              <a:gd name="connsiteY123" fmla="*/ 5392 h 9483"/>
              <a:gd name="connsiteX124" fmla="*/ 8596 w 10000"/>
              <a:gd name="connsiteY124" fmla="*/ 5497 h 9483"/>
              <a:gd name="connsiteX125" fmla="*/ 8782 w 10000"/>
              <a:gd name="connsiteY125" fmla="*/ 5521 h 9483"/>
              <a:gd name="connsiteX126" fmla="*/ 9542 w 10000"/>
              <a:gd name="connsiteY126" fmla="*/ 5366 h 9483"/>
              <a:gd name="connsiteX127" fmla="*/ 9914 w 10000"/>
              <a:gd name="connsiteY127" fmla="*/ 5151 h 9483"/>
              <a:gd name="connsiteX128" fmla="*/ 10000 w 10000"/>
              <a:gd name="connsiteY128" fmla="*/ 4994 h 9483"/>
              <a:gd name="connsiteX129" fmla="*/ 9866 w 10000"/>
              <a:gd name="connsiteY129" fmla="*/ 4852 h 9483"/>
              <a:gd name="connsiteX130" fmla="*/ 9582 w 10000"/>
              <a:gd name="connsiteY130" fmla="*/ 4767 h 9483"/>
              <a:gd name="connsiteX131" fmla="*/ 9382 w 10000"/>
              <a:gd name="connsiteY131" fmla="*/ 4628 h 9483"/>
              <a:gd name="connsiteX132" fmla="*/ 9569 w 10000"/>
              <a:gd name="connsiteY132" fmla="*/ 4623 h 9483"/>
              <a:gd name="connsiteX133" fmla="*/ 9555 w 10000"/>
              <a:gd name="connsiteY133" fmla="*/ 4590 h 9483"/>
              <a:gd name="connsiteX134" fmla="*/ 9068 w 10000"/>
              <a:gd name="connsiteY134" fmla="*/ 4492 h 9483"/>
              <a:gd name="connsiteX135" fmla="*/ 9047 w 10000"/>
              <a:gd name="connsiteY135" fmla="*/ 4402 h 9483"/>
              <a:gd name="connsiteX136" fmla="*/ 8953 w 10000"/>
              <a:gd name="connsiteY136" fmla="*/ 4309 h 9483"/>
              <a:gd name="connsiteX137" fmla="*/ 8569 w 10000"/>
              <a:gd name="connsiteY137" fmla="*/ 4326 h 9483"/>
              <a:gd name="connsiteX138" fmla="*/ 8431 w 10000"/>
              <a:gd name="connsiteY138" fmla="*/ 4227 h 9483"/>
              <a:gd name="connsiteX139" fmla="*/ 8350 w 10000"/>
              <a:gd name="connsiteY139" fmla="*/ 4221 h 9483"/>
              <a:gd name="connsiteX140" fmla="*/ 8350 w 10000"/>
              <a:gd name="connsiteY140" fmla="*/ 4263 h 9483"/>
              <a:gd name="connsiteX141" fmla="*/ 8176 w 10000"/>
              <a:gd name="connsiteY141" fmla="*/ 4430 h 9483"/>
              <a:gd name="connsiteX142" fmla="*/ 7990 w 10000"/>
              <a:gd name="connsiteY142" fmla="*/ 4529 h 9483"/>
              <a:gd name="connsiteX143" fmla="*/ 7401 w 10000"/>
              <a:gd name="connsiteY143" fmla="*/ 4697 h 9483"/>
              <a:gd name="connsiteX144" fmla="*/ 7198 w 10000"/>
              <a:gd name="connsiteY144" fmla="*/ 4691 h 9483"/>
              <a:gd name="connsiteX145" fmla="*/ 6915 w 10000"/>
              <a:gd name="connsiteY145" fmla="*/ 4717 h 9483"/>
              <a:gd name="connsiteX146" fmla="*/ 6757 w 10000"/>
              <a:gd name="connsiteY146" fmla="*/ 4691 h 9483"/>
              <a:gd name="connsiteX147" fmla="*/ 6965 w 10000"/>
              <a:gd name="connsiteY147" fmla="*/ 4645 h 9483"/>
              <a:gd name="connsiteX148" fmla="*/ 7235 w 10000"/>
              <a:gd name="connsiteY148" fmla="*/ 4623 h 9483"/>
              <a:gd name="connsiteX149" fmla="*/ 7455 w 10000"/>
              <a:gd name="connsiteY149" fmla="*/ 4545 h 9483"/>
              <a:gd name="connsiteX150" fmla="*/ 7674 w 10000"/>
              <a:gd name="connsiteY150" fmla="*/ 4508 h 9483"/>
              <a:gd name="connsiteX151" fmla="*/ 8082 w 10000"/>
              <a:gd name="connsiteY151" fmla="*/ 4371 h 9483"/>
              <a:gd name="connsiteX152" fmla="*/ 8157 w 10000"/>
              <a:gd name="connsiteY152" fmla="*/ 4282 h 9483"/>
              <a:gd name="connsiteX153" fmla="*/ 8165 w 10000"/>
              <a:gd name="connsiteY153" fmla="*/ 4165 h 9483"/>
              <a:gd name="connsiteX154" fmla="*/ 7978 w 10000"/>
              <a:gd name="connsiteY154" fmla="*/ 4146 h 9483"/>
              <a:gd name="connsiteX155" fmla="*/ 8058 w 10000"/>
              <a:gd name="connsiteY155" fmla="*/ 4075 h 9483"/>
              <a:gd name="connsiteX156" fmla="*/ 8087 w 10000"/>
              <a:gd name="connsiteY156" fmla="*/ 3986 h 9483"/>
              <a:gd name="connsiteX157" fmla="*/ 8007 w 10000"/>
              <a:gd name="connsiteY157" fmla="*/ 3901 h 9483"/>
              <a:gd name="connsiteX158" fmla="*/ 4802 w 10000"/>
              <a:gd name="connsiteY158" fmla="*/ 0 h 9483"/>
              <a:gd name="connsiteX159" fmla="*/ 4809 w 10000"/>
              <a:gd name="connsiteY159" fmla="*/ 82 h 9483"/>
              <a:gd name="connsiteX160" fmla="*/ 5176 w 10000"/>
              <a:gd name="connsiteY160" fmla="*/ 314 h 9483"/>
              <a:gd name="connsiteX161" fmla="*/ 5057 w 10000"/>
              <a:gd name="connsiteY161" fmla="*/ 565 h 9483"/>
              <a:gd name="connsiteX162" fmla="*/ 4842 w 10000"/>
              <a:gd name="connsiteY162" fmla="*/ 656 h 9483"/>
              <a:gd name="connsiteX163" fmla="*/ 4200 w 10000"/>
              <a:gd name="connsiteY163" fmla="*/ 596 h 9483"/>
              <a:gd name="connsiteX164" fmla="*/ 3760 w 10000"/>
              <a:gd name="connsiteY164" fmla="*/ 630 h 9483"/>
              <a:gd name="connsiteX165" fmla="*/ 3405 w 10000"/>
              <a:gd name="connsiteY165" fmla="*/ 704 h 9483"/>
              <a:gd name="connsiteX166" fmla="*/ 2832 w 10000"/>
              <a:gd name="connsiteY166" fmla="*/ 936 h 9483"/>
              <a:gd name="connsiteX167" fmla="*/ 2528 w 10000"/>
              <a:gd name="connsiteY167" fmla="*/ 1215 h 9483"/>
              <a:gd name="connsiteX168" fmla="*/ 2555 w 10000"/>
              <a:gd name="connsiteY168" fmla="*/ 1371 h 9483"/>
              <a:gd name="connsiteX169" fmla="*/ 2661 w 10000"/>
              <a:gd name="connsiteY169" fmla="*/ 1491 h 9483"/>
              <a:gd name="connsiteX170" fmla="*/ 2741 w 10000"/>
              <a:gd name="connsiteY170" fmla="*/ 1539 h 9483"/>
              <a:gd name="connsiteX171" fmla="*/ 2592 w 10000"/>
              <a:gd name="connsiteY171" fmla="*/ 1617 h 9483"/>
              <a:gd name="connsiteX172" fmla="*/ 2267 w 10000"/>
              <a:gd name="connsiteY172" fmla="*/ 2143 h 9483"/>
              <a:gd name="connsiteX173" fmla="*/ 2330 w 10000"/>
              <a:gd name="connsiteY173" fmla="*/ 2173 h 9483"/>
              <a:gd name="connsiteX174" fmla="*/ 2375 w 10000"/>
              <a:gd name="connsiteY174" fmla="*/ 2307 h 9483"/>
              <a:gd name="connsiteX175" fmla="*/ 2226 w 10000"/>
              <a:gd name="connsiteY175" fmla="*/ 2861 h 9483"/>
              <a:gd name="connsiteX176" fmla="*/ 2375 w 10000"/>
              <a:gd name="connsiteY176" fmla="*/ 3002 h 9483"/>
              <a:gd name="connsiteX177" fmla="*/ 2791 w 10000"/>
              <a:gd name="connsiteY177" fmla="*/ 3157 h 9483"/>
              <a:gd name="connsiteX178" fmla="*/ 2808 w 10000"/>
              <a:gd name="connsiteY178" fmla="*/ 3346 h 9483"/>
              <a:gd name="connsiteX179" fmla="*/ 2632 w 10000"/>
              <a:gd name="connsiteY179" fmla="*/ 3503 h 9483"/>
              <a:gd name="connsiteX180" fmla="*/ 2375 w 10000"/>
              <a:gd name="connsiteY180" fmla="*/ 3598 h 9483"/>
              <a:gd name="connsiteX181" fmla="*/ 2039 w 10000"/>
              <a:gd name="connsiteY181" fmla="*/ 3636 h 9483"/>
              <a:gd name="connsiteX182" fmla="*/ 1950 w 10000"/>
              <a:gd name="connsiteY182" fmla="*/ 3692 h 9483"/>
              <a:gd name="connsiteX183" fmla="*/ 2148 w 10000"/>
              <a:gd name="connsiteY183" fmla="*/ 3822 h 9483"/>
              <a:gd name="connsiteX184" fmla="*/ 2261 w 10000"/>
              <a:gd name="connsiteY184" fmla="*/ 4130 h 9483"/>
              <a:gd name="connsiteX185" fmla="*/ 2005 w 10000"/>
              <a:gd name="connsiteY185" fmla="*/ 4395 h 9483"/>
              <a:gd name="connsiteX186" fmla="*/ 2094 w 10000"/>
              <a:gd name="connsiteY186" fmla="*/ 4476 h 9483"/>
              <a:gd name="connsiteX187" fmla="*/ 2012 w 10000"/>
              <a:gd name="connsiteY187" fmla="*/ 4615 h 9483"/>
              <a:gd name="connsiteX188" fmla="*/ 1850 w 10000"/>
              <a:gd name="connsiteY188" fmla="*/ 4710 h 9483"/>
              <a:gd name="connsiteX189" fmla="*/ 1199 w 10000"/>
              <a:gd name="connsiteY189" fmla="*/ 4783 h 9483"/>
              <a:gd name="connsiteX190" fmla="*/ 1158 w 10000"/>
              <a:gd name="connsiteY190" fmla="*/ 4911 h 9483"/>
              <a:gd name="connsiteX191" fmla="*/ 808 w 10000"/>
              <a:gd name="connsiteY191" fmla="*/ 5102 h 9483"/>
              <a:gd name="connsiteX192" fmla="*/ 854 w 10000"/>
              <a:gd name="connsiteY192" fmla="*/ 5376 h 9483"/>
              <a:gd name="connsiteX193" fmla="*/ 560 w 10000"/>
              <a:gd name="connsiteY193" fmla="*/ 5727 h 9483"/>
              <a:gd name="connsiteX194" fmla="*/ 358 w 10000"/>
              <a:gd name="connsiteY194" fmla="*/ 5768 h 9483"/>
              <a:gd name="connsiteX195" fmla="*/ 275 w 10000"/>
              <a:gd name="connsiteY195" fmla="*/ 5685 h 9483"/>
              <a:gd name="connsiteX196" fmla="*/ 174 w 10000"/>
              <a:gd name="connsiteY196" fmla="*/ 5811 h 9483"/>
              <a:gd name="connsiteX197" fmla="*/ 239 w 10000"/>
              <a:gd name="connsiteY197" fmla="*/ 5593 h 9483"/>
              <a:gd name="connsiteX198" fmla="*/ 197 w 10000"/>
              <a:gd name="connsiteY198" fmla="*/ 5552 h 9483"/>
              <a:gd name="connsiteX0" fmla="*/ 197 w 10000"/>
              <a:gd name="connsiteY0" fmla="*/ 6083 h 10228"/>
              <a:gd name="connsiteX1" fmla="*/ 0 w 10000"/>
              <a:gd name="connsiteY1" fmla="*/ 6202 h 10228"/>
              <a:gd name="connsiteX2" fmla="*/ 0 w 10000"/>
              <a:gd name="connsiteY2" fmla="*/ 6792 h 10228"/>
              <a:gd name="connsiteX3" fmla="*/ 109 w 10000"/>
              <a:gd name="connsiteY3" fmla="*/ 6808 h 10228"/>
              <a:gd name="connsiteX4" fmla="*/ 134 w 10000"/>
              <a:gd name="connsiteY4" fmla="*/ 6854 h 10228"/>
              <a:gd name="connsiteX5" fmla="*/ 130 w 10000"/>
              <a:gd name="connsiteY5" fmla="*/ 6934 h 10228"/>
              <a:gd name="connsiteX6" fmla="*/ 89 w 10000"/>
              <a:gd name="connsiteY6" fmla="*/ 6970 h 10228"/>
              <a:gd name="connsiteX7" fmla="*/ 255 w 10000"/>
              <a:gd name="connsiteY7" fmla="*/ 6901 h 10228"/>
              <a:gd name="connsiteX8" fmla="*/ 325 w 10000"/>
              <a:gd name="connsiteY8" fmla="*/ 6834 h 10228"/>
              <a:gd name="connsiteX9" fmla="*/ 413 w 10000"/>
              <a:gd name="connsiteY9" fmla="*/ 6880 h 10228"/>
              <a:gd name="connsiteX10" fmla="*/ 316 w 10000"/>
              <a:gd name="connsiteY10" fmla="*/ 6977 h 10228"/>
              <a:gd name="connsiteX11" fmla="*/ 419 w 10000"/>
              <a:gd name="connsiteY11" fmla="*/ 6979 h 10228"/>
              <a:gd name="connsiteX12" fmla="*/ 469 w 10000"/>
              <a:gd name="connsiteY12" fmla="*/ 7003 h 10228"/>
              <a:gd name="connsiteX13" fmla="*/ 337 w 10000"/>
              <a:gd name="connsiteY13" fmla="*/ 7034 h 10228"/>
              <a:gd name="connsiteX14" fmla="*/ 130 w 10000"/>
              <a:gd name="connsiteY14" fmla="*/ 7133 h 10228"/>
              <a:gd name="connsiteX15" fmla="*/ 497 w 10000"/>
              <a:gd name="connsiteY15" fmla="*/ 7211 h 10228"/>
              <a:gd name="connsiteX16" fmla="*/ 545 w 10000"/>
              <a:gd name="connsiteY16" fmla="*/ 7322 h 10228"/>
              <a:gd name="connsiteX17" fmla="*/ 419 w 10000"/>
              <a:gd name="connsiteY17" fmla="*/ 7484 h 10228"/>
              <a:gd name="connsiteX18" fmla="*/ 688 w 10000"/>
              <a:gd name="connsiteY18" fmla="*/ 7474 h 10228"/>
              <a:gd name="connsiteX19" fmla="*/ 709 w 10000"/>
              <a:gd name="connsiteY19" fmla="*/ 7597 h 10228"/>
              <a:gd name="connsiteX20" fmla="*/ 530 w 10000"/>
              <a:gd name="connsiteY20" fmla="*/ 7681 h 10228"/>
              <a:gd name="connsiteX21" fmla="*/ 560 w 10000"/>
              <a:gd name="connsiteY21" fmla="*/ 7843 h 10228"/>
              <a:gd name="connsiteX22" fmla="*/ 489 w 10000"/>
              <a:gd name="connsiteY22" fmla="*/ 7968 h 10228"/>
              <a:gd name="connsiteX23" fmla="*/ 703 w 10000"/>
              <a:gd name="connsiteY23" fmla="*/ 7980 h 10228"/>
              <a:gd name="connsiteX24" fmla="*/ 909 w 10000"/>
              <a:gd name="connsiteY24" fmla="*/ 8462 h 10228"/>
              <a:gd name="connsiteX25" fmla="*/ 1150 w 10000"/>
              <a:gd name="connsiteY25" fmla="*/ 8583 h 10228"/>
              <a:gd name="connsiteX26" fmla="*/ 1255 w 10000"/>
              <a:gd name="connsiteY26" fmla="*/ 8714 h 10228"/>
              <a:gd name="connsiteX27" fmla="*/ 1514 w 10000"/>
              <a:gd name="connsiteY27" fmla="*/ 8808 h 10228"/>
              <a:gd name="connsiteX28" fmla="*/ 1684 w 10000"/>
              <a:gd name="connsiteY28" fmla="*/ 8930 h 10228"/>
              <a:gd name="connsiteX29" fmla="*/ 1661 w 10000"/>
              <a:gd name="connsiteY29" fmla="*/ 9016 h 10228"/>
              <a:gd name="connsiteX30" fmla="*/ 1496 w 10000"/>
              <a:gd name="connsiteY30" fmla="*/ 9048 h 10228"/>
              <a:gd name="connsiteX31" fmla="*/ 1316 w 10000"/>
              <a:gd name="connsiteY31" fmla="*/ 9028 h 10228"/>
              <a:gd name="connsiteX32" fmla="*/ 1260 w 10000"/>
              <a:gd name="connsiteY32" fmla="*/ 9063 h 10228"/>
              <a:gd name="connsiteX33" fmla="*/ 1397 w 10000"/>
              <a:gd name="connsiteY33" fmla="*/ 9250 h 10228"/>
              <a:gd name="connsiteX34" fmla="*/ 1205 w 10000"/>
              <a:gd name="connsiteY34" fmla="*/ 9235 h 10228"/>
              <a:gd name="connsiteX35" fmla="*/ 1040 w 10000"/>
              <a:gd name="connsiteY35" fmla="*/ 9189 h 10228"/>
              <a:gd name="connsiteX36" fmla="*/ 1012 w 10000"/>
              <a:gd name="connsiteY36" fmla="*/ 9259 h 10228"/>
              <a:gd name="connsiteX37" fmla="*/ 1557 w 10000"/>
              <a:gd name="connsiteY37" fmla="*/ 9901 h 10228"/>
              <a:gd name="connsiteX38" fmla="*/ 1469 w 10000"/>
              <a:gd name="connsiteY38" fmla="*/ 9961 h 10228"/>
              <a:gd name="connsiteX39" fmla="*/ 1408 w 10000"/>
              <a:gd name="connsiteY39" fmla="*/ 10085 h 10228"/>
              <a:gd name="connsiteX40" fmla="*/ 1329 w 10000"/>
              <a:gd name="connsiteY40" fmla="*/ 10094 h 10228"/>
              <a:gd name="connsiteX41" fmla="*/ 1281 w 10000"/>
              <a:gd name="connsiteY41" fmla="*/ 10148 h 10228"/>
              <a:gd name="connsiteX42" fmla="*/ 1609 w 10000"/>
              <a:gd name="connsiteY42" fmla="*/ 10153 h 10228"/>
              <a:gd name="connsiteX43" fmla="*/ 1900 w 10000"/>
              <a:gd name="connsiteY43" fmla="*/ 10207 h 10228"/>
              <a:gd name="connsiteX44" fmla="*/ 2383 w 10000"/>
              <a:gd name="connsiteY44" fmla="*/ 10150 h 10228"/>
              <a:gd name="connsiteX45" fmla="*/ 2816 w 10000"/>
              <a:gd name="connsiteY45" fmla="*/ 10161 h 10228"/>
              <a:gd name="connsiteX46" fmla="*/ 3072 w 10000"/>
              <a:gd name="connsiteY46" fmla="*/ 10228 h 10228"/>
              <a:gd name="connsiteX47" fmla="*/ 3212 w 10000"/>
              <a:gd name="connsiteY47" fmla="*/ 10183 h 10228"/>
              <a:gd name="connsiteX48" fmla="*/ 3348 w 10000"/>
              <a:gd name="connsiteY48" fmla="*/ 10036 h 10228"/>
              <a:gd name="connsiteX49" fmla="*/ 3313 w 10000"/>
              <a:gd name="connsiteY49" fmla="*/ 9792 h 10228"/>
              <a:gd name="connsiteX50" fmla="*/ 3642 w 10000"/>
              <a:gd name="connsiteY50" fmla="*/ 9523 h 10228"/>
              <a:gd name="connsiteX51" fmla="*/ 3883 w 10000"/>
              <a:gd name="connsiteY51" fmla="*/ 9565 h 10228"/>
              <a:gd name="connsiteX52" fmla="*/ 4025 w 10000"/>
              <a:gd name="connsiteY52" fmla="*/ 9457 h 10228"/>
              <a:gd name="connsiteX53" fmla="*/ 4294 w 10000"/>
              <a:gd name="connsiteY53" fmla="*/ 9395 h 10228"/>
              <a:gd name="connsiteX54" fmla="*/ 4658 w 10000"/>
              <a:gd name="connsiteY54" fmla="*/ 9410 h 10228"/>
              <a:gd name="connsiteX55" fmla="*/ 4878 w 10000"/>
              <a:gd name="connsiteY55" fmla="*/ 9453 h 10228"/>
              <a:gd name="connsiteX56" fmla="*/ 5170 w 10000"/>
              <a:gd name="connsiteY56" fmla="*/ 9434 h 10228"/>
              <a:gd name="connsiteX57" fmla="*/ 5464 w 10000"/>
              <a:gd name="connsiteY57" fmla="*/ 9481 h 10228"/>
              <a:gd name="connsiteX58" fmla="*/ 5759 w 10000"/>
              <a:gd name="connsiteY58" fmla="*/ 9487 h 10228"/>
              <a:gd name="connsiteX59" fmla="*/ 6419 w 10000"/>
              <a:gd name="connsiteY59" fmla="*/ 8856 h 10228"/>
              <a:gd name="connsiteX60" fmla="*/ 6586 w 10000"/>
              <a:gd name="connsiteY60" fmla="*/ 8341 h 10228"/>
              <a:gd name="connsiteX61" fmla="*/ 6855 w 10000"/>
              <a:gd name="connsiteY61" fmla="*/ 8113 h 10228"/>
              <a:gd name="connsiteX62" fmla="*/ 6855 w 10000"/>
              <a:gd name="connsiteY62" fmla="*/ 7991 h 10228"/>
              <a:gd name="connsiteX63" fmla="*/ 6757 w 10000"/>
              <a:gd name="connsiteY63" fmla="*/ 7924 h 10228"/>
              <a:gd name="connsiteX64" fmla="*/ 6915 w 10000"/>
              <a:gd name="connsiteY64" fmla="*/ 7816 h 10228"/>
              <a:gd name="connsiteX65" fmla="*/ 6887 w 10000"/>
              <a:gd name="connsiteY65" fmla="*/ 7726 h 10228"/>
              <a:gd name="connsiteX66" fmla="*/ 6779 w 10000"/>
              <a:gd name="connsiteY66" fmla="*/ 7648 h 10228"/>
              <a:gd name="connsiteX67" fmla="*/ 6757 w 10000"/>
              <a:gd name="connsiteY67" fmla="*/ 7591 h 10228"/>
              <a:gd name="connsiteX68" fmla="*/ 6785 w 10000"/>
              <a:gd name="connsiteY68" fmla="*/ 7548 h 10228"/>
              <a:gd name="connsiteX69" fmla="*/ 6931 w 10000"/>
              <a:gd name="connsiteY69" fmla="*/ 7583 h 10228"/>
              <a:gd name="connsiteX70" fmla="*/ 7045 w 10000"/>
              <a:gd name="connsiteY70" fmla="*/ 7581 h 10228"/>
              <a:gd name="connsiteX71" fmla="*/ 6983 w 10000"/>
              <a:gd name="connsiteY71" fmla="*/ 7507 h 10228"/>
              <a:gd name="connsiteX72" fmla="*/ 7003 w 10000"/>
              <a:gd name="connsiteY72" fmla="*/ 7464 h 10228"/>
              <a:gd name="connsiteX73" fmla="*/ 7089 w 10000"/>
              <a:gd name="connsiteY73" fmla="*/ 7402 h 10228"/>
              <a:gd name="connsiteX74" fmla="*/ 7074 w 10000"/>
              <a:gd name="connsiteY74" fmla="*/ 7351 h 10228"/>
              <a:gd name="connsiteX75" fmla="*/ 7152 w 10000"/>
              <a:gd name="connsiteY75" fmla="*/ 7179 h 10228"/>
              <a:gd name="connsiteX76" fmla="*/ 7130 w 10000"/>
              <a:gd name="connsiteY76" fmla="*/ 7127 h 10228"/>
              <a:gd name="connsiteX77" fmla="*/ 6729 w 10000"/>
              <a:gd name="connsiteY77" fmla="*/ 6997 h 10228"/>
              <a:gd name="connsiteX78" fmla="*/ 6785 w 10000"/>
              <a:gd name="connsiteY78" fmla="*/ 6992 h 10228"/>
              <a:gd name="connsiteX79" fmla="*/ 6998 w 10000"/>
              <a:gd name="connsiteY79" fmla="*/ 7026 h 10228"/>
              <a:gd name="connsiteX80" fmla="*/ 7230 w 10000"/>
              <a:gd name="connsiteY80" fmla="*/ 7014 h 10228"/>
              <a:gd name="connsiteX81" fmla="*/ 7295 w 10000"/>
              <a:gd name="connsiteY81" fmla="*/ 6966 h 10228"/>
              <a:gd name="connsiteX82" fmla="*/ 7074 w 10000"/>
              <a:gd name="connsiteY82" fmla="*/ 6878 h 10228"/>
              <a:gd name="connsiteX83" fmla="*/ 6414 w 10000"/>
              <a:gd name="connsiteY83" fmla="*/ 6819 h 10228"/>
              <a:gd name="connsiteX84" fmla="*/ 6458 w 10000"/>
              <a:gd name="connsiteY84" fmla="*/ 6792 h 10228"/>
              <a:gd name="connsiteX85" fmla="*/ 6998 w 10000"/>
              <a:gd name="connsiteY85" fmla="*/ 6774 h 10228"/>
              <a:gd name="connsiteX86" fmla="*/ 7295 w 10000"/>
              <a:gd name="connsiteY86" fmla="*/ 6827 h 10228"/>
              <a:gd name="connsiteX87" fmla="*/ 7466 w 10000"/>
              <a:gd name="connsiteY87" fmla="*/ 6792 h 10228"/>
              <a:gd name="connsiteX88" fmla="*/ 7529 w 10000"/>
              <a:gd name="connsiteY88" fmla="*/ 6700 h 10228"/>
              <a:gd name="connsiteX89" fmla="*/ 7840 w 10000"/>
              <a:gd name="connsiteY89" fmla="*/ 6700 h 10228"/>
              <a:gd name="connsiteX90" fmla="*/ 8261 w 10000"/>
              <a:gd name="connsiteY90" fmla="*/ 6514 h 10228"/>
              <a:gd name="connsiteX91" fmla="*/ 8275 w 10000"/>
              <a:gd name="connsiteY91" fmla="*/ 6391 h 10228"/>
              <a:gd name="connsiteX92" fmla="*/ 8453 w 10000"/>
              <a:gd name="connsiteY92" fmla="*/ 6419 h 10228"/>
              <a:gd name="connsiteX93" fmla="*/ 8446 w 10000"/>
              <a:gd name="connsiteY93" fmla="*/ 6542 h 10228"/>
              <a:gd name="connsiteX94" fmla="*/ 8727 w 10000"/>
              <a:gd name="connsiteY94" fmla="*/ 6534 h 10228"/>
              <a:gd name="connsiteX95" fmla="*/ 8913 w 10000"/>
              <a:gd name="connsiteY95" fmla="*/ 6406 h 10228"/>
              <a:gd name="connsiteX96" fmla="*/ 9258 w 10000"/>
              <a:gd name="connsiteY96" fmla="*/ 6290 h 10228"/>
              <a:gd name="connsiteX97" fmla="*/ 9203 w 10000"/>
              <a:gd name="connsiteY97" fmla="*/ 6159 h 10228"/>
              <a:gd name="connsiteX98" fmla="*/ 9306 w 10000"/>
              <a:gd name="connsiteY98" fmla="*/ 6211 h 10228"/>
              <a:gd name="connsiteX99" fmla="*/ 9464 w 10000"/>
              <a:gd name="connsiteY99" fmla="*/ 6211 h 10228"/>
              <a:gd name="connsiteX100" fmla="*/ 9464 w 10000"/>
              <a:gd name="connsiteY100" fmla="*/ 6150 h 10228"/>
              <a:gd name="connsiteX101" fmla="*/ 9611 w 10000"/>
              <a:gd name="connsiteY101" fmla="*/ 6104 h 10228"/>
              <a:gd name="connsiteX102" fmla="*/ 9592 w 10000"/>
              <a:gd name="connsiteY102" fmla="*/ 6057 h 10228"/>
              <a:gd name="connsiteX103" fmla="*/ 8350 w 10000"/>
              <a:gd name="connsiteY103" fmla="*/ 6152 h 10228"/>
              <a:gd name="connsiteX104" fmla="*/ 8058 w 10000"/>
              <a:gd name="connsiteY104" fmla="*/ 6124 h 10228"/>
              <a:gd name="connsiteX105" fmla="*/ 7942 w 10000"/>
              <a:gd name="connsiteY105" fmla="*/ 6159 h 10228"/>
              <a:gd name="connsiteX106" fmla="*/ 7903 w 10000"/>
              <a:gd name="connsiteY106" fmla="*/ 6092 h 10228"/>
              <a:gd name="connsiteX107" fmla="*/ 7765 w 10000"/>
              <a:gd name="connsiteY107" fmla="*/ 6033 h 10228"/>
              <a:gd name="connsiteX108" fmla="*/ 7213 w 10000"/>
              <a:gd name="connsiteY108" fmla="*/ 5914 h 10228"/>
              <a:gd name="connsiteX109" fmla="*/ 6887 w 10000"/>
              <a:gd name="connsiteY109" fmla="*/ 5933 h 10228"/>
              <a:gd name="connsiteX110" fmla="*/ 6757 w 10000"/>
              <a:gd name="connsiteY110" fmla="*/ 5899 h 10228"/>
              <a:gd name="connsiteX111" fmla="*/ 6894 w 10000"/>
              <a:gd name="connsiteY111" fmla="*/ 5870 h 10228"/>
              <a:gd name="connsiteX112" fmla="*/ 6998 w 10000"/>
              <a:gd name="connsiteY112" fmla="*/ 5806 h 10228"/>
              <a:gd name="connsiteX113" fmla="*/ 7152 w 10000"/>
              <a:gd name="connsiteY113" fmla="*/ 5826 h 10228"/>
              <a:gd name="connsiteX114" fmla="*/ 7335 w 10000"/>
              <a:gd name="connsiteY114" fmla="*/ 5810 h 10228"/>
              <a:gd name="connsiteX115" fmla="*/ 7611 w 10000"/>
              <a:gd name="connsiteY115" fmla="*/ 5831 h 10228"/>
              <a:gd name="connsiteX116" fmla="*/ 7645 w 10000"/>
              <a:gd name="connsiteY116" fmla="*/ 5822 h 10228"/>
              <a:gd name="connsiteX117" fmla="*/ 7859 w 10000"/>
              <a:gd name="connsiteY117" fmla="*/ 5920 h 10228"/>
              <a:gd name="connsiteX118" fmla="*/ 8017 w 10000"/>
              <a:gd name="connsiteY118" fmla="*/ 5884 h 10228"/>
              <a:gd name="connsiteX119" fmla="*/ 8032 w 10000"/>
              <a:gd name="connsiteY119" fmla="*/ 5851 h 10228"/>
              <a:gd name="connsiteX120" fmla="*/ 8176 w 10000"/>
              <a:gd name="connsiteY120" fmla="*/ 5909 h 10228"/>
              <a:gd name="connsiteX121" fmla="*/ 8369 w 10000"/>
              <a:gd name="connsiteY121" fmla="*/ 5939 h 10228"/>
              <a:gd name="connsiteX122" fmla="*/ 8446 w 10000"/>
              <a:gd name="connsiteY122" fmla="*/ 5882 h 10228"/>
              <a:gd name="connsiteX123" fmla="*/ 8507 w 10000"/>
              <a:gd name="connsiteY123" fmla="*/ 5914 h 10228"/>
              <a:gd name="connsiteX124" fmla="*/ 8596 w 10000"/>
              <a:gd name="connsiteY124" fmla="*/ 6025 h 10228"/>
              <a:gd name="connsiteX125" fmla="*/ 8782 w 10000"/>
              <a:gd name="connsiteY125" fmla="*/ 6050 h 10228"/>
              <a:gd name="connsiteX126" fmla="*/ 9542 w 10000"/>
              <a:gd name="connsiteY126" fmla="*/ 5887 h 10228"/>
              <a:gd name="connsiteX127" fmla="*/ 9914 w 10000"/>
              <a:gd name="connsiteY127" fmla="*/ 5660 h 10228"/>
              <a:gd name="connsiteX128" fmla="*/ 10000 w 10000"/>
              <a:gd name="connsiteY128" fmla="*/ 5494 h 10228"/>
              <a:gd name="connsiteX129" fmla="*/ 9866 w 10000"/>
              <a:gd name="connsiteY129" fmla="*/ 5345 h 10228"/>
              <a:gd name="connsiteX130" fmla="*/ 9582 w 10000"/>
              <a:gd name="connsiteY130" fmla="*/ 5255 h 10228"/>
              <a:gd name="connsiteX131" fmla="*/ 9382 w 10000"/>
              <a:gd name="connsiteY131" fmla="*/ 5108 h 10228"/>
              <a:gd name="connsiteX132" fmla="*/ 9569 w 10000"/>
              <a:gd name="connsiteY132" fmla="*/ 5103 h 10228"/>
              <a:gd name="connsiteX133" fmla="*/ 9555 w 10000"/>
              <a:gd name="connsiteY133" fmla="*/ 5068 h 10228"/>
              <a:gd name="connsiteX134" fmla="*/ 9068 w 10000"/>
              <a:gd name="connsiteY134" fmla="*/ 4965 h 10228"/>
              <a:gd name="connsiteX135" fmla="*/ 9047 w 10000"/>
              <a:gd name="connsiteY135" fmla="*/ 4870 h 10228"/>
              <a:gd name="connsiteX136" fmla="*/ 8953 w 10000"/>
              <a:gd name="connsiteY136" fmla="*/ 4772 h 10228"/>
              <a:gd name="connsiteX137" fmla="*/ 8569 w 10000"/>
              <a:gd name="connsiteY137" fmla="*/ 4790 h 10228"/>
              <a:gd name="connsiteX138" fmla="*/ 8431 w 10000"/>
              <a:gd name="connsiteY138" fmla="*/ 4685 h 10228"/>
              <a:gd name="connsiteX139" fmla="*/ 8350 w 10000"/>
              <a:gd name="connsiteY139" fmla="*/ 4679 h 10228"/>
              <a:gd name="connsiteX140" fmla="*/ 8350 w 10000"/>
              <a:gd name="connsiteY140" fmla="*/ 4723 h 10228"/>
              <a:gd name="connsiteX141" fmla="*/ 8176 w 10000"/>
              <a:gd name="connsiteY141" fmla="*/ 4900 h 10228"/>
              <a:gd name="connsiteX142" fmla="*/ 7990 w 10000"/>
              <a:gd name="connsiteY142" fmla="*/ 5004 h 10228"/>
              <a:gd name="connsiteX143" fmla="*/ 7401 w 10000"/>
              <a:gd name="connsiteY143" fmla="*/ 5181 h 10228"/>
              <a:gd name="connsiteX144" fmla="*/ 7198 w 10000"/>
              <a:gd name="connsiteY144" fmla="*/ 5175 h 10228"/>
              <a:gd name="connsiteX145" fmla="*/ 6915 w 10000"/>
              <a:gd name="connsiteY145" fmla="*/ 5202 h 10228"/>
              <a:gd name="connsiteX146" fmla="*/ 6757 w 10000"/>
              <a:gd name="connsiteY146" fmla="*/ 5175 h 10228"/>
              <a:gd name="connsiteX147" fmla="*/ 6965 w 10000"/>
              <a:gd name="connsiteY147" fmla="*/ 5126 h 10228"/>
              <a:gd name="connsiteX148" fmla="*/ 7235 w 10000"/>
              <a:gd name="connsiteY148" fmla="*/ 5103 h 10228"/>
              <a:gd name="connsiteX149" fmla="*/ 7455 w 10000"/>
              <a:gd name="connsiteY149" fmla="*/ 5021 h 10228"/>
              <a:gd name="connsiteX150" fmla="*/ 7674 w 10000"/>
              <a:gd name="connsiteY150" fmla="*/ 4982 h 10228"/>
              <a:gd name="connsiteX151" fmla="*/ 8082 w 10000"/>
              <a:gd name="connsiteY151" fmla="*/ 4837 h 10228"/>
              <a:gd name="connsiteX152" fmla="*/ 8157 w 10000"/>
              <a:gd name="connsiteY152" fmla="*/ 4743 h 10228"/>
              <a:gd name="connsiteX153" fmla="*/ 8165 w 10000"/>
              <a:gd name="connsiteY153" fmla="*/ 4620 h 10228"/>
              <a:gd name="connsiteX154" fmla="*/ 7978 w 10000"/>
              <a:gd name="connsiteY154" fmla="*/ 4600 h 10228"/>
              <a:gd name="connsiteX155" fmla="*/ 8058 w 10000"/>
              <a:gd name="connsiteY155" fmla="*/ 4525 h 10228"/>
              <a:gd name="connsiteX156" fmla="*/ 8087 w 10000"/>
              <a:gd name="connsiteY156" fmla="*/ 4431 h 10228"/>
              <a:gd name="connsiteX157" fmla="*/ 8007 w 10000"/>
              <a:gd name="connsiteY157" fmla="*/ 4342 h 10228"/>
              <a:gd name="connsiteX158" fmla="*/ 4802 w 10000"/>
              <a:gd name="connsiteY158" fmla="*/ 228 h 10228"/>
              <a:gd name="connsiteX159" fmla="*/ 5176 w 10000"/>
              <a:gd name="connsiteY159" fmla="*/ 559 h 10228"/>
              <a:gd name="connsiteX160" fmla="*/ 5057 w 10000"/>
              <a:gd name="connsiteY160" fmla="*/ 824 h 10228"/>
              <a:gd name="connsiteX161" fmla="*/ 4842 w 10000"/>
              <a:gd name="connsiteY161" fmla="*/ 920 h 10228"/>
              <a:gd name="connsiteX162" fmla="*/ 4200 w 10000"/>
              <a:gd name="connsiteY162" fmla="*/ 856 h 10228"/>
              <a:gd name="connsiteX163" fmla="*/ 3760 w 10000"/>
              <a:gd name="connsiteY163" fmla="*/ 892 h 10228"/>
              <a:gd name="connsiteX164" fmla="*/ 3405 w 10000"/>
              <a:gd name="connsiteY164" fmla="*/ 970 h 10228"/>
              <a:gd name="connsiteX165" fmla="*/ 2832 w 10000"/>
              <a:gd name="connsiteY165" fmla="*/ 1215 h 10228"/>
              <a:gd name="connsiteX166" fmla="*/ 2528 w 10000"/>
              <a:gd name="connsiteY166" fmla="*/ 1509 h 10228"/>
              <a:gd name="connsiteX167" fmla="*/ 2555 w 10000"/>
              <a:gd name="connsiteY167" fmla="*/ 1674 h 10228"/>
              <a:gd name="connsiteX168" fmla="*/ 2661 w 10000"/>
              <a:gd name="connsiteY168" fmla="*/ 1800 h 10228"/>
              <a:gd name="connsiteX169" fmla="*/ 2741 w 10000"/>
              <a:gd name="connsiteY169" fmla="*/ 1851 h 10228"/>
              <a:gd name="connsiteX170" fmla="*/ 2592 w 10000"/>
              <a:gd name="connsiteY170" fmla="*/ 1933 h 10228"/>
              <a:gd name="connsiteX171" fmla="*/ 2267 w 10000"/>
              <a:gd name="connsiteY171" fmla="*/ 2488 h 10228"/>
              <a:gd name="connsiteX172" fmla="*/ 2330 w 10000"/>
              <a:gd name="connsiteY172" fmla="*/ 2519 h 10228"/>
              <a:gd name="connsiteX173" fmla="*/ 2375 w 10000"/>
              <a:gd name="connsiteY173" fmla="*/ 2661 h 10228"/>
              <a:gd name="connsiteX174" fmla="*/ 2226 w 10000"/>
              <a:gd name="connsiteY174" fmla="*/ 3245 h 10228"/>
              <a:gd name="connsiteX175" fmla="*/ 2375 w 10000"/>
              <a:gd name="connsiteY175" fmla="*/ 3394 h 10228"/>
              <a:gd name="connsiteX176" fmla="*/ 2791 w 10000"/>
              <a:gd name="connsiteY176" fmla="*/ 3557 h 10228"/>
              <a:gd name="connsiteX177" fmla="*/ 2808 w 10000"/>
              <a:gd name="connsiteY177" fmla="*/ 3756 h 10228"/>
              <a:gd name="connsiteX178" fmla="*/ 2632 w 10000"/>
              <a:gd name="connsiteY178" fmla="*/ 3922 h 10228"/>
              <a:gd name="connsiteX179" fmla="*/ 2375 w 10000"/>
              <a:gd name="connsiteY179" fmla="*/ 4022 h 10228"/>
              <a:gd name="connsiteX180" fmla="*/ 2039 w 10000"/>
              <a:gd name="connsiteY180" fmla="*/ 4062 h 10228"/>
              <a:gd name="connsiteX181" fmla="*/ 1950 w 10000"/>
              <a:gd name="connsiteY181" fmla="*/ 4121 h 10228"/>
              <a:gd name="connsiteX182" fmla="*/ 2148 w 10000"/>
              <a:gd name="connsiteY182" fmla="*/ 4258 h 10228"/>
              <a:gd name="connsiteX183" fmla="*/ 2261 w 10000"/>
              <a:gd name="connsiteY183" fmla="*/ 4583 h 10228"/>
              <a:gd name="connsiteX184" fmla="*/ 2005 w 10000"/>
              <a:gd name="connsiteY184" fmla="*/ 4863 h 10228"/>
              <a:gd name="connsiteX185" fmla="*/ 2094 w 10000"/>
              <a:gd name="connsiteY185" fmla="*/ 4948 h 10228"/>
              <a:gd name="connsiteX186" fmla="*/ 2012 w 10000"/>
              <a:gd name="connsiteY186" fmla="*/ 5095 h 10228"/>
              <a:gd name="connsiteX187" fmla="*/ 1850 w 10000"/>
              <a:gd name="connsiteY187" fmla="*/ 5195 h 10228"/>
              <a:gd name="connsiteX188" fmla="*/ 1199 w 10000"/>
              <a:gd name="connsiteY188" fmla="*/ 5272 h 10228"/>
              <a:gd name="connsiteX189" fmla="*/ 1158 w 10000"/>
              <a:gd name="connsiteY189" fmla="*/ 5407 h 10228"/>
              <a:gd name="connsiteX190" fmla="*/ 808 w 10000"/>
              <a:gd name="connsiteY190" fmla="*/ 5608 h 10228"/>
              <a:gd name="connsiteX191" fmla="*/ 854 w 10000"/>
              <a:gd name="connsiteY191" fmla="*/ 5897 h 10228"/>
              <a:gd name="connsiteX192" fmla="*/ 560 w 10000"/>
              <a:gd name="connsiteY192" fmla="*/ 6267 h 10228"/>
              <a:gd name="connsiteX193" fmla="*/ 358 w 10000"/>
              <a:gd name="connsiteY193" fmla="*/ 6310 h 10228"/>
              <a:gd name="connsiteX194" fmla="*/ 275 w 10000"/>
              <a:gd name="connsiteY194" fmla="*/ 6223 h 10228"/>
              <a:gd name="connsiteX195" fmla="*/ 174 w 10000"/>
              <a:gd name="connsiteY195" fmla="*/ 6356 h 10228"/>
              <a:gd name="connsiteX196" fmla="*/ 239 w 10000"/>
              <a:gd name="connsiteY196" fmla="*/ 6126 h 10228"/>
              <a:gd name="connsiteX197" fmla="*/ 197 w 10000"/>
              <a:gd name="connsiteY197" fmla="*/ 6083 h 10228"/>
              <a:gd name="connsiteX0" fmla="*/ 197 w 10000"/>
              <a:gd name="connsiteY0" fmla="*/ 6083 h 10228"/>
              <a:gd name="connsiteX1" fmla="*/ 0 w 10000"/>
              <a:gd name="connsiteY1" fmla="*/ 6202 h 10228"/>
              <a:gd name="connsiteX2" fmla="*/ 0 w 10000"/>
              <a:gd name="connsiteY2" fmla="*/ 6792 h 10228"/>
              <a:gd name="connsiteX3" fmla="*/ 109 w 10000"/>
              <a:gd name="connsiteY3" fmla="*/ 6808 h 10228"/>
              <a:gd name="connsiteX4" fmla="*/ 134 w 10000"/>
              <a:gd name="connsiteY4" fmla="*/ 6854 h 10228"/>
              <a:gd name="connsiteX5" fmla="*/ 130 w 10000"/>
              <a:gd name="connsiteY5" fmla="*/ 6934 h 10228"/>
              <a:gd name="connsiteX6" fmla="*/ 89 w 10000"/>
              <a:gd name="connsiteY6" fmla="*/ 6970 h 10228"/>
              <a:gd name="connsiteX7" fmla="*/ 255 w 10000"/>
              <a:gd name="connsiteY7" fmla="*/ 6901 h 10228"/>
              <a:gd name="connsiteX8" fmla="*/ 325 w 10000"/>
              <a:gd name="connsiteY8" fmla="*/ 6834 h 10228"/>
              <a:gd name="connsiteX9" fmla="*/ 413 w 10000"/>
              <a:gd name="connsiteY9" fmla="*/ 6880 h 10228"/>
              <a:gd name="connsiteX10" fmla="*/ 316 w 10000"/>
              <a:gd name="connsiteY10" fmla="*/ 6977 h 10228"/>
              <a:gd name="connsiteX11" fmla="*/ 419 w 10000"/>
              <a:gd name="connsiteY11" fmla="*/ 6979 h 10228"/>
              <a:gd name="connsiteX12" fmla="*/ 469 w 10000"/>
              <a:gd name="connsiteY12" fmla="*/ 7003 h 10228"/>
              <a:gd name="connsiteX13" fmla="*/ 337 w 10000"/>
              <a:gd name="connsiteY13" fmla="*/ 7034 h 10228"/>
              <a:gd name="connsiteX14" fmla="*/ 130 w 10000"/>
              <a:gd name="connsiteY14" fmla="*/ 7133 h 10228"/>
              <a:gd name="connsiteX15" fmla="*/ 497 w 10000"/>
              <a:gd name="connsiteY15" fmla="*/ 7211 h 10228"/>
              <a:gd name="connsiteX16" fmla="*/ 545 w 10000"/>
              <a:gd name="connsiteY16" fmla="*/ 7322 h 10228"/>
              <a:gd name="connsiteX17" fmla="*/ 419 w 10000"/>
              <a:gd name="connsiteY17" fmla="*/ 7484 h 10228"/>
              <a:gd name="connsiteX18" fmla="*/ 688 w 10000"/>
              <a:gd name="connsiteY18" fmla="*/ 7474 h 10228"/>
              <a:gd name="connsiteX19" fmla="*/ 709 w 10000"/>
              <a:gd name="connsiteY19" fmla="*/ 7597 h 10228"/>
              <a:gd name="connsiteX20" fmla="*/ 530 w 10000"/>
              <a:gd name="connsiteY20" fmla="*/ 7681 h 10228"/>
              <a:gd name="connsiteX21" fmla="*/ 560 w 10000"/>
              <a:gd name="connsiteY21" fmla="*/ 7843 h 10228"/>
              <a:gd name="connsiteX22" fmla="*/ 489 w 10000"/>
              <a:gd name="connsiteY22" fmla="*/ 7968 h 10228"/>
              <a:gd name="connsiteX23" fmla="*/ 703 w 10000"/>
              <a:gd name="connsiteY23" fmla="*/ 7980 h 10228"/>
              <a:gd name="connsiteX24" fmla="*/ 909 w 10000"/>
              <a:gd name="connsiteY24" fmla="*/ 8462 h 10228"/>
              <a:gd name="connsiteX25" fmla="*/ 1150 w 10000"/>
              <a:gd name="connsiteY25" fmla="*/ 8583 h 10228"/>
              <a:gd name="connsiteX26" fmla="*/ 1255 w 10000"/>
              <a:gd name="connsiteY26" fmla="*/ 8714 h 10228"/>
              <a:gd name="connsiteX27" fmla="*/ 1514 w 10000"/>
              <a:gd name="connsiteY27" fmla="*/ 8808 h 10228"/>
              <a:gd name="connsiteX28" fmla="*/ 1684 w 10000"/>
              <a:gd name="connsiteY28" fmla="*/ 8930 h 10228"/>
              <a:gd name="connsiteX29" fmla="*/ 1661 w 10000"/>
              <a:gd name="connsiteY29" fmla="*/ 9016 h 10228"/>
              <a:gd name="connsiteX30" fmla="*/ 1496 w 10000"/>
              <a:gd name="connsiteY30" fmla="*/ 9048 h 10228"/>
              <a:gd name="connsiteX31" fmla="*/ 1316 w 10000"/>
              <a:gd name="connsiteY31" fmla="*/ 9028 h 10228"/>
              <a:gd name="connsiteX32" fmla="*/ 1260 w 10000"/>
              <a:gd name="connsiteY32" fmla="*/ 9063 h 10228"/>
              <a:gd name="connsiteX33" fmla="*/ 1397 w 10000"/>
              <a:gd name="connsiteY33" fmla="*/ 9250 h 10228"/>
              <a:gd name="connsiteX34" fmla="*/ 1205 w 10000"/>
              <a:gd name="connsiteY34" fmla="*/ 9235 h 10228"/>
              <a:gd name="connsiteX35" fmla="*/ 1040 w 10000"/>
              <a:gd name="connsiteY35" fmla="*/ 9189 h 10228"/>
              <a:gd name="connsiteX36" fmla="*/ 1012 w 10000"/>
              <a:gd name="connsiteY36" fmla="*/ 9259 h 10228"/>
              <a:gd name="connsiteX37" fmla="*/ 1557 w 10000"/>
              <a:gd name="connsiteY37" fmla="*/ 9901 h 10228"/>
              <a:gd name="connsiteX38" fmla="*/ 1469 w 10000"/>
              <a:gd name="connsiteY38" fmla="*/ 9961 h 10228"/>
              <a:gd name="connsiteX39" fmla="*/ 1408 w 10000"/>
              <a:gd name="connsiteY39" fmla="*/ 10085 h 10228"/>
              <a:gd name="connsiteX40" fmla="*/ 1329 w 10000"/>
              <a:gd name="connsiteY40" fmla="*/ 10094 h 10228"/>
              <a:gd name="connsiteX41" fmla="*/ 1281 w 10000"/>
              <a:gd name="connsiteY41" fmla="*/ 10148 h 10228"/>
              <a:gd name="connsiteX42" fmla="*/ 1609 w 10000"/>
              <a:gd name="connsiteY42" fmla="*/ 10153 h 10228"/>
              <a:gd name="connsiteX43" fmla="*/ 1900 w 10000"/>
              <a:gd name="connsiteY43" fmla="*/ 10207 h 10228"/>
              <a:gd name="connsiteX44" fmla="*/ 2383 w 10000"/>
              <a:gd name="connsiteY44" fmla="*/ 10150 h 10228"/>
              <a:gd name="connsiteX45" fmla="*/ 2816 w 10000"/>
              <a:gd name="connsiteY45" fmla="*/ 10161 h 10228"/>
              <a:gd name="connsiteX46" fmla="*/ 3072 w 10000"/>
              <a:gd name="connsiteY46" fmla="*/ 10228 h 10228"/>
              <a:gd name="connsiteX47" fmla="*/ 3212 w 10000"/>
              <a:gd name="connsiteY47" fmla="*/ 10183 h 10228"/>
              <a:gd name="connsiteX48" fmla="*/ 3348 w 10000"/>
              <a:gd name="connsiteY48" fmla="*/ 10036 h 10228"/>
              <a:gd name="connsiteX49" fmla="*/ 3313 w 10000"/>
              <a:gd name="connsiteY49" fmla="*/ 9792 h 10228"/>
              <a:gd name="connsiteX50" fmla="*/ 3642 w 10000"/>
              <a:gd name="connsiteY50" fmla="*/ 9523 h 10228"/>
              <a:gd name="connsiteX51" fmla="*/ 3883 w 10000"/>
              <a:gd name="connsiteY51" fmla="*/ 9565 h 10228"/>
              <a:gd name="connsiteX52" fmla="*/ 4025 w 10000"/>
              <a:gd name="connsiteY52" fmla="*/ 9457 h 10228"/>
              <a:gd name="connsiteX53" fmla="*/ 4294 w 10000"/>
              <a:gd name="connsiteY53" fmla="*/ 9395 h 10228"/>
              <a:gd name="connsiteX54" fmla="*/ 4658 w 10000"/>
              <a:gd name="connsiteY54" fmla="*/ 9410 h 10228"/>
              <a:gd name="connsiteX55" fmla="*/ 4878 w 10000"/>
              <a:gd name="connsiteY55" fmla="*/ 9453 h 10228"/>
              <a:gd name="connsiteX56" fmla="*/ 5170 w 10000"/>
              <a:gd name="connsiteY56" fmla="*/ 9434 h 10228"/>
              <a:gd name="connsiteX57" fmla="*/ 5464 w 10000"/>
              <a:gd name="connsiteY57" fmla="*/ 9481 h 10228"/>
              <a:gd name="connsiteX58" fmla="*/ 5759 w 10000"/>
              <a:gd name="connsiteY58" fmla="*/ 9487 h 10228"/>
              <a:gd name="connsiteX59" fmla="*/ 6419 w 10000"/>
              <a:gd name="connsiteY59" fmla="*/ 8856 h 10228"/>
              <a:gd name="connsiteX60" fmla="*/ 6586 w 10000"/>
              <a:gd name="connsiteY60" fmla="*/ 8341 h 10228"/>
              <a:gd name="connsiteX61" fmla="*/ 6855 w 10000"/>
              <a:gd name="connsiteY61" fmla="*/ 8113 h 10228"/>
              <a:gd name="connsiteX62" fmla="*/ 6855 w 10000"/>
              <a:gd name="connsiteY62" fmla="*/ 7991 h 10228"/>
              <a:gd name="connsiteX63" fmla="*/ 6757 w 10000"/>
              <a:gd name="connsiteY63" fmla="*/ 7924 h 10228"/>
              <a:gd name="connsiteX64" fmla="*/ 6915 w 10000"/>
              <a:gd name="connsiteY64" fmla="*/ 7816 h 10228"/>
              <a:gd name="connsiteX65" fmla="*/ 6887 w 10000"/>
              <a:gd name="connsiteY65" fmla="*/ 7726 h 10228"/>
              <a:gd name="connsiteX66" fmla="*/ 6779 w 10000"/>
              <a:gd name="connsiteY66" fmla="*/ 7648 h 10228"/>
              <a:gd name="connsiteX67" fmla="*/ 6757 w 10000"/>
              <a:gd name="connsiteY67" fmla="*/ 7591 h 10228"/>
              <a:gd name="connsiteX68" fmla="*/ 6785 w 10000"/>
              <a:gd name="connsiteY68" fmla="*/ 7548 h 10228"/>
              <a:gd name="connsiteX69" fmla="*/ 6931 w 10000"/>
              <a:gd name="connsiteY69" fmla="*/ 7583 h 10228"/>
              <a:gd name="connsiteX70" fmla="*/ 7045 w 10000"/>
              <a:gd name="connsiteY70" fmla="*/ 7581 h 10228"/>
              <a:gd name="connsiteX71" fmla="*/ 6983 w 10000"/>
              <a:gd name="connsiteY71" fmla="*/ 7507 h 10228"/>
              <a:gd name="connsiteX72" fmla="*/ 7003 w 10000"/>
              <a:gd name="connsiteY72" fmla="*/ 7464 h 10228"/>
              <a:gd name="connsiteX73" fmla="*/ 7089 w 10000"/>
              <a:gd name="connsiteY73" fmla="*/ 7402 h 10228"/>
              <a:gd name="connsiteX74" fmla="*/ 7074 w 10000"/>
              <a:gd name="connsiteY74" fmla="*/ 7351 h 10228"/>
              <a:gd name="connsiteX75" fmla="*/ 7152 w 10000"/>
              <a:gd name="connsiteY75" fmla="*/ 7179 h 10228"/>
              <a:gd name="connsiteX76" fmla="*/ 7130 w 10000"/>
              <a:gd name="connsiteY76" fmla="*/ 7127 h 10228"/>
              <a:gd name="connsiteX77" fmla="*/ 6729 w 10000"/>
              <a:gd name="connsiteY77" fmla="*/ 6997 h 10228"/>
              <a:gd name="connsiteX78" fmla="*/ 6785 w 10000"/>
              <a:gd name="connsiteY78" fmla="*/ 6992 h 10228"/>
              <a:gd name="connsiteX79" fmla="*/ 6998 w 10000"/>
              <a:gd name="connsiteY79" fmla="*/ 7026 h 10228"/>
              <a:gd name="connsiteX80" fmla="*/ 7230 w 10000"/>
              <a:gd name="connsiteY80" fmla="*/ 7014 h 10228"/>
              <a:gd name="connsiteX81" fmla="*/ 7295 w 10000"/>
              <a:gd name="connsiteY81" fmla="*/ 6966 h 10228"/>
              <a:gd name="connsiteX82" fmla="*/ 7074 w 10000"/>
              <a:gd name="connsiteY82" fmla="*/ 6878 h 10228"/>
              <a:gd name="connsiteX83" fmla="*/ 6414 w 10000"/>
              <a:gd name="connsiteY83" fmla="*/ 6819 h 10228"/>
              <a:gd name="connsiteX84" fmla="*/ 6458 w 10000"/>
              <a:gd name="connsiteY84" fmla="*/ 6792 h 10228"/>
              <a:gd name="connsiteX85" fmla="*/ 6998 w 10000"/>
              <a:gd name="connsiteY85" fmla="*/ 6774 h 10228"/>
              <a:gd name="connsiteX86" fmla="*/ 7295 w 10000"/>
              <a:gd name="connsiteY86" fmla="*/ 6827 h 10228"/>
              <a:gd name="connsiteX87" fmla="*/ 7466 w 10000"/>
              <a:gd name="connsiteY87" fmla="*/ 6792 h 10228"/>
              <a:gd name="connsiteX88" fmla="*/ 7529 w 10000"/>
              <a:gd name="connsiteY88" fmla="*/ 6700 h 10228"/>
              <a:gd name="connsiteX89" fmla="*/ 7840 w 10000"/>
              <a:gd name="connsiteY89" fmla="*/ 6700 h 10228"/>
              <a:gd name="connsiteX90" fmla="*/ 8261 w 10000"/>
              <a:gd name="connsiteY90" fmla="*/ 6514 h 10228"/>
              <a:gd name="connsiteX91" fmla="*/ 8275 w 10000"/>
              <a:gd name="connsiteY91" fmla="*/ 6391 h 10228"/>
              <a:gd name="connsiteX92" fmla="*/ 8453 w 10000"/>
              <a:gd name="connsiteY92" fmla="*/ 6419 h 10228"/>
              <a:gd name="connsiteX93" fmla="*/ 8446 w 10000"/>
              <a:gd name="connsiteY93" fmla="*/ 6542 h 10228"/>
              <a:gd name="connsiteX94" fmla="*/ 8727 w 10000"/>
              <a:gd name="connsiteY94" fmla="*/ 6534 h 10228"/>
              <a:gd name="connsiteX95" fmla="*/ 8913 w 10000"/>
              <a:gd name="connsiteY95" fmla="*/ 6406 h 10228"/>
              <a:gd name="connsiteX96" fmla="*/ 9258 w 10000"/>
              <a:gd name="connsiteY96" fmla="*/ 6290 h 10228"/>
              <a:gd name="connsiteX97" fmla="*/ 9203 w 10000"/>
              <a:gd name="connsiteY97" fmla="*/ 6159 h 10228"/>
              <a:gd name="connsiteX98" fmla="*/ 9306 w 10000"/>
              <a:gd name="connsiteY98" fmla="*/ 6211 h 10228"/>
              <a:gd name="connsiteX99" fmla="*/ 9464 w 10000"/>
              <a:gd name="connsiteY99" fmla="*/ 6211 h 10228"/>
              <a:gd name="connsiteX100" fmla="*/ 9464 w 10000"/>
              <a:gd name="connsiteY100" fmla="*/ 6150 h 10228"/>
              <a:gd name="connsiteX101" fmla="*/ 9611 w 10000"/>
              <a:gd name="connsiteY101" fmla="*/ 6104 h 10228"/>
              <a:gd name="connsiteX102" fmla="*/ 9592 w 10000"/>
              <a:gd name="connsiteY102" fmla="*/ 6057 h 10228"/>
              <a:gd name="connsiteX103" fmla="*/ 8350 w 10000"/>
              <a:gd name="connsiteY103" fmla="*/ 6152 h 10228"/>
              <a:gd name="connsiteX104" fmla="*/ 8058 w 10000"/>
              <a:gd name="connsiteY104" fmla="*/ 6124 h 10228"/>
              <a:gd name="connsiteX105" fmla="*/ 7942 w 10000"/>
              <a:gd name="connsiteY105" fmla="*/ 6159 h 10228"/>
              <a:gd name="connsiteX106" fmla="*/ 7903 w 10000"/>
              <a:gd name="connsiteY106" fmla="*/ 6092 h 10228"/>
              <a:gd name="connsiteX107" fmla="*/ 7765 w 10000"/>
              <a:gd name="connsiteY107" fmla="*/ 6033 h 10228"/>
              <a:gd name="connsiteX108" fmla="*/ 7213 w 10000"/>
              <a:gd name="connsiteY108" fmla="*/ 5914 h 10228"/>
              <a:gd name="connsiteX109" fmla="*/ 6887 w 10000"/>
              <a:gd name="connsiteY109" fmla="*/ 5933 h 10228"/>
              <a:gd name="connsiteX110" fmla="*/ 6757 w 10000"/>
              <a:gd name="connsiteY110" fmla="*/ 5899 h 10228"/>
              <a:gd name="connsiteX111" fmla="*/ 6894 w 10000"/>
              <a:gd name="connsiteY111" fmla="*/ 5870 h 10228"/>
              <a:gd name="connsiteX112" fmla="*/ 6998 w 10000"/>
              <a:gd name="connsiteY112" fmla="*/ 5806 h 10228"/>
              <a:gd name="connsiteX113" fmla="*/ 7152 w 10000"/>
              <a:gd name="connsiteY113" fmla="*/ 5826 h 10228"/>
              <a:gd name="connsiteX114" fmla="*/ 7335 w 10000"/>
              <a:gd name="connsiteY114" fmla="*/ 5810 h 10228"/>
              <a:gd name="connsiteX115" fmla="*/ 7611 w 10000"/>
              <a:gd name="connsiteY115" fmla="*/ 5831 h 10228"/>
              <a:gd name="connsiteX116" fmla="*/ 7645 w 10000"/>
              <a:gd name="connsiteY116" fmla="*/ 5822 h 10228"/>
              <a:gd name="connsiteX117" fmla="*/ 7859 w 10000"/>
              <a:gd name="connsiteY117" fmla="*/ 5920 h 10228"/>
              <a:gd name="connsiteX118" fmla="*/ 8017 w 10000"/>
              <a:gd name="connsiteY118" fmla="*/ 5884 h 10228"/>
              <a:gd name="connsiteX119" fmla="*/ 8032 w 10000"/>
              <a:gd name="connsiteY119" fmla="*/ 5851 h 10228"/>
              <a:gd name="connsiteX120" fmla="*/ 8176 w 10000"/>
              <a:gd name="connsiteY120" fmla="*/ 5909 h 10228"/>
              <a:gd name="connsiteX121" fmla="*/ 8369 w 10000"/>
              <a:gd name="connsiteY121" fmla="*/ 5939 h 10228"/>
              <a:gd name="connsiteX122" fmla="*/ 8446 w 10000"/>
              <a:gd name="connsiteY122" fmla="*/ 5882 h 10228"/>
              <a:gd name="connsiteX123" fmla="*/ 8507 w 10000"/>
              <a:gd name="connsiteY123" fmla="*/ 5914 h 10228"/>
              <a:gd name="connsiteX124" fmla="*/ 8596 w 10000"/>
              <a:gd name="connsiteY124" fmla="*/ 6025 h 10228"/>
              <a:gd name="connsiteX125" fmla="*/ 8782 w 10000"/>
              <a:gd name="connsiteY125" fmla="*/ 6050 h 10228"/>
              <a:gd name="connsiteX126" fmla="*/ 9542 w 10000"/>
              <a:gd name="connsiteY126" fmla="*/ 5887 h 10228"/>
              <a:gd name="connsiteX127" fmla="*/ 9914 w 10000"/>
              <a:gd name="connsiteY127" fmla="*/ 5660 h 10228"/>
              <a:gd name="connsiteX128" fmla="*/ 10000 w 10000"/>
              <a:gd name="connsiteY128" fmla="*/ 5494 h 10228"/>
              <a:gd name="connsiteX129" fmla="*/ 9866 w 10000"/>
              <a:gd name="connsiteY129" fmla="*/ 5345 h 10228"/>
              <a:gd name="connsiteX130" fmla="*/ 9582 w 10000"/>
              <a:gd name="connsiteY130" fmla="*/ 5255 h 10228"/>
              <a:gd name="connsiteX131" fmla="*/ 9382 w 10000"/>
              <a:gd name="connsiteY131" fmla="*/ 5108 h 10228"/>
              <a:gd name="connsiteX132" fmla="*/ 9569 w 10000"/>
              <a:gd name="connsiteY132" fmla="*/ 5103 h 10228"/>
              <a:gd name="connsiteX133" fmla="*/ 9555 w 10000"/>
              <a:gd name="connsiteY133" fmla="*/ 5068 h 10228"/>
              <a:gd name="connsiteX134" fmla="*/ 9068 w 10000"/>
              <a:gd name="connsiteY134" fmla="*/ 4965 h 10228"/>
              <a:gd name="connsiteX135" fmla="*/ 9047 w 10000"/>
              <a:gd name="connsiteY135" fmla="*/ 4870 h 10228"/>
              <a:gd name="connsiteX136" fmla="*/ 8953 w 10000"/>
              <a:gd name="connsiteY136" fmla="*/ 4772 h 10228"/>
              <a:gd name="connsiteX137" fmla="*/ 8569 w 10000"/>
              <a:gd name="connsiteY137" fmla="*/ 4790 h 10228"/>
              <a:gd name="connsiteX138" fmla="*/ 8431 w 10000"/>
              <a:gd name="connsiteY138" fmla="*/ 4685 h 10228"/>
              <a:gd name="connsiteX139" fmla="*/ 8350 w 10000"/>
              <a:gd name="connsiteY139" fmla="*/ 4679 h 10228"/>
              <a:gd name="connsiteX140" fmla="*/ 8350 w 10000"/>
              <a:gd name="connsiteY140" fmla="*/ 4723 h 10228"/>
              <a:gd name="connsiteX141" fmla="*/ 8176 w 10000"/>
              <a:gd name="connsiteY141" fmla="*/ 4900 h 10228"/>
              <a:gd name="connsiteX142" fmla="*/ 7990 w 10000"/>
              <a:gd name="connsiteY142" fmla="*/ 5004 h 10228"/>
              <a:gd name="connsiteX143" fmla="*/ 7401 w 10000"/>
              <a:gd name="connsiteY143" fmla="*/ 5181 h 10228"/>
              <a:gd name="connsiteX144" fmla="*/ 7198 w 10000"/>
              <a:gd name="connsiteY144" fmla="*/ 5175 h 10228"/>
              <a:gd name="connsiteX145" fmla="*/ 6915 w 10000"/>
              <a:gd name="connsiteY145" fmla="*/ 5202 h 10228"/>
              <a:gd name="connsiteX146" fmla="*/ 6757 w 10000"/>
              <a:gd name="connsiteY146" fmla="*/ 5175 h 10228"/>
              <a:gd name="connsiteX147" fmla="*/ 6965 w 10000"/>
              <a:gd name="connsiteY147" fmla="*/ 5126 h 10228"/>
              <a:gd name="connsiteX148" fmla="*/ 7235 w 10000"/>
              <a:gd name="connsiteY148" fmla="*/ 5103 h 10228"/>
              <a:gd name="connsiteX149" fmla="*/ 7455 w 10000"/>
              <a:gd name="connsiteY149" fmla="*/ 5021 h 10228"/>
              <a:gd name="connsiteX150" fmla="*/ 7674 w 10000"/>
              <a:gd name="connsiteY150" fmla="*/ 4982 h 10228"/>
              <a:gd name="connsiteX151" fmla="*/ 8082 w 10000"/>
              <a:gd name="connsiteY151" fmla="*/ 4837 h 10228"/>
              <a:gd name="connsiteX152" fmla="*/ 8157 w 10000"/>
              <a:gd name="connsiteY152" fmla="*/ 4743 h 10228"/>
              <a:gd name="connsiteX153" fmla="*/ 8165 w 10000"/>
              <a:gd name="connsiteY153" fmla="*/ 4620 h 10228"/>
              <a:gd name="connsiteX154" fmla="*/ 7978 w 10000"/>
              <a:gd name="connsiteY154" fmla="*/ 4600 h 10228"/>
              <a:gd name="connsiteX155" fmla="*/ 8058 w 10000"/>
              <a:gd name="connsiteY155" fmla="*/ 4525 h 10228"/>
              <a:gd name="connsiteX156" fmla="*/ 8087 w 10000"/>
              <a:gd name="connsiteY156" fmla="*/ 4431 h 10228"/>
              <a:gd name="connsiteX157" fmla="*/ 8007 w 10000"/>
              <a:gd name="connsiteY157" fmla="*/ 4342 h 10228"/>
              <a:gd name="connsiteX158" fmla="*/ 4815 w 10000"/>
              <a:gd name="connsiteY158" fmla="*/ 363 h 10228"/>
              <a:gd name="connsiteX159" fmla="*/ 4802 w 10000"/>
              <a:gd name="connsiteY159" fmla="*/ 228 h 10228"/>
              <a:gd name="connsiteX160" fmla="*/ 5176 w 10000"/>
              <a:gd name="connsiteY160" fmla="*/ 559 h 10228"/>
              <a:gd name="connsiteX161" fmla="*/ 5057 w 10000"/>
              <a:gd name="connsiteY161" fmla="*/ 824 h 10228"/>
              <a:gd name="connsiteX162" fmla="*/ 4842 w 10000"/>
              <a:gd name="connsiteY162" fmla="*/ 920 h 10228"/>
              <a:gd name="connsiteX163" fmla="*/ 4200 w 10000"/>
              <a:gd name="connsiteY163" fmla="*/ 856 h 10228"/>
              <a:gd name="connsiteX164" fmla="*/ 3760 w 10000"/>
              <a:gd name="connsiteY164" fmla="*/ 892 h 10228"/>
              <a:gd name="connsiteX165" fmla="*/ 3405 w 10000"/>
              <a:gd name="connsiteY165" fmla="*/ 970 h 10228"/>
              <a:gd name="connsiteX166" fmla="*/ 2832 w 10000"/>
              <a:gd name="connsiteY166" fmla="*/ 1215 h 10228"/>
              <a:gd name="connsiteX167" fmla="*/ 2528 w 10000"/>
              <a:gd name="connsiteY167" fmla="*/ 1509 h 10228"/>
              <a:gd name="connsiteX168" fmla="*/ 2555 w 10000"/>
              <a:gd name="connsiteY168" fmla="*/ 1674 h 10228"/>
              <a:gd name="connsiteX169" fmla="*/ 2661 w 10000"/>
              <a:gd name="connsiteY169" fmla="*/ 1800 h 10228"/>
              <a:gd name="connsiteX170" fmla="*/ 2741 w 10000"/>
              <a:gd name="connsiteY170" fmla="*/ 1851 h 10228"/>
              <a:gd name="connsiteX171" fmla="*/ 2592 w 10000"/>
              <a:gd name="connsiteY171" fmla="*/ 1933 h 10228"/>
              <a:gd name="connsiteX172" fmla="*/ 2267 w 10000"/>
              <a:gd name="connsiteY172" fmla="*/ 2488 h 10228"/>
              <a:gd name="connsiteX173" fmla="*/ 2330 w 10000"/>
              <a:gd name="connsiteY173" fmla="*/ 2519 h 10228"/>
              <a:gd name="connsiteX174" fmla="*/ 2375 w 10000"/>
              <a:gd name="connsiteY174" fmla="*/ 2661 h 10228"/>
              <a:gd name="connsiteX175" fmla="*/ 2226 w 10000"/>
              <a:gd name="connsiteY175" fmla="*/ 3245 h 10228"/>
              <a:gd name="connsiteX176" fmla="*/ 2375 w 10000"/>
              <a:gd name="connsiteY176" fmla="*/ 3394 h 10228"/>
              <a:gd name="connsiteX177" fmla="*/ 2791 w 10000"/>
              <a:gd name="connsiteY177" fmla="*/ 3557 h 10228"/>
              <a:gd name="connsiteX178" fmla="*/ 2808 w 10000"/>
              <a:gd name="connsiteY178" fmla="*/ 3756 h 10228"/>
              <a:gd name="connsiteX179" fmla="*/ 2632 w 10000"/>
              <a:gd name="connsiteY179" fmla="*/ 3922 h 10228"/>
              <a:gd name="connsiteX180" fmla="*/ 2375 w 10000"/>
              <a:gd name="connsiteY180" fmla="*/ 4022 h 10228"/>
              <a:gd name="connsiteX181" fmla="*/ 2039 w 10000"/>
              <a:gd name="connsiteY181" fmla="*/ 4062 h 10228"/>
              <a:gd name="connsiteX182" fmla="*/ 1950 w 10000"/>
              <a:gd name="connsiteY182" fmla="*/ 4121 h 10228"/>
              <a:gd name="connsiteX183" fmla="*/ 2148 w 10000"/>
              <a:gd name="connsiteY183" fmla="*/ 4258 h 10228"/>
              <a:gd name="connsiteX184" fmla="*/ 2261 w 10000"/>
              <a:gd name="connsiteY184" fmla="*/ 4583 h 10228"/>
              <a:gd name="connsiteX185" fmla="*/ 2005 w 10000"/>
              <a:gd name="connsiteY185" fmla="*/ 4863 h 10228"/>
              <a:gd name="connsiteX186" fmla="*/ 2094 w 10000"/>
              <a:gd name="connsiteY186" fmla="*/ 4948 h 10228"/>
              <a:gd name="connsiteX187" fmla="*/ 2012 w 10000"/>
              <a:gd name="connsiteY187" fmla="*/ 5095 h 10228"/>
              <a:gd name="connsiteX188" fmla="*/ 1850 w 10000"/>
              <a:gd name="connsiteY188" fmla="*/ 5195 h 10228"/>
              <a:gd name="connsiteX189" fmla="*/ 1199 w 10000"/>
              <a:gd name="connsiteY189" fmla="*/ 5272 h 10228"/>
              <a:gd name="connsiteX190" fmla="*/ 1158 w 10000"/>
              <a:gd name="connsiteY190" fmla="*/ 5407 h 10228"/>
              <a:gd name="connsiteX191" fmla="*/ 808 w 10000"/>
              <a:gd name="connsiteY191" fmla="*/ 5608 h 10228"/>
              <a:gd name="connsiteX192" fmla="*/ 854 w 10000"/>
              <a:gd name="connsiteY192" fmla="*/ 5897 h 10228"/>
              <a:gd name="connsiteX193" fmla="*/ 560 w 10000"/>
              <a:gd name="connsiteY193" fmla="*/ 6267 h 10228"/>
              <a:gd name="connsiteX194" fmla="*/ 358 w 10000"/>
              <a:gd name="connsiteY194" fmla="*/ 6310 h 10228"/>
              <a:gd name="connsiteX195" fmla="*/ 275 w 10000"/>
              <a:gd name="connsiteY195" fmla="*/ 6223 h 10228"/>
              <a:gd name="connsiteX196" fmla="*/ 174 w 10000"/>
              <a:gd name="connsiteY196" fmla="*/ 6356 h 10228"/>
              <a:gd name="connsiteX197" fmla="*/ 239 w 10000"/>
              <a:gd name="connsiteY197" fmla="*/ 6126 h 10228"/>
              <a:gd name="connsiteX198" fmla="*/ 197 w 10000"/>
              <a:gd name="connsiteY198" fmla="*/ 6083 h 10228"/>
              <a:gd name="connsiteX0" fmla="*/ 197 w 10000"/>
              <a:gd name="connsiteY0" fmla="*/ 5971 h 10116"/>
              <a:gd name="connsiteX1" fmla="*/ 0 w 10000"/>
              <a:gd name="connsiteY1" fmla="*/ 6090 h 10116"/>
              <a:gd name="connsiteX2" fmla="*/ 0 w 10000"/>
              <a:gd name="connsiteY2" fmla="*/ 6680 h 10116"/>
              <a:gd name="connsiteX3" fmla="*/ 109 w 10000"/>
              <a:gd name="connsiteY3" fmla="*/ 6696 h 10116"/>
              <a:gd name="connsiteX4" fmla="*/ 134 w 10000"/>
              <a:gd name="connsiteY4" fmla="*/ 6742 h 10116"/>
              <a:gd name="connsiteX5" fmla="*/ 130 w 10000"/>
              <a:gd name="connsiteY5" fmla="*/ 6822 h 10116"/>
              <a:gd name="connsiteX6" fmla="*/ 89 w 10000"/>
              <a:gd name="connsiteY6" fmla="*/ 6858 h 10116"/>
              <a:gd name="connsiteX7" fmla="*/ 255 w 10000"/>
              <a:gd name="connsiteY7" fmla="*/ 6789 h 10116"/>
              <a:gd name="connsiteX8" fmla="*/ 325 w 10000"/>
              <a:gd name="connsiteY8" fmla="*/ 6722 h 10116"/>
              <a:gd name="connsiteX9" fmla="*/ 413 w 10000"/>
              <a:gd name="connsiteY9" fmla="*/ 6768 h 10116"/>
              <a:gd name="connsiteX10" fmla="*/ 316 w 10000"/>
              <a:gd name="connsiteY10" fmla="*/ 6865 h 10116"/>
              <a:gd name="connsiteX11" fmla="*/ 419 w 10000"/>
              <a:gd name="connsiteY11" fmla="*/ 6867 h 10116"/>
              <a:gd name="connsiteX12" fmla="*/ 469 w 10000"/>
              <a:gd name="connsiteY12" fmla="*/ 6891 h 10116"/>
              <a:gd name="connsiteX13" fmla="*/ 337 w 10000"/>
              <a:gd name="connsiteY13" fmla="*/ 6922 h 10116"/>
              <a:gd name="connsiteX14" fmla="*/ 130 w 10000"/>
              <a:gd name="connsiteY14" fmla="*/ 7021 h 10116"/>
              <a:gd name="connsiteX15" fmla="*/ 497 w 10000"/>
              <a:gd name="connsiteY15" fmla="*/ 7099 h 10116"/>
              <a:gd name="connsiteX16" fmla="*/ 545 w 10000"/>
              <a:gd name="connsiteY16" fmla="*/ 7210 h 10116"/>
              <a:gd name="connsiteX17" fmla="*/ 419 w 10000"/>
              <a:gd name="connsiteY17" fmla="*/ 7372 h 10116"/>
              <a:gd name="connsiteX18" fmla="*/ 688 w 10000"/>
              <a:gd name="connsiteY18" fmla="*/ 7362 h 10116"/>
              <a:gd name="connsiteX19" fmla="*/ 709 w 10000"/>
              <a:gd name="connsiteY19" fmla="*/ 7485 h 10116"/>
              <a:gd name="connsiteX20" fmla="*/ 530 w 10000"/>
              <a:gd name="connsiteY20" fmla="*/ 7569 h 10116"/>
              <a:gd name="connsiteX21" fmla="*/ 560 w 10000"/>
              <a:gd name="connsiteY21" fmla="*/ 7731 h 10116"/>
              <a:gd name="connsiteX22" fmla="*/ 489 w 10000"/>
              <a:gd name="connsiteY22" fmla="*/ 7856 h 10116"/>
              <a:gd name="connsiteX23" fmla="*/ 703 w 10000"/>
              <a:gd name="connsiteY23" fmla="*/ 7868 h 10116"/>
              <a:gd name="connsiteX24" fmla="*/ 909 w 10000"/>
              <a:gd name="connsiteY24" fmla="*/ 8350 h 10116"/>
              <a:gd name="connsiteX25" fmla="*/ 1150 w 10000"/>
              <a:gd name="connsiteY25" fmla="*/ 8471 h 10116"/>
              <a:gd name="connsiteX26" fmla="*/ 1255 w 10000"/>
              <a:gd name="connsiteY26" fmla="*/ 8602 h 10116"/>
              <a:gd name="connsiteX27" fmla="*/ 1514 w 10000"/>
              <a:gd name="connsiteY27" fmla="*/ 8696 h 10116"/>
              <a:gd name="connsiteX28" fmla="*/ 1684 w 10000"/>
              <a:gd name="connsiteY28" fmla="*/ 8818 h 10116"/>
              <a:gd name="connsiteX29" fmla="*/ 1661 w 10000"/>
              <a:gd name="connsiteY29" fmla="*/ 8904 h 10116"/>
              <a:gd name="connsiteX30" fmla="*/ 1496 w 10000"/>
              <a:gd name="connsiteY30" fmla="*/ 8936 h 10116"/>
              <a:gd name="connsiteX31" fmla="*/ 1316 w 10000"/>
              <a:gd name="connsiteY31" fmla="*/ 8916 h 10116"/>
              <a:gd name="connsiteX32" fmla="*/ 1260 w 10000"/>
              <a:gd name="connsiteY32" fmla="*/ 8951 h 10116"/>
              <a:gd name="connsiteX33" fmla="*/ 1397 w 10000"/>
              <a:gd name="connsiteY33" fmla="*/ 9138 h 10116"/>
              <a:gd name="connsiteX34" fmla="*/ 1205 w 10000"/>
              <a:gd name="connsiteY34" fmla="*/ 9123 h 10116"/>
              <a:gd name="connsiteX35" fmla="*/ 1040 w 10000"/>
              <a:gd name="connsiteY35" fmla="*/ 9077 h 10116"/>
              <a:gd name="connsiteX36" fmla="*/ 1012 w 10000"/>
              <a:gd name="connsiteY36" fmla="*/ 9147 h 10116"/>
              <a:gd name="connsiteX37" fmla="*/ 1557 w 10000"/>
              <a:gd name="connsiteY37" fmla="*/ 9789 h 10116"/>
              <a:gd name="connsiteX38" fmla="*/ 1469 w 10000"/>
              <a:gd name="connsiteY38" fmla="*/ 9849 h 10116"/>
              <a:gd name="connsiteX39" fmla="*/ 1408 w 10000"/>
              <a:gd name="connsiteY39" fmla="*/ 9973 h 10116"/>
              <a:gd name="connsiteX40" fmla="*/ 1329 w 10000"/>
              <a:gd name="connsiteY40" fmla="*/ 9982 h 10116"/>
              <a:gd name="connsiteX41" fmla="*/ 1281 w 10000"/>
              <a:gd name="connsiteY41" fmla="*/ 10036 h 10116"/>
              <a:gd name="connsiteX42" fmla="*/ 1609 w 10000"/>
              <a:gd name="connsiteY42" fmla="*/ 10041 h 10116"/>
              <a:gd name="connsiteX43" fmla="*/ 1900 w 10000"/>
              <a:gd name="connsiteY43" fmla="*/ 10095 h 10116"/>
              <a:gd name="connsiteX44" fmla="*/ 2383 w 10000"/>
              <a:gd name="connsiteY44" fmla="*/ 10038 h 10116"/>
              <a:gd name="connsiteX45" fmla="*/ 2816 w 10000"/>
              <a:gd name="connsiteY45" fmla="*/ 10049 h 10116"/>
              <a:gd name="connsiteX46" fmla="*/ 3072 w 10000"/>
              <a:gd name="connsiteY46" fmla="*/ 10116 h 10116"/>
              <a:gd name="connsiteX47" fmla="*/ 3212 w 10000"/>
              <a:gd name="connsiteY47" fmla="*/ 10071 h 10116"/>
              <a:gd name="connsiteX48" fmla="*/ 3348 w 10000"/>
              <a:gd name="connsiteY48" fmla="*/ 9924 h 10116"/>
              <a:gd name="connsiteX49" fmla="*/ 3313 w 10000"/>
              <a:gd name="connsiteY49" fmla="*/ 9680 h 10116"/>
              <a:gd name="connsiteX50" fmla="*/ 3642 w 10000"/>
              <a:gd name="connsiteY50" fmla="*/ 9411 h 10116"/>
              <a:gd name="connsiteX51" fmla="*/ 3883 w 10000"/>
              <a:gd name="connsiteY51" fmla="*/ 9453 h 10116"/>
              <a:gd name="connsiteX52" fmla="*/ 4025 w 10000"/>
              <a:gd name="connsiteY52" fmla="*/ 9345 h 10116"/>
              <a:gd name="connsiteX53" fmla="*/ 4294 w 10000"/>
              <a:gd name="connsiteY53" fmla="*/ 9283 h 10116"/>
              <a:gd name="connsiteX54" fmla="*/ 4658 w 10000"/>
              <a:gd name="connsiteY54" fmla="*/ 9298 h 10116"/>
              <a:gd name="connsiteX55" fmla="*/ 4878 w 10000"/>
              <a:gd name="connsiteY55" fmla="*/ 9341 h 10116"/>
              <a:gd name="connsiteX56" fmla="*/ 5170 w 10000"/>
              <a:gd name="connsiteY56" fmla="*/ 9322 h 10116"/>
              <a:gd name="connsiteX57" fmla="*/ 5464 w 10000"/>
              <a:gd name="connsiteY57" fmla="*/ 9369 h 10116"/>
              <a:gd name="connsiteX58" fmla="*/ 5759 w 10000"/>
              <a:gd name="connsiteY58" fmla="*/ 9375 h 10116"/>
              <a:gd name="connsiteX59" fmla="*/ 6419 w 10000"/>
              <a:gd name="connsiteY59" fmla="*/ 8744 h 10116"/>
              <a:gd name="connsiteX60" fmla="*/ 6586 w 10000"/>
              <a:gd name="connsiteY60" fmla="*/ 8229 h 10116"/>
              <a:gd name="connsiteX61" fmla="*/ 6855 w 10000"/>
              <a:gd name="connsiteY61" fmla="*/ 8001 h 10116"/>
              <a:gd name="connsiteX62" fmla="*/ 6855 w 10000"/>
              <a:gd name="connsiteY62" fmla="*/ 7879 h 10116"/>
              <a:gd name="connsiteX63" fmla="*/ 6757 w 10000"/>
              <a:gd name="connsiteY63" fmla="*/ 7812 h 10116"/>
              <a:gd name="connsiteX64" fmla="*/ 6915 w 10000"/>
              <a:gd name="connsiteY64" fmla="*/ 7704 h 10116"/>
              <a:gd name="connsiteX65" fmla="*/ 6887 w 10000"/>
              <a:gd name="connsiteY65" fmla="*/ 7614 h 10116"/>
              <a:gd name="connsiteX66" fmla="*/ 6779 w 10000"/>
              <a:gd name="connsiteY66" fmla="*/ 7536 h 10116"/>
              <a:gd name="connsiteX67" fmla="*/ 6757 w 10000"/>
              <a:gd name="connsiteY67" fmla="*/ 7479 h 10116"/>
              <a:gd name="connsiteX68" fmla="*/ 6785 w 10000"/>
              <a:gd name="connsiteY68" fmla="*/ 7436 h 10116"/>
              <a:gd name="connsiteX69" fmla="*/ 6931 w 10000"/>
              <a:gd name="connsiteY69" fmla="*/ 7471 h 10116"/>
              <a:gd name="connsiteX70" fmla="*/ 7045 w 10000"/>
              <a:gd name="connsiteY70" fmla="*/ 7469 h 10116"/>
              <a:gd name="connsiteX71" fmla="*/ 6983 w 10000"/>
              <a:gd name="connsiteY71" fmla="*/ 7395 h 10116"/>
              <a:gd name="connsiteX72" fmla="*/ 7003 w 10000"/>
              <a:gd name="connsiteY72" fmla="*/ 7352 h 10116"/>
              <a:gd name="connsiteX73" fmla="*/ 7089 w 10000"/>
              <a:gd name="connsiteY73" fmla="*/ 7290 h 10116"/>
              <a:gd name="connsiteX74" fmla="*/ 7074 w 10000"/>
              <a:gd name="connsiteY74" fmla="*/ 7239 h 10116"/>
              <a:gd name="connsiteX75" fmla="*/ 7152 w 10000"/>
              <a:gd name="connsiteY75" fmla="*/ 7067 h 10116"/>
              <a:gd name="connsiteX76" fmla="*/ 7130 w 10000"/>
              <a:gd name="connsiteY76" fmla="*/ 7015 h 10116"/>
              <a:gd name="connsiteX77" fmla="*/ 6729 w 10000"/>
              <a:gd name="connsiteY77" fmla="*/ 6885 h 10116"/>
              <a:gd name="connsiteX78" fmla="*/ 6785 w 10000"/>
              <a:gd name="connsiteY78" fmla="*/ 6880 h 10116"/>
              <a:gd name="connsiteX79" fmla="*/ 6998 w 10000"/>
              <a:gd name="connsiteY79" fmla="*/ 6914 h 10116"/>
              <a:gd name="connsiteX80" fmla="*/ 7230 w 10000"/>
              <a:gd name="connsiteY80" fmla="*/ 6902 h 10116"/>
              <a:gd name="connsiteX81" fmla="*/ 7295 w 10000"/>
              <a:gd name="connsiteY81" fmla="*/ 6854 h 10116"/>
              <a:gd name="connsiteX82" fmla="*/ 7074 w 10000"/>
              <a:gd name="connsiteY82" fmla="*/ 6766 h 10116"/>
              <a:gd name="connsiteX83" fmla="*/ 6414 w 10000"/>
              <a:gd name="connsiteY83" fmla="*/ 6707 h 10116"/>
              <a:gd name="connsiteX84" fmla="*/ 6458 w 10000"/>
              <a:gd name="connsiteY84" fmla="*/ 6680 h 10116"/>
              <a:gd name="connsiteX85" fmla="*/ 6998 w 10000"/>
              <a:gd name="connsiteY85" fmla="*/ 6662 h 10116"/>
              <a:gd name="connsiteX86" fmla="*/ 7295 w 10000"/>
              <a:gd name="connsiteY86" fmla="*/ 6715 h 10116"/>
              <a:gd name="connsiteX87" fmla="*/ 7466 w 10000"/>
              <a:gd name="connsiteY87" fmla="*/ 6680 h 10116"/>
              <a:gd name="connsiteX88" fmla="*/ 7529 w 10000"/>
              <a:gd name="connsiteY88" fmla="*/ 6588 h 10116"/>
              <a:gd name="connsiteX89" fmla="*/ 7840 w 10000"/>
              <a:gd name="connsiteY89" fmla="*/ 6588 h 10116"/>
              <a:gd name="connsiteX90" fmla="*/ 8261 w 10000"/>
              <a:gd name="connsiteY90" fmla="*/ 6402 h 10116"/>
              <a:gd name="connsiteX91" fmla="*/ 8275 w 10000"/>
              <a:gd name="connsiteY91" fmla="*/ 6279 h 10116"/>
              <a:gd name="connsiteX92" fmla="*/ 8453 w 10000"/>
              <a:gd name="connsiteY92" fmla="*/ 6307 h 10116"/>
              <a:gd name="connsiteX93" fmla="*/ 8446 w 10000"/>
              <a:gd name="connsiteY93" fmla="*/ 6430 h 10116"/>
              <a:gd name="connsiteX94" fmla="*/ 8727 w 10000"/>
              <a:gd name="connsiteY94" fmla="*/ 6422 h 10116"/>
              <a:gd name="connsiteX95" fmla="*/ 8913 w 10000"/>
              <a:gd name="connsiteY95" fmla="*/ 6294 h 10116"/>
              <a:gd name="connsiteX96" fmla="*/ 9258 w 10000"/>
              <a:gd name="connsiteY96" fmla="*/ 6178 h 10116"/>
              <a:gd name="connsiteX97" fmla="*/ 9203 w 10000"/>
              <a:gd name="connsiteY97" fmla="*/ 6047 h 10116"/>
              <a:gd name="connsiteX98" fmla="*/ 9306 w 10000"/>
              <a:gd name="connsiteY98" fmla="*/ 6099 h 10116"/>
              <a:gd name="connsiteX99" fmla="*/ 9464 w 10000"/>
              <a:gd name="connsiteY99" fmla="*/ 6099 h 10116"/>
              <a:gd name="connsiteX100" fmla="*/ 9464 w 10000"/>
              <a:gd name="connsiteY100" fmla="*/ 6038 h 10116"/>
              <a:gd name="connsiteX101" fmla="*/ 9611 w 10000"/>
              <a:gd name="connsiteY101" fmla="*/ 5992 h 10116"/>
              <a:gd name="connsiteX102" fmla="*/ 9592 w 10000"/>
              <a:gd name="connsiteY102" fmla="*/ 5945 h 10116"/>
              <a:gd name="connsiteX103" fmla="*/ 8350 w 10000"/>
              <a:gd name="connsiteY103" fmla="*/ 6040 h 10116"/>
              <a:gd name="connsiteX104" fmla="*/ 8058 w 10000"/>
              <a:gd name="connsiteY104" fmla="*/ 6012 h 10116"/>
              <a:gd name="connsiteX105" fmla="*/ 7942 w 10000"/>
              <a:gd name="connsiteY105" fmla="*/ 6047 h 10116"/>
              <a:gd name="connsiteX106" fmla="*/ 7903 w 10000"/>
              <a:gd name="connsiteY106" fmla="*/ 5980 h 10116"/>
              <a:gd name="connsiteX107" fmla="*/ 7765 w 10000"/>
              <a:gd name="connsiteY107" fmla="*/ 5921 h 10116"/>
              <a:gd name="connsiteX108" fmla="*/ 7213 w 10000"/>
              <a:gd name="connsiteY108" fmla="*/ 5802 h 10116"/>
              <a:gd name="connsiteX109" fmla="*/ 6887 w 10000"/>
              <a:gd name="connsiteY109" fmla="*/ 5821 h 10116"/>
              <a:gd name="connsiteX110" fmla="*/ 6757 w 10000"/>
              <a:gd name="connsiteY110" fmla="*/ 5787 h 10116"/>
              <a:gd name="connsiteX111" fmla="*/ 6894 w 10000"/>
              <a:gd name="connsiteY111" fmla="*/ 5758 h 10116"/>
              <a:gd name="connsiteX112" fmla="*/ 6998 w 10000"/>
              <a:gd name="connsiteY112" fmla="*/ 5694 h 10116"/>
              <a:gd name="connsiteX113" fmla="*/ 7152 w 10000"/>
              <a:gd name="connsiteY113" fmla="*/ 5714 h 10116"/>
              <a:gd name="connsiteX114" fmla="*/ 7335 w 10000"/>
              <a:gd name="connsiteY114" fmla="*/ 5698 h 10116"/>
              <a:gd name="connsiteX115" fmla="*/ 7611 w 10000"/>
              <a:gd name="connsiteY115" fmla="*/ 5719 h 10116"/>
              <a:gd name="connsiteX116" fmla="*/ 7645 w 10000"/>
              <a:gd name="connsiteY116" fmla="*/ 5710 h 10116"/>
              <a:gd name="connsiteX117" fmla="*/ 7859 w 10000"/>
              <a:gd name="connsiteY117" fmla="*/ 5808 h 10116"/>
              <a:gd name="connsiteX118" fmla="*/ 8017 w 10000"/>
              <a:gd name="connsiteY118" fmla="*/ 5772 h 10116"/>
              <a:gd name="connsiteX119" fmla="*/ 8032 w 10000"/>
              <a:gd name="connsiteY119" fmla="*/ 5739 h 10116"/>
              <a:gd name="connsiteX120" fmla="*/ 8176 w 10000"/>
              <a:gd name="connsiteY120" fmla="*/ 5797 h 10116"/>
              <a:gd name="connsiteX121" fmla="*/ 8369 w 10000"/>
              <a:gd name="connsiteY121" fmla="*/ 5827 h 10116"/>
              <a:gd name="connsiteX122" fmla="*/ 8446 w 10000"/>
              <a:gd name="connsiteY122" fmla="*/ 5770 h 10116"/>
              <a:gd name="connsiteX123" fmla="*/ 8507 w 10000"/>
              <a:gd name="connsiteY123" fmla="*/ 5802 h 10116"/>
              <a:gd name="connsiteX124" fmla="*/ 8596 w 10000"/>
              <a:gd name="connsiteY124" fmla="*/ 5913 h 10116"/>
              <a:gd name="connsiteX125" fmla="*/ 8782 w 10000"/>
              <a:gd name="connsiteY125" fmla="*/ 5938 h 10116"/>
              <a:gd name="connsiteX126" fmla="*/ 9542 w 10000"/>
              <a:gd name="connsiteY126" fmla="*/ 5775 h 10116"/>
              <a:gd name="connsiteX127" fmla="*/ 9914 w 10000"/>
              <a:gd name="connsiteY127" fmla="*/ 5548 h 10116"/>
              <a:gd name="connsiteX128" fmla="*/ 10000 w 10000"/>
              <a:gd name="connsiteY128" fmla="*/ 5382 h 10116"/>
              <a:gd name="connsiteX129" fmla="*/ 9866 w 10000"/>
              <a:gd name="connsiteY129" fmla="*/ 5233 h 10116"/>
              <a:gd name="connsiteX130" fmla="*/ 9582 w 10000"/>
              <a:gd name="connsiteY130" fmla="*/ 5143 h 10116"/>
              <a:gd name="connsiteX131" fmla="*/ 9382 w 10000"/>
              <a:gd name="connsiteY131" fmla="*/ 4996 h 10116"/>
              <a:gd name="connsiteX132" fmla="*/ 9569 w 10000"/>
              <a:gd name="connsiteY132" fmla="*/ 4991 h 10116"/>
              <a:gd name="connsiteX133" fmla="*/ 9555 w 10000"/>
              <a:gd name="connsiteY133" fmla="*/ 4956 h 10116"/>
              <a:gd name="connsiteX134" fmla="*/ 9068 w 10000"/>
              <a:gd name="connsiteY134" fmla="*/ 4853 h 10116"/>
              <a:gd name="connsiteX135" fmla="*/ 9047 w 10000"/>
              <a:gd name="connsiteY135" fmla="*/ 4758 h 10116"/>
              <a:gd name="connsiteX136" fmla="*/ 8953 w 10000"/>
              <a:gd name="connsiteY136" fmla="*/ 4660 h 10116"/>
              <a:gd name="connsiteX137" fmla="*/ 8569 w 10000"/>
              <a:gd name="connsiteY137" fmla="*/ 4678 h 10116"/>
              <a:gd name="connsiteX138" fmla="*/ 8431 w 10000"/>
              <a:gd name="connsiteY138" fmla="*/ 4573 h 10116"/>
              <a:gd name="connsiteX139" fmla="*/ 8350 w 10000"/>
              <a:gd name="connsiteY139" fmla="*/ 4567 h 10116"/>
              <a:gd name="connsiteX140" fmla="*/ 8350 w 10000"/>
              <a:gd name="connsiteY140" fmla="*/ 4611 h 10116"/>
              <a:gd name="connsiteX141" fmla="*/ 8176 w 10000"/>
              <a:gd name="connsiteY141" fmla="*/ 4788 h 10116"/>
              <a:gd name="connsiteX142" fmla="*/ 7990 w 10000"/>
              <a:gd name="connsiteY142" fmla="*/ 4892 h 10116"/>
              <a:gd name="connsiteX143" fmla="*/ 7401 w 10000"/>
              <a:gd name="connsiteY143" fmla="*/ 5069 h 10116"/>
              <a:gd name="connsiteX144" fmla="*/ 7198 w 10000"/>
              <a:gd name="connsiteY144" fmla="*/ 5063 h 10116"/>
              <a:gd name="connsiteX145" fmla="*/ 6915 w 10000"/>
              <a:gd name="connsiteY145" fmla="*/ 5090 h 10116"/>
              <a:gd name="connsiteX146" fmla="*/ 6757 w 10000"/>
              <a:gd name="connsiteY146" fmla="*/ 5063 h 10116"/>
              <a:gd name="connsiteX147" fmla="*/ 6965 w 10000"/>
              <a:gd name="connsiteY147" fmla="*/ 5014 h 10116"/>
              <a:gd name="connsiteX148" fmla="*/ 7235 w 10000"/>
              <a:gd name="connsiteY148" fmla="*/ 4991 h 10116"/>
              <a:gd name="connsiteX149" fmla="*/ 7455 w 10000"/>
              <a:gd name="connsiteY149" fmla="*/ 4909 h 10116"/>
              <a:gd name="connsiteX150" fmla="*/ 7674 w 10000"/>
              <a:gd name="connsiteY150" fmla="*/ 4870 h 10116"/>
              <a:gd name="connsiteX151" fmla="*/ 8082 w 10000"/>
              <a:gd name="connsiteY151" fmla="*/ 4725 h 10116"/>
              <a:gd name="connsiteX152" fmla="*/ 8157 w 10000"/>
              <a:gd name="connsiteY152" fmla="*/ 4631 h 10116"/>
              <a:gd name="connsiteX153" fmla="*/ 8165 w 10000"/>
              <a:gd name="connsiteY153" fmla="*/ 4508 h 10116"/>
              <a:gd name="connsiteX154" fmla="*/ 7978 w 10000"/>
              <a:gd name="connsiteY154" fmla="*/ 4488 h 10116"/>
              <a:gd name="connsiteX155" fmla="*/ 8058 w 10000"/>
              <a:gd name="connsiteY155" fmla="*/ 4413 h 10116"/>
              <a:gd name="connsiteX156" fmla="*/ 8087 w 10000"/>
              <a:gd name="connsiteY156" fmla="*/ 4319 h 10116"/>
              <a:gd name="connsiteX157" fmla="*/ 8007 w 10000"/>
              <a:gd name="connsiteY157" fmla="*/ 4230 h 10116"/>
              <a:gd name="connsiteX158" fmla="*/ 4815 w 10000"/>
              <a:gd name="connsiteY158" fmla="*/ 251 h 10116"/>
              <a:gd name="connsiteX159" fmla="*/ 5176 w 10000"/>
              <a:gd name="connsiteY159" fmla="*/ 447 h 10116"/>
              <a:gd name="connsiteX160" fmla="*/ 5057 w 10000"/>
              <a:gd name="connsiteY160" fmla="*/ 712 h 10116"/>
              <a:gd name="connsiteX161" fmla="*/ 4842 w 10000"/>
              <a:gd name="connsiteY161" fmla="*/ 808 h 10116"/>
              <a:gd name="connsiteX162" fmla="*/ 4200 w 10000"/>
              <a:gd name="connsiteY162" fmla="*/ 744 h 10116"/>
              <a:gd name="connsiteX163" fmla="*/ 3760 w 10000"/>
              <a:gd name="connsiteY163" fmla="*/ 780 h 10116"/>
              <a:gd name="connsiteX164" fmla="*/ 3405 w 10000"/>
              <a:gd name="connsiteY164" fmla="*/ 858 h 10116"/>
              <a:gd name="connsiteX165" fmla="*/ 2832 w 10000"/>
              <a:gd name="connsiteY165" fmla="*/ 1103 h 10116"/>
              <a:gd name="connsiteX166" fmla="*/ 2528 w 10000"/>
              <a:gd name="connsiteY166" fmla="*/ 1397 h 10116"/>
              <a:gd name="connsiteX167" fmla="*/ 2555 w 10000"/>
              <a:gd name="connsiteY167" fmla="*/ 1562 h 10116"/>
              <a:gd name="connsiteX168" fmla="*/ 2661 w 10000"/>
              <a:gd name="connsiteY168" fmla="*/ 1688 h 10116"/>
              <a:gd name="connsiteX169" fmla="*/ 2741 w 10000"/>
              <a:gd name="connsiteY169" fmla="*/ 1739 h 10116"/>
              <a:gd name="connsiteX170" fmla="*/ 2592 w 10000"/>
              <a:gd name="connsiteY170" fmla="*/ 1821 h 10116"/>
              <a:gd name="connsiteX171" fmla="*/ 2267 w 10000"/>
              <a:gd name="connsiteY171" fmla="*/ 2376 h 10116"/>
              <a:gd name="connsiteX172" fmla="*/ 2330 w 10000"/>
              <a:gd name="connsiteY172" fmla="*/ 2407 h 10116"/>
              <a:gd name="connsiteX173" fmla="*/ 2375 w 10000"/>
              <a:gd name="connsiteY173" fmla="*/ 2549 h 10116"/>
              <a:gd name="connsiteX174" fmla="*/ 2226 w 10000"/>
              <a:gd name="connsiteY174" fmla="*/ 3133 h 10116"/>
              <a:gd name="connsiteX175" fmla="*/ 2375 w 10000"/>
              <a:gd name="connsiteY175" fmla="*/ 3282 h 10116"/>
              <a:gd name="connsiteX176" fmla="*/ 2791 w 10000"/>
              <a:gd name="connsiteY176" fmla="*/ 3445 h 10116"/>
              <a:gd name="connsiteX177" fmla="*/ 2808 w 10000"/>
              <a:gd name="connsiteY177" fmla="*/ 3644 h 10116"/>
              <a:gd name="connsiteX178" fmla="*/ 2632 w 10000"/>
              <a:gd name="connsiteY178" fmla="*/ 3810 h 10116"/>
              <a:gd name="connsiteX179" fmla="*/ 2375 w 10000"/>
              <a:gd name="connsiteY179" fmla="*/ 3910 h 10116"/>
              <a:gd name="connsiteX180" fmla="*/ 2039 w 10000"/>
              <a:gd name="connsiteY180" fmla="*/ 3950 h 10116"/>
              <a:gd name="connsiteX181" fmla="*/ 1950 w 10000"/>
              <a:gd name="connsiteY181" fmla="*/ 4009 h 10116"/>
              <a:gd name="connsiteX182" fmla="*/ 2148 w 10000"/>
              <a:gd name="connsiteY182" fmla="*/ 4146 h 10116"/>
              <a:gd name="connsiteX183" fmla="*/ 2261 w 10000"/>
              <a:gd name="connsiteY183" fmla="*/ 4471 h 10116"/>
              <a:gd name="connsiteX184" fmla="*/ 2005 w 10000"/>
              <a:gd name="connsiteY184" fmla="*/ 4751 h 10116"/>
              <a:gd name="connsiteX185" fmla="*/ 2094 w 10000"/>
              <a:gd name="connsiteY185" fmla="*/ 4836 h 10116"/>
              <a:gd name="connsiteX186" fmla="*/ 2012 w 10000"/>
              <a:gd name="connsiteY186" fmla="*/ 4983 h 10116"/>
              <a:gd name="connsiteX187" fmla="*/ 1850 w 10000"/>
              <a:gd name="connsiteY187" fmla="*/ 5083 h 10116"/>
              <a:gd name="connsiteX188" fmla="*/ 1199 w 10000"/>
              <a:gd name="connsiteY188" fmla="*/ 5160 h 10116"/>
              <a:gd name="connsiteX189" fmla="*/ 1158 w 10000"/>
              <a:gd name="connsiteY189" fmla="*/ 5295 h 10116"/>
              <a:gd name="connsiteX190" fmla="*/ 808 w 10000"/>
              <a:gd name="connsiteY190" fmla="*/ 5496 h 10116"/>
              <a:gd name="connsiteX191" fmla="*/ 854 w 10000"/>
              <a:gd name="connsiteY191" fmla="*/ 5785 h 10116"/>
              <a:gd name="connsiteX192" fmla="*/ 560 w 10000"/>
              <a:gd name="connsiteY192" fmla="*/ 6155 h 10116"/>
              <a:gd name="connsiteX193" fmla="*/ 358 w 10000"/>
              <a:gd name="connsiteY193" fmla="*/ 6198 h 10116"/>
              <a:gd name="connsiteX194" fmla="*/ 275 w 10000"/>
              <a:gd name="connsiteY194" fmla="*/ 6111 h 10116"/>
              <a:gd name="connsiteX195" fmla="*/ 174 w 10000"/>
              <a:gd name="connsiteY195" fmla="*/ 6244 h 10116"/>
              <a:gd name="connsiteX196" fmla="*/ 239 w 10000"/>
              <a:gd name="connsiteY196" fmla="*/ 6014 h 10116"/>
              <a:gd name="connsiteX197" fmla="*/ 197 w 10000"/>
              <a:gd name="connsiteY197" fmla="*/ 5971 h 10116"/>
              <a:gd name="connsiteX0" fmla="*/ 197 w 10000"/>
              <a:gd name="connsiteY0" fmla="*/ 5524 h 9669"/>
              <a:gd name="connsiteX1" fmla="*/ 0 w 10000"/>
              <a:gd name="connsiteY1" fmla="*/ 5643 h 9669"/>
              <a:gd name="connsiteX2" fmla="*/ 0 w 10000"/>
              <a:gd name="connsiteY2" fmla="*/ 6233 h 9669"/>
              <a:gd name="connsiteX3" fmla="*/ 109 w 10000"/>
              <a:gd name="connsiteY3" fmla="*/ 6249 h 9669"/>
              <a:gd name="connsiteX4" fmla="*/ 134 w 10000"/>
              <a:gd name="connsiteY4" fmla="*/ 6295 h 9669"/>
              <a:gd name="connsiteX5" fmla="*/ 130 w 10000"/>
              <a:gd name="connsiteY5" fmla="*/ 6375 h 9669"/>
              <a:gd name="connsiteX6" fmla="*/ 89 w 10000"/>
              <a:gd name="connsiteY6" fmla="*/ 6411 h 9669"/>
              <a:gd name="connsiteX7" fmla="*/ 255 w 10000"/>
              <a:gd name="connsiteY7" fmla="*/ 6342 h 9669"/>
              <a:gd name="connsiteX8" fmla="*/ 325 w 10000"/>
              <a:gd name="connsiteY8" fmla="*/ 6275 h 9669"/>
              <a:gd name="connsiteX9" fmla="*/ 413 w 10000"/>
              <a:gd name="connsiteY9" fmla="*/ 6321 h 9669"/>
              <a:gd name="connsiteX10" fmla="*/ 316 w 10000"/>
              <a:gd name="connsiteY10" fmla="*/ 6418 h 9669"/>
              <a:gd name="connsiteX11" fmla="*/ 419 w 10000"/>
              <a:gd name="connsiteY11" fmla="*/ 6420 h 9669"/>
              <a:gd name="connsiteX12" fmla="*/ 469 w 10000"/>
              <a:gd name="connsiteY12" fmla="*/ 6444 h 9669"/>
              <a:gd name="connsiteX13" fmla="*/ 337 w 10000"/>
              <a:gd name="connsiteY13" fmla="*/ 6475 h 9669"/>
              <a:gd name="connsiteX14" fmla="*/ 130 w 10000"/>
              <a:gd name="connsiteY14" fmla="*/ 6574 h 9669"/>
              <a:gd name="connsiteX15" fmla="*/ 497 w 10000"/>
              <a:gd name="connsiteY15" fmla="*/ 6652 h 9669"/>
              <a:gd name="connsiteX16" fmla="*/ 545 w 10000"/>
              <a:gd name="connsiteY16" fmla="*/ 6763 h 9669"/>
              <a:gd name="connsiteX17" fmla="*/ 419 w 10000"/>
              <a:gd name="connsiteY17" fmla="*/ 6925 h 9669"/>
              <a:gd name="connsiteX18" fmla="*/ 688 w 10000"/>
              <a:gd name="connsiteY18" fmla="*/ 6915 h 9669"/>
              <a:gd name="connsiteX19" fmla="*/ 709 w 10000"/>
              <a:gd name="connsiteY19" fmla="*/ 7038 h 9669"/>
              <a:gd name="connsiteX20" fmla="*/ 530 w 10000"/>
              <a:gd name="connsiteY20" fmla="*/ 7122 h 9669"/>
              <a:gd name="connsiteX21" fmla="*/ 560 w 10000"/>
              <a:gd name="connsiteY21" fmla="*/ 7284 h 9669"/>
              <a:gd name="connsiteX22" fmla="*/ 489 w 10000"/>
              <a:gd name="connsiteY22" fmla="*/ 7409 h 9669"/>
              <a:gd name="connsiteX23" fmla="*/ 703 w 10000"/>
              <a:gd name="connsiteY23" fmla="*/ 7421 h 9669"/>
              <a:gd name="connsiteX24" fmla="*/ 909 w 10000"/>
              <a:gd name="connsiteY24" fmla="*/ 7903 h 9669"/>
              <a:gd name="connsiteX25" fmla="*/ 1150 w 10000"/>
              <a:gd name="connsiteY25" fmla="*/ 8024 h 9669"/>
              <a:gd name="connsiteX26" fmla="*/ 1255 w 10000"/>
              <a:gd name="connsiteY26" fmla="*/ 8155 h 9669"/>
              <a:gd name="connsiteX27" fmla="*/ 1514 w 10000"/>
              <a:gd name="connsiteY27" fmla="*/ 8249 h 9669"/>
              <a:gd name="connsiteX28" fmla="*/ 1684 w 10000"/>
              <a:gd name="connsiteY28" fmla="*/ 8371 h 9669"/>
              <a:gd name="connsiteX29" fmla="*/ 1661 w 10000"/>
              <a:gd name="connsiteY29" fmla="*/ 8457 h 9669"/>
              <a:gd name="connsiteX30" fmla="*/ 1496 w 10000"/>
              <a:gd name="connsiteY30" fmla="*/ 8489 h 9669"/>
              <a:gd name="connsiteX31" fmla="*/ 1316 w 10000"/>
              <a:gd name="connsiteY31" fmla="*/ 8469 h 9669"/>
              <a:gd name="connsiteX32" fmla="*/ 1260 w 10000"/>
              <a:gd name="connsiteY32" fmla="*/ 8504 h 9669"/>
              <a:gd name="connsiteX33" fmla="*/ 1397 w 10000"/>
              <a:gd name="connsiteY33" fmla="*/ 8691 h 9669"/>
              <a:gd name="connsiteX34" fmla="*/ 1205 w 10000"/>
              <a:gd name="connsiteY34" fmla="*/ 8676 h 9669"/>
              <a:gd name="connsiteX35" fmla="*/ 1040 w 10000"/>
              <a:gd name="connsiteY35" fmla="*/ 8630 h 9669"/>
              <a:gd name="connsiteX36" fmla="*/ 1012 w 10000"/>
              <a:gd name="connsiteY36" fmla="*/ 8700 h 9669"/>
              <a:gd name="connsiteX37" fmla="*/ 1557 w 10000"/>
              <a:gd name="connsiteY37" fmla="*/ 9342 h 9669"/>
              <a:gd name="connsiteX38" fmla="*/ 1469 w 10000"/>
              <a:gd name="connsiteY38" fmla="*/ 9402 h 9669"/>
              <a:gd name="connsiteX39" fmla="*/ 1408 w 10000"/>
              <a:gd name="connsiteY39" fmla="*/ 9526 h 9669"/>
              <a:gd name="connsiteX40" fmla="*/ 1329 w 10000"/>
              <a:gd name="connsiteY40" fmla="*/ 9535 h 9669"/>
              <a:gd name="connsiteX41" fmla="*/ 1281 w 10000"/>
              <a:gd name="connsiteY41" fmla="*/ 9589 h 9669"/>
              <a:gd name="connsiteX42" fmla="*/ 1609 w 10000"/>
              <a:gd name="connsiteY42" fmla="*/ 9594 h 9669"/>
              <a:gd name="connsiteX43" fmla="*/ 1900 w 10000"/>
              <a:gd name="connsiteY43" fmla="*/ 9648 h 9669"/>
              <a:gd name="connsiteX44" fmla="*/ 2383 w 10000"/>
              <a:gd name="connsiteY44" fmla="*/ 9591 h 9669"/>
              <a:gd name="connsiteX45" fmla="*/ 2816 w 10000"/>
              <a:gd name="connsiteY45" fmla="*/ 9602 h 9669"/>
              <a:gd name="connsiteX46" fmla="*/ 3072 w 10000"/>
              <a:gd name="connsiteY46" fmla="*/ 9669 h 9669"/>
              <a:gd name="connsiteX47" fmla="*/ 3212 w 10000"/>
              <a:gd name="connsiteY47" fmla="*/ 9624 h 9669"/>
              <a:gd name="connsiteX48" fmla="*/ 3348 w 10000"/>
              <a:gd name="connsiteY48" fmla="*/ 9477 h 9669"/>
              <a:gd name="connsiteX49" fmla="*/ 3313 w 10000"/>
              <a:gd name="connsiteY49" fmla="*/ 9233 h 9669"/>
              <a:gd name="connsiteX50" fmla="*/ 3642 w 10000"/>
              <a:gd name="connsiteY50" fmla="*/ 8964 h 9669"/>
              <a:gd name="connsiteX51" fmla="*/ 3883 w 10000"/>
              <a:gd name="connsiteY51" fmla="*/ 9006 h 9669"/>
              <a:gd name="connsiteX52" fmla="*/ 4025 w 10000"/>
              <a:gd name="connsiteY52" fmla="*/ 8898 h 9669"/>
              <a:gd name="connsiteX53" fmla="*/ 4294 w 10000"/>
              <a:gd name="connsiteY53" fmla="*/ 8836 h 9669"/>
              <a:gd name="connsiteX54" fmla="*/ 4658 w 10000"/>
              <a:gd name="connsiteY54" fmla="*/ 8851 h 9669"/>
              <a:gd name="connsiteX55" fmla="*/ 4878 w 10000"/>
              <a:gd name="connsiteY55" fmla="*/ 8894 h 9669"/>
              <a:gd name="connsiteX56" fmla="*/ 5170 w 10000"/>
              <a:gd name="connsiteY56" fmla="*/ 8875 h 9669"/>
              <a:gd name="connsiteX57" fmla="*/ 5464 w 10000"/>
              <a:gd name="connsiteY57" fmla="*/ 8922 h 9669"/>
              <a:gd name="connsiteX58" fmla="*/ 5759 w 10000"/>
              <a:gd name="connsiteY58" fmla="*/ 8928 h 9669"/>
              <a:gd name="connsiteX59" fmla="*/ 6419 w 10000"/>
              <a:gd name="connsiteY59" fmla="*/ 8297 h 9669"/>
              <a:gd name="connsiteX60" fmla="*/ 6586 w 10000"/>
              <a:gd name="connsiteY60" fmla="*/ 7782 h 9669"/>
              <a:gd name="connsiteX61" fmla="*/ 6855 w 10000"/>
              <a:gd name="connsiteY61" fmla="*/ 7554 h 9669"/>
              <a:gd name="connsiteX62" fmla="*/ 6855 w 10000"/>
              <a:gd name="connsiteY62" fmla="*/ 7432 h 9669"/>
              <a:gd name="connsiteX63" fmla="*/ 6757 w 10000"/>
              <a:gd name="connsiteY63" fmla="*/ 7365 h 9669"/>
              <a:gd name="connsiteX64" fmla="*/ 6915 w 10000"/>
              <a:gd name="connsiteY64" fmla="*/ 7257 h 9669"/>
              <a:gd name="connsiteX65" fmla="*/ 6887 w 10000"/>
              <a:gd name="connsiteY65" fmla="*/ 7167 h 9669"/>
              <a:gd name="connsiteX66" fmla="*/ 6779 w 10000"/>
              <a:gd name="connsiteY66" fmla="*/ 7089 h 9669"/>
              <a:gd name="connsiteX67" fmla="*/ 6757 w 10000"/>
              <a:gd name="connsiteY67" fmla="*/ 7032 h 9669"/>
              <a:gd name="connsiteX68" fmla="*/ 6785 w 10000"/>
              <a:gd name="connsiteY68" fmla="*/ 6989 h 9669"/>
              <a:gd name="connsiteX69" fmla="*/ 6931 w 10000"/>
              <a:gd name="connsiteY69" fmla="*/ 7024 h 9669"/>
              <a:gd name="connsiteX70" fmla="*/ 7045 w 10000"/>
              <a:gd name="connsiteY70" fmla="*/ 7022 h 9669"/>
              <a:gd name="connsiteX71" fmla="*/ 6983 w 10000"/>
              <a:gd name="connsiteY71" fmla="*/ 6948 h 9669"/>
              <a:gd name="connsiteX72" fmla="*/ 7003 w 10000"/>
              <a:gd name="connsiteY72" fmla="*/ 6905 h 9669"/>
              <a:gd name="connsiteX73" fmla="*/ 7089 w 10000"/>
              <a:gd name="connsiteY73" fmla="*/ 6843 h 9669"/>
              <a:gd name="connsiteX74" fmla="*/ 7074 w 10000"/>
              <a:gd name="connsiteY74" fmla="*/ 6792 h 9669"/>
              <a:gd name="connsiteX75" fmla="*/ 7152 w 10000"/>
              <a:gd name="connsiteY75" fmla="*/ 6620 h 9669"/>
              <a:gd name="connsiteX76" fmla="*/ 7130 w 10000"/>
              <a:gd name="connsiteY76" fmla="*/ 6568 h 9669"/>
              <a:gd name="connsiteX77" fmla="*/ 6729 w 10000"/>
              <a:gd name="connsiteY77" fmla="*/ 6438 h 9669"/>
              <a:gd name="connsiteX78" fmla="*/ 6785 w 10000"/>
              <a:gd name="connsiteY78" fmla="*/ 6433 h 9669"/>
              <a:gd name="connsiteX79" fmla="*/ 6998 w 10000"/>
              <a:gd name="connsiteY79" fmla="*/ 6467 h 9669"/>
              <a:gd name="connsiteX80" fmla="*/ 7230 w 10000"/>
              <a:gd name="connsiteY80" fmla="*/ 6455 h 9669"/>
              <a:gd name="connsiteX81" fmla="*/ 7295 w 10000"/>
              <a:gd name="connsiteY81" fmla="*/ 6407 h 9669"/>
              <a:gd name="connsiteX82" fmla="*/ 7074 w 10000"/>
              <a:gd name="connsiteY82" fmla="*/ 6319 h 9669"/>
              <a:gd name="connsiteX83" fmla="*/ 6414 w 10000"/>
              <a:gd name="connsiteY83" fmla="*/ 6260 h 9669"/>
              <a:gd name="connsiteX84" fmla="*/ 6458 w 10000"/>
              <a:gd name="connsiteY84" fmla="*/ 6233 h 9669"/>
              <a:gd name="connsiteX85" fmla="*/ 6998 w 10000"/>
              <a:gd name="connsiteY85" fmla="*/ 6215 h 9669"/>
              <a:gd name="connsiteX86" fmla="*/ 7295 w 10000"/>
              <a:gd name="connsiteY86" fmla="*/ 6268 h 9669"/>
              <a:gd name="connsiteX87" fmla="*/ 7466 w 10000"/>
              <a:gd name="connsiteY87" fmla="*/ 6233 h 9669"/>
              <a:gd name="connsiteX88" fmla="*/ 7529 w 10000"/>
              <a:gd name="connsiteY88" fmla="*/ 6141 h 9669"/>
              <a:gd name="connsiteX89" fmla="*/ 7840 w 10000"/>
              <a:gd name="connsiteY89" fmla="*/ 6141 h 9669"/>
              <a:gd name="connsiteX90" fmla="*/ 8261 w 10000"/>
              <a:gd name="connsiteY90" fmla="*/ 5955 h 9669"/>
              <a:gd name="connsiteX91" fmla="*/ 8275 w 10000"/>
              <a:gd name="connsiteY91" fmla="*/ 5832 h 9669"/>
              <a:gd name="connsiteX92" fmla="*/ 8453 w 10000"/>
              <a:gd name="connsiteY92" fmla="*/ 5860 h 9669"/>
              <a:gd name="connsiteX93" fmla="*/ 8446 w 10000"/>
              <a:gd name="connsiteY93" fmla="*/ 5983 h 9669"/>
              <a:gd name="connsiteX94" fmla="*/ 8727 w 10000"/>
              <a:gd name="connsiteY94" fmla="*/ 5975 h 9669"/>
              <a:gd name="connsiteX95" fmla="*/ 8913 w 10000"/>
              <a:gd name="connsiteY95" fmla="*/ 5847 h 9669"/>
              <a:gd name="connsiteX96" fmla="*/ 9258 w 10000"/>
              <a:gd name="connsiteY96" fmla="*/ 5731 h 9669"/>
              <a:gd name="connsiteX97" fmla="*/ 9203 w 10000"/>
              <a:gd name="connsiteY97" fmla="*/ 5600 h 9669"/>
              <a:gd name="connsiteX98" fmla="*/ 9306 w 10000"/>
              <a:gd name="connsiteY98" fmla="*/ 5652 h 9669"/>
              <a:gd name="connsiteX99" fmla="*/ 9464 w 10000"/>
              <a:gd name="connsiteY99" fmla="*/ 5652 h 9669"/>
              <a:gd name="connsiteX100" fmla="*/ 9464 w 10000"/>
              <a:gd name="connsiteY100" fmla="*/ 5591 h 9669"/>
              <a:gd name="connsiteX101" fmla="*/ 9611 w 10000"/>
              <a:gd name="connsiteY101" fmla="*/ 5545 h 9669"/>
              <a:gd name="connsiteX102" fmla="*/ 9592 w 10000"/>
              <a:gd name="connsiteY102" fmla="*/ 5498 h 9669"/>
              <a:gd name="connsiteX103" fmla="*/ 8350 w 10000"/>
              <a:gd name="connsiteY103" fmla="*/ 5593 h 9669"/>
              <a:gd name="connsiteX104" fmla="*/ 8058 w 10000"/>
              <a:gd name="connsiteY104" fmla="*/ 5565 h 9669"/>
              <a:gd name="connsiteX105" fmla="*/ 7942 w 10000"/>
              <a:gd name="connsiteY105" fmla="*/ 5600 h 9669"/>
              <a:gd name="connsiteX106" fmla="*/ 7903 w 10000"/>
              <a:gd name="connsiteY106" fmla="*/ 5533 h 9669"/>
              <a:gd name="connsiteX107" fmla="*/ 7765 w 10000"/>
              <a:gd name="connsiteY107" fmla="*/ 5474 h 9669"/>
              <a:gd name="connsiteX108" fmla="*/ 7213 w 10000"/>
              <a:gd name="connsiteY108" fmla="*/ 5355 h 9669"/>
              <a:gd name="connsiteX109" fmla="*/ 6887 w 10000"/>
              <a:gd name="connsiteY109" fmla="*/ 5374 h 9669"/>
              <a:gd name="connsiteX110" fmla="*/ 6757 w 10000"/>
              <a:gd name="connsiteY110" fmla="*/ 5340 h 9669"/>
              <a:gd name="connsiteX111" fmla="*/ 6894 w 10000"/>
              <a:gd name="connsiteY111" fmla="*/ 5311 h 9669"/>
              <a:gd name="connsiteX112" fmla="*/ 6998 w 10000"/>
              <a:gd name="connsiteY112" fmla="*/ 5247 h 9669"/>
              <a:gd name="connsiteX113" fmla="*/ 7152 w 10000"/>
              <a:gd name="connsiteY113" fmla="*/ 5267 h 9669"/>
              <a:gd name="connsiteX114" fmla="*/ 7335 w 10000"/>
              <a:gd name="connsiteY114" fmla="*/ 5251 h 9669"/>
              <a:gd name="connsiteX115" fmla="*/ 7611 w 10000"/>
              <a:gd name="connsiteY115" fmla="*/ 5272 h 9669"/>
              <a:gd name="connsiteX116" fmla="*/ 7645 w 10000"/>
              <a:gd name="connsiteY116" fmla="*/ 5263 h 9669"/>
              <a:gd name="connsiteX117" fmla="*/ 7859 w 10000"/>
              <a:gd name="connsiteY117" fmla="*/ 5361 h 9669"/>
              <a:gd name="connsiteX118" fmla="*/ 8017 w 10000"/>
              <a:gd name="connsiteY118" fmla="*/ 5325 h 9669"/>
              <a:gd name="connsiteX119" fmla="*/ 8032 w 10000"/>
              <a:gd name="connsiteY119" fmla="*/ 5292 h 9669"/>
              <a:gd name="connsiteX120" fmla="*/ 8176 w 10000"/>
              <a:gd name="connsiteY120" fmla="*/ 5350 h 9669"/>
              <a:gd name="connsiteX121" fmla="*/ 8369 w 10000"/>
              <a:gd name="connsiteY121" fmla="*/ 5380 h 9669"/>
              <a:gd name="connsiteX122" fmla="*/ 8446 w 10000"/>
              <a:gd name="connsiteY122" fmla="*/ 5323 h 9669"/>
              <a:gd name="connsiteX123" fmla="*/ 8507 w 10000"/>
              <a:gd name="connsiteY123" fmla="*/ 5355 h 9669"/>
              <a:gd name="connsiteX124" fmla="*/ 8596 w 10000"/>
              <a:gd name="connsiteY124" fmla="*/ 5466 h 9669"/>
              <a:gd name="connsiteX125" fmla="*/ 8782 w 10000"/>
              <a:gd name="connsiteY125" fmla="*/ 5491 h 9669"/>
              <a:gd name="connsiteX126" fmla="*/ 9542 w 10000"/>
              <a:gd name="connsiteY126" fmla="*/ 5328 h 9669"/>
              <a:gd name="connsiteX127" fmla="*/ 9914 w 10000"/>
              <a:gd name="connsiteY127" fmla="*/ 5101 h 9669"/>
              <a:gd name="connsiteX128" fmla="*/ 10000 w 10000"/>
              <a:gd name="connsiteY128" fmla="*/ 4935 h 9669"/>
              <a:gd name="connsiteX129" fmla="*/ 9866 w 10000"/>
              <a:gd name="connsiteY129" fmla="*/ 4786 h 9669"/>
              <a:gd name="connsiteX130" fmla="*/ 9582 w 10000"/>
              <a:gd name="connsiteY130" fmla="*/ 4696 h 9669"/>
              <a:gd name="connsiteX131" fmla="*/ 9382 w 10000"/>
              <a:gd name="connsiteY131" fmla="*/ 4549 h 9669"/>
              <a:gd name="connsiteX132" fmla="*/ 9569 w 10000"/>
              <a:gd name="connsiteY132" fmla="*/ 4544 h 9669"/>
              <a:gd name="connsiteX133" fmla="*/ 9555 w 10000"/>
              <a:gd name="connsiteY133" fmla="*/ 4509 h 9669"/>
              <a:gd name="connsiteX134" fmla="*/ 9068 w 10000"/>
              <a:gd name="connsiteY134" fmla="*/ 4406 h 9669"/>
              <a:gd name="connsiteX135" fmla="*/ 9047 w 10000"/>
              <a:gd name="connsiteY135" fmla="*/ 4311 h 9669"/>
              <a:gd name="connsiteX136" fmla="*/ 8953 w 10000"/>
              <a:gd name="connsiteY136" fmla="*/ 4213 h 9669"/>
              <a:gd name="connsiteX137" fmla="*/ 8569 w 10000"/>
              <a:gd name="connsiteY137" fmla="*/ 4231 h 9669"/>
              <a:gd name="connsiteX138" fmla="*/ 8431 w 10000"/>
              <a:gd name="connsiteY138" fmla="*/ 4126 h 9669"/>
              <a:gd name="connsiteX139" fmla="*/ 8350 w 10000"/>
              <a:gd name="connsiteY139" fmla="*/ 4120 h 9669"/>
              <a:gd name="connsiteX140" fmla="*/ 8350 w 10000"/>
              <a:gd name="connsiteY140" fmla="*/ 4164 h 9669"/>
              <a:gd name="connsiteX141" fmla="*/ 8176 w 10000"/>
              <a:gd name="connsiteY141" fmla="*/ 4341 h 9669"/>
              <a:gd name="connsiteX142" fmla="*/ 7990 w 10000"/>
              <a:gd name="connsiteY142" fmla="*/ 4445 h 9669"/>
              <a:gd name="connsiteX143" fmla="*/ 7401 w 10000"/>
              <a:gd name="connsiteY143" fmla="*/ 4622 h 9669"/>
              <a:gd name="connsiteX144" fmla="*/ 7198 w 10000"/>
              <a:gd name="connsiteY144" fmla="*/ 4616 h 9669"/>
              <a:gd name="connsiteX145" fmla="*/ 6915 w 10000"/>
              <a:gd name="connsiteY145" fmla="*/ 4643 h 9669"/>
              <a:gd name="connsiteX146" fmla="*/ 6757 w 10000"/>
              <a:gd name="connsiteY146" fmla="*/ 4616 h 9669"/>
              <a:gd name="connsiteX147" fmla="*/ 6965 w 10000"/>
              <a:gd name="connsiteY147" fmla="*/ 4567 h 9669"/>
              <a:gd name="connsiteX148" fmla="*/ 7235 w 10000"/>
              <a:gd name="connsiteY148" fmla="*/ 4544 h 9669"/>
              <a:gd name="connsiteX149" fmla="*/ 7455 w 10000"/>
              <a:gd name="connsiteY149" fmla="*/ 4462 h 9669"/>
              <a:gd name="connsiteX150" fmla="*/ 7674 w 10000"/>
              <a:gd name="connsiteY150" fmla="*/ 4423 h 9669"/>
              <a:gd name="connsiteX151" fmla="*/ 8082 w 10000"/>
              <a:gd name="connsiteY151" fmla="*/ 4278 h 9669"/>
              <a:gd name="connsiteX152" fmla="*/ 8157 w 10000"/>
              <a:gd name="connsiteY152" fmla="*/ 4184 h 9669"/>
              <a:gd name="connsiteX153" fmla="*/ 8165 w 10000"/>
              <a:gd name="connsiteY153" fmla="*/ 4061 h 9669"/>
              <a:gd name="connsiteX154" fmla="*/ 7978 w 10000"/>
              <a:gd name="connsiteY154" fmla="*/ 4041 h 9669"/>
              <a:gd name="connsiteX155" fmla="*/ 8058 w 10000"/>
              <a:gd name="connsiteY155" fmla="*/ 3966 h 9669"/>
              <a:gd name="connsiteX156" fmla="*/ 8087 w 10000"/>
              <a:gd name="connsiteY156" fmla="*/ 3872 h 9669"/>
              <a:gd name="connsiteX157" fmla="*/ 8007 w 10000"/>
              <a:gd name="connsiteY157" fmla="*/ 3783 h 9669"/>
              <a:gd name="connsiteX158" fmla="*/ 5176 w 10000"/>
              <a:gd name="connsiteY158" fmla="*/ 0 h 9669"/>
              <a:gd name="connsiteX159" fmla="*/ 5057 w 10000"/>
              <a:gd name="connsiteY159" fmla="*/ 265 h 9669"/>
              <a:gd name="connsiteX160" fmla="*/ 4842 w 10000"/>
              <a:gd name="connsiteY160" fmla="*/ 361 h 9669"/>
              <a:gd name="connsiteX161" fmla="*/ 4200 w 10000"/>
              <a:gd name="connsiteY161" fmla="*/ 297 h 9669"/>
              <a:gd name="connsiteX162" fmla="*/ 3760 w 10000"/>
              <a:gd name="connsiteY162" fmla="*/ 333 h 9669"/>
              <a:gd name="connsiteX163" fmla="*/ 3405 w 10000"/>
              <a:gd name="connsiteY163" fmla="*/ 411 h 9669"/>
              <a:gd name="connsiteX164" fmla="*/ 2832 w 10000"/>
              <a:gd name="connsiteY164" fmla="*/ 656 h 9669"/>
              <a:gd name="connsiteX165" fmla="*/ 2528 w 10000"/>
              <a:gd name="connsiteY165" fmla="*/ 950 h 9669"/>
              <a:gd name="connsiteX166" fmla="*/ 2555 w 10000"/>
              <a:gd name="connsiteY166" fmla="*/ 1115 h 9669"/>
              <a:gd name="connsiteX167" fmla="*/ 2661 w 10000"/>
              <a:gd name="connsiteY167" fmla="*/ 1241 h 9669"/>
              <a:gd name="connsiteX168" fmla="*/ 2741 w 10000"/>
              <a:gd name="connsiteY168" fmla="*/ 1292 h 9669"/>
              <a:gd name="connsiteX169" fmla="*/ 2592 w 10000"/>
              <a:gd name="connsiteY169" fmla="*/ 1374 h 9669"/>
              <a:gd name="connsiteX170" fmla="*/ 2267 w 10000"/>
              <a:gd name="connsiteY170" fmla="*/ 1929 h 9669"/>
              <a:gd name="connsiteX171" fmla="*/ 2330 w 10000"/>
              <a:gd name="connsiteY171" fmla="*/ 1960 h 9669"/>
              <a:gd name="connsiteX172" fmla="*/ 2375 w 10000"/>
              <a:gd name="connsiteY172" fmla="*/ 2102 h 9669"/>
              <a:gd name="connsiteX173" fmla="*/ 2226 w 10000"/>
              <a:gd name="connsiteY173" fmla="*/ 2686 h 9669"/>
              <a:gd name="connsiteX174" fmla="*/ 2375 w 10000"/>
              <a:gd name="connsiteY174" fmla="*/ 2835 h 9669"/>
              <a:gd name="connsiteX175" fmla="*/ 2791 w 10000"/>
              <a:gd name="connsiteY175" fmla="*/ 2998 h 9669"/>
              <a:gd name="connsiteX176" fmla="*/ 2808 w 10000"/>
              <a:gd name="connsiteY176" fmla="*/ 3197 h 9669"/>
              <a:gd name="connsiteX177" fmla="*/ 2632 w 10000"/>
              <a:gd name="connsiteY177" fmla="*/ 3363 h 9669"/>
              <a:gd name="connsiteX178" fmla="*/ 2375 w 10000"/>
              <a:gd name="connsiteY178" fmla="*/ 3463 h 9669"/>
              <a:gd name="connsiteX179" fmla="*/ 2039 w 10000"/>
              <a:gd name="connsiteY179" fmla="*/ 3503 h 9669"/>
              <a:gd name="connsiteX180" fmla="*/ 1950 w 10000"/>
              <a:gd name="connsiteY180" fmla="*/ 3562 h 9669"/>
              <a:gd name="connsiteX181" fmla="*/ 2148 w 10000"/>
              <a:gd name="connsiteY181" fmla="*/ 3699 h 9669"/>
              <a:gd name="connsiteX182" fmla="*/ 2261 w 10000"/>
              <a:gd name="connsiteY182" fmla="*/ 4024 h 9669"/>
              <a:gd name="connsiteX183" fmla="*/ 2005 w 10000"/>
              <a:gd name="connsiteY183" fmla="*/ 4304 h 9669"/>
              <a:gd name="connsiteX184" fmla="*/ 2094 w 10000"/>
              <a:gd name="connsiteY184" fmla="*/ 4389 h 9669"/>
              <a:gd name="connsiteX185" fmla="*/ 2012 w 10000"/>
              <a:gd name="connsiteY185" fmla="*/ 4536 h 9669"/>
              <a:gd name="connsiteX186" fmla="*/ 1850 w 10000"/>
              <a:gd name="connsiteY186" fmla="*/ 4636 h 9669"/>
              <a:gd name="connsiteX187" fmla="*/ 1199 w 10000"/>
              <a:gd name="connsiteY187" fmla="*/ 4713 h 9669"/>
              <a:gd name="connsiteX188" fmla="*/ 1158 w 10000"/>
              <a:gd name="connsiteY188" fmla="*/ 4848 h 9669"/>
              <a:gd name="connsiteX189" fmla="*/ 808 w 10000"/>
              <a:gd name="connsiteY189" fmla="*/ 5049 h 9669"/>
              <a:gd name="connsiteX190" fmla="*/ 854 w 10000"/>
              <a:gd name="connsiteY190" fmla="*/ 5338 h 9669"/>
              <a:gd name="connsiteX191" fmla="*/ 560 w 10000"/>
              <a:gd name="connsiteY191" fmla="*/ 5708 h 9669"/>
              <a:gd name="connsiteX192" fmla="*/ 358 w 10000"/>
              <a:gd name="connsiteY192" fmla="*/ 5751 h 9669"/>
              <a:gd name="connsiteX193" fmla="*/ 275 w 10000"/>
              <a:gd name="connsiteY193" fmla="*/ 5664 h 9669"/>
              <a:gd name="connsiteX194" fmla="*/ 174 w 10000"/>
              <a:gd name="connsiteY194" fmla="*/ 5797 h 9669"/>
              <a:gd name="connsiteX195" fmla="*/ 239 w 10000"/>
              <a:gd name="connsiteY195" fmla="*/ 5567 h 9669"/>
              <a:gd name="connsiteX196" fmla="*/ 197 w 10000"/>
              <a:gd name="connsiteY196" fmla="*/ 5524 h 9669"/>
              <a:gd name="connsiteX0" fmla="*/ 197 w 10000"/>
              <a:gd name="connsiteY0" fmla="*/ 5439 h 9726"/>
              <a:gd name="connsiteX1" fmla="*/ 0 w 10000"/>
              <a:gd name="connsiteY1" fmla="*/ 5562 h 9726"/>
              <a:gd name="connsiteX2" fmla="*/ 0 w 10000"/>
              <a:gd name="connsiteY2" fmla="*/ 6172 h 9726"/>
              <a:gd name="connsiteX3" fmla="*/ 109 w 10000"/>
              <a:gd name="connsiteY3" fmla="*/ 6189 h 9726"/>
              <a:gd name="connsiteX4" fmla="*/ 134 w 10000"/>
              <a:gd name="connsiteY4" fmla="*/ 6236 h 9726"/>
              <a:gd name="connsiteX5" fmla="*/ 130 w 10000"/>
              <a:gd name="connsiteY5" fmla="*/ 6319 h 9726"/>
              <a:gd name="connsiteX6" fmla="*/ 89 w 10000"/>
              <a:gd name="connsiteY6" fmla="*/ 6356 h 9726"/>
              <a:gd name="connsiteX7" fmla="*/ 255 w 10000"/>
              <a:gd name="connsiteY7" fmla="*/ 6285 h 9726"/>
              <a:gd name="connsiteX8" fmla="*/ 325 w 10000"/>
              <a:gd name="connsiteY8" fmla="*/ 6216 h 9726"/>
              <a:gd name="connsiteX9" fmla="*/ 413 w 10000"/>
              <a:gd name="connsiteY9" fmla="*/ 6263 h 9726"/>
              <a:gd name="connsiteX10" fmla="*/ 316 w 10000"/>
              <a:gd name="connsiteY10" fmla="*/ 6364 h 9726"/>
              <a:gd name="connsiteX11" fmla="*/ 419 w 10000"/>
              <a:gd name="connsiteY11" fmla="*/ 6366 h 9726"/>
              <a:gd name="connsiteX12" fmla="*/ 469 w 10000"/>
              <a:gd name="connsiteY12" fmla="*/ 6391 h 9726"/>
              <a:gd name="connsiteX13" fmla="*/ 337 w 10000"/>
              <a:gd name="connsiteY13" fmla="*/ 6423 h 9726"/>
              <a:gd name="connsiteX14" fmla="*/ 130 w 10000"/>
              <a:gd name="connsiteY14" fmla="*/ 6525 h 9726"/>
              <a:gd name="connsiteX15" fmla="*/ 497 w 10000"/>
              <a:gd name="connsiteY15" fmla="*/ 6606 h 9726"/>
              <a:gd name="connsiteX16" fmla="*/ 545 w 10000"/>
              <a:gd name="connsiteY16" fmla="*/ 6721 h 9726"/>
              <a:gd name="connsiteX17" fmla="*/ 419 w 10000"/>
              <a:gd name="connsiteY17" fmla="*/ 6888 h 9726"/>
              <a:gd name="connsiteX18" fmla="*/ 688 w 10000"/>
              <a:gd name="connsiteY18" fmla="*/ 6878 h 9726"/>
              <a:gd name="connsiteX19" fmla="*/ 709 w 10000"/>
              <a:gd name="connsiteY19" fmla="*/ 7005 h 9726"/>
              <a:gd name="connsiteX20" fmla="*/ 530 w 10000"/>
              <a:gd name="connsiteY20" fmla="*/ 7092 h 9726"/>
              <a:gd name="connsiteX21" fmla="*/ 560 w 10000"/>
              <a:gd name="connsiteY21" fmla="*/ 7259 h 9726"/>
              <a:gd name="connsiteX22" fmla="*/ 489 w 10000"/>
              <a:gd name="connsiteY22" fmla="*/ 7389 h 9726"/>
              <a:gd name="connsiteX23" fmla="*/ 703 w 10000"/>
              <a:gd name="connsiteY23" fmla="*/ 7401 h 9726"/>
              <a:gd name="connsiteX24" fmla="*/ 909 w 10000"/>
              <a:gd name="connsiteY24" fmla="*/ 7900 h 9726"/>
              <a:gd name="connsiteX25" fmla="*/ 1150 w 10000"/>
              <a:gd name="connsiteY25" fmla="*/ 8025 h 9726"/>
              <a:gd name="connsiteX26" fmla="*/ 1255 w 10000"/>
              <a:gd name="connsiteY26" fmla="*/ 8160 h 9726"/>
              <a:gd name="connsiteX27" fmla="*/ 1514 w 10000"/>
              <a:gd name="connsiteY27" fmla="*/ 8257 h 9726"/>
              <a:gd name="connsiteX28" fmla="*/ 1684 w 10000"/>
              <a:gd name="connsiteY28" fmla="*/ 8384 h 9726"/>
              <a:gd name="connsiteX29" fmla="*/ 1661 w 10000"/>
              <a:gd name="connsiteY29" fmla="*/ 8473 h 9726"/>
              <a:gd name="connsiteX30" fmla="*/ 1496 w 10000"/>
              <a:gd name="connsiteY30" fmla="*/ 8506 h 9726"/>
              <a:gd name="connsiteX31" fmla="*/ 1316 w 10000"/>
              <a:gd name="connsiteY31" fmla="*/ 8485 h 9726"/>
              <a:gd name="connsiteX32" fmla="*/ 1260 w 10000"/>
              <a:gd name="connsiteY32" fmla="*/ 8521 h 9726"/>
              <a:gd name="connsiteX33" fmla="*/ 1397 w 10000"/>
              <a:gd name="connsiteY33" fmla="*/ 8715 h 9726"/>
              <a:gd name="connsiteX34" fmla="*/ 1205 w 10000"/>
              <a:gd name="connsiteY34" fmla="*/ 8699 h 9726"/>
              <a:gd name="connsiteX35" fmla="*/ 1040 w 10000"/>
              <a:gd name="connsiteY35" fmla="*/ 8651 h 9726"/>
              <a:gd name="connsiteX36" fmla="*/ 1012 w 10000"/>
              <a:gd name="connsiteY36" fmla="*/ 8724 h 9726"/>
              <a:gd name="connsiteX37" fmla="*/ 1557 w 10000"/>
              <a:gd name="connsiteY37" fmla="*/ 9388 h 9726"/>
              <a:gd name="connsiteX38" fmla="*/ 1469 w 10000"/>
              <a:gd name="connsiteY38" fmla="*/ 9450 h 9726"/>
              <a:gd name="connsiteX39" fmla="*/ 1408 w 10000"/>
              <a:gd name="connsiteY39" fmla="*/ 9578 h 9726"/>
              <a:gd name="connsiteX40" fmla="*/ 1329 w 10000"/>
              <a:gd name="connsiteY40" fmla="*/ 9587 h 9726"/>
              <a:gd name="connsiteX41" fmla="*/ 1281 w 10000"/>
              <a:gd name="connsiteY41" fmla="*/ 9643 h 9726"/>
              <a:gd name="connsiteX42" fmla="*/ 1609 w 10000"/>
              <a:gd name="connsiteY42" fmla="*/ 9648 h 9726"/>
              <a:gd name="connsiteX43" fmla="*/ 1900 w 10000"/>
              <a:gd name="connsiteY43" fmla="*/ 9704 h 9726"/>
              <a:gd name="connsiteX44" fmla="*/ 2383 w 10000"/>
              <a:gd name="connsiteY44" fmla="*/ 9645 h 9726"/>
              <a:gd name="connsiteX45" fmla="*/ 2816 w 10000"/>
              <a:gd name="connsiteY45" fmla="*/ 9657 h 9726"/>
              <a:gd name="connsiteX46" fmla="*/ 3072 w 10000"/>
              <a:gd name="connsiteY46" fmla="*/ 9726 h 9726"/>
              <a:gd name="connsiteX47" fmla="*/ 3212 w 10000"/>
              <a:gd name="connsiteY47" fmla="*/ 9679 h 9726"/>
              <a:gd name="connsiteX48" fmla="*/ 3348 w 10000"/>
              <a:gd name="connsiteY48" fmla="*/ 9527 h 9726"/>
              <a:gd name="connsiteX49" fmla="*/ 3313 w 10000"/>
              <a:gd name="connsiteY49" fmla="*/ 9275 h 9726"/>
              <a:gd name="connsiteX50" fmla="*/ 3642 w 10000"/>
              <a:gd name="connsiteY50" fmla="*/ 8997 h 9726"/>
              <a:gd name="connsiteX51" fmla="*/ 3883 w 10000"/>
              <a:gd name="connsiteY51" fmla="*/ 9040 h 9726"/>
              <a:gd name="connsiteX52" fmla="*/ 4025 w 10000"/>
              <a:gd name="connsiteY52" fmla="*/ 8929 h 9726"/>
              <a:gd name="connsiteX53" fmla="*/ 4294 w 10000"/>
              <a:gd name="connsiteY53" fmla="*/ 8864 h 9726"/>
              <a:gd name="connsiteX54" fmla="*/ 4658 w 10000"/>
              <a:gd name="connsiteY54" fmla="*/ 8880 h 9726"/>
              <a:gd name="connsiteX55" fmla="*/ 4878 w 10000"/>
              <a:gd name="connsiteY55" fmla="*/ 8924 h 9726"/>
              <a:gd name="connsiteX56" fmla="*/ 5170 w 10000"/>
              <a:gd name="connsiteY56" fmla="*/ 8905 h 9726"/>
              <a:gd name="connsiteX57" fmla="*/ 5464 w 10000"/>
              <a:gd name="connsiteY57" fmla="*/ 8953 h 9726"/>
              <a:gd name="connsiteX58" fmla="*/ 5759 w 10000"/>
              <a:gd name="connsiteY58" fmla="*/ 8960 h 9726"/>
              <a:gd name="connsiteX59" fmla="*/ 6419 w 10000"/>
              <a:gd name="connsiteY59" fmla="*/ 8307 h 9726"/>
              <a:gd name="connsiteX60" fmla="*/ 6586 w 10000"/>
              <a:gd name="connsiteY60" fmla="*/ 7774 h 9726"/>
              <a:gd name="connsiteX61" fmla="*/ 6855 w 10000"/>
              <a:gd name="connsiteY61" fmla="*/ 7539 h 9726"/>
              <a:gd name="connsiteX62" fmla="*/ 6855 w 10000"/>
              <a:gd name="connsiteY62" fmla="*/ 7412 h 9726"/>
              <a:gd name="connsiteX63" fmla="*/ 6757 w 10000"/>
              <a:gd name="connsiteY63" fmla="*/ 7343 h 9726"/>
              <a:gd name="connsiteX64" fmla="*/ 6915 w 10000"/>
              <a:gd name="connsiteY64" fmla="*/ 7231 h 9726"/>
              <a:gd name="connsiteX65" fmla="*/ 6887 w 10000"/>
              <a:gd name="connsiteY65" fmla="*/ 7138 h 9726"/>
              <a:gd name="connsiteX66" fmla="*/ 6779 w 10000"/>
              <a:gd name="connsiteY66" fmla="*/ 7058 h 9726"/>
              <a:gd name="connsiteX67" fmla="*/ 6757 w 10000"/>
              <a:gd name="connsiteY67" fmla="*/ 6999 h 9726"/>
              <a:gd name="connsiteX68" fmla="*/ 6785 w 10000"/>
              <a:gd name="connsiteY68" fmla="*/ 6954 h 9726"/>
              <a:gd name="connsiteX69" fmla="*/ 6931 w 10000"/>
              <a:gd name="connsiteY69" fmla="*/ 6990 h 9726"/>
              <a:gd name="connsiteX70" fmla="*/ 7045 w 10000"/>
              <a:gd name="connsiteY70" fmla="*/ 6988 h 9726"/>
              <a:gd name="connsiteX71" fmla="*/ 6983 w 10000"/>
              <a:gd name="connsiteY71" fmla="*/ 6912 h 9726"/>
              <a:gd name="connsiteX72" fmla="*/ 7003 w 10000"/>
              <a:gd name="connsiteY72" fmla="*/ 6867 h 9726"/>
              <a:gd name="connsiteX73" fmla="*/ 7089 w 10000"/>
              <a:gd name="connsiteY73" fmla="*/ 6803 h 9726"/>
              <a:gd name="connsiteX74" fmla="*/ 7074 w 10000"/>
              <a:gd name="connsiteY74" fmla="*/ 6751 h 9726"/>
              <a:gd name="connsiteX75" fmla="*/ 7152 w 10000"/>
              <a:gd name="connsiteY75" fmla="*/ 6573 h 9726"/>
              <a:gd name="connsiteX76" fmla="*/ 7130 w 10000"/>
              <a:gd name="connsiteY76" fmla="*/ 6519 h 9726"/>
              <a:gd name="connsiteX77" fmla="*/ 6729 w 10000"/>
              <a:gd name="connsiteY77" fmla="*/ 6384 h 9726"/>
              <a:gd name="connsiteX78" fmla="*/ 6785 w 10000"/>
              <a:gd name="connsiteY78" fmla="*/ 6379 h 9726"/>
              <a:gd name="connsiteX79" fmla="*/ 6998 w 10000"/>
              <a:gd name="connsiteY79" fmla="*/ 6414 h 9726"/>
              <a:gd name="connsiteX80" fmla="*/ 7230 w 10000"/>
              <a:gd name="connsiteY80" fmla="*/ 6402 h 9726"/>
              <a:gd name="connsiteX81" fmla="*/ 7295 w 10000"/>
              <a:gd name="connsiteY81" fmla="*/ 6352 h 9726"/>
              <a:gd name="connsiteX82" fmla="*/ 7074 w 10000"/>
              <a:gd name="connsiteY82" fmla="*/ 6261 h 9726"/>
              <a:gd name="connsiteX83" fmla="*/ 6414 w 10000"/>
              <a:gd name="connsiteY83" fmla="*/ 6200 h 9726"/>
              <a:gd name="connsiteX84" fmla="*/ 6458 w 10000"/>
              <a:gd name="connsiteY84" fmla="*/ 6172 h 9726"/>
              <a:gd name="connsiteX85" fmla="*/ 6998 w 10000"/>
              <a:gd name="connsiteY85" fmla="*/ 6154 h 9726"/>
              <a:gd name="connsiteX86" fmla="*/ 7295 w 10000"/>
              <a:gd name="connsiteY86" fmla="*/ 6209 h 9726"/>
              <a:gd name="connsiteX87" fmla="*/ 7466 w 10000"/>
              <a:gd name="connsiteY87" fmla="*/ 6172 h 9726"/>
              <a:gd name="connsiteX88" fmla="*/ 7529 w 10000"/>
              <a:gd name="connsiteY88" fmla="*/ 6077 h 9726"/>
              <a:gd name="connsiteX89" fmla="*/ 7840 w 10000"/>
              <a:gd name="connsiteY89" fmla="*/ 6077 h 9726"/>
              <a:gd name="connsiteX90" fmla="*/ 8261 w 10000"/>
              <a:gd name="connsiteY90" fmla="*/ 5885 h 9726"/>
              <a:gd name="connsiteX91" fmla="*/ 8275 w 10000"/>
              <a:gd name="connsiteY91" fmla="*/ 5758 h 9726"/>
              <a:gd name="connsiteX92" fmla="*/ 8453 w 10000"/>
              <a:gd name="connsiteY92" fmla="*/ 5787 h 9726"/>
              <a:gd name="connsiteX93" fmla="*/ 8446 w 10000"/>
              <a:gd name="connsiteY93" fmla="*/ 5914 h 9726"/>
              <a:gd name="connsiteX94" fmla="*/ 8727 w 10000"/>
              <a:gd name="connsiteY94" fmla="*/ 5906 h 9726"/>
              <a:gd name="connsiteX95" fmla="*/ 8913 w 10000"/>
              <a:gd name="connsiteY95" fmla="*/ 5773 h 9726"/>
              <a:gd name="connsiteX96" fmla="*/ 9258 w 10000"/>
              <a:gd name="connsiteY96" fmla="*/ 5653 h 9726"/>
              <a:gd name="connsiteX97" fmla="*/ 9203 w 10000"/>
              <a:gd name="connsiteY97" fmla="*/ 5518 h 9726"/>
              <a:gd name="connsiteX98" fmla="*/ 9306 w 10000"/>
              <a:gd name="connsiteY98" fmla="*/ 5571 h 9726"/>
              <a:gd name="connsiteX99" fmla="*/ 9464 w 10000"/>
              <a:gd name="connsiteY99" fmla="*/ 5571 h 9726"/>
              <a:gd name="connsiteX100" fmla="*/ 9464 w 10000"/>
              <a:gd name="connsiteY100" fmla="*/ 5508 h 9726"/>
              <a:gd name="connsiteX101" fmla="*/ 9611 w 10000"/>
              <a:gd name="connsiteY101" fmla="*/ 5461 h 9726"/>
              <a:gd name="connsiteX102" fmla="*/ 9592 w 10000"/>
              <a:gd name="connsiteY102" fmla="*/ 5412 h 9726"/>
              <a:gd name="connsiteX103" fmla="*/ 8350 w 10000"/>
              <a:gd name="connsiteY103" fmla="*/ 5510 h 9726"/>
              <a:gd name="connsiteX104" fmla="*/ 8058 w 10000"/>
              <a:gd name="connsiteY104" fmla="*/ 5482 h 9726"/>
              <a:gd name="connsiteX105" fmla="*/ 7942 w 10000"/>
              <a:gd name="connsiteY105" fmla="*/ 5518 h 9726"/>
              <a:gd name="connsiteX106" fmla="*/ 7903 w 10000"/>
              <a:gd name="connsiteY106" fmla="*/ 5448 h 9726"/>
              <a:gd name="connsiteX107" fmla="*/ 7765 w 10000"/>
              <a:gd name="connsiteY107" fmla="*/ 5387 h 9726"/>
              <a:gd name="connsiteX108" fmla="*/ 7213 w 10000"/>
              <a:gd name="connsiteY108" fmla="*/ 5264 h 9726"/>
              <a:gd name="connsiteX109" fmla="*/ 6887 w 10000"/>
              <a:gd name="connsiteY109" fmla="*/ 5284 h 9726"/>
              <a:gd name="connsiteX110" fmla="*/ 6757 w 10000"/>
              <a:gd name="connsiteY110" fmla="*/ 5249 h 9726"/>
              <a:gd name="connsiteX111" fmla="*/ 6894 w 10000"/>
              <a:gd name="connsiteY111" fmla="*/ 5219 h 9726"/>
              <a:gd name="connsiteX112" fmla="*/ 6998 w 10000"/>
              <a:gd name="connsiteY112" fmla="*/ 5153 h 9726"/>
              <a:gd name="connsiteX113" fmla="*/ 7152 w 10000"/>
              <a:gd name="connsiteY113" fmla="*/ 5173 h 9726"/>
              <a:gd name="connsiteX114" fmla="*/ 7335 w 10000"/>
              <a:gd name="connsiteY114" fmla="*/ 5157 h 9726"/>
              <a:gd name="connsiteX115" fmla="*/ 7611 w 10000"/>
              <a:gd name="connsiteY115" fmla="*/ 5178 h 9726"/>
              <a:gd name="connsiteX116" fmla="*/ 7645 w 10000"/>
              <a:gd name="connsiteY116" fmla="*/ 5169 h 9726"/>
              <a:gd name="connsiteX117" fmla="*/ 7859 w 10000"/>
              <a:gd name="connsiteY117" fmla="*/ 5271 h 9726"/>
              <a:gd name="connsiteX118" fmla="*/ 8017 w 10000"/>
              <a:gd name="connsiteY118" fmla="*/ 5233 h 9726"/>
              <a:gd name="connsiteX119" fmla="*/ 8032 w 10000"/>
              <a:gd name="connsiteY119" fmla="*/ 5199 h 9726"/>
              <a:gd name="connsiteX120" fmla="*/ 8176 w 10000"/>
              <a:gd name="connsiteY120" fmla="*/ 5259 h 9726"/>
              <a:gd name="connsiteX121" fmla="*/ 8369 w 10000"/>
              <a:gd name="connsiteY121" fmla="*/ 5290 h 9726"/>
              <a:gd name="connsiteX122" fmla="*/ 8446 w 10000"/>
              <a:gd name="connsiteY122" fmla="*/ 5231 h 9726"/>
              <a:gd name="connsiteX123" fmla="*/ 8507 w 10000"/>
              <a:gd name="connsiteY123" fmla="*/ 5264 h 9726"/>
              <a:gd name="connsiteX124" fmla="*/ 8596 w 10000"/>
              <a:gd name="connsiteY124" fmla="*/ 5379 h 9726"/>
              <a:gd name="connsiteX125" fmla="*/ 8782 w 10000"/>
              <a:gd name="connsiteY125" fmla="*/ 5405 h 9726"/>
              <a:gd name="connsiteX126" fmla="*/ 9542 w 10000"/>
              <a:gd name="connsiteY126" fmla="*/ 5236 h 9726"/>
              <a:gd name="connsiteX127" fmla="*/ 9914 w 10000"/>
              <a:gd name="connsiteY127" fmla="*/ 5002 h 9726"/>
              <a:gd name="connsiteX128" fmla="*/ 10000 w 10000"/>
              <a:gd name="connsiteY128" fmla="*/ 4830 h 9726"/>
              <a:gd name="connsiteX129" fmla="*/ 9866 w 10000"/>
              <a:gd name="connsiteY129" fmla="*/ 4676 h 9726"/>
              <a:gd name="connsiteX130" fmla="*/ 9582 w 10000"/>
              <a:gd name="connsiteY130" fmla="*/ 4583 h 9726"/>
              <a:gd name="connsiteX131" fmla="*/ 9382 w 10000"/>
              <a:gd name="connsiteY131" fmla="*/ 4431 h 9726"/>
              <a:gd name="connsiteX132" fmla="*/ 9569 w 10000"/>
              <a:gd name="connsiteY132" fmla="*/ 4426 h 9726"/>
              <a:gd name="connsiteX133" fmla="*/ 9555 w 10000"/>
              <a:gd name="connsiteY133" fmla="*/ 4389 h 9726"/>
              <a:gd name="connsiteX134" fmla="*/ 9068 w 10000"/>
              <a:gd name="connsiteY134" fmla="*/ 4283 h 9726"/>
              <a:gd name="connsiteX135" fmla="*/ 9047 w 10000"/>
              <a:gd name="connsiteY135" fmla="*/ 4185 h 9726"/>
              <a:gd name="connsiteX136" fmla="*/ 8953 w 10000"/>
              <a:gd name="connsiteY136" fmla="*/ 4083 h 9726"/>
              <a:gd name="connsiteX137" fmla="*/ 8569 w 10000"/>
              <a:gd name="connsiteY137" fmla="*/ 4102 h 9726"/>
              <a:gd name="connsiteX138" fmla="*/ 8431 w 10000"/>
              <a:gd name="connsiteY138" fmla="*/ 3993 h 9726"/>
              <a:gd name="connsiteX139" fmla="*/ 8350 w 10000"/>
              <a:gd name="connsiteY139" fmla="*/ 3987 h 9726"/>
              <a:gd name="connsiteX140" fmla="*/ 8350 w 10000"/>
              <a:gd name="connsiteY140" fmla="*/ 4033 h 9726"/>
              <a:gd name="connsiteX141" fmla="*/ 8176 w 10000"/>
              <a:gd name="connsiteY141" fmla="*/ 4216 h 9726"/>
              <a:gd name="connsiteX142" fmla="*/ 7990 w 10000"/>
              <a:gd name="connsiteY142" fmla="*/ 4323 h 9726"/>
              <a:gd name="connsiteX143" fmla="*/ 7401 w 10000"/>
              <a:gd name="connsiteY143" fmla="*/ 4506 h 9726"/>
              <a:gd name="connsiteX144" fmla="*/ 7198 w 10000"/>
              <a:gd name="connsiteY144" fmla="*/ 4500 h 9726"/>
              <a:gd name="connsiteX145" fmla="*/ 6915 w 10000"/>
              <a:gd name="connsiteY145" fmla="*/ 4528 h 9726"/>
              <a:gd name="connsiteX146" fmla="*/ 6757 w 10000"/>
              <a:gd name="connsiteY146" fmla="*/ 4500 h 9726"/>
              <a:gd name="connsiteX147" fmla="*/ 6965 w 10000"/>
              <a:gd name="connsiteY147" fmla="*/ 4449 h 9726"/>
              <a:gd name="connsiteX148" fmla="*/ 7235 w 10000"/>
              <a:gd name="connsiteY148" fmla="*/ 4426 h 9726"/>
              <a:gd name="connsiteX149" fmla="*/ 7455 w 10000"/>
              <a:gd name="connsiteY149" fmla="*/ 4341 h 9726"/>
              <a:gd name="connsiteX150" fmla="*/ 7674 w 10000"/>
              <a:gd name="connsiteY150" fmla="*/ 4300 h 9726"/>
              <a:gd name="connsiteX151" fmla="*/ 8082 w 10000"/>
              <a:gd name="connsiteY151" fmla="*/ 4150 h 9726"/>
              <a:gd name="connsiteX152" fmla="*/ 8157 w 10000"/>
              <a:gd name="connsiteY152" fmla="*/ 4053 h 9726"/>
              <a:gd name="connsiteX153" fmla="*/ 8165 w 10000"/>
              <a:gd name="connsiteY153" fmla="*/ 3926 h 9726"/>
              <a:gd name="connsiteX154" fmla="*/ 7978 w 10000"/>
              <a:gd name="connsiteY154" fmla="*/ 3905 h 9726"/>
              <a:gd name="connsiteX155" fmla="*/ 8058 w 10000"/>
              <a:gd name="connsiteY155" fmla="*/ 3828 h 9726"/>
              <a:gd name="connsiteX156" fmla="*/ 8087 w 10000"/>
              <a:gd name="connsiteY156" fmla="*/ 3731 h 9726"/>
              <a:gd name="connsiteX157" fmla="*/ 8007 w 10000"/>
              <a:gd name="connsiteY157" fmla="*/ 3639 h 9726"/>
              <a:gd name="connsiteX158" fmla="*/ 5057 w 10000"/>
              <a:gd name="connsiteY158" fmla="*/ 0 h 9726"/>
              <a:gd name="connsiteX159" fmla="*/ 4842 w 10000"/>
              <a:gd name="connsiteY159" fmla="*/ 99 h 9726"/>
              <a:gd name="connsiteX160" fmla="*/ 4200 w 10000"/>
              <a:gd name="connsiteY160" fmla="*/ 33 h 9726"/>
              <a:gd name="connsiteX161" fmla="*/ 3760 w 10000"/>
              <a:gd name="connsiteY161" fmla="*/ 70 h 9726"/>
              <a:gd name="connsiteX162" fmla="*/ 3405 w 10000"/>
              <a:gd name="connsiteY162" fmla="*/ 151 h 9726"/>
              <a:gd name="connsiteX163" fmla="*/ 2832 w 10000"/>
              <a:gd name="connsiteY163" fmla="*/ 404 h 9726"/>
              <a:gd name="connsiteX164" fmla="*/ 2528 w 10000"/>
              <a:gd name="connsiteY164" fmla="*/ 709 h 9726"/>
              <a:gd name="connsiteX165" fmla="*/ 2555 w 10000"/>
              <a:gd name="connsiteY165" fmla="*/ 879 h 9726"/>
              <a:gd name="connsiteX166" fmla="*/ 2661 w 10000"/>
              <a:gd name="connsiteY166" fmla="*/ 1009 h 9726"/>
              <a:gd name="connsiteX167" fmla="*/ 2741 w 10000"/>
              <a:gd name="connsiteY167" fmla="*/ 1062 h 9726"/>
              <a:gd name="connsiteX168" fmla="*/ 2592 w 10000"/>
              <a:gd name="connsiteY168" fmla="*/ 1147 h 9726"/>
              <a:gd name="connsiteX169" fmla="*/ 2267 w 10000"/>
              <a:gd name="connsiteY169" fmla="*/ 1721 h 9726"/>
              <a:gd name="connsiteX170" fmla="*/ 2330 w 10000"/>
              <a:gd name="connsiteY170" fmla="*/ 1753 h 9726"/>
              <a:gd name="connsiteX171" fmla="*/ 2375 w 10000"/>
              <a:gd name="connsiteY171" fmla="*/ 1900 h 9726"/>
              <a:gd name="connsiteX172" fmla="*/ 2226 w 10000"/>
              <a:gd name="connsiteY172" fmla="*/ 2504 h 9726"/>
              <a:gd name="connsiteX173" fmla="*/ 2375 w 10000"/>
              <a:gd name="connsiteY173" fmla="*/ 2658 h 9726"/>
              <a:gd name="connsiteX174" fmla="*/ 2791 w 10000"/>
              <a:gd name="connsiteY174" fmla="*/ 2827 h 9726"/>
              <a:gd name="connsiteX175" fmla="*/ 2808 w 10000"/>
              <a:gd name="connsiteY175" fmla="*/ 3032 h 9726"/>
              <a:gd name="connsiteX176" fmla="*/ 2632 w 10000"/>
              <a:gd name="connsiteY176" fmla="*/ 3204 h 9726"/>
              <a:gd name="connsiteX177" fmla="*/ 2375 w 10000"/>
              <a:gd name="connsiteY177" fmla="*/ 3308 h 9726"/>
              <a:gd name="connsiteX178" fmla="*/ 2039 w 10000"/>
              <a:gd name="connsiteY178" fmla="*/ 3349 h 9726"/>
              <a:gd name="connsiteX179" fmla="*/ 1950 w 10000"/>
              <a:gd name="connsiteY179" fmla="*/ 3410 h 9726"/>
              <a:gd name="connsiteX180" fmla="*/ 2148 w 10000"/>
              <a:gd name="connsiteY180" fmla="*/ 3552 h 9726"/>
              <a:gd name="connsiteX181" fmla="*/ 2261 w 10000"/>
              <a:gd name="connsiteY181" fmla="*/ 3888 h 9726"/>
              <a:gd name="connsiteX182" fmla="*/ 2005 w 10000"/>
              <a:gd name="connsiteY182" fmla="*/ 4177 h 9726"/>
              <a:gd name="connsiteX183" fmla="*/ 2094 w 10000"/>
              <a:gd name="connsiteY183" fmla="*/ 4265 h 9726"/>
              <a:gd name="connsiteX184" fmla="*/ 2012 w 10000"/>
              <a:gd name="connsiteY184" fmla="*/ 4417 h 9726"/>
              <a:gd name="connsiteX185" fmla="*/ 1850 w 10000"/>
              <a:gd name="connsiteY185" fmla="*/ 4521 h 9726"/>
              <a:gd name="connsiteX186" fmla="*/ 1199 w 10000"/>
              <a:gd name="connsiteY186" fmla="*/ 4600 h 9726"/>
              <a:gd name="connsiteX187" fmla="*/ 1158 w 10000"/>
              <a:gd name="connsiteY187" fmla="*/ 4740 h 9726"/>
              <a:gd name="connsiteX188" fmla="*/ 808 w 10000"/>
              <a:gd name="connsiteY188" fmla="*/ 4948 h 9726"/>
              <a:gd name="connsiteX189" fmla="*/ 854 w 10000"/>
              <a:gd name="connsiteY189" fmla="*/ 5247 h 9726"/>
              <a:gd name="connsiteX190" fmla="*/ 560 w 10000"/>
              <a:gd name="connsiteY190" fmla="*/ 5629 h 9726"/>
              <a:gd name="connsiteX191" fmla="*/ 358 w 10000"/>
              <a:gd name="connsiteY191" fmla="*/ 5674 h 9726"/>
              <a:gd name="connsiteX192" fmla="*/ 275 w 10000"/>
              <a:gd name="connsiteY192" fmla="*/ 5584 h 9726"/>
              <a:gd name="connsiteX193" fmla="*/ 174 w 10000"/>
              <a:gd name="connsiteY193" fmla="*/ 5721 h 9726"/>
              <a:gd name="connsiteX194" fmla="*/ 239 w 10000"/>
              <a:gd name="connsiteY194" fmla="*/ 5484 h 9726"/>
              <a:gd name="connsiteX195" fmla="*/ 197 w 10000"/>
              <a:gd name="connsiteY195" fmla="*/ 5439 h 9726"/>
              <a:gd name="connsiteX0" fmla="*/ 197 w 10000"/>
              <a:gd name="connsiteY0" fmla="*/ 5558 h 9966"/>
              <a:gd name="connsiteX1" fmla="*/ 0 w 10000"/>
              <a:gd name="connsiteY1" fmla="*/ 5685 h 9966"/>
              <a:gd name="connsiteX2" fmla="*/ 0 w 10000"/>
              <a:gd name="connsiteY2" fmla="*/ 6312 h 9966"/>
              <a:gd name="connsiteX3" fmla="*/ 109 w 10000"/>
              <a:gd name="connsiteY3" fmla="*/ 6329 h 9966"/>
              <a:gd name="connsiteX4" fmla="*/ 134 w 10000"/>
              <a:gd name="connsiteY4" fmla="*/ 6378 h 9966"/>
              <a:gd name="connsiteX5" fmla="*/ 130 w 10000"/>
              <a:gd name="connsiteY5" fmla="*/ 6463 h 9966"/>
              <a:gd name="connsiteX6" fmla="*/ 89 w 10000"/>
              <a:gd name="connsiteY6" fmla="*/ 6501 h 9966"/>
              <a:gd name="connsiteX7" fmla="*/ 255 w 10000"/>
              <a:gd name="connsiteY7" fmla="*/ 6428 h 9966"/>
              <a:gd name="connsiteX8" fmla="*/ 325 w 10000"/>
              <a:gd name="connsiteY8" fmla="*/ 6357 h 9966"/>
              <a:gd name="connsiteX9" fmla="*/ 413 w 10000"/>
              <a:gd name="connsiteY9" fmla="*/ 6405 h 9966"/>
              <a:gd name="connsiteX10" fmla="*/ 316 w 10000"/>
              <a:gd name="connsiteY10" fmla="*/ 6509 h 9966"/>
              <a:gd name="connsiteX11" fmla="*/ 419 w 10000"/>
              <a:gd name="connsiteY11" fmla="*/ 6511 h 9966"/>
              <a:gd name="connsiteX12" fmla="*/ 469 w 10000"/>
              <a:gd name="connsiteY12" fmla="*/ 6537 h 9966"/>
              <a:gd name="connsiteX13" fmla="*/ 337 w 10000"/>
              <a:gd name="connsiteY13" fmla="*/ 6570 h 9966"/>
              <a:gd name="connsiteX14" fmla="*/ 130 w 10000"/>
              <a:gd name="connsiteY14" fmla="*/ 6675 h 9966"/>
              <a:gd name="connsiteX15" fmla="*/ 497 w 10000"/>
              <a:gd name="connsiteY15" fmla="*/ 6758 h 9966"/>
              <a:gd name="connsiteX16" fmla="*/ 545 w 10000"/>
              <a:gd name="connsiteY16" fmla="*/ 6876 h 9966"/>
              <a:gd name="connsiteX17" fmla="*/ 419 w 10000"/>
              <a:gd name="connsiteY17" fmla="*/ 7048 h 9966"/>
              <a:gd name="connsiteX18" fmla="*/ 688 w 10000"/>
              <a:gd name="connsiteY18" fmla="*/ 7038 h 9966"/>
              <a:gd name="connsiteX19" fmla="*/ 709 w 10000"/>
              <a:gd name="connsiteY19" fmla="*/ 7168 h 9966"/>
              <a:gd name="connsiteX20" fmla="*/ 530 w 10000"/>
              <a:gd name="connsiteY20" fmla="*/ 7258 h 9966"/>
              <a:gd name="connsiteX21" fmla="*/ 560 w 10000"/>
              <a:gd name="connsiteY21" fmla="*/ 7429 h 9966"/>
              <a:gd name="connsiteX22" fmla="*/ 489 w 10000"/>
              <a:gd name="connsiteY22" fmla="*/ 7563 h 9966"/>
              <a:gd name="connsiteX23" fmla="*/ 703 w 10000"/>
              <a:gd name="connsiteY23" fmla="*/ 7576 h 9966"/>
              <a:gd name="connsiteX24" fmla="*/ 909 w 10000"/>
              <a:gd name="connsiteY24" fmla="*/ 8089 h 9966"/>
              <a:gd name="connsiteX25" fmla="*/ 1150 w 10000"/>
              <a:gd name="connsiteY25" fmla="*/ 8217 h 9966"/>
              <a:gd name="connsiteX26" fmla="*/ 1255 w 10000"/>
              <a:gd name="connsiteY26" fmla="*/ 8356 h 9966"/>
              <a:gd name="connsiteX27" fmla="*/ 1514 w 10000"/>
              <a:gd name="connsiteY27" fmla="*/ 8456 h 9966"/>
              <a:gd name="connsiteX28" fmla="*/ 1684 w 10000"/>
              <a:gd name="connsiteY28" fmla="*/ 8586 h 9966"/>
              <a:gd name="connsiteX29" fmla="*/ 1661 w 10000"/>
              <a:gd name="connsiteY29" fmla="*/ 8678 h 9966"/>
              <a:gd name="connsiteX30" fmla="*/ 1496 w 10000"/>
              <a:gd name="connsiteY30" fmla="*/ 8712 h 9966"/>
              <a:gd name="connsiteX31" fmla="*/ 1316 w 10000"/>
              <a:gd name="connsiteY31" fmla="*/ 8690 h 9966"/>
              <a:gd name="connsiteX32" fmla="*/ 1260 w 10000"/>
              <a:gd name="connsiteY32" fmla="*/ 8727 h 9966"/>
              <a:gd name="connsiteX33" fmla="*/ 1397 w 10000"/>
              <a:gd name="connsiteY33" fmla="*/ 8927 h 9966"/>
              <a:gd name="connsiteX34" fmla="*/ 1205 w 10000"/>
              <a:gd name="connsiteY34" fmla="*/ 8910 h 9966"/>
              <a:gd name="connsiteX35" fmla="*/ 1040 w 10000"/>
              <a:gd name="connsiteY35" fmla="*/ 8861 h 9966"/>
              <a:gd name="connsiteX36" fmla="*/ 1012 w 10000"/>
              <a:gd name="connsiteY36" fmla="*/ 8936 h 9966"/>
              <a:gd name="connsiteX37" fmla="*/ 1557 w 10000"/>
              <a:gd name="connsiteY37" fmla="*/ 9618 h 9966"/>
              <a:gd name="connsiteX38" fmla="*/ 1469 w 10000"/>
              <a:gd name="connsiteY38" fmla="*/ 9682 h 9966"/>
              <a:gd name="connsiteX39" fmla="*/ 1408 w 10000"/>
              <a:gd name="connsiteY39" fmla="*/ 9814 h 9966"/>
              <a:gd name="connsiteX40" fmla="*/ 1329 w 10000"/>
              <a:gd name="connsiteY40" fmla="*/ 9823 h 9966"/>
              <a:gd name="connsiteX41" fmla="*/ 1281 w 10000"/>
              <a:gd name="connsiteY41" fmla="*/ 9881 h 9966"/>
              <a:gd name="connsiteX42" fmla="*/ 1609 w 10000"/>
              <a:gd name="connsiteY42" fmla="*/ 9886 h 9966"/>
              <a:gd name="connsiteX43" fmla="*/ 1900 w 10000"/>
              <a:gd name="connsiteY43" fmla="*/ 9943 h 9966"/>
              <a:gd name="connsiteX44" fmla="*/ 2383 w 10000"/>
              <a:gd name="connsiteY44" fmla="*/ 9883 h 9966"/>
              <a:gd name="connsiteX45" fmla="*/ 2816 w 10000"/>
              <a:gd name="connsiteY45" fmla="*/ 9895 h 9966"/>
              <a:gd name="connsiteX46" fmla="*/ 3072 w 10000"/>
              <a:gd name="connsiteY46" fmla="*/ 9966 h 9966"/>
              <a:gd name="connsiteX47" fmla="*/ 3212 w 10000"/>
              <a:gd name="connsiteY47" fmla="*/ 9918 h 9966"/>
              <a:gd name="connsiteX48" fmla="*/ 3348 w 10000"/>
              <a:gd name="connsiteY48" fmla="*/ 9761 h 9966"/>
              <a:gd name="connsiteX49" fmla="*/ 3313 w 10000"/>
              <a:gd name="connsiteY49" fmla="*/ 9502 h 9966"/>
              <a:gd name="connsiteX50" fmla="*/ 3642 w 10000"/>
              <a:gd name="connsiteY50" fmla="*/ 9216 h 9966"/>
              <a:gd name="connsiteX51" fmla="*/ 3883 w 10000"/>
              <a:gd name="connsiteY51" fmla="*/ 9261 h 9966"/>
              <a:gd name="connsiteX52" fmla="*/ 4025 w 10000"/>
              <a:gd name="connsiteY52" fmla="*/ 9147 h 9966"/>
              <a:gd name="connsiteX53" fmla="*/ 4294 w 10000"/>
              <a:gd name="connsiteY53" fmla="*/ 9080 h 9966"/>
              <a:gd name="connsiteX54" fmla="*/ 4658 w 10000"/>
              <a:gd name="connsiteY54" fmla="*/ 9096 h 9966"/>
              <a:gd name="connsiteX55" fmla="*/ 4878 w 10000"/>
              <a:gd name="connsiteY55" fmla="*/ 9141 h 9966"/>
              <a:gd name="connsiteX56" fmla="*/ 5170 w 10000"/>
              <a:gd name="connsiteY56" fmla="*/ 9122 h 9966"/>
              <a:gd name="connsiteX57" fmla="*/ 5464 w 10000"/>
              <a:gd name="connsiteY57" fmla="*/ 9171 h 9966"/>
              <a:gd name="connsiteX58" fmla="*/ 5759 w 10000"/>
              <a:gd name="connsiteY58" fmla="*/ 9178 h 9966"/>
              <a:gd name="connsiteX59" fmla="*/ 6419 w 10000"/>
              <a:gd name="connsiteY59" fmla="*/ 8507 h 9966"/>
              <a:gd name="connsiteX60" fmla="*/ 6586 w 10000"/>
              <a:gd name="connsiteY60" fmla="*/ 7959 h 9966"/>
              <a:gd name="connsiteX61" fmla="*/ 6855 w 10000"/>
              <a:gd name="connsiteY61" fmla="*/ 7717 h 9966"/>
              <a:gd name="connsiteX62" fmla="*/ 6855 w 10000"/>
              <a:gd name="connsiteY62" fmla="*/ 7587 h 9966"/>
              <a:gd name="connsiteX63" fmla="*/ 6757 w 10000"/>
              <a:gd name="connsiteY63" fmla="*/ 7516 h 9966"/>
              <a:gd name="connsiteX64" fmla="*/ 6915 w 10000"/>
              <a:gd name="connsiteY64" fmla="*/ 7401 h 9966"/>
              <a:gd name="connsiteX65" fmla="*/ 6887 w 10000"/>
              <a:gd name="connsiteY65" fmla="*/ 7305 h 9966"/>
              <a:gd name="connsiteX66" fmla="*/ 6779 w 10000"/>
              <a:gd name="connsiteY66" fmla="*/ 7223 h 9966"/>
              <a:gd name="connsiteX67" fmla="*/ 6757 w 10000"/>
              <a:gd name="connsiteY67" fmla="*/ 7162 h 9966"/>
              <a:gd name="connsiteX68" fmla="*/ 6785 w 10000"/>
              <a:gd name="connsiteY68" fmla="*/ 7116 h 9966"/>
              <a:gd name="connsiteX69" fmla="*/ 6931 w 10000"/>
              <a:gd name="connsiteY69" fmla="*/ 7153 h 9966"/>
              <a:gd name="connsiteX70" fmla="*/ 7045 w 10000"/>
              <a:gd name="connsiteY70" fmla="*/ 7151 h 9966"/>
              <a:gd name="connsiteX71" fmla="*/ 6983 w 10000"/>
              <a:gd name="connsiteY71" fmla="*/ 7073 h 9966"/>
              <a:gd name="connsiteX72" fmla="*/ 7003 w 10000"/>
              <a:gd name="connsiteY72" fmla="*/ 7026 h 9966"/>
              <a:gd name="connsiteX73" fmla="*/ 7089 w 10000"/>
              <a:gd name="connsiteY73" fmla="*/ 6961 h 9966"/>
              <a:gd name="connsiteX74" fmla="*/ 7074 w 10000"/>
              <a:gd name="connsiteY74" fmla="*/ 6907 h 9966"/>
              <a:gd name="connsiteX75" fmla="*/ 7152 w 10000"/>
              <a:gd name="connsiteY75" fmla="*/ 6724 h 9966"/>
              <a:gd name="connsiteX76" fmla="*/ 7130 w 10000"/>
              <a:gd name="connsiteY76" fmla="*/ 6669 h 9966"/>
              <a:gd name="connsiteX77" fmla="*/ 6729 w 10000"/>
              <a:gd name="connsiteY77" fmla="*/ 6530 h 9966"/>
              <a:gd name="connsiteX78" fmla="*/ 6785 w 10000"/>
              <a:gd name="connsiteY78" fmla="*/ 6525 h 9966"/>
              <a:gd name="connsiteX79" fmla="*/ 6998 w 10000"/>
              <a:gd name="connsiteY79" fmla="*/ 6561 h 9966"/>
              <a:gd name="connsiteX80" fmla="*/ 7230 w 10000"/>
              <a:gd name="connsiteY80" fmla="*/ 6548 h 9966"/>
              <a:gd name="connsiteX81" fmla="*/ 7295 w 10000"/>
              <a:gd name="connsiteY81" fmla="*/ 6497 h 9966"/>
              <a:gd name="connsiteX82" fmla="*/ 7074 w 10000"/>
              <a:gd name="connsiteY82" fmla="*/ 6403 h 9966"/>
              <a:gd name="connsiteX83" fmla="*/ 6414 w 10000"/>
              <a:gd name="connsiteY83" fmla="*/ 6341 h 9966"/>
              <a:gd name="connsiteX84" fmla="*/ 6458 w 10000"/>
              <a:gd name="connsiteY84" fmla="*/ 6312 h 9966"/>
              <a:gd name="connsiteX85" fmla="*/ 6998 w 10000"/>
              <a:gd name="connsiteY85" fmla="*/ 6293 h 9966"/>
              <a:gd name="connsiteX86" fmla="*/ 7295 w 10000"/>
              <a:gd name="connsiteY86" fmla="*/ 6350 h 9966"/>
              <a:gd name="connsiteX87" fmla="*/ 7466 w 10000"/>
              <a:gd name="connsiteY87" fmla="*/ 6312 h 9966"/>
              <a:gd name="connsiteX88" fmla="*/ 7529 w 10000"/>
              <a:gd name="connsiteY88" fmla="*/ 6214 h 9966"/>
              <a:gd name="connsiteX89" fmla="*/ 7840 w 10000"/>
              <a:gd name="connsiteY89" fmla="*/ 6214 h 9966"/>
              <a:gd name="connsiteX90" fmla="*/ 8261 w 10000"/>
              <a:gd name="connsiteY90" fmla="*/ 6017 h 9966"/>
              <a:gd name="connsiteX91" fmla="*/ 8275 w 10000"/>
              <a:gd name="connsiteY91" fmla="*/ 5886 h 9966"/>
              <a:gd name="connsiteX92" fmla="*/ 8453 w 10000"/>
              <a:gd name="connsiteY92" fmla="*/ 5916 h 9966"/>
              <a:gd name="connsiteX93" fmla="*/ 8446 w 10000"/>
              <a:gd name="connsiteY93" fmla="*/ 6047 h 9966"/>
              <a:gd name="connsiteX94" fmla="*/ 8727 w 10000"/>
              <a:gd name="connsiteY94" fmla="*/ 6038 h 9966"/>
              <a:gd name="connsiteX95" fmla="*/ 8913 w 10000"/>
              <a:gd name="connsiteY95" fmla="*/ 5902 h 9966"/>
              <a:gd name="connsiteX96" fmla="*/ 9258 w 10000"/>
              <a:gd name="connsiteY96" fmla="*/ 5778 h 9966"/>
              <a:gd name="connsiteX97" fmla="*/ 9203 w 10000"/>
              <a:gd name="connsiteY97" fmla="*/ 5639 h 9966"/>
              <a:gd name="connsiteX98" fmla="*/ 9306 w 10000"/>
              <a:gd name="connsiteY98" fmla="*/ 5694 h 9966"/>
              <a:gd name="connsiteX99" fmla="*/ 9464 w 10000"/>
              <a:gd name="connsiteY99" fmla="*/ 5694 h 9966"/>
              <a:gd name="connsiteX100" fmla="*/ 9464 w 10000"/>
              <a:gd name="connsiteY100" fmla="*/ 5629 h 9966"/>
              <a:gd name="connsiteX101" fmla="*/ 9611 w 10000"/>
              <a:gd name="connsiteY101" fmla="*/ 5581 h 9966"/>
              <a:gd name="connsiteX102" fmla="*/ 9592 w 10000"/>
              <a:gd name="connsiteY102" fmla="*/ 5530 h 9966"/>
              <a:gd name="connsiteX103" fmla="*/ 8350 w 10000"/>
              <a:gd name="connsiteY103" fmla="*/ 5631 h 9966"/>
              <a:gd name="connsiteX104" fmla="*/ 8058 w 10000"/>
              <a:gd name="connsiteY104" fmla="*/ 5602 h 9966"/>
              <a:gd name="connsiteX105" fmla="*/ 7942 w 10000"/>
              <a:gd name="connsiteY105" fmla="*/ 5639 h 9966"/>
              <a:gd name="connsiteX106" fmla="*/ 7903 w 10000"/>
              <a:gd name="connsiteY106" fmla="*/ 5567 h 9966"/>
              <a:gd name="connsiteX107" fmla="*/ 7765 w 10000"/>
              <a:gd name="connsiteY107" fmla="*/ 5505 h 9966"/>
              <a:gd name="connsiteX108" fmla="*/ 7213 w 10000"/>
              <a:gd name="connsiteY108" fmla="*/ 5378 h 9966"/>
              <a:gd name="connsiteX109" fmla="*/ 6887 w 10000"/>
              <a:gd name="connsiteY109" fmla="*/ 5399 h 9966"/>
              <a:gd name="connsiteX110" fmla="*/ 6757 w 10000"/>
              <a:gd name="connsiteY110" fmla="*/ 5363 h 9966"/>
              <a:gd name="connsiteX111" fmla="*/ 6894 w 10000"/>
              <a:gd name="connsiteY111" fmla="*/ 5332 h 9966"/>
              <a:gd name="connsiteX112" fmla="*/ 6998 w 10000"/>
              <a:gd name="connsiteY112" fmla="*/ 5264 h 9966"/>
              <a:gd name="connsiteX113" fmla="*/ 7152 w 10000"/>
              <a:gd name="connsiteY113" fmla="*/ 5285 h 9966"/>
              <a:gd name="connsiteX114" fmla="*/ 7335 w 10000"/>
              <a:gd name="connsiteY114" fmla="*/ 5268 h 9966"/>
              <a:gd name="connsiteX115" fmla="*/ 7611 w 10000"/>
              <a:gd name="connsiteY115" fmla="*/ 5290 h 9966"/>
              <a:gd name="connsiteX116" fmla="*/ 7645 w 10000"/>
              <a:gd name="connsiteY116" fmla="*/ 5281 h 9966"/>
              <a:gd name="connsiteX117" fmla="*/ 7859 w 10000"/>
              <a:gd name="connsiteY117" fmla="*/ 5385 h 9966"/>
              <a:gd name="connsiteX118" fmla="*/ 8017 w 10000"/>
              <a:gd name="connsiteY118" fmla="*/ 5346 h 9966"/>
              <a:gd name="connsiteX119" fmla="*/ 8032 w 10000"/>
              <a:gd name="connsiteY119" fmla="*/ 5311 h 9966"/>
              <a:gd name="connsiteX120" fmla="*/ 8176 w 10000"/>
              <a:gd name="connsiteY120" fmla="*/ 5373 h 9966"/>
              <a:gd name="connsiteX121" fmla="*/ 8369 w 10000"/>
              <a:gd name="connsiteY121" fmla="*/ 5405 h 9966"/>
              <a:gd name="connsiteX122" fmla="*/ 8446 w 10000"/>
              <a:gd name="connsiteY122" fmla="*/ 5344 h 9966"/>
              <a:gd name="connsiteX123" fmla="*/ 8507 w 10000"/>
              <a:gd name="connsiteY123" fmla="*/ 5378 h 9966"/>
              <a:gd name="connsiteX124" fmla="*/ 8596 w 10000"/>
              <a:gd name="connsiteY124" fmla="*/ 5497 h 9966"/>
              <a:gd name="connsiteX125" fmla="*/ 8782 w 10000"/>
              <a:gd name="connsiteY125" fmla="*/ 5523 h 9966"/>
              <a:gd name="connsiteX126" fmla="*/ 9542 w 10000"/>
              <a:gd name="connsiteY126" fmla="*/ 5350 h 9966"/>
              <a:gd name="connsiteX127" fmla="*/ 9914 w 10000"/>
              <a:gd name="connsiteY127" fmla="*/ 5109 h 9966"/>
              <a:gd name="connsiteX128" fmla="*/ 10000 w 10000"/>
              <a:gd name="connsiteY128" fmla="*/ 4932 h 9966"/>
              <a:gd name="connsiteX129" fmla="*/ 9866 w 10000"/>
              <a:gd name="connsiteY129" fmla="*/ 4774 h 9966"/>
              <a:gd name="connsiteX130" fmla="*/ 9582 w 10000"/>
              <a:gd name="connsiteY130" fmla="*/ 4678 h 9966"/>
              <a:gd name="connsiteX131" fmla="*/ 9382 w 10000"/>
              <a:gd name="connsiteY131" fmla="*/ 4522 h 9966"/>
              <a:gd name="connsiteX132" fmla="*/ 9569 w 10000"/>
              <a:gd name="connsiteY132" fmla="*/ 4517 h 9966"/>
              <a:gd name="connsiteX133" fmla="*/ 9555 w 10000"/>
              <a:gd name="connsiteY133" fmla="*/ 4479 h 9966"/>
              <a:gd name="connsiteX134" fmla="*/ 9068 w 10000"/>
              <a:gd name="connsiteY134" fmla="*/ 4370 h 9966"/>
              <a:gd name="connsiteX135" fmla="*/ 9047 w 10000"/>
              <a:gd name="connsiteY135" fmla="*/ 4269 h 9966"/>
              <a:gd name="connsiteX136" fmla="*/ 8953 w 10000"/>
              <a:gd name="connsiteY136" fmla="*/ 4164 h 9966"/>
              <a:gd name="connsiteX137" fmla="*/ 8569 w 10000"/>
              <a:gd name="connsiteY137" fmla="*/ 4184 h 9966"/>
              <a:gd name="connsiteX138" fmla="*/ 8431 w 10000"/>
              <a:gd name="connsiteY138" fmla="*/ 4071 h 9966"/>
              <a:gd name="connsiteX139" fmla="*/ 8350 w 10000"/>
              <a:gd name="connsiteY139" fmla="*/ 4065 h 9966"/>
              <a:gd name="connsiteX140" fmla="*/ 8350 w 10000"/>
              <a:gd name="connsiteY140" fmla="*/ 4113 h 9966"/>
              <a:gd name="connsiteX141" fmla="*/ 8176 w 10000"/>
              <a:gd name="connsiteY141" fmla="*/ 4301 h 9966"/>
              <a:gd name="connsiteX142" fmla="*/ 7990 w 10000"/>
              <a:gd name="connsiteY142" fmla="*/ 4411 h 9966"/>
              <a:gd name="connsiteX143" fmla="*/ 7401 w 10000"/>
              <a:gd name="connsiteY143" fmla="*/ 4599 h 9966"/>
              <a:gd name="connsiteX144" fmla="*/ 7198 w 10000"/>
              <a:gd name="connsiteY144" fmla="*/ 4593 h 9966"/>
              <a:gd name="connsiteX145" fmla="*/ 6915 w 10000"/>
              <a:gd name="connsiteY145" fmla="*/ 4622 h 9966"/>
              <a:gd name="connsiteX146" fmla="*/ 6757 w 10000"/>
              <a:gd name="connsiteY146" fmla="*/ 4593 h 9966"/>
              <a:gd name="connsiteX147" fmla="*/ 6965 w 10000"/>
              <a:gd name="connsiteY147" fmla="*/ 4540 h 9966"/>
              <a:gd name="connsiteX148" fmla="*/ 7235 w 10000"/>
              <a:gd name="connsiteY148" fmla="*/ 4517 h 9966"/>
              <a:gd name="connsiteX149" fmla="*/ 7455 w 10000"/>
              <a:gd name="connsiteY149" fmla="*/ 4429 h 9966"/>
              <a:gd name="connsiteX150" fmla="*/ 7674 w 10000"/>
              <a:gd name="connsiteY150" fmla="*/ 4387 h 9966"/>
              <a:gd name="connsiteX151" fmla="*/ 8082 w 10000"/>
              <a:gd name="connsiteY151" fmla="*/ 4233 h 9966"/>
              <a:gd name="connsiteX152" fmla="*/ 8157 w 10000"/>
              <a:gd name="connsiteY152" fmla="*/ 4133 h 9966"/>
              <a:gd name="connsiteX153" fmla="*/ 8165 w 10000"/>
              <a:gd name="connsiteY153" fmla="*/ 4003 h 9966"/>
              <a:gd name="connsiteX154" fmla="*/ 7978 w 10000"/>
              <a:gd name="connsiteY154" fmla="*/ 3981 h 9966"/>
              <a:gd name="connsiteX155" fmla="*/ 8058 w 10000"/>
              <a:gd name="connsiteY155" fmla="*/ 3902 h 9966"/>
              <a:gd name="connsiteX156" fmla="*/ 8087 w 10000"/>
              <a:gd name="connsiteY156" fmla="*/ 3802 h 9966"/>
              <a:gd name="connsiteX157" fmla="*/ 8007 w 10000"/>
              <a:gd name="connsiteY157" fmla="*/ 3708 h 9966"/>
              <a:gd name="connsiteX158" fmla="*/ 4842 w 10000"/>
              <a:gd name="connsiteY158" fmla="*/ 68 h 9966"/>
              <a:gd name="connsiteX159" fmla="*/ 4200 w 10000"/>
              <a:gd name="connsiteY159" fmla="*/ 0 h 9966"/>
              <a:gd name="connsiteX160" fmla="*/ 3760 w 10000"/>
              <a:gd name="connsiteY160" fmla="*/ 38 h 9966"/>
              <a:gd name="connsiteX161" fmla="*/ 3405 w 10000"/>
              <a:gd name="connsiteY161" fmla="*/ 121 h 9966"/>
              <a:gd name="connsiteX162" fmla="*/ 2832 w 10000"/>
              <a:gd name="connsiteY162" fmla="*/ 381 h 9966"/>
              <a:gd name="connsiteX163" fmla="*/ 2528 w 10000"/>
              <a:gd name="connsiteY163" fmla="*/ 695 h 9966"/>
              <a:gd name="connsiteX164" fmla="*/ 2555 w 10000"/>
              <a:gd name="connsiteY164" fmla="*/ 870 h 9966"/>
              <a:gd name="connsiteX165" fmla="*/ 2661 w 10000"/>
              <a:gd name="connsiteY165" fmla="*/ 1003 h 9966"/>
              <a:gd name="connsiteX166" fmla="*/ 2741 w 10000"/>
              <a:gd name="connsiteY166" fmla="*/ 1058 h 9966"/>
              <a:gd name="connsiteX167" fmla="*/ 2592 w 10000"/>
              <a:gd name="connsiteY167" fmla="*/ 1145 h 9966"/>
              <a:gd name="connsiteX168" fmla="*/ 2267 w 10000"/>
              <a:gd name="connsiteY168" fmla="*/ 1735 h 9966"/>
              <a:gd name="connsiteX169" fmla="*/ 2330 w 10000"/>
              <a:gd name="connsiteY169" fmla="*/ 1768 h 9966"/>
              <a:gd name="connsiteX170" fmla="*/ 2375 w 10000"/>
              <a:gd name="connsiteY170" fmla="*/ 1920 h 9966"/>
              <a:gd name="connsiteX171" fmla="*/ 2226 w 10000"/>
              <a:gd name="connsiteY171" fmla="*/ 2541 h 9966"/>
              <a:gd name="connsiteX172" fmla="*/ 2375 w 10000"/>
              <a:gd name="connsiteY172" fmla="*/ 2699 h 9966"/>
              <a:gd name="connsiteX173" fmla="*/ 2791 w 10000"/>
              <a:gd name="connsiteY173" fmla="*/ 2873 h 9966"/>
              <a:gd name="connsiteX174" fmla="*/ 2808 w 10000"/>
              <a:gd name="connsiteY174" fmla="*/ 3083 h 9966"/>
              <a:gd name="connsiteX175" fmla="*/ 2632 w 10000"/>
              <a:gd name="connsiteY175" fmla="*/ 3260 h 9966"/>
              <a:gd name="connsiteX176" fmla="*/ 2375 w 10000"/>
              <a:gd name="connsiteY176" fmla="*/ 3367 h 9966"/>
              <a:gd name="connsiteX177" fmla="*/ 2039 w 10000"/>
              <a:gd name="connsiteY177" fmla="*/ 3409 h 9966"/>
              <a:gd name="connsiteX178" fmla="*/ 1950 w 10000"/>
              <a:gd name="connsiteY178" fmla="*/ 3472 h 9966"/>
              <a:gd name="connsiteX179" fmla="*/ 2148 w 10000"/>
              <a:gd name="connsiteY179" fmla="*/ 3618 h 9966"/>
              <a:gd name="connsiteX180" fmla="*/ 2261 w 10000"/>
              <a:gd name="connsiteY180" fmla="*/ 3964 h 9966"/>
              <a:gd name="connsiteX181" fmla="*/ 2005 w 10000"/>
              <a:gd name="connsiteY181" fmla="*/ 4261 h 9966"/>
              <a:gd name="connsiteX182" fmla="*/ 2094 w 10000"/>
              <a:gd name="connsiteY182" fmla="*/ 4351 h 9966"/>
              <a:gd name="connsiteX183" fmla="*/ 2012 w 10000"/>
              <a:gd name="connsiteY183" fmla="*/ 4507 h 9966"/>
              <a:gd name="connsiteX184" fmla="*/ 1850 w 10000"/>
              <a:gd name="connsiteY184" fmla="*/ 4614 h 9966"/>
              <a:gd name="connsiteX185" fmla="*/ 1199 w 10000"/>
              <a:gd name="connsiteY185" fmla="*/ 4696 h 9966"/>
              <a:gd name="connsiteX186" fmla="*/ 1158 w 10000"/>
              <a:gd name="connsiteY186" fmla="*/ 4840 h 9966"/>
              <a:gd name="connsiteX187" fmla="*/ 808 w 10000"/>
              <a:gd name="connsiteY187" fmla="*/ 5053 h 9966"/>
              <a:gd name="connsiteX188" fmla="*/ 854 w 10000"/>
              <a:gd name="connsiteY188" fmla="*/ 5361 h 9966"/>
              <a:gd name="connsiteX189" fmla="*/ 560 w 10000"/>
              <a:gd name="connsiteY189" fmla="*/ 5754 h 9966"/>
              <a:gd name="connsiteX190" fmla="*/ 358 w 10000"/>
              <a:gd name="connsiteY190" fmla="*/ 5800 h 9966"/>
              <a:gd name="connsiteX191" fmla="*/ 275 w 10000"/>
              <a:gd name="connsiteY191" fmla="*/ 5707 h 9966"/>
              <a:gd name="connsiteX192" fmla="*/ 174 w 10000"/>
              <a:gd name="connsiteY192" fmla="*/ 5848 h 9966"/>
              <a:gd name="connsiteX193" fmla="*/ 239 w 10000"/>
              <a:gd name="connsiteY193" fmla="*/ 5604 h 9966"/>
              <a:gd name="connsiteX194" fmla="*/ 197 w 10000"/>
              <a:gd name="connsiteY194" fmla="*/ 5558 h 9966"/>
              <a:gd name="connsiteX0" fmla="*/ 197 w 10000"/>
              <a:gd name="connsiteY0" fmla="*/ 5577 h 10000"/>
              <a:gd name="connsiteX1" fmla="*/ 0 w 10000"/>
              <a:gd name="connsiteY1" fmla="*/ 5704 h 10000"/>
              <a:gd name="connsiteX2" fmla="*/ 0 w 10000"/>
              <a:gd name="connsiteY2" fmla="*/ 6334 h 10000"/>
              <a:gd name="connsiteX3" fmla="*/ 109 w 10000"/>
              <a:gd name="connsiteY3" fmla="*/ 6351 h 10000"/>
              <a:gd name="connsiteX4" fmla="*/ 134 w 10000"/>
              <a:gd name="connsiteY4" fmla="*/ 6400 h 10000"/>
              <a:gd name="connsiteX5" fmla="*/ 130 w 10000"/>
              <a:gd name="connsiteY5" fmla="*/ 6485 h 10000"/>
              <a:gd name="connsiteX6" fmla="*/ 89 w 10000"/>
              <a:gd name="connsiteY6" fmla="*/ 6523 h 10000"/>
              <a:gd name="connsiteX7" fmla="*/ 255 w 10000"/>
              <a:gd name="connsiteY7" fmla="*/ 6450 h 10000"/>
              <a:gd name="connsiteX8" fmla="*/ 325 w 10000"/>
              <a:gd name="connsiteY8" fmla="*/ 6379 h 10000"/>
              <a:gd name="connsiteX9" fmla="*/ 413 w 10000"/>
              <a:gd name="connsiteY9" fmla="*/ 6427 h 10000"/>
              <a:gd name="connsiteX10" fmla="*/ 316 w 10000"/>
              <a:gd name="connsiteY10" fmla="*/ 6531 h 10000"/>
              <a:gd name="connsiteX11" fmla="*/ 419 w 10000"/>
              <a:gd name="connsiteY11" fmla="*/ 6533 h 10000"/>
              <a:gd name="connsiteX12" fmla="*/ 469 w 10000"/>
              <a:gd name="connsiteY12" fmla="*/ 6559 h 10000"/>
              <a:gd name="connsiteX13" fmla="*/ 337 w 10000"/>
              <a:gd name="connsiteY13" fmla="*/ 6592 h 10000"/>
              <a:gd name="connsiteX14" fmla="*/ 130 w 10000"/>
              <a:gd name="connsiteY14" fmla="*/ 6698 h 10000"/>
              <a:gd name="connsiteX15" fmla="*/ 497 w 10000"/>
              <a:gd name="connsiteY15" fmla="*/ 6781 h 10000"/>
              <a:gd name="connsiteX16" fmla="*/ 545 w 10000"/>
              <a:gd name="connsiteY16" fmla="*/ 6899 h 10000"/>
              <a:gd name="connsiteX17" fmla="*/ 419 w 10000"/>
              <a:gd name="connsiteY17" fmla="*/ 7072 h 10000"/>
              <a:gd name="connsiteX18" fmla="*/ 688 w 10000"/>
              <a:gd name="connsiteY18" fmla="*/ 7062 h 10000"/>
              <a:gd name="connsiteX19" fmla="*/ 709 w 10000"/>
              <a:gd name="connsiteY19" fmla="*/ 7192 h 10000"/>
              <a:gd name="connsiteX20" fmla="*/ 530 w 10000"/>
              <a:gd name="connsiteY20" fmla="*/ 7283 h 10000"/>
              <a:gd name="connsiteX21" fmla="*/ 560 w 10000"/>
              <a:gd name="connsiteY21" fmla="*/ 7454 h 10000"/>
              <a:gd name="connsiteX22" fmla="*/ 489 w 10000"/>
              <a:gd name="connsiteY22" fmla="*/ 7589 h 10000"/>
              <a:gd name="connsiteX23" fmla="*/ 703 w 10000"/>
              <a:gd name="connsiteY23" fmla="*/ 7602 h 10000"/>
              <a:gd name="connsiteX24" fmla="*/ 909 w 10000"/>
              <a:gd name="connsiteY24" fmla="*/ 8117 h 10000"/>
              <a:gd name="connsiteX25" fmla="*/ 1150 w 10000"/>
              <a:gd name="connsiteY25" fmla="*/ 8245 h 10000"/>
              <a:gd name="connsiteX26" fmla="*/ 1255 w 10000"/>
              <a:gd name="connsiteY26" fmla="*/ 8385 h 10000"/>
              <a:gd name="connsiteX27" fmla="*/ 1514 w 10000"/>
              <a:gd name="connsiteY27" fmla="*/ 8485 h 10000"/>
              <a:gd name="connsiteX28" fmla="*/ 1684 w 10000"/>
              <a:gd name="connsiteY28" fmla="*/ 8615 h 10000"/>
              <a:gd name="connsiteX29" fmla="*/ 1661 w 10000"/>
              <a:gd name="connsiteY29" fmla="*/ 8708 h 10000"/>
              <a:gd name="connsiteX30" fmla="*/ 1496 w 10000"/>
              <a:gd name="connsiteY30" fmla="*/ 8742 h 10000"/>
              <a:gd name="connsiteX31" fmla="*/ 1316 w 10000"/>
              <a:gd name="connsiteY31" fmla="*/ 8720 h 10000"/>
              <a:gd name="connsiteX32" fmla="*/ 1260 w 10000"/>
              <a:gd name="connsiteY32" fmla="*/ 8757 h 10000"/>
              <a:gd name="connsiteX33" fmla="*/ 1397 w 10000"/>
              <a:gd name="connsiteY33" fmla="*/ 8957 h 10000"/>
              <a:gd name="connsiteX34" fmla="*/ 1205 w 10000"/>
              <a:gd name="connsiteY34" fmla="*/ 8940 h 10000"/>
              <a:gd name="connsiteX35" fmla="*/ 1040 w 10000"/>
              <a:gd name="connsiteY35" fmla="*/ 8891 h 10000"/>
              <a:gd name="connsiteX36" fmla="*/ 1012 w 10000"/>
              <a:gd name="connsiteY36" fmla="*/ 8966 h 10000"/>
              <a:gd name="connsiteX37" fmla="*/ 1557 w 10000"/>
              <a:gd name="connsiteY37" fmla="*/ 9651 h 10000"/>
              <a:gd name="connsiteX38" fmla="*/ 1469 w 10000"/>
              <a:gd name="connsiteY38" fmla="*/ 9715 h 10000"/>
              <a:gd name="connsiteX39" fmla="*/ 1408 w 10000"/>
              <a:gd name="connsiteY39" fmla="*/ 9847 h 10000"/>
              <a:gd name="connsiteX40" fmla="*/ 1329 w 10000"/>
              <a:gd name="connsiteY40" fmla="*/ 9857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4 h 10000"/>
              <a:gd name="connsiteX49" fmla="*/ 3313 w 10000"/>
              <a:gd name="connsiteY49" fmla="*/ 9534 h 10000"/>
              <a:gd name="connsiteX50" fmla="*/ 3642 w 10000"/>
              <a:gd name="connsiteY50" fmla="*/ 9247 h 10000"/>
              <a:gd name="connsiteX51" fmla="*/ 3883 w 10000"/>
              <a:gd name="connsiteY51" fmla="*/ 9293 h 10000"/>
              <a:gd name="connsiteX52" fmla="*/ 4025 w 10000"/>
              <a:gd name="connsiteY52" fmla="*/ 9178 h 10000"/>
              <a:gd name="connsiteX53" fmla="*/ 4294 w 10000"/>
              <a:gd name="connsiteY53" fmla="*/ 9111 h 10000"/>
              <a:gd name="connsiteX54" fmla="*/ 4658 w 10000"/>
              <a:gd name="connsiteY54" fmla="*/ 9127 h 10000"/>
              <a:gd name="connsiteX55" fmla="*/ 4878 w 10000"/>
              <a:gd name="connsiteY55" fmla="*/ 9172 h 10000"/>
              <a:gd name="connsiteX56" fmla="*/ 5170 w 10000"/>
              <a:gd name="connsiteY56" fmla="*/ 9153 h 10000"/>
              <a:gd name="connsiteX57" fmla="*/ 5464 w 10000"/>
              <a:gd name="connsiteY57" fmla="*/ 9202 h 10000"/>
              <a:gd name="connsiteX58" fmla="*/ 5759 w 10000"/>
              <a:gd name="connsiteY58" fmla="*/ 9209 h 10000"/>
              <a:gd name="connsiteX59" fmla="*/ 6419 w 10000"/>
              <a:gd name="connsiteY59" fmla="*/ 8536 h 10000"/>
              <a:gd name="connsiteX60" fmla="*/ 6586 w 10000"/>
              <a:gd name="connsiteY60" fmla="*/ 7986 h 10000"/>
              <a:gd name="connsiteX61" fmla="*/ 6855 w 10000"/>
              <a:gd name="connsiteY61" fmla="*/ 7743 h 10000"/>
              <a:gd name="connsiteX62" fmla="*/ 6855 w 10000"/>
              <a:gd name="connsiteY62" fmla="*/ 7613 h 10000"/>
              <a:gd name="connsiteX63" fmla="*/ 6757 w 10000"/>
              <a:gd name="connsiteY63" fmla="*/ 7542 h 10000"/>
              <a:gd name="connsiteX64" fmla="*/ 6915 w 10000"/>
              <a:gd name="connsiteY64" fmla="*/ 7426 h 10000"/>
              <a:gd name="connsiteX65" fmla="*/ 6887 w 10000"/>
              <a:gd name="connsiteY65" fmla="*/ 7330 h 10000"/>
              <a:gd name="connsiteX66" fmla="*/ 6779 w 10000"/>
              <a:gd name="connsiteY66" fmla="*/ 7248 h 10000"/>
              <a:gd name="connsiteX67" fmla="*/ 6757 w 10000"/>
              <a:gd name="connsiteY67" fmla="*/ 7186 h 10000"/>
              <a:gd name="connsiteX68" fmla="*/ 6785 w 10000"/>
              <a:gd name="connsiteY68" fmla="*/ 7140 h 10000"/>
              <a:gd name="connsiteX69" fmla="*/ 6931 w 10000"/>
              <a:gd name="connsiteY69" fmla="*/ 7177 h 10000"/>
              <a:gd name="connsiteX70" fmla="*/ 7045 w 10000"/>
              <a:gd name="connsiteY70" fmla="*/ 7175 h 10000"/>
              <a:gd name="connsiteX71" fmla="*/ 6983 w 10000"/>
              <a:gd name="connsiteY71" fmla="*/ 7097 h 10000"/>
              <a:gd name="connsiteX72" fmla="*/ 7003 w 10000"/>
              <a:gd name="connsiteY72" fmla="*/ 7050 h 10000"/>
              <a:gd name="connsiteX73" fmla="*/ 7089 w 10000"/>
              <a:gd name="connsiteY73" fmla="*/ 6985 h 10000"/>
              <a:gd name="connsiteX74" fmla="*/ 7074 w 10000"/>
              <a:gd name="connsiteY74" fmla="*/ 6931 h 10000"/>
              <a:gd name="connsiteX75" fmla="*/ 7152 w 10000"/>
              <a:gd name="connsiteY75" fmla="*/ 6747 h 10000"/>
              <a:gd name="connsiteX76" fmla="*/ 7130 w 10000"/>
              <a:gd name="connsiteY76" fmla="*/ 6692 h 10000"/>
              <a:gd name="connsiteX77" fmla="*/ 6729 w 10000"/>
              <a:gd name="connsiteY77" fmla="*/ 6552 h 10000"/>
              <a:gd name="connsiteX78" fmla="*/ 6785 w 10000"/>
              <a:gd name="connsiteY78" fmla="*/ 6547 h 10000"/>
              <a:gd name="connsiteX79" fmla="*/ 6998 w 10000"/>
              <a:gd name="connsiteY79" fmla="*/ 6583 h 10000"/>
              <a:gd name="connsiteX80" fmla="*/ 7230 w 10000"/>
              <a:gd name="connsiteY80" fmla="*/ 6570 h 10000"/>
              <a:gd name="connsiteX81" fmla="*/ 7295 w 10000"/>
              <a:gd name="connsiteY81" fmla="*/ 6519 h 10000"/>
              <a:gd name="connsiteX82" fmla="*/ 7074 w 10000"/>
              <a:gd name="connsiteY82" fmla="*/ 6425 h 10000"/>
              <a:gd name="connsiteX83" fmla="*/ 6414 w 10000"/>
              <a:gd name="connsiteY83" fmla="*/ 6363 h 10000"/>
              <a:gd name="connsiteX84" fmla="*/ 6458 w 10000"/>
              <a:gd name="connsiteY84" fmla="*/ 6334 h 10000"/>
              <a:gd name="connsiteX85" fmla="*/ 6998 w 10000"/>
              <a:gd name="connsiteY85" fmla="*/ 6314 h 10000"/>
              <a:gd name="connsiteX86" fmla="*/ 7295 w 10000"/>
              <a:gd name="connsiteY86" fmla="*/ 6372 h 10000"/>
              <a:gd name="connsiteX87" fmla="*/ 7466 w 10000"/>
              <a:gd name="connsiteY87" fmla="*/ 6334 h 10000"/>
              <a:gd name="connsiteX88" fmla="*/ 7529 w 10000"/>
              <a:gd name="connsiteY88" fmla="*/ 6235 h 10000"/>
              <a:gd name="connsiteX89" fmla="*/ 7840 w 10000"/>
              <a:gd name="connsiteY89" fmla="*/ 6235 h 10000"/>
              <a:gd name="connsiteX90" fmla="*/ 8261 w 10000"/>
              <a:gd name="connsiteY90" fmla="*/ 6038 h 10000"/>
              <a:gd name="connsiteX91" fmla="*/ 8275 w 10000"/>
              <a:gd name="connsiteY91" fmla="*/ 5906 h 10000"/>
              <a:gd name="connsiteX92" fmla="*/ 8453 w 10000"/>
              <a:gd name="connsiteY92" fmla="*/ 5936 h 10000"/>
              <a:gd name="connsiteX93" fmla="*/ 8446 w 10000"/>
              <a:gd name="connsiteY93" fmla="*/ 6068 h 10000"/>
              <a:gd name="connsiteX94" fmla="*/ 8727 w 10000"/>
              <a:gd name="connsiteY94" fmla="*/ 6059 h 10000"/>
              <a:gd name="connsiteX95" fmla="*/ 8913 w 10000"/>
              <a:gd name="connsiteY95" fmla="*/ 5922 h 10000"/>
              <a:gd name="connsiteX96" fmla="*/ 9258 w 10000"/>
              <a:gd name="connsiteY96" fmla="*/ 5798 h 10000"/>
              <a:gd name="connsiteX97" fmla="*/ 9203 w 10000"/>
              <a:gd name="connsiteY97" fmla="*/ 5658 h 10000"/>
              <a:gd name="connsiteX98" fmla="*/ 9306 w 10000"/>
              <a:gd name="connsiteY98" fmla="*/ 5713 h 10000"/>
              <a:gd name="connsiteX99" fmla="*/ 9464 w 10000"/>
              <a:gd name="connsiteY99" fmla="*/ 5713 h 10000"/>
              <a:gd name="connsiteX100" fmla="*/ 9464 w 10000"/>
              <a:gd name="connsiteY100" fmla="*/ 5648 h 10000"/>
              <a:gd name="connsiteX101" fmla="*/ 9611 w 10000"/>
              <a:gd name="connsiteY101" fmla="*/ 5600 h 10000"/>
              <a:gd name="connsiteX102" fmla="*/ 9592 w 10000"/>
              <a:gd name="connsiteY102" fmla="*/ 5549 h 10000"/>
              <a:gd name="connsiteX103" fmla="*/ 8350 w 10000"/>
              <a:gd name="connsiteY103" fmla="*/ 5650 h 10000"/>
              <a:gd name="connsiteX104" fmla="*/ 8058 w 10000"/>
              <a:gd name="connsiteY104" fmla="*/ 5621 h 10000"/>
              <a:gd name="connsiteX105" fmla="*/ 7942 w 10000"/>
              <a:gd name="connsiteY105" fmla="*/ 5658 h 10000"/>
              <a:gd name="connsiteX106" fmla="*/ 7903 w 10000"/>
              <a:gd name="connsiteY106" fmla="*/ 5586 h 10000"/>
              <a:gd name="connsiteX107" fmla="*/ 7765 w 10000"/>
              <a:gd name="connsiteY107" fmla="*/ 5524 h 10000"/>
              <a:gd name="connsiteX108" fmla="*/ 7213 w 10000"/>
              <a:gd name="connsiteY108" fmla="*/ 5396 h 10000"/>
              <a:gd name="connsiteX109" fmla="*/ 6887 w 10000"/>
              <a:gd name="connsiteY109" fmla="*/ 5417 h 10000"/>
              <a:gd name="connsiteX110" fmla="*/ 6757 w 10000"/>
              <a:gd name="connsiteY110" fmla="*/ 5381 h 10000"/>
              <a:gd name="connsiteX111" fmla="*/ 6894 w 10000"/>
              <a:gd name="connsiteY111" fmla="*/ 5350 h 10000"/>
              <a:gd name="connsiteX112" fmla="*/ 6998 w 10000"/>
              <a:gd name="connsiteY112" fmla="*/ 5282 h 10000"/>
              <a:gd name="connsiteX113" fmla="*/ 7152 w 10000"/>
              <a:gd name="connsiteY113" fmla="*/ 5303 h 10000"/>
              <a:gd name="connsiteX114" fmla="*/ 7335 w 10000"/>
              <a:gd name="connsiteY114" fmla="*/ 5286 h 10000"/>
              <a:gd name="connsiteX115" fmla="*/ 7611 w 10000"/>
              <a:gd name="connsiteY115" fmla="*/ 5308 h 10000"/>
              <a:gd name="connsiteX116" fmla="*/ 7645 w 10000"/>
              <a:gd name="connsiteY116" fmla="*/ 5299 h 10000"/>
              <a:gd name="connsiteX117" fmla="*/ 7859 w 10000"/>
              <a:gd name="connsiteY117" fmla="*/ 5403 h 10000"/>
              <a:gd name="connsiteX118" fmla="*/ 8017 w 10000"/>
              <a:gd name="connsiteY118" fmla="*/ 5364 h 10000"/>
              <a:gd name="connsiteX119" fmla="*/ 8032 w 10000"/>
              <a:gd name="connsiteY119" fmla="*/ 5329 h 10000"/>
              <a:gd name="connsiteX120" fmla="*/ 8176 w 10000"/>
              <a:gd name="connsiteY120" fmla="*/ 5391 h 10000"/>
              <a:gd name="connsiteX121" fmla="*/ 8369 w 10000"/>
              <a:gd name="connsiteY121" fmla="*/ 5423 h 10000"/>
              <a:gd name="connsiteX122" fmla="*/ 8446 w 10000"/>
              <a:gd name="connsiteY122" fmla="*/ 5362 h 10000"/>
              <a:gd name="connsiteX123" fmla="*/ 8507 w 10000"/>
              <a:gd name="connsiteY123" fmla="*/ 5396 h 10000"/>
              <a:gd name="connsiteX124" fmla="*/ 8596 w 10000"/>
              <a:gd name="connsiteY124" fmla="*/ 5516 h 10000"/>
              <a:gd name="connsiteX125" fmla="*/ 8782 w 10000"/>
              <a:gd name="connsiteY125" fmla="*/ 5542 h 10000"/>
              <a:gd name="connsiteX126" fmla="*/ 9542 w 10000"/>
              <a:gd name="connsiteY126" fmla="*/ 5368 h 10000"/>
              <a:gd name="connsiteX127" fmla="*/ 9914 w 10000"/>
              <a:gd name="connsiteY127" fmla="*/ 5126 h 10000"/>
              <a:gd name="connsiteX128" fmla="*/ 10000 w 10000"/>
              <a:gd name="connsiteY128" fmla="*/ 4949 h 10000"/>
              <a:gd name="connsiteX129" fmla="*/ 9866 w 10000"/>
              <a:gd name="connsiteY129" fmla="*/ 4790 h 10000"/>
              <a:gd name="connsiteX130" fmla="*/ 9582 w 10000"/>
              <a:gd name="connsiteY130" fmla="*/ 4694 h 10000"/>
              <a:gd name="connsiteX131" fmla="*/ 9382 w 10000"/>
              <a:gd name="connsiteY131" fmla="*/ 4537 h 10000"/>
              <a:gd name="connsiteX132" fmla="*/ 9569 w 10000"/>
              <a:gd name="connsiteY132" fmla="*/ 4532 h 10000"/>
              <a:gd name="connsiteX133" fmla="*/ 9555 w 10000"/>
              <a:gd name="connsiteY133" fmla="*/ 4494 h 10000"/>
              <a:gd name="connsiteX134" fmla="*/ 9068 w 10000"/>
              <a:gd name="connsiteY134" fmla="*/ 4385 h 10000"/>
              <a:gd name="connsiteX135" fmla="*/ 9047 w 10000"/>
              <a:gd name="connsiteY135" fmla="*/ 4284 h 10000"/>
              <a:gd name="connsiteX136" fmla="*/ 8953 w 10000"/>
              <a:gd name="connsiteY136" fmla="*/ 4178 h 10000"/>
              <a:gd name="connsiteX137" fmla="*/ 8569 w 10000"/>
              <a:gd name="connsiteY137" fmla="*/ 4198 h 10000"/>
              <a:gd name="connsiteX138" fmla="*/ 8431 w 10000"/>
              <a:gd name="connsiteY138" fmla="*/ 4085 h 10000"/>
              <a:gd name="connsiteX139" fmla="*/ 8350 w 10000"/>
              <a:gd name="connsiteY139" fmla="*/ 4079 h 10000"/>
              <a:gd name="connsiteX140" fmla="*/ 8350 w 10000"/>
              <a:gd name="connsiteY140" fmla="*/ 4127 h 10000"/>
              <a:gd name="connsiteX141" fmla="*/ 8176 w 10000"/>
              <a:gd name="connsiteY141" fmla="*/ 4316 h 10000"/>
              <a:gd name="connsiteX142" fmla="*/ 7990 w 10000"/>
              <a:gd name="connsiteY142" fmla="*/ 4426 h 10000"/>
              <a:gd name="connsiteX143" fmla="*/ 7401 w 10000"/>
              <a:gd name="connsiteY143" fmla="*/ 4615 h 10000"/>
              <a:gd name="connsiteX144" fmla="*/ 7198 w 10000"/>
              <a:gd name="connsiteY144" fmla="*/ 4609 h 10000"/>
              <a:gd name="connsiteX145" fmla="*/ 6915 w 10000"/>
              <a:gd name="connsiteY145" fmla="*/ 4638 h 10000"/>
              <a:gd name="connsiteX146" fmla="*/ 6757 w 10000"/>
              <a:gd name="connsiteY146" fmla="*/ 4609 h 10000"/>
              <a:gd name="connsiteX147" fmla="*/ 6965 w 10000"/>
              <a:gd name="connsiteY147" fmla="*/ 4555 h 10000"/>
              <a:gd name="connsiteX148" fmla="*/ 7235 w 10000"/>
              <a:gd name="connsiteY148" fmla="*/ 4532 h 10000"/>
              <a:gd name="connsiteX149" fmla="*/ 7455 w 10000"/>
              <a:gd name="connsiteY149" fmla="*/ 4444 h 10000"/>
              <a:gd name="connsiteX150" fmla="*/ 7674 w 10000"/>
              <a:gd name="connsiteY150" fmla="*/ 4402 h 10000"/>
              <a:gd name="connsiteX151" fmla="*/ 8082 w 10000"/>
              <a:gd name="connsiteY151" fmla="*/ 4247 h 10000"/>
              <a:gd name="connsiteX152" fmla="*/ 8157 w 10000"/>
              <a:gd name="connsiteY152" fmla="*/ 4147 h 10000"/>
              <a:gd name="connsiteX153" fmla="*/ 8165 w 10000"/>
              <a:gd name="connsiteY153" fmla="*/ 4017 h 10000"/>
              <a:gd name="connsiteX154" fmla="*/ 7978 w 10000"/>
              <a:gd name="connsiteY154" fmla="*/ 3995 h 10000"/>
              <a:gd name="connsiteX155" fmla="*/ 8058 w 10000"/>
              <a:gd name="connsiteY155" fmla="*/ 3915 h 10000"/>
              <a:gd name="connsiteX156" fmla="*/ 8087 w 10000"/>
              <a:gd name="connsiteY156" fmla="*/ 3815 h 10000"/>
              <a:gd name="connsiteX157" fmla="*/ 8007 w 10000"/>
              <a:gd name="connsiteY157" fmla="*/ 3721 h 10000"/>
              <a:gd name="connsiteX158" fmla="*/ 4200 w 10000"/>
              <a:gd name="connsiteY158" fmla="*/ 0 h 10000"/>
              <a:gd name="connsiteX159" fmla="*/ 3760 w 10000"/>
              <a:gd name="connsiteY159" fmla="*/ 38 h 10000"/>
              <a:gd name="connsiteX160" fmla="*/ 3405 w 10000"/>
              <a:gd name="connsiteY160" fmla="*/ 121 h 10000"/>
              <a:gd name="connsiteX161" fmla="*/ 2832 w 10000"/>
              <a:gd name="connsiteY161" fmla="*/ 382 h 10000"/>
              <a:gd name="connsiteX162" fmla="*/ 2528 w 10000"/>
              <a:gd name="connsiteY162" fmla="*/ 697 h 10000"/>
              <a:gd name="connsiteX163" fmla="*/ 2555 w 10000"/>
              <a:gd name="connsiteY163" fmla="*/ 873 h 10000"/>
              <a:gd name="connsiteX164" fmla="*/ 2661 w 10000"/>
              <a:gd name="connsiteY164" fmla="*/ 1006 h 10000"/>
              <a:gd name="connsiteX165" fmla="*/ 2741 w 10000"/>
              <a:gd name="connsiteY165" fmla="*/ 1062 h 10000"/>
              <a:gd name="connsiteX166" fmla="*/ 2592 w 10000"/>
              <a:gd name="connsiteY166" fmla="*/ 1149 h 10000"/>
              <a:gd name="connsiteX167" fmla="*/ 2267 w 10000"/>
              <a:gd name="connsiteY167" fmla="*/ 1741 h 10000"/>
              <a:gd name="connsiteX168" fmla="*/ 2330 w 10000"/>
              <a:gd name="connsiteY168" fmla="*/ 1774 h 10000"/>
              <a:gd name="connsiteX169" fmla="*/ 2375 w 10000"/>
              <a:gd name="connsiteY169" fmla="*/ 1927 h 10000"/>
              <a:gd name="connsiteX170" fmla="*/ 2226 w 10000"/>
              <a:gd name="connsiteY170" fmla="*/ 2550 h 10000"/>
              <a:gd name="connsiteX171" fmla="*/ 2375 w 10000"/>
              <a:gd name="connsiteY171" fmla="*/ 2708 h 10000"/>
              <a:gd name="connsiteX172" fmla="*/ 2791 w 10000"/>
              <a:gd name="connsiteY172" fmla="*/ 2883 h 10000"/>
              <a:gd name="connsiteX173" fmla="*/ 2808 w 10000"/>
              <a:gd name="connsiteY173" fmla="*/ 3094 h 10000"/>
              <a:gd name="connsiteX174" fmla="*/ 2632 w 10000"/>
              <a:gd name="connsiteY174" fmla="*/ 3271 h 10000"/>
              <a:gd name="connsiteX175" fmla="*/ 2375 w 10000"/>
              <a:gd name="connsiteY175" fmla="*/ 3378 h 10000"/>
              <a:gd name="connsiteX176" fmla="*/ 2039 w 10000"/>
              <a:gd name="connsiteY176" fmla="*/ 3421 h 10000"/>
              <a:gd name="connsiteX177" fmla="*/ 1950 w 10000"/>
              <a:gd name="connsiteY177" fmla="*/ 3484 h 10000"/>
              <a:gd name="connsiteX178" fmla="*/ 2148 w 10000"/>
              <a:gd name="connsiteY178" fmla="*/ 3630 h 10000"/>
              <a:gd name="connsiteX179" fmla="*/ 2261 w 10000"/>
              <a:gd name="connsiteY179" fmla="*/ 3978 h 10000"/>
              <a:gd name="connsiteX180" fmla="*/ 2005 w 10000"/>
              <a:gd name="connsiteY180" fmla="*/ 4276 h 10000"/>
              <a:gd name="connsiteX181" fmla="*/ 2094 w 10000"/>
              <a:gd name="connsiteY181" fmla="*/ 4366 h 10000"/>
              <a:gd name="connsiteX182" fmla="*/ 2012 w 10000"/>
              <a:gd name="connsiteY182" fmla="*/ 4522 h 10000"/>
              <a:gd name="connsiteX183" fmla="*/ 1850 w 10000"/>
              <a:gd name="connsiteY183" fmla="*/ 4630 h 10000"/>
              <a:gd name="connsiteX184" fmla="*/ 1199 w 10000"/>
              <a:gd name="connsiteY184" fmla="*/ 4712 h 10000"/>
              <a:gd name="connsiteX185" fmla="*/ 1158 w 10000"/>
              <a:gd name="connsiteY185" fmla="*/ 4857 h 10000"/>
              <a:gd name="connsiteX186" fmla="*/ 808 w 10000"/>
              <a:gd name="connsiteY186" fmla="*/ 5070 h 10000"/>
              <a:gd name="connsiteX187" fmla="*/ 854 w 10000"/>
              <a:gd name="connsiteY187" fmla="*/ 5379 h 10000"/>
              <a:gd name="connsiteX188" fmla="*/ 560 w 10000"/>
              <a:gd name="connsiteY188" fmla="*/ 5774 h 10000"/>
              <a:gd name="connsiteX189" fmla="*/ 358 w 10000"/>
              <a:gd name="connsiteY189" fmla="*/ 5820 h 10000"/>
              <a:gd name="connsiteX190" fmla="*/ 275 w 10000"/>
              <a:gd name="connsiteY190" fmla="*/ 5726 h 10000"/>
              <a:gd name="connsiteX191" fmla="*/ 174 w 10000"/>
              <a:gd name="connsiteY191" fmla="*/ 5868 h 10000"/>
              <a:gd name="connsiteX192" fmla="*/ 239 w 10000"/>
              <a:gd name="connsiteY192" fmla="*/ 5623 h 10000"/>
              <a:gd name="connsiteX193" fmla="*/ 197 w 10000"/>
              <a:gd name="connsiteY193" fmla="*/ 5577 h 10000"/>
              <a:gd name="connsiteX0" fmla="*/ 197 w 10000"/>
              <a:gd name="connsiteY0" fmla="*/ 5539 h 9962"/>
              <a:gd name="connsiteX1" fmla="*/ 0 w 10000"/>
              <a:gd name="connsiteY1" fmla="*/ 5666 h 9962"/>
              <a:gd name="connsiteX2" fmla="*/ 0 w 10000"/>
              <a:gd name="connsiteY2" fmla="*/ 6296 h 9962"/>
              <a:gd name="connsiteX3" fmla="*/ 109 w 10000"/>
              <a:gd name="connsiteY3" fmla="*/ 6313 h 9962"/>
              <a:gd name="connsiteX4" fmla="*/ 134 w 10000"/>
              <a:gd name="connsiteY4" fmla="*/ 6362 h 9962"/>
              <a:gd name="connsiteX5" fmla="*/ 130 w 10000"/>
              <a:gd name="connsiteY5" fmla="*/ 6447 h 9962"/>
              <a:gd name="connsiteX6" fmla="*/ 89 w 10000"/>
              <a:gd name="connsiteY6" fmla="*/ 6485 h 9962"/>
              <a:gd name="connsiteX7" fmla="*/ 255 w 10000"/>
              <a:gd name="connsiteY7" fmla="*/ 6412 h 9962"/>
              <a:gd name="connsiteX8" fmla="*/ 325 w 10000"/>
              <a:gd name="connsiteY8" fmla="*/ 6341 h 9962"/>
              <a:gd name="connsiteX9" fmla="*/ 413 w 10000"/>
              <a:gd name="connsiteY9" fmla="*/ 6389 h 9962"/>
              <a:gd name="connsiteX10" fmla="*/ 316 w 10000"/>
              <a:gd name="connsiteY10" fmla="*/ 6493 h 9962"/>
              <a:gd name="connsiteX11" fmla="*/ 419 w 10000"/>
              <a:gd name="connsiteY11" fmla="*/ 6495 h 9962"/>
              <a:gd name="connsiteX12" fmla="*/ 469 w 10000"/>
              <a:gd name="connsiteY12" fmla="*/ 6521 h 9962"/>
              <a:gd name="connsiteX13" fmla="*/ 337 w 10000"/>
              <a:gd name="connsiteY13" fmla="*/ 6554 h 9962"/>
              <a:gd name="connsiteX14" fmla="*/ 130 w 10000"/>
              <a:gd name="connsiteY14" fmla="*/ 6660 h 9962"/>
              <a:gd name="connsiteX15" fmla="*/ 497 w 10000"/>
              <a:gd name="connsiteY15" fmla="*/ 6743 h 9962"/>
              <a:gd name="connsiteX16" fmla="*/ 545 w 10000"/>
              <a:gd name="connsiteY16" fmla="*/ 6861 h 9962"/>
              <a:gd name="connsiteX17" fmla="*/ 419 w 10000"/>
              <a:gd name="connsiteY17" fmla="*/ 7034 h 9962"/>
              <a:gd name="connsiteX18" fmla="*/ 688 w 10000"/>
              <a:gd name="connsiteY18" fmla="*/ 7024 h 9962"/>
              <a:gd name="connsiteX19" fmla="*/ 709 w 10000"/>
              <a:gd name="connsiteY19" fmla="*/ 7154 h 9962"/>
              <a:gd name="connsiteX20" fmla="*/ 530 w 10000"/>
              <a:gd name="connsiteY20" fmla="*/ 7245 h 9962"/>
              <a:gd name="connsiteX21" fmla="*/ 560 w 10000"/>
              <a:gd name="connsiteY21" fmla="*/ 7416 h 9962"/>
              <a:gd name="connsiteX22" fmla="*/ 489 w 10000"/>
              <a:gd name="connsiteY22" fmla="*/ 7551 h 9962"/>
              <a:gd name="connsiteX23" fmla="*/ 703 w 10000"/>
              <a:gd name="connsiteY23" fmla="*/ 7564 h 9962"/>
              <a:gd name="connsiteX24" fmla="*/ 909 w 10000"/>
              <a:gd name="connsiteY24" fmla="*/ 8079 h 9962"/>
              <a:gd name="connsiteX25" fmla="*/ 1150 w 10000"/>
              <a:gd name="connsiteY25" fmla="*/ 8207 h 9962"/>
              <a:gd name="connsiteX26" fmla="*/ 1255 w 10000"/>
              <a:gd name="connsiteY26" fmla="*/ 8347 h 9962"/>
              <a:gd name="connsiteX27" fmla="*/ 1514 w 10000"/>
              <a:gd name="connsiteY27" fmla="*/ 8447 h 9962"/>
              <a:gd name="connsiteX28" fmla="*/ 1684 w 10000"/>
              <a:gd name="connsiteY28" fmla="*/ 8577 h 9962"/>
              <a:gd name="connsiteX29" fmla="*/ 1661 w 10000"/>
              <a:gd name="connsiteY29" fmla="*/ 8670 h 9962"/>
              <a:gd name="connsiteX30" fmla="*/ 1496 w 10000"/>
              <a:gd name="connsiteY30" fmla="*/ 8704 h 9962"/>
              <a:gd name="connsiteX31" fmla="*/ 1316 w 10000"/>
              <a:gd name="connsiteY31" fmla="*/ 8682 h 9962"/>
              <a:gd name="connsiteX32" fmla="*/ 1260 w 10000"/>
              <a:gd name="connsiteY32" fmla="*/ 8719 h 9962"/>
              <a:gd name="connsiteX33" fmla="*/ 1397 w 10000"/>
              <a:gd name="connsiteY33" fmla="*/ 8919 h 9962"/>
              <a:gd name="connsiteX34" fmla="*/ 1205 w 10000"/>
              <a:gd name="connsiteY34" fmla="*/ 8902 h 9962"/>
              <a:gd name="connsiteX35" fmla="*/ 1040 w 10000"/>
              <a:gd name="connsiteY35" fmla="*/ 8853 h 9962"/>
              <a:gd name="connsiteX36" fmla="*/ 1012 w 10000"/>
              <a:gd name="connsiteY36" fmla="*/ 8928 h 9962"/>
              <a:gd name="connsiteX37" fmla="*/ 1557 w 10000"/>
              <a:gd name="connsiteY37" fmla="*/ 9613 h 9962"/>
              <a:gd name="connsiteX38" fmla="*/ 1469 w 10000"/>
              <a:gd name="connsiteY38" fmla="*/ 9677 h 9962"/>
              <a:gd name="connsiteX39" fmla="*/ 1408 w 10000"/>
              <a:gd name="connsiteY39" fmla="*/ 9809 h 9962"/>
              <a:gd name="connsiteX40" fmla="*/ 1329 w 10000"/>
              <a:gd name="connsiteY40" fmla="*/ 9819 h 9962"/>
              <a:gd name="connsiteX41" fmla="*/ 1281 w 10000"/>
              <a:gd name="connsiteY41" fmla="*/ 9877 h 9962"/>
              <a:gd name="connsiteX42" fmla="*/ 1609 w 10000"/>
              <a:gd name="connsiteY42" fmla="*/ 9882 h 9962"/>
              <a:gd name="connsiteX43" fmla="*/ 1900 w 10000"/>
              <a:gd name="connsiteY43" fmla="*/ 9939 h 9962"/>
              <a:gd name="connsiteX44" fmla="*/ 2383 w 10000"/>
              <a:gd name="connsiteY44" fmla="*/ 9879 h 9962"/>
              <a:gd name="connsiteX45" fmla="*/ 2816 w 10000"/>
              <a:gd name="connsiteY45" fmla="*/ 9891 h 9962"/>
              <a:gd name="connsiteX46" fmla="*/ 3072 w 10000"/>
              <a:gd name="connsiteY46" fmla="*/ 9962 h 9962"/>
              <a:gd name="connsiteX47" fmla="*/ 3212 w 10000"/>
              <a:gd name="connsiteY47" fmla="*/ 9914 h 9962"/>
              <a:gd name="connsiteX48" fmla="*/ 3348 w 10000"/>
              <a:gd name="connsiteY48" fmla="*/ 9756 h 9962"/>
              <a:gd name="connsiteX49" fmla="*/ 3313 w 10000"/>
              <a:gd name="connsiteY49" fmla="*/ 9496 h 9962"/>
              <a:gd name="connsiteX50" fmla="*/ 3642 w 10000"/>
              <a:gd name="connsiteY50" fmla="*/ 9209 h 9962"/>
              <a:gd name="connsiteX51" fmla="*/ 3883 w 10000"/>
              <a:gd name="connsiteY51" fmla="*/ 9255 h 9962"/>
              <a:gd name="connsiteX52" fmla="*/ 4025 w 10000"/>
              <a:gd name="connsiteY52" fmla="*/ 9140 h 9962"/>
              <a:gd name="connsiteX53" fmla="*/ 4294 w 10000"/>
              <a:gd name="connsiteY53" fmla="*/ 9073 h 9962"/>
              <a:gd name="connsiteX54" fmla="*/ 4658 w 10000"/>
              <a:gd name="connsiteY54" fmla="*/ 9089 h 9962"/>
              <a:gd name="connsiteX55" fmla="*/ 4878 w 10000"/>
              <a:gd name="connsiteY55" fmla="*/ 9134 h 9962"/>
              <a:gd name="connsiteX56" fmla="*/ 5170 w 10000"/>
              <a:gd name="connsiteY56" fmla="*/ 9115 h 9962"/>
              <a:gd name="connsiteX57" fmla="*/ 5464 w 10000"/>
              <a:gd name="connsiteY57" fmla="*/ 9164 h 9962"/>
              <a:gd name="connsiteX58" fmla="*/ 5759 w 10000"/>
              <a:gd name="connsiteY58" fmla="*/ 9171 h 9962"/>
              <a:gd name="connsiteX59" fmla="*/ 6419 w 10000"/>
              <a:gd name="connsiteY59" fmla="*/ 8498 h 9962"/>
              <a:gd name="connsiteX60" fmla="*/ 6586 w 10000"/>
              <a:gd name="connsiteY60" fmla="*/ 7948 h 9962"/>
              <a:gd name="connsiteX61" fmla="*/ 6855 w 10000"/>
              <a:gd name="connsiteY61" fmla="*/ 7705 h 9962"/>
              <a:gd name="connsiteX62" fmla="*/ 6855 w 10000"/>
              <a:gd name="connsiteY62" fmla="*/ 7575 h 9962"/>
              <a:gd name="connsiteX63" fmla="*/ 6757 w 10000"/>
              <a:gd name="connsiteY63" fmla="*/ 7504 h 9962"/>
              <a:gd name="connsiteX64" fmla="*/ 6915 w 10000"/>
              <a:gd name="connsiteY64" fmla="*/ 7388 h 9962"/>
              <a:gd name="connsiteX65" fmla="*/ 6887 w 10000"/>
              <a:gd name="connsiteY65" fmla="*/ 7292 h 9962"/>
              <a:gd name="connsiteX66" fmla="*/ 6779 w 10000"/>
              <a:gd name="connsiteY66" fmla="*/ 7210 h 9962"/>
              <a:gd name="connsiteX67" fmla="*/ 6757 w 10000"/>
              <a:gd name="connsiteY67" fmla="*/ 7148 h 9962"/>
              <a:gd name="connsiteX68" fmla="*/ 6785 w 10000"/>
              <a:gd name="connsiteY68" fmla="*/ 7102 h 9962"/>
              <a:gd name="connsiteX69" fmla="*/ 6931 w 10000"/>
              <a:gd name="connsiteY69" fmla="*/ 7139 h 9962"/>
              <a:gd name="connsiteX70" fmla="*/ 7045 w 10000"/>
              <a:gd name="connsiteY70" fmla="*/ 7137 h 9962"/>
              <a:gd name="connsiteX71" fmla="*/ 6983 w 10000"/>
              <a:gd name="connsiteY71" fmla="*/ 7059 h 9962"/>
              <a:gd name="connsiteX72" fmla="*/ 7003 w 10000"/>
              <a:gd name="connsiteY72" fmla="*/ 7012 h 9962"/>
              <a:gd name="connsiteX73" fmla="*/ 7089 w 10000"/>
              <a:gd name="connsiteY73" fmla="*/ 6947 h 9962"/>
              <a:gd name="connsiteX74" fmla="*/ 7074 w 10000"/>
              <a:gd name="connsiteY74" fmla="*/ 6893 h 9962"/>
              <a:gd name="connsiteX75" fmla="*/ 7152 w 10000"/>
              <a:gd name="connsiteY75" fmla="*/ 6709 h 9962"/>
              <a:gd name="connsiteX76" fmla="*/ 7130 w 10000"/>
              <a:gd name="connsiteY76" fmla="*/ 6654 h 9962"/>
              <a:gd name="connsiteX77" fmla="*/ 6729 w 10000"/>
              <a:gd name="connsiteY77" fmla="*/ 6514 h 9962"/>
              <a:gd name="connsiteX78" fmla="*/ 6785 w 10000"/>
              <a:gd name="connsiteY78" fmla="*/ 6509 h 9962"/>
              <a:gd name="connsiteX79" fmla="*/ 6998 w 10000"/>
              <a:gd name="connsiteY79" fmla="*/ 6545 h 9962"/>
              <a:gd name="connsiteX80" fmla="*/ 7230 w 10000"/>
              <a:gd name="connsiteY80" fmla="*/ 6532 h 9962"/>
              <a:gd name="connsiteX81" fmla="*/ 7295 w 10000"/>
              <a:gd name="connsiteY81" fmla="*/ 6481 h 9962"/>
              <a:gd name="connsiteX82" fmla="*/ 7074 w 10000"/>
              <a:gd name="connsiteY82" fmla="*/ 6387 h 9962"/>
              <a:gd name="connsiteX83" fmla="*/ 6414 w 10000"/>
              <a:gd name="connsiteY83" fmla="*/ 6325 h 9962"/>
              <a:gd name="connsiteX84" fmla="*/ 6458 w 10000"/>
              <a:gd name="connsiteY84" fmla="*/ 6296 h 9962"/>
              <a:gd name="connsiteX85" fmla="*/ 6998 w 10000"/>
              <a:gd name="connsiteY85" fmla="*/ 6276 h 9962"/>
              <a:gd name="connsiteX86" fmla="*/ 7295 w 10000"/>
              <a:gd name="connsiteY86" fmla="*/ 6334 h 9962"/>
              <a:gd name="connsiteX87" fmla="*/ 7466 w 10000"/>
              <a:gd name="connsiteY87" fmla="*/ 6296 h 9962"/>
              <a:gd name="connsiteX88" fmla="*/ 7529 w 10000"/>
              <a:gd name="connsiteY88" fmla="*/ 6197 h 9962"/>
              <a:gd name="connsiteX89" fmla="*/ 7840 w 10000"/>
              <a:gd name="connsiteY89" fmla="*/ 6197 h 9962"/>
              <a:gd name="connsiteX90" fmla="*/ 8261 w 10000"/>
              <a:gd name="connsiteY90" fmla="*/ 6000 h 9962"/>
              <a:gd name="connsiteX91" fmla="*/ 8275 w 10000"/>
              <a:gd name="connsiteY91" fmla="*/ 5868 h 9962"/>
              <a:gd name="connsiteX92" fmla="*/ 8453 w 10000"/>
              <a:gd name="connsiteY92" fmla="*/ 5898 h 9962"/>
              <a:gd name="connsiteX93" fmla="*/ 8446 w 10000"/>
              <a:gd name="connsiteY93" fmla="*/ 6030 h 9962"/>
              <a:gd name="connsiteX94" fmla="*/ 8727 w 10000"/>
              <a:gd name="connsiteY94" fmla="*/ 6021 h 9962"/>
              <a:gd name="connsiteX95" fmla="*/ 8913 w 10000"/>
              <a:gd name="connsiteY95" fmla="*/ 5884 h 9962"/>
              <a:gd name="connsiteX96" fmla="*/ 9258 w 10000"/>
              <a:gd name="connsiteY96" fmla="*/ 5760 h 9962"/>
              <a:gd name="connsiteX97" fmla="*/ 9203 w 10000"/>
              <a:gd name="connsiteY97" fmla="*/ 5620 h 9962"/>
              <a:gd name="connsiteX98" fmla="*/ 9306 w 10000"/>
              <a:gd name="connsiteY98" fmla="*/ 5675 h 9962"/>
              <a:gd name="connsiteX99" fmla="*/ 9464 w 10000"/>
              <a:gd name="connsiteY99" fmla="*/ 5675 h 9962"/>
              <a:gd name="connsiteX100" fmla="*/ 9464 w 10000"/>
              <a:gd name="connsiteY100" fmla="*/ 5610 h 9962"/>
              <a:gd name="connsiteX101" fmla="*/ 9611 w 10000"/>
              <a:gd name="connsiteY101" fmla="*/ 5562 h 9962"/>
              <a:gd name="connsiteX102" fmla="*/ 9592 w 10000"/>
              <a:gd name="connsiteY102" fmla="*/ 5511 h 9962"/>
              <a:gd name="connsiteX103" fmla="*/ 8350 w 10000"/>
              <a:gd name="connsiteY103" fmla="*/ 5612 h 9962"/>
              <a:gd name="connsiteX104" fmla="*/ 8058 w 10000"/>
              <a:gd name="connsiteY104" fmla="*/ 5583 h 9962"/>
              <a:gd name="connsiteX105" fmla="*/ 7942 w 10000"/>
              <a:gd name="connsiteY105" fmla="*/ 5620 h 9962"/>
              <a:gd name="connsiteX106" fmla="*/ 7903 w 10000"/>
              <a:gd name="connsiteY106" fmla="*/ 5548 h 9962"/>
              <a:gd name="connsiteX107" fmla="*/ 7765 w 10000"/>
              <a:gd name="connsiteY107" fmla="*/ 5486 h 9962"/>
              <a:gd name="connsiteX108" fmla="*/ 7213 w 10000"/>
              <a:gd name="connsiteY108" fmla="*/ 5358 h 9962"/>
              <a:gd name="connsiteX109" fmla="*/ 6887 w 10000"/>
              <a:gd name="connsiteY109" fmla="*/ 5379 h 9962"/>
              <a:gd name="connsiteX110" fmla="*/ 6757 w 10000"/>
              <a:gd name="connsiteY110" fmla="*/ 5343 h 9962"/>
              <a:gd name="connsiteX111" fmla="*/ 6894 w 10000"/>
              <a:gd name="connsiteY111" fmla="*/ 5312 h 9962"/>
              <a:gd name="connsiteX112" fmla="*/ 6998 w 10000"/>
              <a:gd name="connsiteY112" fmla="*/ 5244 h 9962"/>
              <a:gd name="connsiteX113" fmla="*/ 7152 w 10000"/>
              <a:gd name="connsiteY113" fmla="*/ 5265 h 9962"/>
              <a:gd name="connsiteX114" fmla="*/ 7335 w 10000"/>
              <a:gd name="connsiteY114" fmla="*/ 5248 h 9962"/>
              <a:gd name="connsiteX115" fmla="*/ 7611 w 10000"/>
              <a:gd name="connsiteY115" fmla="*/ 5270 h 9962"/>
              <a:gd name="connsiteX116" fmla="*/ 7645 w 10000"/>
              <a:gd name="connsiteY116" fmla="*/ 5261 h 9962"/>
              <a:gd name="connsiteX117" fmla="*/ 7859 w 10000"/>
              <a:gd name="connsiteY117" fmla="*/ 5365 h 9962"/>
              <a:gd name="connsiteX118" fmla="*/ 8017 w 10000"/>
              <a:gd name="connsiteY118" fmla="*/ 5326 h 9962"/>
              <a:gd name="connsiteX119" fmla="*/ 8032 w 10000"/>
              <a:gd name="connsiteY119" fmla="*/ 5291 h 9962"/>
              <a:gd name="connsiteX120" fmla="*/ 8176 w 10000"/>
              <a:gd name="connsiteY120" fmla="*/ 5353 h 9962"/>
              <a:gd name="connsiteX121" fmla="*/ 8369 w 10000"/>
              <a:gd name="connsiteY121" fmla="*/ 5385 h 9962"/>
              <a:gd name="connsiteX122" fmla="*/ 8446 w 10000"/>
              <a:gd name="connsiteY122" fmla="*/ 5324 h 9962"/>
              <a:gd name="connsiteX123" fmla="*/ 8507 w 10000"/>
              <a:gd name="connsiteY123" fmla="*/ 5358 h 9962"/>
              <a:gd name="connsiteX124" fmla="*/ 8596 w 10000"/>
              <a:gd name="connsiteY124" fmla="*/ 5478 h 9962"/>
              <a:gd name="connsiteX125" fmla="*/ 8782 w 10000"/>
              <a:gd name="connsiteY125" fmla="*/ 5504 h 9962"/>
              <a:gd name="connsiteX126" fmla="*/ 9542 w 10000"/>
              <a:gd name="connsiteY126" fmla="*/ 5330 h 9962"/>
              <a:gd name="connsiteX127" fmla="*/ 9914 w 10000"/>
              <a:gd name="connsiteY127" fmla="*/ 5088 h 9962"/>
              <a:gd name="connsiteX128" fmla="*/ 10000 w 10000"/>
              <a:gd name="connsiteY128" fmla="*/ 4911 h 9962"/>
              <a:gd name="connsiteX129" fmla="*/ 9866 w 10000"/>
              <a:gd name="connsiteY129" fmla="*/ 4752 h 9962"/>
              <a:gd name="connsiteX130" fmla="*/ 9582 w 10000"/>
              <a:gd name="connsiteY130" fmla="*/ 4656 h 9962"/>
              <a:gd name="connsiteX131" fmla="*/ 9382 w 10000"/>
              <a:gd name="connsiteY131" fmla="*/ 4499 h 9962"/>
              <a:gd name="connsiteX132" fmla="*/ 9569 w 10000"/>
              <a:gd name="connsiteY132" fmla="*/ 4494 h 9962"/>
              <a:gd name="connsiteX133" fmla="*/ 9555 w 10000"/>
              <a:gd name="connsiteY133" fmla="*/ 4456 h 9962"/>
              <a:gd name="connsiteX134" fmla="*/ 9068 w 10000"/>
              <a:gd name="connsiteY134" fmla="*/ 4347 h 9962"/>
              <a:gd name="connsiteX135" fmla="*/ 9047 w 10000"/>
              <a:gd name="connsiteY135" fmla="*/ 4246 h 9962"/>
              <a:gd name="connsiteX136" fmla="*/ 8953 w 10000"/>
              <a:gd name="connsiteY136" fmla="*/ 4140 h 9962"/>
              <a:gd name="connsiteX137" fmla="*/ 8569 w 10000"/>
              <a:gd name="connsiteY137" fmla="*/ 4160 h 9962"/>
              <a:gd name="connsiteX138" fmla="*/ 8431 w 10000"/>
              <a:gd name="connsiteY138" fmla="*/ 4047 h 9962"/>
              <a:gd name="connsiteX139" fmla="*/ 8350 w 10000"/>
              <a:gd name="connsiteY139" fmla="*/ 4041 h 9962"/>
              <a:gd name="connsiteX140" fmla="*/ 8350 w 10000"/>
              <a:gd name="connsiteY140" fmla="*/ 4089 h 9962"/>
              <a:gd name="connsiteX141" fmla="*/ 8176 w 10000"/>
              <a:gd name="connsiteY141" fmla="*/ 4278 h 9962"/>
              <a:gd name="connsiteX142" fmla="*/ 7990 w 10000"/>
              <a:gd name="connsiteY142" fmla="*/ 4388 h 9962"/>
              <a:gd name="connsiteX143" fmla="*/ 7401 w 10000"/>
              <a:gd name="connsiteY143" fmla="*/ 4577 h 9962"/>
              <a:gd name="connsiteX144" fmla="*/ 7198 w 10000"/>
              <a:gd name="connsiteY144" fmla="*/ 4571 h 9962"/>
              <a:gd name="connsiteX145" fmla="*/ 6915 w 10000"/>
              <a:gd name="connsiteY145" fmla="*/ 4600 h 9962"/>
              <a:gd name="connsiteX146" fmla="*/ 6757 w 10000"/>
              <a:gd name="connsiteY146" fmla="*/ 4571 h 9962"/>
              <a:gd name="connsiteX147" fmla="*/ 6965 w 10000"/>
              <a:gd name="connsiteY147" fmla="*/ 4517 h 9962"/>
              <a:gd name="connsiteX148" fmla="*/ 7235 w 10000"/>
              <a:gd name="connsiteY148" fmla="*/ 4494 h 9962"/>
              <a:gd name="connsiteX149" fmla="*/ 7455 w 10000"/>
              <a:gd name="connsiteY149" fmla="*/ 4406 h 9962"/>
              <a:gd name="connsiteX150" fmla="*/ 7674 w 10000"/>
              <a:gd name="connsiteY150" fmla="*/ 4364 h 9962"/>
              <a:gd name="connsiteX151" fmla="*/ 8082 w 10000"/>
              <a:gd name="connsiteY151" fmla="*/ 4209 h 9962"/>
              <a:gd name="connsiteX152" fmla="*/ 8157 w 10000"/>
              <a:gd name="connsiteY152" fmla="*/ 4109 h 9962"/>
              <a:gd name="connsiteX153" fmla="*/ 8165 w 10000"/>
              <a:gd name="connsiteY153" fmla="*/ 3979 h 9962"/>
              <a:gd name="connsiteX154" fmla="*/ 7978 w 10000"/>
              <a:gd name="connsiteY154" fmla="*/ 3957 h 9962"/>
              <a:gd name="connsiteX155" fmla="*/ 8058 w 10000"/>
              <a:gd name="connsiteY155" fmla="*/ 3877 h 9962"/>
              <a:gd name="connsiteX156" fmla="*/ 8087 w 10000"/>
              <a:gd name="connsiteY156" fmla="*/ 3777 h 9962"/>
              <a:gd name="connsiteX157" fmla="*/ 8007 w 10000"/>
              <a:gd name="connsiteY157" fmla="*/ 3683 h 9962"/>
              <a:gd name="connsiteX158" fmla="*/ 3760 w 10000"/>
              <a:gd name="connsiteY158" fmla="*/ 0 h 9962"/>
              <a:gd name="connsiteX159" fmla="*/ 3405 w 10000"/>
              <a:gd name="connsiteY159" fmla="*/ 83 h 9962"/>
              <a:gd name="connsiteX160" fmla="*/ 2832 w 10000"/>
              <a:gd name="connsiteY160" fmla="*/ 344 h 9962"/>
              <a:gd name="connsiteX161" fmla="*/ 2528 w 10000"/>
              <a:gd name="connsiteY161" fmla="*/ 659 h 9962"/>
              <a:gd name="connsiteX162" fmla="*/ 2555 w 10000"/>
              <a:gd name="connsiteY162" fmla="*/ 835 h 9962"/>
              <a:gd name="connsiteX163" fmla="*/ 2661 w 10000"/>
              <a:gd name="connsiteY163" fmla="*/ 968 h 9962"/>
              <a:gd name="connsiteX164" fmla="*/ 2741 w 10000"/>
              <a:gd name="connsiteY164" fmla="*/ 1024 h 9962"/>
              <a:gd name="connsiteX165" fmla="*/ 2592 w 10000"/>
              <a:gd name="connsiteY165" fmla="*/ 1111 h 9962"/>
              <a:gd name="connsiteX166" fmla="*/ 2267 w 10000"/>
              <a:gd name="connsiteY166" fmla="*/ 1703 h 9962"/>
              <a:gd name="connsiteX167" fmla="*/ 2330 w 10000"/>
              <a:gd name="connsiteY167" fmla="*/ 1736 h 9962"/>
              <a:gd name="connsiteX168" fmla="*/ 2375 w 10000"/>
              <a:gd name="connsiteY168" fmla="*/ 1889 h 9962"/>
              <a:gd name="connsiteX169" fmla="*/ 2226 w 10000"/>
              <a:gd name="connsiteY169" fmla="*/ 2512 h 9962"/>
              <a:gd name="connsiteX170" fmla="*/ 2375 w 10000"/>
              <a:gd name="connsiteY170" fmla="*/ 2670 h 9962"/>
              <a:gd name="connsiteX171" fmla="*/ 2791 w 10000"/>
              <a:gd name="connsiteY171" fmla="*/ 2845 h 9962"/>
              <a:gd name="connsiteX172" fmla="*/ 2808 w 10000"/>
              <a:gd name="connsiteY172" fmla="*/ 3056 h 9962"/>
              <a:gd name="connsiteX173" fmla="*/ 2632 w 10000"/>
              <a:gd name="connsiteY173" fmla="*/ 3233 h 9962"/>
              <a:gd name="connsiteX174" fmla="*/ 2375 w 10000"/>
              <a:gd name="connsiteY174" fmla="*/ 3340 h 9962"/>
              <a:gd name="connsiteX175" fmla="*/ 2039 w 10000"/>
              <a:gd name="connsiteY175" fmla="*/ 3383 h 9962"/>
              <a:gd name="connsiteX176" fmla="*/ 1950 w 10000"/>
              <a:gd name="connsiteY176" fmla="*/ 3446 h 9962"/>
              <a:gd name="connsiteX177" fmla="*/ 2148 w 10000"/>
              <a:gd name="connsiteY177" fmla="*/ 3592 h 9962"/>
              <a:gd name="connsiteX178" fmla="*/ 2261 w 10000"/>
              <a:gd name="connsiteY178" fmla="*/ 3940 h 9962"/>
              <a:gd name="connsiteX179" fmla="*/ 2005 w 10000"/>
              <a:gd name="connsiteY179" fmla="*/ 4238 h 9962"/>
              <a:gd name="connsiteX180" fmla="*/ 2094 w 10000"/>
              <a:gd name="connsiteY180" fmla="*/ 4328 h 9962"/>
              <a:gd name="connsiteX181" fmla="*/ 2012 w 10000"/>
              <a:gd name="connsiteY181" fmla="*/ 4484 h 9962"/>
              <a:gd name="connsiteX182" fmla="*/ 1850 w 10000"/>
              <a:gd name="connsiteY182" fmla="*/ 4592 h 9962"/>
              <a:gd name="connsiteX183" fmla="*/ 1199 w 10000"/>
              <a:gd name="connsiteY183" fmla="*/ 4674 h 9962"/>
              <a:gd name="connsiteX184" fmla="*/ 1158 w 10000"/>
              <a:gd name="connsiteY184" fmla="*/ 4819 h 9962"/>
              <a:gd name="connsiteX185" fmla="*/ 808 w 10000"/>
              <a:gd name="connsiteY185" fmla="*/ 5032 h 9962"/>
              <a:gd name="connsiteX186" fmla="*/ 854 w 10000"/>
              <a:gd name="connsiteY186" fmla="*/ 5341 h 9962"/>
              <a:gd name="connsiteX187" fmla="*/ 560 w 10000"/>
              <a:gd name="connsiteY187" fmla="*/ 5736 h 9962"/>
              <a:gd name="connsiteX188" fmla="*/ 358 w 10000"/>
              <a:gd name="connsiteY188" fmla="*/ 5782 h 9962"/>
              <a:gd name="connsiteX189" fmla="*/ 275 w 10000"/>
              <a:gd name="connsiteY189" fmla="*/ 5688 h 9962"/>
              <a:gd name="connsiteX190" fmla="*/ 174 w 10000"/>
              <a:gd name="connsiteY190" fmla="*/ 5830 h 9962"/>
              <a:gd name="connsiteX191" fmla="*/ 239 w 10000"/>
              <a:gd name="connsiteY191" fmla="*/ 5585 h 9962"/>
              <a:gd name="connsiteX192" fmla="*/ 197 w 10000"/>
              <a:gd name="connsiteY192" fmla="*/ 5539 h 9962"/>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661 w 10000"/>
              <a:gd name="connsiteY163" fmla="*/ 972 h 10000"/>
              <a:gd name="connsiteX164" fmla="*/ 2741 w 10000"/>
              <a:gd name="connsiteY164" fmla="*/ 1028 h 10000"/>
              <a:gd name="connsiteX165" fmla="*/ 2592 w 10000"/>
              <a:gd name="connsiteY165" fmla="*/ 1115 h 10000"/>
              <a:gd name="connsiteX166" fmla="*/ 2267 w 10000"/>
              <a:gd name="connsiteY166" fmla="*/ 1709 h 10000"/>
              <a:gd name="connsiteX167" fmla="*/ 2375 w 10000"/>
              <a:gd name="connsiteY167" fmla="*/ 1896 h 10000"/>
              <a:gd name="connsiteX168" fmla="*/ 2226 w 10000"/>
              <a:gd name="connsiteY168" fmla="*/ 2522 h 10000"/>
              <a:gd name="connsiteX169" fmla="*/ 2375 w 10000"/>
              <a:gd name="connsiteY169" fmla="*/ 2680 h 10000"/>
              <a:gd name="connsiteX170" fmla="*/ 2791 w 10000"/>
              <a:gd name="connsiteY170" fmla="*/ 2856 h 10000"/>
              <a:gd name="connsiteX171" fmla="*/ 2808 w 10000"/>
              <a:gd name="connsiteY171" fmla="*/ 3068 h 10000"/>
              <a:gd name="connsiteX172" fmla="*/ 2632 w 10000"/>
              <a:gd name="connsiteY172" fmla="*/ 3245 h 10000"/>
              <a:gd name="connsiteX173" fmla="*/ 2375 w 10000"/>
              <a:gd name="connsiteY173" fmla="*/ 3353 h 10000"/>
              <a:gd name="connsiteX174" fmla="*/ 2039 w 10000"/>
              <a:gd name="connsiteY174" fmla="*/ 3396 h 10000"/>
              <a:gd name="connsiteX175" fmla="*/ 1950 w 10000"/>
              <a:gd name="connsiteY175" fmla="*/ 3459 h 10000"/>
              <a:gd name="connsiteX176" fmla="*/ 2148 w 10000"/>
              <a:gd name="connsiteY176" fmla="*/ 3606 h 10000"/>
              <a:gd name="connsiteX177" fmla="*/ 2261 w 10000"/>
              <a:gd name="connsiteY177" fmla="*/ 3955 h 10000"/>
              <a:gd name="connsiteX178" fmla="*/ 2005 w 10000"/>
              <a:gd name="connsiteY178" fmla="*/ 4254 h 10000"/>
              <a:gd name="connsiteX179" fmla="*/ 2094 w 10000"/>
              <a:gd name="connsiteY179" fmla="*/ 4345 h 10000"/>
              <a:gd name="connsiteX180" fmla="*/ 2012 w 10000"/>
              <a:gd name="connsiteY180" fmla="*/ 4501 h 10000"/>
              <a:gd name="connsiteX181" fmla="*/ 1850 w 10000"/>
              <a:gd name="connsiteY181" fmla="*/ 4610 h 10000"/>
              <a:gd name="connsiteX182" fmla="*/ 1199 w 10000"/>
              <a:gd name="connsiteY182" fmla="*/ 4692 h 10000"/>
              <a:gd name="connsiteX183" fmla="*/ 1158 w 10000"/>
              <a:gd name="connsiteY183" fmla="*/ 4837 h 10000"/>
              <a:gd name="connsiteX184" fmla="*/ 808 w 10000"/>
              <a:gd name="connsiteY184" fmla="*/ 5051 h 10000"/>
              <a:gd name="connsiteX185" fmla="*/ 854 w 10000"/>
              <a:gd name="connsiteY185" fmla="*/ 5361 h 10000"/>
              <a:gd name="connsiteX186" fmla="*/ 560 w 10000"/>
              <a:gd name="connsiteY186" fmla="*/ 5758 h 10000"/>
              <a:gd name="connsiteX187" fmla="*/ 358 w 10000"/>
              <a:gd name="connsiteY187" fmla="*/ 5804 h 10000"/>
              <a:gd name="connsiteX188" fmla="*/ 275 w 10000"/>
              <a:gd name="connsiteY188" fmla="*/ 5710 h 10000"/>
              <a:gd name="connsiteX189" fmla="*/ 174 w 10000"/>
              <a:gd name="connsiteY189" fmla="*/ 5852 h 10000"/>
              <a:gd name="connsiteX190" fmla="*/ 239 w 10000"/>
              <a:gd name="connsiteY190" fmla="*/ 5606 h 10000"/>
              <a:gd name="connsiteX191" fmla="*/ 197 w 10000"/>
              <a:gd name="connsiteY191"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661 w 10000"/>
              <a:gd name="connsiteY163" fmla="*/ 972 h 10000"/>
              <a:gd name="connsiteX164" fmla="*/ 2741 w 10000"/>
              <a:gd name="connsiteY164" fmla="*/ 1028 h 10000"/>
              <a:gd name="connsiteX165" fmla="*/ 2592 w 10000"/>
              <a:gd name="connsiteY165" fmla="*/ 1115 h 10000"/>
              <a:gd name="connsiteX166" fmla="*/ 2375 w 10000"/>
              <a:gd name="connsiteY166" fmla="*/ 1896 h 10000"/>
              <a:gd name="connsiteX167" fmla="*/ 2226 w 10000"/>
              <a:gd name="connsiteY167" fmla="*/ 2522 h 10000"/>
              <a:gd name="connsiteX168" fmla="*/ 2375 w 10000"/>
              <a:gd name="connsiteY168" fmla="*/ 2680 h 10000"/>
              <a:gd name="connsiteX169" fmla="*/ 2791 w 10000"/>
              <a:gd name="connsiteY169" fmla="*/ 2856 h 10000"/>
              <a:gd name="connsiteX170" fmla="*/ 2808 w 10000"/>
              <a:gd name="connsiteY170" fmla="*/ 3068 h 10000"/>
              <a:gd name="connsiteX171" fmla="*/ 2632 w 10000"/>
              <a:gd name="connsiteY171" fmla="*/ 3245 h 10000"/>
              <a:gd name="connsiteX172" fmla="*/ 2375 w 10000"/>
              <a:gd name="connsiteY172" fmla="*/ 3353 h 10000"/>
              <a:gd name="connsiteX173" fmla="*/ 2039 w 10000"/>
              <a:gd name="connsiteY173" fmla="*/ 3396 h 10000"/>
              <a:gd name="connsiteX174" fmla="*/ 1950 w 10000"/>
              <a:gd name="connsiteY174" fmla="*/ 3459 h 10000"/>
              <a:gd name="connsiteX175" fmla="*/ 2148 w 10000"/>
              <a:gd name="connsiteY175" fmla="*/ 3606 h 10000"/>
              <a:gd name="connsiteX176" fmla="*/ 2261 w 10000"/>
              <a:gd name="connsiteY176" fmla="*/ 3955 h 10000"/>
              <a:gd name="connsiteX177" fmla="*/ 2005 w 10000"/>
              <a:gd name="connsiteY177" fmla="*/ 4254 h 10000"/>
              <a:gd name="connsiteX178" fmla="*/ 2094 w 10000"/>
              <a:gd name="connsiteY178" fmla="*/ 4345 h 10000"/>
              <a:gd name="connsiteX179" fmla="*/ 2012 w 10000"/>
              <a:gd name="connsiteY179" fmla="*/ 4501 h 10000"/>
              <a:gd name="connsiteX180" fmla="*/ 1850 w 10000"/>
              <a:gd name="connsiteY180" fmla="*/ 4610 h 10000"/>
              <a:gd name="connsiteX181" fmla="*/ 1199 w 10000"/>
              <a:gd name="connsiteY181" fmla="*/ 4692 h 10000"/>
              <a:gd name="connsiteX182" fmla="*/ 1158 w 10000"/>
              <a:gd name="connsiteY182" fmla="*/ 4837 h 10000"/>
              <a:gd name="connsiteX183" fmla="*/ 808 w 10000"/>
              <a:gd name="connsiteY183" fmla="*/ 5051 h 10000"/>
              <a:gd name="connsiteX184" fmla="*/ 854 w 10000"/>
              <a:gd name="connsiteY184" fmla="*/ 5361 h 10000"/>
              <a:gd name="connsiteX185" fmla="*/ 560 w 10000"/>
              <a:gd name="connsiteY185" fmla="*/ 5758 h 10000"/>
              <a:gd name="connsiteX186" fmla="*/ 358 w 10000"/>
              <a:gd name="connsiteY186" fmla="*/ 5804 h 10000"/>
              <a:gd name="connsiteX187" fmla="*/ 275 w 10000"/>
              <a:gd name="connsiteY187" fmla="*/ 5710 h 10000"/>
              <a:gd name="connsiteX188" fmla="*/ 174 w 10000"/>
              <a:gd name="connsiteY188" fmla="*/ 5852 h 10000"/>
              <a:gd name="connsiteX189" fmla="*/ 239 w 10000"/>
              <a:gd name="connsiteY189" fmla="*/ 5606 h 10000"/>
              <a:gd name="connsiteX190" fmla="*/ 197 w 10000"/>
              <a:gd name="connsiteY190"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661 w 10000"/>
              <a:gd name="connsiteY163" fmla="*/ 972 h 10000"/>
              <a:gd name="connsiteX164" fmla="*/ 2741 w 10000"/>
              <a:gd name="connsiteY164" fmla="*/ 1028 h 10000"/>
              <a:gd name="connsiteX165" fmla="*/ 2375 w 10000"/>
              <a:gd name="connsiteY165" fmla="*/ 1896 h 10000"/>
              <a:gd name="connsiteX166" fmla="*/ 2226 w 10000"/>
              <a:gd name="connsiteY166" fmla="*/ 2522 h 10000"/>
              <a:gd name="connsiteX167" fmla="*/ 2375 w 10000"/>
              <a:gd name="connsiteY167" fmla="*/ 2680 h 10000"/>
              <a:gd name="connsiteX168" fmla="*/ 2791 w 10000"/>
              <a:gd name="connsiteY168" fmla="*/ 2856 h 10000"/>
              <a:gd name="connsiteX169" fmla="*/ 2808 w 10000"/>
              <a:gd name="connsiteY169" fmla="*/ 3068 h 10000"/>
              <a:gd name="connsiteX170" fmla="*/ 2632 w 10000"/>
              <a:gd name="connsiteY170" fmla="*/ 3245 h 10000"/>
              <a:gd name="connsiteX171" fmla="*/ 2375 w 10000"/>
              <a:gd name="connsiteY171" fmla="*/ 3353 h 10000"/>
              <a:gd name="connsiteX172" fmla="*/ 2039 w 10000"/>
              <a:gd name="connsiteY172" fmla="*/ 3396 h 10000"/>
              <a:gd name="connsiteX173" fmla="*/ 1950 w 10000"/>
              <a:gd name="connsiteY173" fmla="*/ 3459 h 10000"/>
              <a:gd name="connsiteX174" fmla="*/ 2148 w 10000"/>
              <a:gd name="connsiteY174" fmla="*/ 3606 h 10000"/>
              <a:gd name="connsiteX175" fmla="*/ 2261 w 10000"/>
              <a:gd name="connsiteY175" fmla="*/ 3955 h 10000"/>
              <a:gd name="connsiteX176" fmla="*/ 2005 w 10000"/>
              <a:gd name="connsiteY176" fmla="*/ 4254 h 10000"/>
              <a:gd name="connsiteX177" fmla="*/ 2094 w 10000"/>
              <a:gd name="connsiteY177" fmla="*/ 4345 h 10000"/>
              <a:gd name="connsiteX178" fmla="*/ 2012 w 10000"/>
              <a:gd name="connsiteY178" fmla="*/ 4501 h 10000"/>
              <a:gd name="connsiteX179" fmla="*/ 1850 w 10000"/>
              <a:gd name="connsiteY179" fmla="*/ 4610 h 10000"/>
              <a:gd name="connsiteX180" fmla="*/ 1199 w 10000"/>
              <a:gd name="connsiteY180" fmla="*/ 4692 h 10000"/>
              <a:gd name="connsiteX181" fmla="*/ 1158 w 10000"/>
              <a:gd name="connsiteY181" fmla="*/ 4837 h 10000"/>
              <a:gd name="connsiteX182" fmla="*/ 808 w 10000"/>
              <a:gd name="connsiteY182" fmla="*/ 5051 h 10000"/>
              <a:gd name="connsiteX183" fmla="*/ 854 w 10000"/>
              <a:gd name="connsiteY183" fmla="*/ 5361 h 10000"/>
              <a:gd name="connsiteX184" fmla="*/ 560 w 10000"/>
              <a:gd name="connsiteY184" fmla="*/ 5758 h 10000"/>
              <a:gd name="connsiteX185" fmla="*/ 358 w 10000"/>
              <a:gd name="connsiteY185" fmla="*/ 5804 h 10000"/>
              <a:gd name="connsiteX186" fmla="*/ 275 w 10000"/>
              <a:gd name="connsiteY186" fmla="*/ 5710 h 10000"/>
              <a:gd name="connsiteX187" fmla="*/ 174 w 10000"/>
              <a:gd name="connsiteY187" fmla="*/ 5852 h 10000"/>
              <a:gd name="connsiteX188" fmla="*/ 239 w 10000"/>
              <a:gd name="connsiteY188" fmla="*/ 5606 h 10000"/>
              <a:gd name="connsiteX189" fmla="*/ 197 w 10000"/>
              <a:gd name="connsiteY189"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661 w 10000"/>
              <a:gd name="connsiteY163" fmla="*/ 972 h 10000"/>
              <a:gd name="connsiteX164" fmla="*/ 2375 w 10000"/>
              <a:gd name="connsiteY164" fmla="*/ 1896 h 10000"/>
              <a:gd name="connsiteX165" fmla="*/ 2226 w 10000"/>
              <a:gd name="connsiteY165" fmla="*/ 2522 h 10000"/>
              <a:gd name="connsiteX166" fmla="*/ 2375 w 10000"/>
              <a:gd name="connsiteY166" fmla="*/ 2680 h 10000"/>
              <a:gd name="connsiteX167" fmla="*/ 2791 w 10000"/>
              <a:gd name="connsiteY167" fmla="*/ 2856 h 10000"/>
              <a:gd name="connsiteX168" fmla="*/ 2808 w 10000"/>
              <a:gd name="connsiteY168" fmla="*/ 3068 h 10000"/>
              <a:gd name="connsiteX169" fmla="*/ 2632 w 10000"/>
              <a:gd name="connsiteY169" fmla="*/ 3245 h 10000"/>
              <a:gd name="connsiteX170" fmla="*/ 2375 w 10000"/>
              <a:gd name="connsiteY170" fmla="*/ 3353 h 10000"/>
              <a:gd name="connsiteX171" fmla="*/ 2039 w 10000"/>
              <a:gd name="connsiteY171" fmla="*/ 3396 h 10000"/>
              <a:gd name="connsiteX172" fmla="*/ 1950 w 10000"/>
              <a:gd name="connsiteY172" fmla="*/ 3459 h 10000"/>
              <a:gd name="connsiteX173" fmla="*/ 2148 w 10000"/>
              <a:gd name="connsiteY173" fmla="*/ 3606 h 10000"/>
              <a:gd name="connsiteX174" fmla="*/ 2261 w 10000"/>
              <a:gd name="connsiteY174" fmla="*/ 3955 h 10000"/>
              <a:gd name="connsiteX175" fmla="*/ 2005 w 10000"/>
              <a:gd name="connsiteY175" fmla="*/ 4254 h 10000"/>
              <a:gd name="connsiteX176" fmla="*/ 2094 w 10000"/>
              <a:gd name="connsiteY176" fmla="*/ 4345 h 10000"/>
              <a:gd name="connsiteX177" fmla="*/ 2012 w 10000"/>
              <a:gd name="connsiteY177" fmla="*/ 4501 h 10000"/>
              <a:gd name="connsiteX178" fmla="*/ 1850 w 10000"/>
              <a:gd name="connsiteY178" fmla="*/ 4610 h 10000"/>
              <a:gd name="connsiteX179" fmla="*/ 1199 w 10000"/>
              <a:gd name="connsiteY179" fmla="*/ 4692 h 10000"/>
              <a:gd name="connsiteX180" fmla="*/ 1158 w 10000"/>
              <a:gd name="connsiteY180" fmla="*/ 4837 h 10000"/>
              <a:gd name="connsiteX181" fmla="*/ 808 w 10000"/>
              <a:gd name="connsiteY181" fmla="*/ 5051 h 10000"/>
              <a:gd name="connsiteX182" fmla="*/ 854 w 10000"/>
              <a:gd name="connsiteY182" fmla="*/ 5361 h 10000"/>
              <a:gd name="connsiteX183" fmla="*/ 560 w 10000"/>
              <a:gd name="connsiteY183" fmla="*/ 5758 h 10000"/>
              <a:gd name="connsiteX184" fmla="*/ 358 w 10000"/>
              <a:gd name="connsiteY184" fmla="*/ 5804 h 10000"/>
              <a:gd name="connsiteX185" fmla="*/ 275 w 10000"/>
              <a:gd name="connsiteY185" fmla="*/ 5710 h 10000"/>
              <a:gd name="connsiteX186" fmla="*/ 174 w 10000"/>
              <a:gd name="connsiteY186" fmla="*/ 5852 h 10000"/>
              <a:gd name="connsiteX187" fmla="*/ 239 w 10000"/>
              <a:gd name="connsiteY187" fmla="*/ 5606 h 10000"/>
              <a:gd name="connsiteX188" fmla="*/ 197 w 10000"/>
              <a:gd name="connsiteY188"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375 w 10000"/>
              <a:gd name="connsiteY163" fmla="*/ 1896 h 10000"/>
              <a:gd name="connsiteX164" fmla="*/ 2226 w 10000"/>
              <a:gd name="connsiteY164" fmla="*/ 2522 h 10000"/>
              <a:gd name="connsiteX165" fmla="*/ 2375 w 10000"/>
              <a:gd name="connsiteY165" fmla="*/ 2680 h 10000"/>
              <a:gd name="connsiteX166" fmla="*/ 2791 w 10000"/>
              <a:gd name="connsiteY166" fmla="*/ 2856 h 10000"/>
              <a:gd name="connsiteX167" fmla="*/ 2808 w 10000"/>
              <a:gd name="connsiteY167" fmla="*/ 3068 h 10000"/>
              <a:gd name="connsiteX168" fmla="*/ 2632 w 10000"/>
              <a:gd name="connsiteY168" fmla="*/ 3245 h 10000"/>
              <a:gd name="connsiteX169" fmla="*/ 2375 w 10000"/>
              <a:gd name="connsiteY169" fmla="*/ 3353 h 10000"/>
              <a:gd name="connsiteX170" fmla="*/ 2039 w 10000"/>
              <a:gd name="connsiteY170" fmla="*/ 3396 h 10000"/>
              <a:gd name="connsiteX171" fmla="*/ 1950 w 10000"/>
              <a:gd name="connsiteY171" fmla="*/ 3459 h 10000"/>
              <a:gd name="connsiteX172" fmla="*/ 2148 w 10000"/>
              <a:gd name="connsiteY172" fmla="*/ 3606 h 10000"/>
              <a:gd name="connsiteX173" fmla="*/ 2261 w 10000"/>
              <a:gd name="connsiteY173" fmla="*/ 3955 h 10000"/>
              <a:gd name="connsiteX174" fmla="*/ 2005 w 10000"/>
              <a:gd name="connsiteY174" fmla="*/ 4254 h 10000"/>
              <a:gd name="connsiteX175" fmla="*/ 2094 w 10000"/>
              <a:gd name="connsiteY175" fmla="*/ 4345 h 10000"/>
              <a:gd name="connsiteX176" fmla="*/ 2012 w 10000"/>
              <a:gd name="connsiteY176" fmla="*/ 4501 h 10000"/>
              <a:gd name="connsiteX177" fmla="*/ 1850 w 10000"/>
              <a:gd name="connsiteY177" fmla="*/ 4610 h 10000"/>
              <a:gd name="connsiteX178" fmla="*/ 1199 w 10000"/>
              <a:gd name="connsiteY178" fmla="*/ 4692 h 10000"/>
              <a:gd name="connsiteX179" fmla="*/ 1158 w 10000"/>
              <a:gd name="connsiteY179" fmla="*/ 4837 h 10000"/>
              <a:gd name="connsiteX180" fmla="*/ 808 w 10000"/>
              <a:gd name="connsiteY180" fmla="*/ 5051 h 10000"/>
              <a:gd name="connsiteX181" fmla="*/ 854 w 10000"/>
              <a:gd name="connsiteY181" fmla="*/ 5361 h 10000"/>
              <a:gd name="connsiteX182" fmla="*/ 560 w 10000"/>
              <a:gd name="connsiteY182" fmla="*/ 5758 h 10000"/>
              <a:gd name="connsiteX183" fmla="*/ 358 w 10000"/>
              <a:gd name="connsiteY183" fmla="*/ 5804 h 10000"/>
              <a:gd name="connsiteX184" fmla="*/ 275 w 10000"/>
              <a:gd name="connsiteY184" fmla="*/ 5710 h 10000"/>
              <a:gd name="connsiteX185" fmla="*/ 174 w 10000"/>
              <a:gd name="connsiteY185" fmla="*/ 5852 h 10000"/>
              <a:gd name="connsiteX186" fmla="*/ 239 w 10000"/>
              <a:gd name="connsiteY186" fmla="*/ 5606 h 10000"/>
              <a:gd name="connsiteX187" fmla="*/ 197 w 10000"/>
              <a:gd name="connsiteY187"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375 w 10000"/>
              <a:gd name="connsiteY162" fmla="*/ 1896 h 10000"/>
              <a:gd name="connsiteX163" fmla="*/ 2226 w 10000"/>
              <a:gd name="connsiteY163" fmla="*/ 2522 h 10000"/>
              <a:gd name="connsiteX164" fmla="*/ 2375 w 10000"/>
              <a:gd name="connsiteY164" fmla="*/ 2680 h 10000"/>
              <a:gd name="connsiteX165" fmla="*/ 2791 w 10000"/>
              <a:gd name="connsiteY165" fmla="*/ 2856 h 10000"/>
              <a:gd name="connsiteX166" fmla="*/ 2808 w 10000"/>
              <a:gd name="connsiteY166" fmla="*/ 3068 h 10000"/>
              <a:gd name="connsiteX167" fmla="*/ 2632 w 10000"/>
              <a:gd name="connsiteY167" fmla="*/ 3245 h 10000"/>
              <a:gd name="connsiteX168" fmla="*/ 2375 w 10000"/>
              <a:gd name="connsiteY168" fmla="*/ 3353 h 10000"/>
              <a:gd name="connsiteX169" fmla="*/ 2039 w 10000"/>
              <a:gd name="connsiteY169" fmla="*/ 3396 h 10000"/>
              <a:gd name="connsiteX170" fmla="*/ 1950 w 10000"/>
              <a:gd name="connsiteY170" fmla="*/ 3459 h 10000"/>
              <a:gd name="connsiteX171" fmla="*/ 2148 w 10000"/>
              <a:gd name="connsiteY171" fmla="*/ 3606 h 10000"/>
              <a:gd name="connsiteX172" fmla="*/ 2261 w 10000"/>
              <a:gd name="connsiteY172" fmla="*/ 3955 h 10000"/>
              <a:gd name="connsiteX173" fmla="*/ 2005 w 10000"/>
              <a:gd name="connsiteY173" fmla="*/ 4254 h 10000"/>
              <a:gd name="connsiteX174" fmla="*/ 2094 w 10000"/>
              <a:gd name="connsiteY174" fmla="*/ 4345 h 10000"/>
              <a:gd name="connsiteX175" fmla="*/ 2012 w 10000"/>
              <a:gd name="connsiteY175" fmla="*/ 4501 h 10000"/>
              <a:gd name="connsiteX176" fmla="*/ 1850 w 10000"/>
              <a:gd name="connsiteY176" fmla="*/ 4610 h 10000"/>
              <a:gd name="connsiteX177" fmla="*/ 1199 w 10000"/>
              <a:gd name="connsiteY177" fmla="*/ 4692 h 10000"/>
              <a:gd name="connsiteX178" fmla="*/ 1158 w 10000"/>
              <a:gd name="connsiteY178" fmla="*/ 4837 h 10000"/>
              <a:gd name="connsiteX179" fmla="*/ 808 w 10000"/>
              <a:gd name="connsiteY179" fmla="*/ 5051 h 10000"/>
              <a:gd name="connsiteX180" fmla="*/ 854 w 10000"/>
              <a:gd name="connsiteY180" fmla="*/ 5361 h 10000"/>
              <a:gd name="connsiteX181" fmla="*/ 560 w 10000"/>
              <a:gd name="connsiteY181" fmla="*/ 5758 h 10000"/>
              <a:gd name="connsiteX182" fmla="*/ 358 w 10000"/>
              <a:gd name="connsiteY182" fmla="*/ 5804 h 10000"/>
              <a:gd name="connsiteX183" fmla="*/ 275 w 10000"/>
              <a:gd name="connsiteY183" fmla="*/ 5710 h 10000"/>
              <a:gd name="connsiteX184" fmla="*/ 174 w 10000"/>
              <a:gd name="connsiteY184" fmla="*/ 5852 h 10000"/>
              <a:gd name="connsiteX185" fmla="*/ 239 w 10000"/>
              <a:gd name="connsiteY185" fmla="*/ 5606 h 10000"/>
              <a:gd name="connsiteX186" fmla="*/ 197 w 10000"/>
              <a:gd name="connsiteY186"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617 w 10000"/>
              <a:gd name="connsiteY161" fmla="*/ 520 h 10000"/>
              <a:gd name="connsiteX162" fmla="*/ 2528 w 10000"/>
              <a:gd name="connsiteY162" fmla="*/ 662 h 10000"/>
              <a:gd name="connsiteX163" fmla="*/ 2375 w 10000"/>
              <a:gd name="connsiteY163" fmla="*/ 1896 h 10000"/>
              <a:gd name="connsiteX164" fmla="*/ 2226 w 10000"/>
              <a:gd name="connsiteY164" fmla="*/ 2522 h 10000"/>
              <a:gd name="connsiteX165" fmla="*/ 2375 w 10000"/>
              <a:gd name="connsiteY165" fmla="*/ 2680 h 10000"/>
              <a:gd name="connsiteX166" fmla="*/ 2791 w 10000"/>
              <a:gd name="connsiteY166" fmla="*/ 2856 h 10000"/>
              <a:gd name="connsiteX167" fmla="*/ 2808 w 10000"/>
              <a:gd name="connsiteY167" fmla="*/ 3068 h 10000"/>
              <a:gd name="connsiteX168" fmla="*/ 2632 w 10000"/>
              <a:gd name="connsiteY168" fmla="*/ 3245 h 10000"/>
              <a:gd name="connsiteX169" fmla="*/ 2375 w 10000"/>
              <a:gd name="connsiteY169" fmla="*/ 3353 h 10000"/>
              <a:gd name="connsiteX170" fmla="*/ 2039 w 10000"/>
              <a:gd name="connsiteY170" fmla="*/ 3396 h 10000"/>
              <a:gd name="connsiteX171" fmla="*/ 1950 w 10000"/>
              <a:gd name="connsiteY171" fmla="*/ 3459 h 10000"/>
              <a:gd name="connsiteX172" fmla="*/ 2148 w 10000"/>
              <a:gd name="connsiteY172" fmla="*/ 3606 h 10000"/>
              <a:gd name="connsiteX173" fmla="*/ 2261 w 10000"/>
              <a:gd name="connsiteY173" fmla="*/ 3955 h 10000"/>
              <a:gd name="connsiteX174" fmla="*/ 2005 w 10000"/>
              <a:gd name="connsiteY174" fmla="*/ 4254 h 10000"/>
              <a:gd name="connsiteX175" fmla="*/ 2094 w 10000"/>
              <a:gd name="connsiteY175" fmla="*/ 4345 h 10000"/>
              <a:gd name="connsiteX176" fmla="*/ 2012 w 10000"/>
              <a:gd name="connsiteY176" fmla="*/ 4501 h 10000"/>
              <a:gd name="connsiteX177" fmla="*/ 1850 w 10000"/>
              <a:gd name="connsiteY177" fmla="*/ 4610 h 10000"/>
              <a:gd name="connsiteX178" fmla="*/ 1199 w 10000"/>
              <a:gd name="connsiteY178" fmla="*/ 4692 h 10000"/>
              <a:gd name="connsiteX179" fmla="*/ 1158 w 10000"/>
              <a:gd name="connsiteY179" fmla="*/ 4837 h 10000"/>
              <a:gd name="connsiteX180" fmla="*/ 808 w 10000"/>
              <a:gd name="connsiteY180" fmla="*/ 5051 h 10000"/>
              <a:gd name="connsiteX181" fmla="*/ 854 w 10000"/>
              <a:gd name="connsiteY181" fmla="*/ 5361 h 10000"/>
              <a:gd name="connsiteX182" fmla="*/ 560 w 10000"/>
              <a:gd name="connsiteY182" fmla="*/ 5758 h 10000"/>
              <a:gd name="connsiteX183" fmla="*/ 358 w 10000"/>
              <a:gd name="connsiteY183" fmla="*/ 5804 h 10000"/>
              <a:gd name="connsiteX184" fmla="*/ 275 w 10000"/>
              <a:gd name="connsiteY184" fmla="*/ 5710 h 10000"/>
              <a:gd name="connsiteX185" fmla="*/ 174 w 10000"/>
              <a:gd name="connsiteY185" fmla="*/ 5852 h 10000"/>
              <a:gd name="connsiteX186" fmla="*/ 239 w 10000"/>
              <a:gd name="connsiteY186" fmla="*/ 5606 h 10000"/>
              <a:gd name="connsiteX187" fmla="*/ 197 w 10000"/>
              <a:gd name="connsiteY187"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617 w 10000"/>
              <a:gd name="connsiteY161" fmla="*/ 520 h 10000"/>
              <a:gd name="connsiteX162" fmla="*/ 2375 w 10000"/>
              <a:gd name="connsiteY162" fmla="*/ 1896 h 10000"/>
              <a:gd name="connsiteX163" fmla="*/ 2226 w 10000"/>
              <a:gd name="connsiteY163" fmla="*/ 2522 h 10000"/>
              <a:gd name="connsiteX164" fmla="*/ 2375 w 10000"/>
              <a:gd name="connsiteY164" fmla="*/ 2680 h 10000"/>
              <a:gd name="connsiteX165" fmla="*/ 2791 w 10000"/>
              <a:gd name="connsiteY165" fmla="*/ 2856 h 10000"/>
              <a:gd name="connsiteX166" fmla="*/ 2808 w 10000"/>
              <a:gd name="connsiteY166" fmla="*/ 3068 h 10000"/>
              <a:gd name="connsiteX167" fmla="*/ 2632 w 10000"/>
              <a:gd name="connsiteY167" fmla="*/ 3245 h 10000"/>
              <a:gd name="connsiteX168" fmla="*/ 2375 w 10000"/>
              <a:gd name="connsiteY168" fmla="*/ 3353 h 10000"/>
              <a:gd name="connsiteX169" fmla="*/ 2039 w 10000"/>
              <a:gd name="connsiteY169" fmla="*/ 3396 h 10000"/>
              <a:gd name="connsiteX170" fmla="*/ 1950 w 10000"/>
              <a:gd name="connsiteY170" fmla="*/ 3459 h 10000"/>
              <a:gd name="connsiteX171" fmla="*/ 2148 w 10000"/>
              <a:gd name="connsiteY171" fmla="*/ 3606 h 10000"/>
              <a:gd name="connsiteX172" fmla="*/ 2261 w 10000"/>
              <a:gd name="connsiteY172" fmla="*/ 3955 h 10000"/>
              <a:gd name="connsiteX173" fmla="*/ 2005 w 10000"/>
              <a:gd name="connsiteY173" fmla="*/ 4254 h 10000"/>
              <a:gd name="connsiteX174" fmla="*/ 2094 w 10000"/>
              <a:gd name="connsiteY174" fmla="*/ 4345 h 10000"/>
              <a:gd name="connsiteX175" fmla="*/ 2012 w 10000"/>
              <a:gd name="connsiteY175" fmla="*/ 4501 h 10000"/>
              <a:gd name="connsiteX176" fmla="*/ 1850 w 10000"/>
              <a:gd name="connsiteY176" fmla="*/ 4610 h 10000"/>
              <a:gd name="connsiteX177" fmla="*/ 1199 w 10000"/>
              <a:gd name="connsiteY177" fmla="*/ 4692 h 10000"/>
              <a:gd name="connsiteX178" fmla="*/ 1158 w 10000"/>
              <a:gd name="connsiteY178" fmla="*/ 4837 h 10000"/>
              <a:gd name="connsiteX179" fmla="*/ 808 w 10000"/>
              <a:gd name="connsiteY179" fmla="*/ 5051 h 10000"/>
              <a:gd name="connsiteX180" fmla="*/ 854 w 10000"/>
              <a:gd name="connsiteY180" fmla="*/ 5361 h 10000"/>
              <a:gd name="connsiteX181" fmla="*/ 560 w 10000"/>
              <a:gd name="connsiteY181" fmla="*/ 5758 h 10000"/>
              <a:gd name="connsiteX182" fmla="*/ 358 w 10000"/>
              <a:gd name="connsiteY182" fmla="*/ 5804 h 10000"/>
              <a:gd name="connsiteX183" fmla="*/ 275 w 10000"/>
              <a:gd name="connsiteY183" fmla="*/ 5710 h 10000"/>
              <a:gd name="connsiteX184" fmla="*/ 174 w 10000"/>
              <a:gd name="connsiteY184" fmla="*/ 5852 h 10000"/>
              <a:gd name="connsiteX185" fmla="*/ 239 w 10000"/>
              <a:gd name="connsiteY185" fmla="*/ 5606 h 10000"/>
              <a:gd name="connsiteX186" fmla="*/ 197 w 10000"/>
              <a:gd name="connsiteY186"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617 w 10000"/>
              <a:gd name="connsiteY160" fmla="*/ 520 h 10000"/>
              <a:gd name="connsiteX161" fmla="*/ 2375 w 10000"/>
              <a:gd name="connsiteY161" fmla="*/ 1896 h 10000"/>
              <a:gd name="connsiteX162" fmla="*/ 2226 w 10000"/>
              <a:gd name="connsiteY162" fmla="*/ 2522 h 10000"/>
              <a:gd name="connsiteX163" fmla="*/ 2375 w 10000"/>
              <a:gd name="connsiteY163" fmla="*/ 2680 h 10000"/>
              <a:gd name="connsiteX164" fmla="*/ 2791 w 10000"/>
              <a:gd name="connsiteY164" fmla="*/ 2856 h 10000"/>
              <a:gd name="connsiteX165" fmla="*/ 2808 w 10000"/>
              <a:gd name="connsiteY165" fmla="*/ 3068 h 10000"/>
              <a:gd name="connsiteX166" fmla="*/ 2632 w 10000"/>
              <a:gd name="connsiteY166" fmla="*/ 3245 h 10000"/>
              <a:gd name="connsiteX167" fmla="*/ 2375 w 10000"/>
              <a:gd name="connsiteY167" fmla="*/ 3353 h 10000"/>
              <a:gd name="connsiteX168" fmla="*/ 2039 w 10000"/>
              <a:gd name="connsiteY168" fmla="*/ 3396 h 10000"/>
              <a:gd name="connsiteX169" fmla="*/ 1950 w 10000"/>
              <a:gd name="connsiteY169" fmla="*/ 3459 h 10000"/>
              <a:gd name="connsiteX170" fmla="*/ 2148 w 10000"/>
              <a:gd name="connsiteY170" fmla="*/ 3606 h 10000"/>
              <a:gd name="connsiteX171" fmla="*/ 2261 w 10000"/>
              <a:gd name="connsiteY171" fmla="*/ 3955 h 10000"/>
              <a:gd name="connsiteX172" fmla="*/ 2005 w 10000"/>
              <a:gd name="connsiteY172" fmla="*/ 4254 h 10000"/>
              <a:gd name="connsiteX173" fmla="*/ 2094 w 10000"/>
              <a:gd name="connsiteY173" fmla="*/ 4345 h 10000"/>
              <a:gd name="connsiteX174" fmla="*/ 2012 w 10000"/>
              <a:gd name="connsiteY174" fmla="*/ 4501 h 10000"/>
              <a:gd name="connsiteX175" fmla="*/ 1850 w 10000"/>
              <a:gd name="connsiteY175" fmla="*/ 4610 h 10000"/>
              <a:gd name="connsiteX176" fmla="*/ 1199 w 10000"/>
              <a:gd name="connsiteY176" fmla="*/ 4692 h 10000"/>
              <a:gd name="connsiteX177" fmla="*/ 1158 w 10000"/>
              <a:gd name="connsiteY177" fmla="*/ 4837 h 10000"/>
              <a:gd name="connsiteX178" fmla="*/ 808 w 10000"/>
              <a:gd name="connsiteY178" fmla="*/ 5051 h 10000"/>
              <a:gd name="connsiteX179" fmla="*/ 854 w 10000"/>
              <a:gd name="connsiteY179" fmla="*/ 5361 h 10000"/>
              <a:gd name="connsiteX180" fmla="*/ 560 w 10000"/>
              <a:gd name="connsiteY180" fmla="*/ 5758 h 10000"/>
              <a:gd name="connsiteX181" fmla="*/ 358 w 10000"/>
              <a:gd name="connsiteY181" fmla="*/ 5804 h 10000"/>
              <a:gd name="connsiteX182" fmla="*/ 275 w 10000"/>
              <a:gd name="connsiteY182" fmla="*/ 5710 h 10000"/>
              <a:gd name="connsiteX183" fmla="*/ 174 w 10000"/>
              <a:gd name="connsiteY183" fmla="*/ 5852 h 10000"/>
              <a:gd name="connsiteX184" fmla="*/ 239 w 10000"/>
              <a:gd name="connsiteY184" fmla="*/ 5606 h 10000"/>
              <a:gd name="connsiteX185" fmla="*/ 197 w 10000"/>
              <a:gd name="connsiteY185"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375 w 10000"/>
              <a:gd name="connsiteY160" fmla="*/ 1896 h 10000"/>
              <a:gd name="connsiteX161" fmla="*/ 2226 w 10000"/>
              <a:gd name="connsiteY161" fmla="*/ 2522 h 10000"/>
              <a:gd name="connsiteX162" fmla="*/ 2375 w 10000"/>
              <a:gd name="connsiteY162" fmla="*/ 2680 h 10000"/>
              <a:gd name="connsiteX163" fmla="*/ 2791 w 10000"/>
              <a:gd name="connsiteY163" fmla="*/ 2856 h 10000"/>
              <a:gd name="connsiteX164" fmla="*/ 2808 w 10000"/>
              <a:gd name="connsiteY164" fmla="*/ 3068 h 10000"/>
              <a:gd name="connsiteX165" fmla="*/ 2632 w 10000"/>
              <a:gd name="connsiteY165" fmla="*/ 3245 h 10000"/>
              <a:gd name="connsiteX166" fmla="*/ 2375 w 10000"/>
              <a:gd name="connsiteY166" fmla="*/ 3353 h 10000"/>
              <a:gd name="connsiteX167" fmla="*/ 2039 w 10000"/>
              <a:gd name="connsiteY167" fmla="*/ 3396 h 10000"/>
              <a:gd name="connsiteX168" fmla="*/ 1950 w 10000"/>
              <a:gd name="connsiteY168" fmla="*/ 3459 h 10000"/>
              <a:gd name="connsiteX169" fmla="*/ 2148 w 10000"/>
              <a:gd name="connsiteY169" fmla="*/ 3606 h 10000"/>
              <a:gd name="connsiteX170" fmla="*/ 2261 w 10000"/>
              <a:gd name="connsiteY170" fmla="*/ 3955 h 10000"/>
              <a:gd name="connsiteX171" fmla="*/ 2005 w 10000"/>
              <a:gd name="connsiteY171" fmla="*/ 4254 h 10000"/>
              <a:gd name="connsiteX172" fmla="*/ 2094 w 10000"/>
              <a:gd name="connsiteY172" fmla="*/ 4345 h 10000"/>
              <a:gd name="connsiteX173" fmla="*/ 2012 w 10000"/>
              <a:gd name="connsiteY173" fmla="*/ 4501 h 10000"/>
              <a:gd name="connsiteX174" fmla="*/ 1850 w 10000"/>
              <a:gd name="connsiteY174" fmla="*/ 4610 h 10000"/>
              <a:gd name="connsiteX175" fmla="*/ 1199 w 10000"/>
              <a:gd name="connsiteY175" fmla="*/ 4692 h 10000"/>
              <a:gd name="connsiteX176" fmla="*/ 1158 w 10000"/>
              <a:gd name="connsiteY176" fmla="*/ 4837 h 10000"/>
              <a:gd name="connsiteX177" fmla="*/ 808 w 10000"/>
              <a:gd name="connsiteY177" fmla="*/ 5051 h 10000"/>
              <a:gd name="connsiteX178" fmla="*/ 854 w 10000"/>
              <a:gd name="connsiteY178" fmla="*/ 5361 h 10000"/>
              <a:gd name="connsiteX179" fmla="*/ 560 w 10000"/>
              <a:gd name="connsiteY179" fmla="*/ 5758 h 10000"/>
              <a:gd name="connsiteX180" fmla="*/ 358 w 10000"/>
              <a:gd name="connsiteY180" fmla="*/ 5804 h 10000"/>
              <a:gd name="connsiteX181" fmla="*/ 275 w 10000"/>
              <a:gd name="connsiteY181" fmla="*/ 5710 h 10000"/>
              <a:gd name="connsiteX182" fmla="*/ 174 w 10000"/>
              <a:gd name="connsiteY182" fmla="*/ 5852 h 10000"/>
              <a:gd name="connsiteX183" fmla="*/ 239 w 10000"/>
              <a:gd name="connsiteY183" fmla="*/ 5606 h 10000"/>
              <a:gd name="connsiteX184" fmla="*/ 197 w 10000"/>
              <a:gd name="connsiteY184"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2375 w 10000"/>
              <a:gd name="connsiteY159" fmla="*/ 1896 h 10000"/>
              <a:gd name="connsiteX160" fmla="*/ 2226 w 10000"/>
              <a:gd name="connsiteY160" fmla="*/ 2522 h 10000"/>
              <a:gd name="connsiteX161" fmla="*/ 2375 w 10000"/>
              <a:gd name="connsiteY161" fmla="*/ 2680 h 10000"/>
              <a:gd name="connsiteX162" fmla="*/ 2791 w 10000"/>
              <a:gd name="connsiteY162" fmla="*/ 2856 h 10000"/>
              <a:gd name="connsiteX163" fmla="*/ 2808 w 10000"/>
              <a:gd name="connsiteY163" fmla="*/ 3068 h 10000"/>
              <a:gd name="connsiteX164" fmla="*/ 2632 w 10000"/>
              <a:gd name="connsiteY164" fmla="*/ 3245 h 10000"/>
              <a:gd name="connsiteX165" fmla="*/ 2375 w 10000"/>
              <a:gd name="connsiteY165" fmla="*/ 3353 h 10000"/>
              <a:gd name="connsiteX166" fmla="*/ 2039 w 10000"/>
              <a:gd name="connsiteY166" fmla="*/ 3396 h 10000"/>
              <a:gd name="connsiteX167" fmla="*/ 1950 w 10000"/>
              <a:gd name="connsiteY167" fmla="*/ 3459 h 10000"/>
              <a:gd name="connsiteX168" fmla="*/ 2148 w 10000"/>
              <a:gd name="connsiteY168" fmla="*/ 3606 h 10000"/>
              <a:gd name="connsiteX169" fmla="*/ 2261 w 10000"/>
              <a:gd name="connsiteY169" fmla="*/ 3955 h 10000"/>
              <a:gd name="connsiteX170" fmla="*/ 2005 w 10000"/>
              <a:gd name="connsiteY170" fmla="*/ 4254 h 10000"/>
              <a:gd name="connsiteX171" fmla="*/ 2094 w 10000"/>
              <a:gd name="connsiteY171" fmla="*/ 4345 h 10000"/>
              <a:gd name="connsiteX172" fmla="*/ 2012 w 10000"/>
              <a:gd name="connsiteY172" fmla="*/ 4501 h 10000"/>
              <a:gd name="connsiteX173" fmla="*/ 1850 w 10000"/>
              <a:gd name="connsiteY173" fmla="*/ 4610 h 10000"/>
              <a:gd name="connsiteX174" fmla="*/ 1199 w 10000"/>
              <a:gd name="connsiteY174" fmla="*/ 4692 h 10000"/>
              <a:gd name="connsiteX175" fmla="*/ 1158 w 10000"/>
              <a:gd name="connsiteY175" fmla="*/ 4837 h 10000"/>
              <a:gd name="connsiteX176" fmla="*/ 808 w 10000"/>
              <a:gd name="connsiteY176" fmla="*/ 5051 h 10000"/>
              <a:gd name="connsiteX177" fmla="*/ 854 w 10000"/>
              <a:gd name="connsiteY177" fmla="*/ 5361 h 10000"/>
              <a:gd name="connsiteX178" fmla="*/ 560 w 10000"/>
              <a:gd name="connsiteY178" fmla="*/ 5758 h 10000"/>
              <a:gd name="connsiteX179" fmla="*/ 358 w 10000"/>
              <a:gd name="connsiteY179" fmla="*/ 5804 h 10000"/>
              <a:gd name="connsiteX180" fmla="*/ 275 w 10000"/>
              <a:gd name="connsiteY180" fmla="*/ 5710 h 10000"/>
              <a:gd name="connsiteX181" fmla="*/ 174 w 10000"/>
              <a:gd name="connsiteY181" fmla="*/ 5852 h 10000"/>
              <a:gd name="connsiteX182" fmla="*/ 239 w 10000"/>
              <a:gd name="connsiteY182" fmla="*/ 5606 h 10000"/>
              <a:gd name="connsiteX183" fmla="*/ 197 w 10000"/>
              <a:gd name="connsiteY183" fmla="*/ 5560 h 10000"/>
              <a:gd name="connsiteX0" fmla="*/ 197 w 10000"/>
              <a:gd name="connsiteY0" fmla="*/ 3664 h 8104"/>
              <a:gd name="connsiteX1" fmla="*/ 0 w 10000"/>
              <a:gd name="connsiteY1" fmla="*/ 3792 h 8104"/>
              <a:gd name="connsiteX2" fmla="*/ 0 w 10000"/>
              <a:gd name="connsiteY2" fmla="*/ 4424 h 8104"/>
              <a:gd name="connsiteX3" fmla="*/ 109 w 10000"/>
              <a:gd name="connsiteY3" fmla="*/ 4441 h 8104"/>
              <a:gd name="connsiteX4" fmla="*/ 134 w 10000"/>
              <a:gd name="connsiteY4" fmla="*/ 4490 h 8104"/>
              <a:gd name="connsiteX5" fmla="*/ 130 w 10000"/>
              <a:gd name="connsiteY5" fmla="*/ 4576 h 8104"/>
              <a:gd name="connsiteX6" fmla="*/ 89 w 10000"/>
              <a:gd name="connsiteY6" fmla="*/ 4614 h 8104"/>
              <a:gd name="connsiteX7" fmla="*/ 255 w 10000"/>
              <a:gd name="connsiteY7" fmla="*/ 4540 h 8104"/>
              <a:gd name="connsiteX8" fmla="*/ 325 w 10000"/>
              <a:gd name="connsiteY8" fmla="*/ 4469 h 8104"/>
              <a:gd name="connsiteX9" fmla="*/ 413 w 10000"/>
              <a:gd name="connsiteY9" fmla="*/ 4517 h 8104"/>
              <a:gd name="connsiteX10" fmla="*/ 316 w 10000"/>
              <a:gd name="connsiteY10" fmla="*/ 4622 h 8104"/>
              <a:gd name="connsiteX11" fmla="*/ 419 w 10000"/>
              <a:gd name="connsiteY11" fmla="*/ 4624 h 8104"/>
              <a:gd name="connsiteX12" fmla="*/ 469 w 10000"/>
              <a:gd name="connsiteY12" fmla="*/ 4650 h 8104"/>
              <a:gd name="connsiteX13" fmla="*/ 337 w 10000"/>
              <a:gd name="connsiteY13" fmla="*/ 4683 h 8104"/>
              <a:gd name="connsiteX14" fmla="*/ 130 w 10000"/>
              <a:gd name="connsiteY14" fmla="*/ 4789 h 8104"/>
              <a:gd name="connsiteX15" fmla="*/ 497 w 10000"/>
              <a:gd name="connsiteY15" fmla="*/ 4873 h 8104"/>
              <a:gd name="connsiteX16" fmla="*/ 545 w 10000"/>
              <a:gd name="connsiteY16" fmla="*/ 4991 h 8104"/>
              <a:gd name="connsiteX17" fmla="*/ 419 w 10000"/>
              <a:gd name="connsiteY17" fmla="*/ 5165 h 8104"/>
              <a:gd name="connsiteX18" fmla="*/ 688 w 10000"/>
              <a:gd name="connsiteY18" fmla="*/ 5155 h 8104"/>
              <a:gd name="connsiteX19" fmla="*/ 709 w 10000"/>
              <a:gd name="connsiteY19" fmla="*/ 5285 h 8104"/>
              <a:gd name="connsiteX20" fmla="*/ 530 w 10000"/>
              <a:gd name="connsiteY20" fmla="*/ 5377 h 8104"/>
              <a:gd name="connsiteX21" fmla="*/ 560 w 10000"/>
              <a:gd name="connsiteY21" fmla="*/ 5548 h 8104"/>
              <a:gd name="connsiteX22" fmla="*/ 489 w 10000"/>
              <a:gd name="connsiteY22" fmla="*/ 5684 h 8104"/>
              <a:gd name="connsiteX23" fmla="*/ 703 w 10000"/>
              <a:gd name="connsiteY23" fmla="*/ 5697 h 8104"/>
              <a:gd name="connsiteX24" fmla="*/ 909 w 10000"/>
              <a:gd name="connsiteY24" fmla="*/ 6214 h 8104"/>
              <a:gd name="connsiteX25" fmla="*/ 1150 w 10000"/>
              <a:gd name="connsiteY25" fmla="*/ 6342 h 8104"/>
              <a:gd name="connsiteX26" fmla="*/ 1255 w 10000"/>
              <a:gd name="connsiteY26" fmla="*/ 6483 h 8104"/>
              <a:gd name="connsiteX27" fmla="*/ 1514 w 10000"/>
              <a:gd name="connsiteY27" fmla="*/ 6583 h 8104"/>
              <a:gd name="connsiteX28" fmla="*/ 1684 w 10000"/>
              <a:gd name="connsiteY28" fmla="*/ 6714 h 8104"/>
              <a:gd name="connsiteX29" fmla="*/ 1661 w 10000"/>
              <a:gd name="connsiteY29" fmla="*/ 6807 h 8104"/>
              <a:gd name="connsiteX30" fmla="*/ 1496 w 10000"/>
              <a:gd name="connsiteY30" fmla="*/ 6841 h 8104"/>
              <a:gd name="connsiteX31" fmla="*/ 1316 w 10000"/>
              <a:gd name="connsiteY31" fmla="*/ 6819 h 8104"/>
              <a:gd name="connsiteX32" fmla="*/ 1260 w 10000"/>
              <a:gd name="connsiteY32" fmla="*/ 6856 h 8104"/>
              <a:gd name="connsiteX33" fmla="*/ 1397 w 10000"/>
              <a:gd name="connsiteY33" fmla="*/ 7057 h 8104"/>
              <a:gd name="connsiteX34" fmla="*/ 1205 w 10000"/>
              <a:gd name="connsiteY34" fmla="*/ 7040 h 8104"/>
              <a:gd name="connsiteX35" fmla="*/ 1040 w 10000"/>
              <a:gd name="connsiteY35" fmla="*/ 6991 h 8104"/>
              <a:gd name="connsiteX36" fmla="*/ 1012 w 10000"/>
              <a:gd name="connsiteY36" fmla="*/ 7066 h 8104"/>
              <a:gd name="connsiteX37" fmla="*/ 1557 w 10000"/>
              <a:gd name="connsiteY37" fmla="*/ 7754 h 8104"/>
              <a:gd name="connsiteX38" fmla="*/ 1469 w 10000"/>
              <a:gd name="connsiteY38" fmla="*/ 7818 h 8104"/>
              <a:gd name="connsiteX39" fmla="*/ 1408 w 10000"/>
              <a:gd name="connsiteY39" fmla="*/ 7950 h 8104"/>
              <a:gd name="connsiteX40" fmla="*/ 1329 w 10000"/>
              <a:gd name="connsiteY40" fmla="*/ 7960 h 8104"/>
              <a:gd name="connsiteX41" fmla="*/ 1281 w 10000"/>
              <a:gd name="connsiteY41" fmla="*/ 8019 h 8104"/>
              <a:gd name="connsiteX42" fmla="*/ 1609 w 10000"/>
              <a:gd name="connsiteY42" fmla="*/ 8024 h 8104"/>
              <a:gd name="connsiteX43" fmla="*/ 1900 w 10000"/>
              <a:gd name="connsiteY43" fmla="*/ 8081 h 8104"/>
              <a:gd name="connsiteX44" fmla="*/ 2383 w 10000"/>
              <a:gd name="connsiteY44" fmla="*/ 8021 h 8104"/>
              <a:gd name="connsiteX45" fmla="*/ 2816 w 10000"/>
              <a:gd name="connsiteY45" fmla="*/ 8033 h 8104"/>
              <a:gd name="connsiteX46" fmla="*/ 3072 w 10000"/>
              <a:gd name="connsiteY46" fmla="*/ 8104 h 8104"/>
              <a:gd name="connsiteX47" fmla="*/ 3212 w 10000"/>
              <a:gd name="connsiteY47" fmla="*/ 8056 h 8104"/>
              <a:gd name="connsiteX48" fmla="*/ 3348 w 10000"/>
              <a:gd name="connsiteY48" fmla="*/ 7897 h 8104"/>
              <a:gd name="connsiteX49" fmla="*/ 3313 w 10000"/>
              <a:gd name="connsiteY49" fmla="*/ 7636 h 8104"/>
              <a:gd name="connsiteX50" fmla="*/ 3642 w 10000"/>
              <a:gd name="connsiteY50" fmla="*/ 7348 h 8104"/>
              <a:gd name="connsiteX51" fmla="*/ 3883 w 10000"/>
              <a:gd name="connsiteY51" fmla="*/ 7394 h 8104"/>
              <a:gd name="connsiteX52" fmla="*/ 4025 w 10000"/>
              <a:gd name="connsiteY52" fmla="*/ 7279 h 8104"/>
              <a:gd name="connsiteX53" fmla="*/ 4294 w 10000"/>
              <a:gd name="connsiteY53" fmla="*/ 7212 h 8104"/>
              <a:gd name="connsiteX54" fmla="*/ 4658 w 10000"/>
              <a:gd name="connsiteY54" fmla="*/ 7228 h 8104"/>
              <a:gd name="connsiteX55" fmla="*/ 4878 w 10000"/>
              <a:gd name="connsiteY55" fmla="*/ 7273 h 8104"/>
              <a:gd name="connsiteX56" fmla="*/ 5170 w 10000"/>
              <a:gd name="connsiteY56" fmla="*/ 7254 h 8104"/>
              <a:gd name="connsiteX57" fmla="*/ 5464 w 10000"/>
              <a:gd name="connsiteY57" fmla="*/ 7303 h 8104"/>
              <a:gd name="connsiteX58" fmla="*/ 5759 w 10000"/>
              <a:gd name="connsiteY58" fmla="*/ 7310 h 8104"/>
              <a:gd name="connsiteX59" fmla="*/ 6419 w 10000"/>
              <a:gd name="connsiteY59" fmla="*/ 6634 h 8104"/>
              <a:gd name="connsiteX60" fmla="*/ 6586 w 10000"/>
              <a:gd name="connsiteY60" fmla="*/ 6082 h 8104"/>
              <a:gd name="connsiteX61" fmla="*/ 6855 w 10000"/>
              <a:gd name="connsiteY61" fmla="*/ 5838 h 8104"/>
              <a:gd name="connsiteX62" fmla="*/ 6855 w 10000"/>
              <a:gd name="connsiteY62" fmla="*/ 5708 h 8104"/>
              <a:gd name="connsiteX63" fmla="*/ 6757 w 10000"/>
              <a:gd name="connsiteY63" fmla="*/ 5637 h 8104"/>
              <a:gd name="connsiteX64" fmla="*/ 6915 w 10000"/>
              <a:gd name="connsiteY64" fmla="*/ 5520 h 8104"/>
              <a:gd name="connsiteX65" fmla="*/ 6887 w 10000"/>
              <a:gd name="connsiteY65" fmla="*/ 5424 h 8104"/>
              <a:gd name="connsiteX66" fmla="*/ 6779 w 10000"/>
              <a:gd name="connsiteY66" fmla="*/ 5342 h 8104"/>
              <a:gd name="connsiteX67" fmla="*/ 6757 w 10000"/>
              <a:gd name="connsiteY67" fmla="*/ 5279 h 8104"/>
              <a:gd name="connsiteX68" fmla="*/ 6785 w 10000"/>
              <a:gd name="connsiteY68" fmla="*/ 5233 h 8104"/>
              <a:gd name="connsiteX69" fmla="*/ 6931 w 10000"/>
              <a:gd name="connsiteY69" fmla="*/ 5270 h 8104"/>
              <a:gd name="connsiteX70" fmla="*/ 7045 w 10000"/>
              <a:gd name="connsiteY70" fmla="*/ 5268 h 8104"/>
              <a:gd name="connsiteX71" fmla="*/ 6983 w 10000"/>
              <a:gd name="connsiteY71" fmla="*/ 5190 h 8104"/>
              <a:gd name="connsiteX72" fmla="*/ 7003 w 10000"/>
              <a:gd name="connsiteY72" fmla="*/ 5143 h 8104"/>
              <a:gd name="connsiteX73" fmla="*/ 7089 w 10000"/>
              <a:gd name="connsiteY73" fmla="*/ 5077 h 8104"/>
              <a:gd name="connsiteX74" fmla="*/ 7074 w 10000"/>
              <a:gd name="connsiteY74" fmla="*/ 5023 h 8104"/>
              <a:gd name="connsiteX75" fmla="*/ 7152 w 10000"/>
              <a:gd name="connsiteY75" fmla="*/ 4839 h 8104"/>
              <a:gd name="connsiteX76" fmla="*/ 7130 w 10000"/>
              <a:gd name="connsiteY76" fmla="*/ 4783 h 8104"/>
              <a:gd name="connsiteX77" fmla="*/ 6729 w 10000"/>
              <a:gd name="connsiteY77" fmla="*/ 4643 h 8104"/>
              <a:gd name="connsiteX78" fmla="*/ 6785 w 10000"/>
              <a:gd name="connsiteY78" fmla="*/ 4638 h 8104"/>
              <a:gd name="connsiteX79" fmla="*/ 6998 w 10000"/>
              <a:gd name="connsiteY79" fmla="*/ 4674 h 8104"/>
              <a:gd name="connsiteX80" fmla="*/ 7230 w 10000"/>
              <a:gd name="connsiteY80" fmla="*/ 4661 h 8104"/>
              <a:gd name="connsiteX81" fmla="*/ 7295 w 10000"/>
              <a:gd name="connsiteY81" fmla="*/ 4610 h 8104"/>
              <a:gd name="connsiteX82" fmla="*/ 7074 w 10000"/>
              <a:gd name="connsiteY82" fmla="*/ 4515 h 8104"/>
              <a:gd name="connsiteX83" fmla="*/ 6414 w 10000"/>
              <a:gd name="connsiteY83" fmla="*/ 4453 h 8104"/>
              <a:gd name="connsiteX84" fmla="*/ 6458 w 10000"/>
              <a:gd name="connsiteY84" fmla="*/ 4424 h 8104"/>
              <a:gd name="connsiteX85" fmla="*/ 6998 w 10000"/>
              <a:gd name="connsiteY85" fmla="*/ 4404 h 8104"/>
              <a:gd name="connsiteX86" fmla="*/ 7295 w 10000"/>
              <a:gd name="connsiteY86" fmla="*/ 4462 h 8104"/>
              <a:gd name="connsiteX87" fmla="*/ 7466 w 10000"/>
              <a:gd name="connsiteY87" fmla="*/ 4424 h 8104"/>
              <a:gd name="connsiteX88" fmla="*/ 7529 w 10000"/>
              <a:gd name="connsiteY88" fmla="*/ 4325 h 8104"/>
              <a:gd name="connsiteX89" fmla="*/ 7840 w 10000"/>
              <a:gd name="connsiteY89" fmla="*/ 4325 h 8104"/>
              <a:gd name="connsiteX90" fmla="*/ 8261 w 10000"/>
              <a:gd name="connsiteY90" fmla="*/ 4127 h 8104"/>
              <a:gd name="connsiteX91" fmla="*/ 8275 w 10000"/>
              <a:gd name="connsiteY91" fmla="*/ 3994 h 8104"/>
              <a:gd name="connsiteX92" fmla="*/ 8453 w 10000"/>
              <a:gd name="connsiteY92" fmla="*/ 4024 h 8104"/>
              <a:gd name="connsiteX93" fmla="*/ 8446 w 10000"/>
              <a:gd name="connsiteY93" fmla="*/ 4157 h 8104"/>
              <a:gd name="connsiteX94" fmla="*/ 8727 w 10000"/>
              <a:gd name="connsiteY94" fmla="*/ 4148 h 8104"/>
              <a:gd name="connsiteX95" fmla="*/ 8913 w 10000"/>
              <a:gd name="connsiteY95" fmla="*/ 4010 h 8104"/>
              <a:gd name="connsiteX96" fmla="*/ 9258 w 10000"/>
              <a:gd name="connsiteY96" fmla="*/ 3886 h 8104"/>
              <a:gd name="connsiteX97" fmla="*/ 9203 w 10000"/>
              <a:gd name="connsiteY97" fmla="*/ 3745 h 8104"/>
              <a:gd name="connsiteX98" fmla="*/ 9306 w 10000"/>
              <a:gd name="connsiteY98" fmla="*/ 3801 h 8104"/>
              <a:gd name="connsiteX99" fmla="*/ 9464 w 10000"/>
              <a:gd name="connsiteY99" fmla="*/ 3801 h 8104"/>
              <a:gd name="connsiteX100" fmla="*/ 9464 w 10000"/>
              <a:gd name="connsiteY100" fmla="*/ 3735 h 8104"/>
              <a:gd name="connsiteX101" fmla="*/ 9611 w 10000"/>
              <a:gd name="connsiteY101" fmla="*/ 3687 h 8104"/>
              <a:gd name="connsiteX102" fmla="*/ 9592 w 10000"/>
              <a:gd name="connsiteY102" fmla="*/ 3636 h 8104"/>
              <a:gd name="connsiteX103" fmla="*/ 8350 w 10000"/>
              <a:gd name="connsiteY103" fmla="*/ 3737 h 8104"/>
              <a:gd name="connsiteX104" fmla="*/ 8058 w 10000"/>
              <a:gd name="connsiteY104" fmla="*/ 3708 h 8104"/>
              <a:gd name="connsiteX105" fmla="*/ 7942 w 10000"/>
              <a:gd name="connsiteY105" fmla="*/ 3745 h 8104"/>
              <a:gd name="connsiteX106" fmla="*/ 7903 w 10000"/>
              <a:gd name="connsiteY106" fmla="*/ 3673 h 8104"/>
              <a:gd name="connsiteX107" fmla="*/ 7765 w 10000"/>
              <a:gd name="connsiteY107" fmla="*/ 3611 h 8104"/>
              <a:gd name="connsiteX108" fmla="*/ 7213 w 10000"/>
              <a:gd name="connsiteY108" fmla="*/ 3482 h 8104"/>
              <a:gd name="connsiteX109" fmla="*/ 6887 w 10000"/>
              <a:gd name="connsiteY109" fmla="*/ 3504 h 8104"/>
              <a:gd name="connsiteX110" fmla="*/ 6757 w 10000"/>
              <a:gd name="connsiteY110" fmla="*/ 3467 h 8104"/>
              <a:gd name="connsiteX111" fmla="*/ 6894 w 10000"/>
              <a:gd name="connsiteY111" fmla="*/ 3436 h 8104"/>
              <a:gd name="connsiteX112" fmla="*/ 6998 w 10000"/>
              <a:gd name="connsiteY112" fmla="*/ 3368 h 8104"/>
              <a:gd name="connsiteX113" fmla="*/ 7152 w 10000"/>
              <a:gd name="connsiteY113" fmla="*/ 3389 h 8104"/>
              <a:gd name="connsiteX114" fmla="*/ 7335 w 10000"/>
              <a:gd name="connsiteY114" fmla="*/ 3372 h 8104"/>
              <a:gd name="connsiteX115" fmla="*/ 7611 w 10000"/>
              <a:gd name="connsiteY115" fmla="*/ 3394 h 8104"/>
              <a:gd name="connsiteX116" fmla="*/ 7645 w 10000"/>
              <a:gd name="connsiteY116" fmla="*/ 3385 h 8104"/>
              <a:gd name="connsiteX117" fmla="*/ 7859 w 10000"/>
              <a:gd name="connsiteY117" fmla="*/ 3489 h 8104"/>
              <a:gd name="connsiteX118" fmla="*/ 8017 w 10000"/>
              <a:gd name="connsiteY118" fmla="*/ 3450 h 8104"/>
              <a:gd name="connsiteX119" fmla="*/ 8032 w 10000"/>
              <a:gd name="connsiteY119" fmla="*/ 3415 h 8104"/>
              <a:gd name="connsiteX120" fmla="*/ 8176 w 10000"/>
              <a:gd name="connsiteY120" fmla="*/ 3477 h 8104"/>
              <a:gd name="connsiteX121" fmla="*/ 8369 w 10000"/>
              <a:gd name="connsiteY121" fmla="*/ 3510 h 8104"/>
              <a:gd name="connsiteX122" fmla="*/ 8446 w 10000"/>
              <a:gd name="connsiteY122" fmla="*/ 3448 h 8104"/>
              <a:gd name="connsiteX123" fmla="*/ 8507 w 10000"/>
              <a:gd name="connsiteY123" fmla="*/ 3482 h 8104"/>
              <a:gd name="connsiteX124" fmla="*/ 8596 w 10000"/>
              <a:gd name="connsiteY124" fmla="*/ 3603 h 8104"/>
              <a:gd name="connsiteX125" fmla="*/ 8782 w 10000"/>
              <a:gd name="connsiteY125" fmla="*/ 3629 h 8104"/>
              <a:gd name="connsiteX126" fmla="*/ 9542 w 10000"/>
              <a:gd name="connsiteY126" fmla="*/ 3454 h 8104"/>
              <a:gd name="connsiteX127" fmla="*/ 9914 w 10000"/>
              <a:gd name="connsiteY127" fmla="*/ 3211 h 8104"/>
              <a:gd name="connsiteX128" fmla="*/ 10000 w 10000"/>
              <a:gd name="connsiteY128" fmla="*/ 3034 h 8104"/>
              <a:gd name="connsiteX129" fmla="*/ 9866 w 10000"/>
              <a:gd name="connsiteY129" fmla="*/ 2874 h 8104"/>
              <a:gd name="connsiteX130" fmla="*/ 9582 w 10000"/>
              <a:gd name="connsiteY130" fmla="*/ 2778 h 8104"/>
              <a:gd name="connsiteX131" fmla="*/ 9382 w 10000"/>
              <a:gd name="connsiteY131" fmla="*/ 2620 h 8104"/>
              <a:gd name="connsiteX132" fmla="*/ 9569 w 10000"/>
              <a:gd name="connsiteY132" fmla="*/ 2615 h 8104"/>
              <a:gd name="connsiteX133" fmla="*/ 9555 w 10000"/>
              <a:gd name="connsiteY133" fmla="*/ 2577 h 8104"/>
              <a:gd name="connsiteX134" fmla="*/ 9068 w 10000"/>
              <a:gd name="connsiteY134" fmla="*/ 2468 h 8104"/>
              <a:gd name="connsiteX135" fmla="*/ 9047 w 10000"/>
              <a:gd name="connsiteY135" fmla="*/ 2366 h 8104"/>
              <a:gd name="connsiteX136" fmla="*/ 8953 w 10000"/>
              <a:gd name="connsiteY136" fmla="*/ 2260 h 8104"/>
              <a:gd name="connsiteX137" fmla="*/ 8569 w 10000"/>
              <a:gd name="connsiteY137" fmla="*/ 2280 h 8104"/>
              <a:gd name="connsiteX138" fmla="*/ 8431 w 10000"/>
              <a:gd name="connsiteY138" fmla="*/ 2166 h 8104"/>
              <a:gd name="connsiteX139" fmla="*/ 8350 w 10000"/>
              <a:gd name="connsiteY139" fmla="*/ 2160 h 8104"/>
              <a:gd name="connsiteX140" fmla="*/ 8350 w 10000"/>
              <a:gd name="connsiteY140" fmla="*/ 2209 h 8104"/>
              <a:gd name="connsiteX141" fmla="*/ 8176 w 10000"/>
              <a:gd name="connsiteY141" fmla="*/ 2398 h 8104"/>
              <a:gd name="connsiteX142" fmla="*/ 7990 w 10000"/>
              <a:gd name="connsiteY142" fmla="*/ 2509 h 8104"/>
              <a:gd name="connsiteX143" fmla="*/ 7401 w 10000"/>
              <a:gd name="connsiteY143" fmla="*/ 2698 h 8104"/>
              <a:gd name="connsiteX144" fmla="*/ 7198 w 10000"/>
              <a:gd name="connsiteY144" fmla="*/ 2692 h 8104"/>
              <a:gd name="connsiteX145" fmla="*/ 6915 w 10000"/>
              <a:gd name="connsiteY145" fmla="*/ 2722 h 8104"/>
              <a:gd name="connsiteX146" fmla="*/ 6757 w 10000"/>
              <a:gd name="connsiteY146" fmla="*/ 2692 h 8104"/>
              <a:gd name="connsiteX147" fmla="*/ 6965 w 10000"/>
              <a:gd name="connsiteY147" fmla="*/ 2638 h 8104"/>
              <a:gd name="connsiteX148" fmla="*/ 7235 w 10000"/>
              <a:gd name="connsiteY148" fmla="*/ 2615 h 8104"/>
              <a:gd name="connsiteX149" fmla="*/ 7455 w 10000"/>
              <a:gd name="connsiteY149" fmla="*/ 2527 h 8104"/>
              <a:gd name="connsiteX150" fmla="*/ 7674 w 10000"/>
              <a:gd name="connsiteY150" fmla="*/ 2485 h 8104"/>
              <a:gd name="connsiteX151" fmla="*/ 8082 w 10000"/>
              <a:gd name="connsiteY151" fmla="*/ 2329 h 8104"/>
              <a:gd name="connsiteX152" fmla="*/ 8157 w 10000"/>
              <a:gd name="connsiteY152" fmla="*/ 2229 h 8104"/>
              <a:gd name="connsiteX153" fmla="*/ 8165 w 10000"/>
              <a:gd name="connsiteY153" fmla="*/ 2098 h 8104"/>
              <a:gd name="connsiteX154" fmla="*/ 7978 w 10000"/>
              <a:gd name="connsiteY154" fmla="*/ 2076 h 8104"/>
              <a:gd name="connsiteX155" fmla="*/ 8058 w 10000"/>
              <a:gd name="connsiteY155" fmla="*/ 1996 h 8104"/>
              <a:gd name="connsiteX156" fmla="*/ 8087 w 10000"/>
              <a:gd name="connsiteY156" fmla="*/ 1895 h 8104"/>
              <a:gd name="connsiteX157" fmla="*/ 8007 w 10000"/>
              <a:gd name="connsiteY157" fmla="*/ 1801 h 8104"/>
              <a:gd name="connsiteX158" fmla="*/ 3154 w 10000"/>
              <a:gd name="connsiteY158" fmla="*/ 116 h 8104"/>
              <a:gd name="connsiteX159" fmla="*/ 2375 w 10000"/>
              <a:gd name="connsiteY159" fmla="*/ 0 h 8104"/>
              <a:gd name="connsiteX160" fmla="*/ 2226 w 10000"/>
              <a:gd name="connsiteY160" fmla="*/ 626 h 8104"/>
              <a:gd name="connsiteX161" fmla="*/ 2375 w 10000"/>
              <a:gd name="connsiteY161" fmla="*/ 784 h 8104"/>
              <a:gd name="connsiteX162" fmla="*/ 2791 w 10000"/>
              <a:gd name="connsiteY162" fmla="*/ 960 h 8104"/>
              <a:gd name="connsiteX163" fmla="*/ 2808 w 10000"/>
              <a:gd name="connsiteY163" fmla="*/ 1172 h 8104"/>
              <a:gd name="connsiteX164" fmla="*/ 2632 w 10000"/>
              <a:gd name="connsiteY164" fmla="*/ 1349 h 8104"/>
              <a:gd name="connsiteX165" fmla="*/ 2375 w 10000"/>
              <a:gd name="connsiteY165" fmla="*/ 1457 h 8104"/>
              <a:gd name="connsiteX166" fmla="*/ 2039 w 10000"/>
              <a:gd name="connsiteY166" fmla="*/ 1500 h 8104"/>
              <a:gd name="connsiteX167" fmla="*/ 1950 w 10000"/>
              <a:gd name="connsiteY167" fmla="*/ 1563 h 8104"/>
              <a:gd name="connsiteX168" fmla="*/ 2148 w 10000"/>
              <a:gd name="connsiteY168" fmla="*/ 1710 h 8104"/>
              <a:gd name="connsiteX169" fmla="*/ 2261 w 10000"/>
              <a:gd name="connsiteY169" fmla="*/ 2059 h 8104"/>
              <a:gd name="connsiteX170" fmla="*/ 2005 w 10000"/>
              <a:gd name="connsiteY170" fmla="*/ 2358 h 8104"/>
              <a:gd name="connsiteX171" fmla="*/ 2094 w 10000"/>
              <a:gd name="connsiteY171" fmla="*/ 2449 h 8104"/>
              <a:gd name="connsiteX172" fmla="*/ 2012 w 10000"/>
              <a:gd name="connsiteY172" fmla="*/ 2605 h 8104"/>
              <a:gd name="connsiteX173" fmla="*/ 1850 w 10000"/>
              <a:gd name="connsiteY173" fmla="*/ 2714 h 8104"/>
              <a:gd name="connsiteX174" fmla="*/ 1199 w 10000"/>
              <a:gd name="connsiteY174" fmla="*/ 2796 h 8104"/>
              <a:gd name="connsiteX175" fmla="*/ 1158 w 10000"/>
              <a:gd name="connsiteY175" fmla="*/ 2941 h 8104"/>
              <a:gd name="connsiteX176" fmla="*/ 808 w 10000"/>
              <a:gd name="connsiteY176" fmla="*/ 3155 h 8104"/>
              <a:gd name="connsiteX177" fmla="*/ 854 w 10000"/>
              <a:gd name="connsiteY177" fmla="*/ 3465 h 8104"/>
              <a:gd name="connsiteX178" fmla="*/ 560 w 10000"/>
              <a:gd name="connsiteY178" fmla="*/ 3862 h 8104"/>
              <a:gd name="connsiteX179" fmla="*/ 358 w 10000"/>
              <a:gd name="connsiteY179" fmla="*/ 3908 h 8104"/>
              <a:gd name="connsiteX180" fmla="*/ 275 w 10000"/>
              <a:gd name="connsiteY180" fmla="*/ 3814 h 8104"/>
              <a:gd name="connsiteX181" fmla="*/ 174 w 10000"/>
              <a:gd name="connsiteY181" fmla="*/ 3956 h 8104"/>
              <a:gd name="connsiteX182" fmla="*/ 239 w 10000"/>
              <a:gd name="connsiteY182" fmla="*/ 3710 h 8104"/>
              <a:gd name="connsiteX183" fmla="*/ 197 w 10000"/>
              <a:gd name="connsiteY183" fmla="*/ 3664 h 8104"/>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4019 w 10000"/>
              <a:gd name="connsiteY158" fmla="*/ 530 h 10000"/>
              <a:gd name="connsiteX159" fmla="*/ 3154 w 10000"/>
              <a:gd name="connsiteY159" fmla="*/ 143 h 10000"/>
              <a:gd name="connsiteX160" fmla="*/ 2375 w 10000"/>
              <a:gd name="connsiteY160" fmla="*/ 0 h 10000"/>
              <a:gd name="connsiteX161" fmla="*/ 2226 w 10000"/>
              <a:gd name="connsiteY161" fmla="*/ 772 h 10000"/>
              <a:gd name="connsiteX162" fmla="*/ 2375 w 10000"/>
              <a:gd name="connsiteY162" fmla="*/ 967 h 10000"/>
              <a:gd name="connsiteX163" fmla="*/ 2791 w 10000"/>
              <a:gd name="connsiteY163" fmla="*/ 1185 h 10000"/>
              <a:gd name="connsiteX164" fmla="*/ 2808 w 10000"/>
              <a:gd name="connsiteY164" fmla="*/ 1446 h 10000"/>
              <a:gd name="connsiteX165" fmla="*/ 2632 w 10000"/>
              <a:gd name="connsiteY165" fmla="*/ 1665 h 10000"/>
              <a:gd name="connsiteX166" fmla="*/ 2375 w 10000"/>
              <a:gd name="connsiteY166" fmla="*/ 1798 h 10000"/>
              <a:gd name="connsiteX167" fmla="*/ 2039 w 10000"/>
              <a:gd name="connsiteY167" fmla="*/ 1851 h 10000"/>
              <a:gd name="connsiteX168" fmla="*/ 1950 w 10000"/>
              <a:gd name="connsiteY168" fmla="*/ 1929 h 10000"/>
              <a:gd name="connsiteX169" fmla="*/ 2148 w 10000"/>
              <a:gd name="connsiteY169" fmla="*/ 2110 h 10000"/>
              <a:gd name="connsiteX170" fmla="*/ 2261 w 10000"/>
              <a:gd name="connsiteY170" fmla="*/ 2541 h 10000"/>
              <a:gd name="connsiteX171" fmla="*/ 2005 w 10000"/>
              <a:gd name="connsiteY171" fmla="*/ 2910 h 10000"/>
              <a:gd name="connsiteX172" fmla="*/ 2094 w 10000"/>
              <a:gd name="connsiteY172" fmla="*/ 3022 h 10000"/>
              <a:gd name="connsiteX173" fmla="*/ 2012 w 10000"/>
              <a:gd name="connsiteY173" fmla="*/ 3214 h 10000"/>
              <a:gd name="connsiteX174" fmla="*/ 1850 w 10000"/>
              <a:gd name="connsiteY174" fmla="*/ 3349 h 10000"/>
              <a:gd name="connsiteX175" fmla="*/ 1199 w 10000"/>
              <a:gd name="connsiteY175" fmla="*/ 3450 h 10000"/>
              <a:gd name="connsiteX176" fmla="*/ 1158 w 10000"/>
              <a:gd name="connsiteY176" fmla="*/ 3629 h 10000"/>
              <a:gd name="connsiteX177" fmla="*/ 808 w 10000"/>
              <a:gd name="connsiteY177" fmla="*/ 3893 h 10000"/>
              <a:gd name="connsiteX178" fmla="*/ 854 w 10000"/>
              <a:gd name="connsiteY178" fmla="*/ 4276 h 10000"/>
              <a:gd name="connsiteX179" fmla="*/ 560 w 10000"/>
              <a:gd name="connsiteY179" fmla="*/ 4766 h 10000"/>
              <a:gd name="connsiteX180" fmla="*/ 358 w 10000"/>
              <a:gd name="connsiteY180" fmla="*/ 4822 h 10000"/>
              <a:gd name="connsiteX181" fmla="*/ 275 w 10000"/>
              <a:gd name="connsiteY181" fmla="*/ 4706 h 10000"/>
              <a:gd name="connsiteX182" fmla="*/ 174 w 10000"/>
              <a:gd name="connsiteY182" fmla="*/ 4882 h 10000"/>
              <a:gd name="connsiteX183" fmla="*/ 239 w 10000"/>
              <a:gd name="connsiteY183" fmla="*/ 4578 h 10000"/>
              <a:gd name="connsiteX184" fmla="*/ 197 w 10000"/>
              <a:gd name="connsiteY184"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3730 w 10000"/>
              <a:gd name="connsiteY158" fmla="*/ 962 h 10000"/>
              <a:gd name="connsiteX159" fmla="*/ 3154 w 10000"/>
              <a:gd name="connsiteY159" fmla="*/ 143 h 10000"/>
              <a:gd name="connsiteX160" fmla="*/ 2375 w 10000"/>
              <a:gd name="connsiteY160" fmla="*/ 0 h 10000"/>
              <a:gd name="connsiteX161" fmla="*/ 2226 w 10000"/>
              <a:gd name="connsiteY161" fmla="*/ 772 h 10000"/>
              <a:gd name="connsiteX162" fmla="*/ 2375 w 10000"/>
              <a:gd name="connsiteY162" fmla="*/ 967 h 10000"/>
              <a:gd name="connsiteX163" fmla="*/ 2791 w 10000"/>
              <a:gd name="connsiteY163" fmla="*/ 1185 h 10000"/>
              <a:gd name="connsiteX164" fmla="*/ 2808 w 10000"/>
              <a:gd name="connsiteY164" fmla="*/ 1446 h 10000"/>
              <a:gd name="connsiteX165" fmla="*/ 2632 w 10000"/>
              <a:gd name="connsiteY165" fmla="*/ 1665 h 10000"/>
              <a:gd name="connsiteX166" fmla="*/ 2375 w 10000"/>
              <a:gd name="connsiteY166" fmla="*/ 1798 h 10000"/>
              <a:gd name="connsiteX167" fmla="*/ 2039 w 10000"/>
              <a:gd name="connsiteY167" fmla="*/ 1851 h 10000"/>
              <a:gd name="connsiteX168" fmla="*/ 1950 w 10000"/>
              <a:gd name="connsiteY168" fmla="*/ 1929 h 10000"/>
              <a:gd name="connsiteX169" fmla="*/ 2148 w 10000"/>
              <a:gd name="connsiteY169" fmla="*/ 2110 h 10000"/>
              <a:gd name="connsiteX170" fmla="*/ 2261 w 10000"/>
              <a:gd name="connsiteY170" fmla="*/ 2541 h 10000"/>
              <a:gd name="connsiteX171" fmla="*/ 2005 w 10000"/>
              <a:gd name="connsiteY171" fmla="*/ 2910 h 10000"/>
              <a:gd name="connsiteX172" fmla="*/ 2094 w 10000"/>
              <a:gd name="connsiteY172" fmla="*/ 3022 h 10000"/>
              <a:gd name="connsiteX173" fmla="*/ 2012 w 10000"/>
              <a:gd name="connsiteY173" fmla="*/ 3214 h 10000"/>
              <a:gd name="connsiteX174" fmla="*/ 1850 w 10000"/>
              <a:gd name="connsiteY174" fmla="*/ 3349 h 10000"/>
              <a:gd name="connsiteX175" fmla="*/ 1199 w 10000"/>
              <a:gd name="connsiteY175" fmla="*/ 3450 h 10000"/>
              <a:gd name="connsiteX176" fmla="*/ 1158 w 10000"/>
              <a:gd name="connsiteY176" fmla="*/ 3629 h 10000"/>
              <a:gd name="connsiteX177" fmla="*/ 808 w 10000"/>
              <a:gd name="connsiteY177" fmla="*/ 3893 h 10000"/>
              <a:gd name="connsiteX178" fmla="*/ 854 w 10000"/>
              <a:gd name="connsiteY178" fmla="*/ 4276 h 10000"/>
              <a:gd name="connsiteX179" fmla="*/ 560 w 10000"/>
              <a:gd name="connsiteY179" fmla="*/ 4766 h 10000"/>
              <a:gd name="connsiteX180" fmla="*/ 358 w 10000"/>
              <a:gd name="connsiteY180" fmla="*/ 4822 h 10000"/>
              <a:gd name="connsiteX181" fmla="*/ 275 w 10000"/>
              <a:gd name="connsiteY181" fmla="*/ 4706 h 10000"/>
              <a:gd name="connsiteX182" fmla="*/ 174 w 10000"/>
              <a:gd name="connsiteY182" fmla="*/ 4882 h 10000"/>
              <a:gd name="connsiteX183" fmla="*/ 239 w 10000"/>
              <a:gd name="connsiteY183" fmla="*/ 4578 h 10000"/>
              <a:gd name="connsiteX184" fmla="*/ 197 w 10000"/>
              <a:gd name="connsiteY184"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5118 w 10000"/>
              <a:gd name="connsiteY158" fmla="*/ 1319 h 10000"/>
              <a:gd name="connsiteX159" fmla="*/ 3730 w 10000"/>
              <a:gd name="connsiteY159" fmla="*/ 962 h 10000"/>
              <a:gd name="connsiteX160" fmla="*/ 3154 w 10000"/>
              <a:gd name="connsiteY160" fmla="*/ 143 h 10000"/>
              <a:gd name="connsiteX161" fmla="*/ 2375 w 10000"/>
              <a:gd name="connsiteY161" fmla="*/ 0 h 10000"/>
              <a:gd name="connsiteX162" fmla="*/ 2226 w 10000"/>
              <a:gd name="connsiteY162" fmla="*/ 772 h 10000"/>
              <a:gd name="connsiteX163" fmla="*/ 2375 w 10000"/>
              <a:gd name="connsiteY163" fmla="*/ 967 h 10000"/>
              <a:gd name="connsiteX164" fmla="*/ 2791 w 10000"/>
              <a:gd name="connsiteY164" fmla="*/ 1185 h 10000"/>
              <a:gd name="connsiteX165" fmla="*/ 2808 w 10000"/>
              <a:gd name="connsiteY165" fmla="*/ 1446 h 10000"/>
              <a:gd name="connsiteX166" fmla="*/ 2632 w 10000"/>
              <a:gd name="connsiteY166" fmla="*/ 1665 h 10000"/>
              <a:gd name="connsiteX167" fmla="*/ 2375 w 10000"/>
              <a:gd name="connsiteY167" fmla="*/ 1798 h 10000"/>
              <a:gd name="connsiteX168" fmla="*/ 2039 w 10000"/>
              <a:gd name="connsiteY168" fmla="*/ 1851 h 10000"/>
              <a:gd name="connsiteX169" fmla="*/ 1950 w 10000"/>
              <a:gd name="connsiteY169" fmla="*/ 1929 h 10000"/>
              <a:gd name="connsiteX170" fmla="*/ 2148 w 10000"/>
              <a:gd name="connsiteY170" fmla="*/ 2110 h 10000"/>
              <a:gd name="connsiteX171" fmla="*/ 2261 w 10000"/>
              <a:gd name="connsiteY171" fmla="*/ 2541 h 10000"/>
              <a:gd name="connsiteX172" fmla="*/ 2005 w 10000"/>
              <a:gd name="connsiteY172" fmla="*/ 2910 h 10000"/>
              <a:gd name="connsiteX173" fmla="*/ 2094 w 10000"/>
              <a:gd name="connsiteY173" fmla="*/ 3022 h 10000"/>
              <a:gd name="connsiteX174" fmla="*/ 2012 w 10000"/>
              <a:gd name="connsiteY174" fmla="*/ 3214 h 10000"/>
              <a:gd name="connsiteX175" fmla="*/ 1850 w 10000"/>
              <a:gd name="connsiteY175" fmla="*/ 3349 h 10000"/>
              <a:gd name="connsiteX176" fmla="*/ 1199 w 10000"/>
              <a:gd name="connsiteY176" fmla="*/ 3450 h 10000"/>
              <a:gd name="connsiteX177" fmla="*/ 1158 w 10000"/>
              <a:gd name="connsiteY177" fmla="*/ 3629 h 10000"/>
              <a:gd name="connsiteX178" fmla="*/ 808 w 10000"/>
              <a:gd name="connsiteY178" fmla="*/ 3893 h 10000"/>
              <a:gd name="connsiteX179" fmla="*/ 854 w 10000"/>
              <a:gd name="connsiteY179" fmla="*/ 4276 h 10000"/>
              <a:gd name="connsiteX180" fmla="*/ 560 w 10000"/>
              <a:gd name="connsiteY180" fmla="*/ 4766 h 10000"/>
              <a:gd name="connsiteX181" fmla="*/ 358 w 10000"/>
              <a:gd name="connsiteY181" fmla="*/ 4822 h 10000"/>
              <a:gd name="connsiteX182" fmla="*/ 275 w 10000"/>
              <a:gd name="connsiteY182" fmla="*/ 4706 h 10000"/>
              <a:gd name="connsiteX183" fmla="*/ 174 w 10000"/>
              <a:gd name="connsiteY183" fmla="*/ 4882 h 10000"/>
              <a:gd name="connsiteX184" fmla="*/ 239 w 10000"/>
              <a:gd name="connsiteY184" fmla="*/ 4578 h 10000"/>
              <a:gd name="connsiteX185" fmla="*/ 197 w 10000"/>
              <a:gd name="connsiteY185"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4505 w 10000"/>
              <a:gd name="connsiteY158" fmla="*/ 1407 h 10000"/>
              <a:gd name="connsiteX159" fmla="*/ 3730 w 10000"/>
              <a:gd name="connsiteY159" fmla="*/ 962 h 10000"/>
              <a:gd name="connsiteX160" fmla="*/ 3154 w 10000"/>
              <a:gd name="connsiteY160" fmla="*/ 143 h 10000"/>
              <a:gd name="connsiteX161" fmla="*/ 2375 w 10000"/>
              <a:gd name="connsiteY161" fmla="*/ 0 h 10000"/>
              <a:gd name="connsiteX162" fmla="*/ 2226 w 10000"/>
              <a:gd name="connsiteY162" fmla="*/ 772 h 10000"/>
              <a:gd name="connsiteX163" fmla="*/ 2375 w 10000"/>
              <a:gd name="connsiteY163" fmla="*/ 967 h 10000"/>
              <a:gd name="connsiteX164" fmla="*/ 2791 w 10000"/>
              <a:gd name="connsiteY164" fmla="*/ 1185 h 10000"/>
              <a:gd name="connsiteX165" fmla="*/ 2808 w 10000"/>
              <a:gd name="connsiteY165" fmla="*/ 1446 h 10000"/>
              <a:gd name="connsiteX166" fmla="*/ 2632 w 10000"/>
              <a:gd name="connsiteY166" fmla="*/ 1665 h 10000"/>
              <a:gd name="connsiteX167" fmla="*/ 2375 w 10000"/>
              <a:gd name="connsiteY167" fmla="*/ 1798 h 10000"/>
              <a:gd name="connsiteX168" fmla="*/ 2039 w 10000"/>
              <a:gd name="connsiteY168" fmla="*/ 1851 h 10000"/>
              <a:gd name="connsiteX169" fmla="*/ 1950 w 10000"/>
              <a:gd name="connsiteY169" fmla="*/ 1929 h 10000"/>
              <a:gd name="connsiteX170" fmla="*/ 2148 w 10000"/>
              <a:gd name="connsiteY170" fmla="*/ 2110 h 10000"/>
              <a:gd name="connsiteX171" fmla="*/ 2261 w 10000"/>
              <a:gd name="connsiteY171" fmla="*/ 2541 h 10000"/>
              <a:gd name="connsiteX172" fmla="*/ 2005 w 10000"/>
              <a:gd name="connsiteY172" fmla="*/ 2910 h 10000"/>
              <a:gd name="connsiteX173" fmla="*/ 2094 w 10000"/>
              <a:gd name="connsiteY173" fmla="*/ 3022 h 10000"/>
              <a:gd name="connsiteX174" fmla="*/ 2012 w 10000"/>
              <a:gd name="connsiteY174" fmla="*/ 3214 h 10000"/>
              <a:gd name="connsiteX175" fmla="*/ 1850 w 10000"/>
              <a:gd name="connsiteY175" fmla="*/ 3349 h 10000"/>
              <a:gd name="connsiteX176" fmla="*/ 1199 w 10000"/>
              <a:gd name="connsiteY176" fmla="*/ 3450 h 10000"/>
              <a:gd name="connsiteX177" fmla="*/ 1158 w 10000"/>
              <a:gd name="connsiteY177" fmla="*/ 3629 h 10000"/>
              <a:gd name="connsiteX178" fmla="*/ 808 w 10000"/>
              <a:gd name="connsiteY178" fmla="*/ 3893 h 10000"/>
              <a:gd name="connsiteX179" fmla="*/ 854 w 10000"/>
              <a:gd name="connsiteY179" fmla="*/ 4276 h 10000"/>
              <a:gd name="connsiteX180" fmla="*/ 560 w 10000"/>
              <a:gd name="connsiteY180" fmla="*/ 4766 h 10000"/>
              <a:gd name="connsiteX181" fmla="*/ 358 w 10000"/>
              <a:gd name="connsiteY181" fmla="*/ 4822 h 10000"/>
              <a:gd name="connsiteX182" fmla="*/ 275 w 10000"/>
              <a:gd name="connsiteY182" fmla="*/ 4706 h 10000"/>
              <a:gd name="connsiteX183" fmla="*/ 174 w 10000"/>
              <a:gd name="connsiteY183" fmla="*/ 4882 h 10000"/>
              <a:gd name="connsiteX184" fmla="*/ 239 w 10000"/>
              <a:gd name="connsiteY184" fmla="*/ 4578 h 10000"/>
              <a:gd name="connsiteX185" fmla="*/ 197 w 10000"/>
              <a:gd name="connsiteY185"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5286 w 10000"/>
              <a:gd name="connsiteY158" fmla="*/ 1579 h 10000"/>
              <a:gd name="connsiteX159" fmla="*/ 4505 w 10000"/>
              <a:gd name="connsiteY159" fmla="*/ 1407 h 10000"/>
              <a:gd name="connsiteX160" fmla="*/ 3730 w 10000"/>
              <a:gd name="connsiteY160" fmla="*/ 962 h 10000"/>
              <a:gd name="connsiteX161" fmla="*/ 3154 w 10000"/>
              <a:gd name="connsiteY161" fmla="*/ 143 h 10000"/>
              <a:gd name="connsiteX162" fmla="*/ 2375 w 10000"/>
              <a:gd name="connsiteY162" fmla="*/ 0 h 10000"/>
              <a:gd name="connsiteX163" fmla="*/ 2226 w 10000"/>
              <a:gd name="connsiteY163" fmla="*/ 772 h 10000"/>
              <a:gd name="connsiteX164" fmla="*/ 2375 w 10000"/>
              <a:gd name="connsiteY164" fmla="*/ 967 h 10000"/>
              <a:gd name="connsiteX165" fmla="*/ 2791 w 10000"/>
              <a:gd name="connsiteY165" fmla="*/ 1185 h 10000"/>
              <a:gd name="connsiteX166" fmla="*/ 2808 w 10000"/>
              <a:gd name="connsiteY166" fmla="*/ 1446 h 10000"/>
              <a:gd name="connsiteX167" fmla="*/ 2632 w 10000"/>
              <a:gd name="connsiteY167" fmla="*/ 1665 h 10000"/>
              <a:gd name="connsiteX168" fmla="*/ 2375 w 10000"/>
              <a:gd name="connsiteY168" fmla="*/ 1798 h 10000"/>
              <a:gd name="connsiteX169" fmla="*/ 2039 w 10000"/>
              <a:gd name="connsiteY169" fmla="*/ 1851 h 10000"/>
              <a:gd name="connsiteX170" fmla="*/ 1950 w 10000"/>
              <a:gd name="connsiteY170" fmla="*/ 1929 h 10000"/>
              <a:gd name="connsiteX171" fmla="*/ 2148 w 10000"/>
              <a:gd name="connsiteY171" fmla="*/ 2110 h 10000"/>
              <a:gd name="connsiteX172" fmla="*/ 2261 w 10000"/>
              <a:gd name="connsiteY172" fmla="*/ 2541 h 10000"/>
              <a:gd name="connsiteX173" fmla="*/ 2005 w 10000"/>
              <a:gd name="connsiteY173" fmla="*/ 2910 h 10000"/>
              <a:gd name="connsiteX174" fmla="*/ 2094 w 10000"/>
              <a:gd name="connsiteY174" fmla="*/ 3022 h 10000"/>
              <a:gd name="connsiteX175" fmla="*/ 2012 w 10000"/>
              <a:gd name="connsiteY175" fmla="*/ 3214 h 10000"/>
              <a:gd name="connsiteX176" fmla="*/ 1850 w 10000"/>
              <a:gd name="connsiteY176" fmla="*/ 3349 h 10000"/>
              <a:gd name="connsiteX177" fmla="*/ 1199 w 10000"/>
              <a:gd name="connsiteY177" fmla="*/ 3450 h 10000"/>
              <a:gd name="connsiteX178" fmla="*/ 1158 w 10000"/>
              <a:gd name="connsiteY178" fmla="*/ 3629 h 10000"/>
              <a:gd name="connsiteX179" fmla="*/ 808 w 10000"/>
              <a:gd name="connsiteY179" fmla="*/ 3893 h 10000"/>
              <a:gd name="connsiteX180" fmla="*/ 854 w 10000"/>
              <a:gd name="connsiteY180" fmla="*/ 4276 h 10000"/>
              <a:gd name="connsiteX181" fmla="*/ 560 w 10000"/>
              <a:gd name="connsiteY181" fmla="*/ 4766 h 10000"/>
              <a:gd name="connsiteX182" fmla="*/ 358 w 10000"/>
              <a:gd name="connsiteY182" fmla="*/ 4822 h 10000"/>
              <a:gd name="connsiteX183" fmla="*/ 275 w 10000"/>
              <a:gd name="connsiteY183" fmla="*/ 4706 h 10000"/>
              <a:gd name="connsiteX184" fmla="*/ 174 w 10000"/>
              <a:gd name="connsiteY184" fmla="*/ 4882 h 10000"/>
              <a:gd name="connsiteX185" fmla="*/ 239 w 10000"/>
              <a:gd name="connsiteY185" fmla="*/ 4578 h 10000"/>
              <a:gd name="connsiteX186" fmla="*/ 197 w 10000"/>
              <a:gd name="connsiteY186"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5294 w 10000"/>
              <a:gd name="connsiteY158" fmla="*/ 1779 h 10000"/>
              <a:gd name="connsiteX159" fmla="*/ 4505 w 10000"/>
              <a:gd name="connsiteY159" fmla="*/ 1407 h 10000"/>
              <a:gd name="connsiteX160" fmla="*/ 3730 w 10000"/>
              <a:gd name="connsiteY160" fmla="*/ 962 h 10000"/>
              <a:gd name="connsiteX161" fmla="*/ 3154 w 10000"/>
              <a:gd name="connsiteY161" fmla="*/ 143 h 10000"/>
              <a:gd name="connsiteX162" fmla="*/ 2375 w 10000"/>
              <a:gd name="connsiteY162" fmla="*/ 0 h 10000"/>
              <a:gd name="connsiteX163" fmla="*/ 2226 w 10000"/>
              <a:gd name="connsiteY163" fmla="*/ 772 h 10000"/>
              <a:gd name="connsiteX164" fmla="*/ 2375 w 10000"/>
              <a:gd name="connsiteY164" fmla="*/ 967 h 10000"/>
              <a:gd name="connsiteX165" fmla="*/ 2791 w 10000"/>
              <a:gd name="connsiteY165" fmla="*/ 1185 h 10000"/>
              <a:gd name="connsiteX166" fmla="*/ 2808 w 10000"/>
              <a:gd name="connsiteY166" fmla="*/ 1446 h 10000"/>
              <a:gd name="connsiteX167" fmla="*/ 2632 w 10000"/>
              <a:gd name="connsiteY167" fmla="*/ 1665 h 10000"/>
              <a:gd name="connsiteX168" fmla="*/ 2375 w 10000"/>
              <a:gd name="connsiteY168" fmla="*/ 1798 h 10000"/>
              <a:gd name="connsiteX169" fmla="*/ 2039 w 10000"/>
              <a:gd name="connsiteY169" fmla="*/ 1851 h 10000"/>
              <a:gd name="connsiteX170" fmla="*/ 1950 w 10000"/>
              <a:gd name="connsiteY170" fmla="*/ 1929 h 10000"/>
              <a:gd name="connsiteX171" fmla="*/ 2148 w 10000"/>
              <a:gd name="connsiteY171" fmla="*/ 2110 h 10000"/>
              <a:gd name="connsiteX172" fmla="*/ 2261 w 10000"/>
              <a:gd name="connsiteY172" fmla="*/ 2541 h 10000"/>
              <a:gd name="connsiteX173" fmla="*/ 2005 w 10000"/>
              <a:gd name="connsiteY173" fmla="*/ 2910 h 10000"/>
              <a:gd name="connsiteX174" fmla="*/ 2094 w 10000"/>
              <a:gd name="connsiteY174" fmla="*/ 3022 h 10000"/>
              <a:gd name="connsiteX175" fmla="*/ 2012 w 10000"/>
              <a:gd name="connsiteY175" fmla="*/ 3214 h 10000"/>
              <a:gd name="connsiteX176" fmla="*/ 1850 w 10000"/>
              <a:gd name="connsiteY176" fmla="*/ 3349 h 10000"/>
              <a:gd name="connsiteX177" fmla="*/ 1199 w 10000"/>
              <a:gd name="connsiteY177" fmla="*/ 3450 h 10000"/>
              <a:gd name="connsiteX178" fmla="*/ 1158 w 10000"/>
              <a:gd name="connsiteY178" fmla="*/ 3629 h 10000"/>
              <a:gd name="connsiteX179" fmla="*/ 808 w 10000"/>
              <a:gd name="connsiteY179" fmla="*/ 3893 h 10000"/>
              <a:gd name="connsiteX180" fmla="*/ 854 w 10000"/>
              <a:gd name="connsiteY180" fmla="*/ 4276 h 10000"/>
              <a:gd name="connsiteX181" fmla="*/ 560 w 10000"/>
              <a:gd name="connsiteY181" fmla="*/ 4766 h 10000"/>
              <a:gd name="connsiteX182" fmla="*/ 358 w 10000"/>
              <a:gd name="connsiteY182" fmla="*/ 4822 h 10000"/>
              <a:gd name="connsiteX183" fmla="*/ 275 w 10000"/>
              <a:gd name="connsiteY183" fmla="*/ 4706 h 10000"/>
              <a:gd name="connsiteX184" fmla="*/ 174 w 10000"/>
              <a:gd name="connsiteY184" fmla="*/ 4882 h 10000"/>
              <a:gd name="connsiteX185" fmla="*/ 239 w 10000"/>
              <a:gd name="connsiteY185" fmla="*/ 4578 h 10000"/>
              <a:gd name="connsiteX186" fmla="*/ 197 w 10000"/>
              <a:gd name="connsiteY186"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793 w 10000"/>
              <a:gd name="connsiteY158" fmla="*/ 1993 h 10000"/>
              <a:gd name="connsiteX159" fmla="*/ 5294 w 10000"/>
              <a:gd name="connsiteY159" fmla="*/ 1779 h 10000"/>
              <a:gd name="connsiteX160" fmla="*/ 4505 w 10000"/>
              <a:gd name="connsiteY160" fmla="*/ 1407 h 10000"/>
              <a:gd name="connsiteX161" fmla="*/ 3730 w 10000"/>
              <a:gd name="connsiteY161" fmla="*/ 962 h 10000"/>
              <a:gd name="connsiteX162" fmla="*/ 3154 w 10000"/>
              <a:gd name="connsiteY162" fmla="*/ 143 h 10000"/>
              <a:gd name="connsiteX163" fmla="*/ 2375 w 10000"/>
              <a:gd name="connsiteY163" fmla="*/ 0 h 10000"/>
              <a:gd name="connsiteX164" fmla="*/ 2226 w 10000"/>
              <a:gd name="connsiteY164" fmla="*/ 772 h 10000"/>
              <a:gd name="connsiteX165" fmla="*/ 2375 w 10000"/>
              <a:gd name="connsiteY165" fmla="*/ 967 h 10000"/>
              <a:gd name="connsiteX166" fmla="*/ 2791 w 10000"/>
              <a:gd name="connsiteY166" fmla="*/ 1185 h 10000"/>
              <a:gd name="connsiteX167" fmla="*/ 2808 w 10000"/>
              <a:gd name="connsiteY167" fmla="*/ 1446 h 10000"/>
              <a:gd name="connsiteX168" fmla="*/ 2632 w 10000"/>
              <a:gd name="connsiteY168" fmla="*/ 1665 h 10000"/>
              <a:gd name="connsiteX169" fmla="*/ 2375 w 10000"/>
              <a:gd name="connsiteY169" fmla="*/ 1798 h 10000"/>
              <a:gd name="connsiteX170" fmla="*/ 2039 w 10000"/>
              <a:gd name="connsiteY170" fmla="*/ 1851 h 10000"/>
              <a:gd name="connsiteX171" fmla="*/ 1950 w 10000"/>
              <a:gd name="connsiteY171" fmla="*/ 1929 h 10000"/>
              <a:gd name="connsiteX172" fmla="*/ 2148 w 10000"/>
              <a:gd name="connsiteY172" fmla="*/ 2110 h 10000"/>
              <a:gd name="connsiteX173" fmla="*/ 2261 w 10000"/>
              <a:gd name="connsiteY173" fmla="*/ 2541 h 10000"/>
              <a:gd name="connsiteX174" fmla="*/ 2005 w 10000"/>
              <a:gd name="connsiteY174" fmla="*/ 2910 h 10000"/>
              <a:gd name="connsiteX175" fmla="*/ 2094 w 10000"/>
              <a:gd name="connsiteY175" fmla="*/ 3022 h 10000"/>
              <a:gd name="connsiteX176" fmla="*/ 2012 w 10000"/>
              <a:gd name="connsiteY176" fmla="*/ 3214 h 10000"/>
              <a:gd name="connsiteX177" fmla="*/ 1850 w 10000"/>
              <a:gd name="connsiteY177" fmla="*/ 3349 h 10000"/>
              <a:gd name="connsiteX178" fmla="*/ 1199 w 10000"/>
              <a:gd name="connsiteY178" fmla="*/ 3450 h 10000"/>
              <a:gd name="connsiteX179" fmla="*/ 1158 w 10000"/>
              <a:gd name="connsiteY179" fmla="*/ 3629 h 10000"/>
              <a:gd name="connsiteX180" fmla="*/ 808 w 10000"/>
              <a:gd name="connsiteY180" fmla="*/ 3893 h 10000"/>
              <a:gd name="connsiteX181" fmla="*/ 854 w 10000"/>
              <a:gd name="connsiteY181" fmla="*/ 4276 h 10000"/>
              <a:gd name="connsiteX182" fmla="*/ 560 w 10000"/>
              <a:gd name="connsiteY182" fmla="*/ 4766 h 10000"/>
              <a:gd name="connsiteX183" fmla="*/ 358 w 10000"/>
              <a:gd name="connsiteY183" fmla="*/ 4822 h 10000"/>
              <a:gd name="connsiteX184" fmla="*/ 275 w 10000"/>
              <a:gd name="connsiteY184" fmla="*/ 4706 h 10000"/>
              <a:gd name="connsiteX185" fmla="*/ 174 w 10000"/>
              <a:gd name="connsiteY185" fmla="*/ 4882 h 10000"/>
              <a:gd name="connsiteX186" fmla="*/ 239 w 10000"/>
              <a:gd name="connsiteY186" fmla="*/ 4578 h 10000"/>
              <a:gd name="connsiteX187" fmla="*/ 197 w 10000"/>
              <a:gd name="connsiteY187"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304 w 10000"/>
              <a:gd name="connsiteY158" fmla="*/ 1864 h 10000"/>
              <a:gd name="connsiteX159" fmla="*/ 5294 w 10000"/>
              <a:gd name="connsiteY159" fmla="*/ 1779 h 10000"/>
              <a:gd name="connsiteX160" fmla="*/ 4505 w 10000"/>
              <a:gd name="connsiteY160" fmla="*/ 1407 h 10000"/>
              <a:gd name="connsiteX161" fmla="*/ 3730 w 10000"/>
              <a:gd name="connsiteY161" fmla="*/ 962 h 10000"/>
              <a:gd name="connsiteX162" fmla="*/ 3154 w 10000"/>
              <a:gd name="connsiteY162" fmla="*/ 143 h 10000"/>
              <a:gd name="connsiteX163" fmla="*/ 2375 w 10000"/>
              <a:gd name="connsiteY163" fmla="*/ 0 h 10000"/>
              <a:gd name="connsiteX164" fmla="*/ 2226 w 10000"/>
              <a:gd name="connsiteY164" fmla="*/ 772 h 10000"/>
              <a:gd name="connsiteX165" fmla="*/ 2375 w 10000"/>
              <a:gd name="connsiteY165" fmla="*/ 967 h 10000"/>
              <a:gd name="connsiteX166" fmla="*/ 2791 w 10000"/>
              <a:gd name="connsiteY166" fmla="*/ 1185 h 10000"/>
              <a:gd name="connsiteX167" fmla="*/ 2808 w 10000"/>
              <a:gd name="connsiteY167" fmla="*/ 1446 h 10000"/>
              <a:gd name="connsiteX168" fmla="*/ 2632 w 10000"/>
              <a:gd name="connsiteY168" fmla="*/ 1665 h 10000"/>
              <a:gd name="connsiteX169" fmla="*/ 2375 w 10000"/>
              <a:gd name="connsiteY169" fmla="*/ 1798 h 10000"/>
              <a:gd name="connsiteX170" fmla="*/ 2039 w 10000"/>
              <a:gd name="connsiteY170" fmla="*/ 1851 h 10000"/>
              <a:gd name="connsiteX171" fmla="*/ 1950 w 10000"/>
              <a:gd name="connsiteY171" fmla="*/ 1929 h 10000"/>
              <a:gd name="connsiteX172" fmla="*/ 2148 w 10000"/>
              <a:gd name="connsiteY172" fmla="*/ 2110 h 10000"/>
              <a:gd name="connsiteX173" fmla="*/ 2261 w 10000"/>
              <a:gd name="connsiteY173" fmla="*/ 2541 h 10000"/>
              <a:gd name="connsiteX174" fmla="*/ 2005 w 10000"/>
              <a:gd name="connsiteY174" fmla="*/ 2910 h 10000"/>
              <a:gd name="connsiteX175" fmla="*/ 2094 w 10000"/>
              <a:gd name="connsiteY175" fmla="*/ 3022 h 10000"/>
              <a:gd name="connsiteX176" fmla="*/ 2012 w 10000"/>
              <a:gd name="connsiteY176" fmla="*/ 3214 h 10000"/>
              <a:gd name="connsiteX177" fmla="*/ 1850 w 10000"/>
              <a:gd name="connsiteY177" fmla="*/ 3349 h 10000"/>
              <a:gd name="connsiteX178" fmla="*/ 1199 w 10000"/>
              <a:gd name="connsiteY178" fmla="*/ 3450 h 10000"/>
              <a:gd name="connsiteX179" fmla="*/ 1158 w 10000"/>
              <a:gd name="connsiteY179" fmla="*/ 3629 h 10000"/>
              <a:gd name="connsiteX180" fmla="*/ 808 w 10000"/>
              <a:gd name="connsiteY180" fmla="*/ 3893 h 10000"/>
              <a:gd name="connsiteX181" fmla="*/ 854 w 10000"/>
              <a:gd name="connsiteY181" fmla="*/ 4276 h 10000"/>
              <a:gd name="connsiteX182" fmla="*/ 560 w 10000"/>
              <a:gd name="connsiteY182" fmla="*/ 4766 h 10000"/>
              <a:gd name="connsiteX183" fmla="*/ 358 w 10000"/>
              <a:gd name="connsiteY183" fmla="*/ 4822 h 10000"/>
              <a:gd name="connsiteX184" fmla="*/ 275 w 10000"/>
              <a:gd name="connsiteY184" fmla="*/ 4706 h 10000"/>
              <a:gd name="connsiteX185" fmla="*/ 174 w 10000"/>
              <a:gd name="connsiteY185" fmla="*/ 4882 h 10000"/>
              <a:gd name="connsiteX186" fmla="*/ 239 w 10000"/>
              <a:gd name="connsiteY186" fmla="*/ 4578 h 10000"/>
              <a:gd name="connsiteX187" fmla="*/ 197 w 10000"/>
              <a:gd name="connsiteY187"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7088 w 10000"/>
              <a:gd name="connsiteY158" fmla="*/ 2011 h 10000"/>
              <a:gd name="connsiteX159" fmla="*/ 6304 w 10000"/>
              <a:gd name="connsiteY159" fmla="*/ 1864 h 10000"/>
              <a:gd name="connsiteX160" fmla="*/ 5294 w 10000"/>
              <a:gd name="connsiteY160" fmla="*/ 1779 h 10000"/>
              <a:gd name="connsiteX161" fmla="*/ 4505 w 10000"/>
              <a:gd name="connsiteY161" fmla="*/ 1407 h 10000"/>
              <a:gd name="connsiteX162" fmla="*/ 3730 w 10000"/>
              <a:gd name="connsiteY162" fmla="*/ 962 h 10000"/>
              <a:gd name="connsiteX163" fmla="*/ 3154 w 10000"/>
              <a:gd name="connsiteY163" fmla="*/ 143 h 10000"/>
              <a:gd name="connsiteX164" fmla="*/ 2375 w 10000"/>
              <a:gd name="connsiteY164" fmla="*/ 0 h 10000"/>
              <a:gd name="connsiteX165" fmla="*/ 2226 w 10000"/>
              <a:gd name="connsiteY165" fmla="*/ 772 h 10000"/>
              <a:gd name="connsiteX166" fmla="*/ 2375 w 10000"/>
              <a:gd name="connsiteY166" fmla="*/ 967 h 10000"/>
              <a:gd name="connsiteX167" fmla="*/ 2791 w 10000"/>
              <a:gd name="connsiteY167" fmla="*/ 1185 h 10000"/>
              <a:gd name="connsiteX168" fmla="*/ 2808 w 10000"/>
              <a:gd name="connsiteY168" fmla="*/ 1446 h 10000"/>
              <a:gd name="connsiteX169" fmla="*/ 2632 w 10000"/>
              <a:gd name="connsiteY169" fmla="*/ 1665 h 10000"/>
              <a:gd name="connsiteX170" fmla="*/ 2375 w 10000"/>
              <a:gd name="connsiteY170" fmla="*/ 1798 h 10000"/>
              <a:gd name="connsiteX171" fmla="*/ 2039 w 10000"/>
              <a:gd name="connsiteY171" fmla="*/ 1851 h 10000"/>
              <a:gd name="connsiteX172" fmla="*/ 1950 w 10000"/>
              <a:gd name="connsiteY172" fmla="*/ 1929 h 10000"/>
              <a:gd name="connsiteX173" fmla="*/ 2148 w 10000"/>
              <a:gd name="connsiteY173" fmla="*/ 2110 h 10000"/>
              <a:gd name="connsiteX174" fmla="*/ 2261 w 10000"/>
              <a:gd name="connsiteY174" fmla="*/ 2541 h 10000"/>
              <a:gd name="connsiteX175" fmla="*/ 2005 w 10000"/>
              <a:gd name="connsiteY175" fmla="*/ 2910 h 10000"/>
              <a:gd name="connsiteX176" fmla="*/ 2094 w 10000"/>
              <a:gd name="connsiteY176" fmla="*/ 3022 h 10000"/>
              <a:gd name="connsiteX177" fmla="*/ 2012 w 10000"/>
              <a:gd name="connsiteY177" fmla="*/ 3214 h 10000"/>
              <a:gd name="connsiteX178" fmla="*/ 1850 w 10000"/>
              <a:gd name="connsiteY178" fmla="*/ 3349 h 10000"/>
              <a:gd name="connsiteX179" fmla="*/ 1199 w 10000"/>
              <a:gd name="connsiteY179" fmla="*/ 3450 h 10000"/>
              <a:gd name="connsiteX180" fmla="*/ 1158 w 10000"/>
              <a:gd name="connsiteY180" fmla="*/ 3629 h 10000"/>
              <a:gd name="connsiteX181" fmla="*/ 808 w 10000"/>
              <a:gd name="connsiteY181" fmla="*/ 3893 h 10000"/>
              <a:gd name="connsiteX182" fmla="*/ 854 w 10000"/>
              <a:gd name="connsiteY182" fmla="*/ 4276 h 10000"/>
              <a:gd name="connsiteX183" fmla="*/ 560 w 10000"/>
              <a:gd name="connsiteY183" fmla="*/ 4766 h 10000"/>
              <a:gd name="connsiteX184" fmla="*/ 358 w 10000"/>
              <a:gd name="connsiteY184" fmla="*/ 4822 h 10000"/>
              <a:gd name="connsiteX185" fmla="*/ 275 w 10000"/>
              <a:gd name="connsiteY185" fmla="*/ 4706 h 10000"/>
              <a:gd name="connsiteX186" fmla="*/ 174 w 10000"/>
              <a:gd name="connsiteY186" fmla="*/ 4882 h 10000"/>
              <a:gd name="connsiteX187" fmla="*/ 239 w 10000"/>
              <a:gd name="connsiteY187" fmla="*/ 4578 h 10000"/>
              <a:gd name="connsiteX188" fmla="*/ 197 w 10000"/>
              <a:gd name="connsiteY188"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909 w 10000"/>
              <a:gd name="connsiteY158" fmla="*/ 2300 h 10000"/>
              <a:gd name="connsiteX159" fmla="*/ 6304 w 10000"/>
              <a:gd name="connsiteY159" fmla="*/ 1864 h 10000"/>
              <a:gd name="connsiteX160" fmla="*/ 5294 w 10000"/>
              <a:gd name="connsiteY160" fmla="*/ 1779 h 10000"/>
              <a:gd name="connsiteX161" fmla="*/ 4505 w 10000"/>
              <a:gd name="connsiteY161" fmla="*/ 1407 h 10000"/>
              <a:gd name="connsiteX162" fmla="*/ 3730 w 10000"/>
              <a:gd name="connsiteY162" fmla="*/ 962 h 10000"/>
              <a:gd name="connsiteX163" fmla="*/ 3154 w 10000"/>
              <a:gd name="connsiteY163" fmla="*/ 143 h 10000"/>
              <a:gd name="connsiteX164" fmla="*/ 2375 w 10000"/>
              <a:gd name="connsiteY164" fmla="*/ 0 h 10000"/>
              <a:gd name="connsiteX165" fmla="*/ 2226 w 10000"/>
              <a:gd name="connsiteY165" fmla="*/ 772 h 10000"/>
              <a:gd name="connsiteX166" fmla="*/ 2375 w 10000"/>
              <a:gd name="connsiteY166" fmla="*/ 967 h 10000"/>
              <a:gd name="connsiteX167" fmla="*/ 2791 w 10000"/>
              <a:gd name="connsiteY167" fmla="*/ 1185 h 10000"/>
              <a:gd name="connsiteX168" fmla="*/ 2808 w 10000"/>
              <a:gd name="connsiteY168" fmla="*/ 1446 h 10000"/>
              <a:gd name="connsiteX169" fmla="*/ 2632 w 10000"/>
              <a:gd name="connsiteY169" fmla="*/ 1665 h 10000"/>
              <a:gd name="connsiteX170" fmla="*/ 2375 w 10000"/>
              <a:gd name="connsiteY170" fmla="*/ 1798 h 10000"/>
              <a:gd name="connsiteX171" fmla="*/ 2039 w 10000"/>
              <a:gd name="connsiteY171" fmla="*/ 1851 h 10000"/>
              <a:gd name="connsiteX172" fmla="*/ 1950 w 10000"/>
              <a:gd name="connsiteY172" fmla="*/ 1929 h 10000"/>
              <a:gd name="connsiteX173" fmla="*/ 2148 w 10000"/>
              <a:gd name="connsiteY173" fmla="*/ 2110 h 10000"/>
              <a:gd name="connsiteX174" fmla="*/ 2261 w 10000"/>
              <a:gd name="connsiteY174" fmla="*/ 2541 h 10000"/>
              <a:gd name="connsiteX175" fmla="*/ 2005 w 10000"/>
              <a:gd name="connsiteY175" fmla="*/ 2910 h 10000"/>
              <a:gd name="connsiteX176" fmla="*/ 2094 w 10000"/>
              <a:gd name="connsiteY176" fmla="*/ 3022 h 10000"/>
              <a:gd name="connsiteX177" fmla="*/ 2012 w 10000"/>
              <a:gd name="connsiteY177" fmla="*/ 3214 h 10000"/>
              <a:gd name="connsiteX178" fmla="*/ 1850 w 10000"/>
              <a:gd name="connsiteY178" fmla="*/ 3349 h 10000"/>
              <a:gd name="connsiteX179" fmla="*/ 1199 w 10000"/>
              <a:gd name="connsiteY179" fmla="*/ 3450 h 10000"/>
              <a:gd name="connsiteX180" fmla="*/ 1158 w 10000"/>
              <a:gd name="connsiteY180" fmla="*/ 3629 h 10000"/>
              <a:gd name="connsiteX181" fmla="*/ 808 w 10000"/>
              <a:gd name="connsiteY181" fmla="*/ 3893 h 10000"/>
              <a:gd name="connsiteX182" fmla="*/ 854 w 10000"/>
              <a:gd name="connsiteY182" fmla="*/ 4276 h 10000"/>
              <a:gd name="connsiteX183" fmla="*/ 560 w 10000"/>
              <a:gd name="connsiteY183" fmla="*/ 4766 h 10000"/>
              <a:gd name="connsiteX184" fmla="*/ 358 w 10000"/>
              <a:gd name="connsiteY184" fmla="*/ 4822 h 10000"/>
              <a:gd name="connsiteX185" fmla="*/ 275 w 10000"/>
              <a:gd name="connsiteY185" fmla="*/ 4706 h 10000"/>
              <a:gd name="connsiteX186" fmla="*/ 174 w 10000"/>
              <a:gd name="connsiteY186" fmla="*/ 4882 h 10000"/>
              <a:gd name="connsiteX187" fmla="*/ 239 w 10000"/>
              <a:gd name="connsiteY187" fmla="*/ 4578 h 10000"/>
              <a:gd name="connsiteX188" fmla="*/ 197 w 10000"/>
              <a:gd name="connsiteY188"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909 w 10000"/>
              <a:gd name="connsiteY158" fmla="*/ 2300 h 10000"/>
              <a:gd name="connsiteX159" fmla="*/ 7472 w 10000"/>
              <a:gd name="connsiteY159" fmla="*/ 2258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909 w 10000"/>
              <a:gd name="connsiteY158" fmla="*/ 2300 h 10000"/>
              <a:gd name="connsiteX159" fmla="*/ 6563 w 10000"/>
              <a:gd name="connsiteY159" fmla="*/ 2328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7479 w 10000"/>
              <a:gd name="connsiteY158" fmla="*/ 2459 h 10000"/>
              <a:gd name="connsiteX159" fmla="*/ 6563 w 10000"/>
              <a:gd name="connsiteY159" fmla="*/ 2328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7450 w 10000"/>
              <a:gd name="connsiteY158" fmla="*/ 2382 h 10000"/>
              <a:gd name="connsiteX159" fmla="*/ 6563 w 10000"/>
              <a:gd name="connsiteY159" fmla="*/ 2328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7450 w 10000"/>
              <a:gd name="connsiteY158" fmla="*/ 2382 h 10000"/>
              <a:gd name="connsiteX159" fmla="*/ 6694 w 10000"/>
              <a:gd name="connsiteY159" fmla="*/ 2311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6419 w 10000"/>
              <a:gd name="connsiteY58" fmla="*/ 8186 h 10000"/>
              <a:gd name="connsiteX59" fmla="*/ 6586 w 10000"/>
              <a:gd name="connsiteY59" fmla="*/ 7505 h 10000"/>
              <a:gd name="connsiteX60" fmla="*/ 6855 w 10000"/>
              <a:gd name="connsiteY60" fmla="*/ 7204 h 10000"/>
              <a:gd name="connsiteX61" fmla="*/ 6855 w 10000"/>
              <a:gd name="connsiteY61" fmla="*/ 7043 h 10000"/>
              <a:gd name="connsiteX62" fmla="*/ 6757 w 10000"/>
              <a:gd name="connsiteY62" fmla="*/ 6956 h 10000"/>
              <a:gd name="connsiteX63" fmla="*/ 6915 w 10000"/>
              <a:gd name="connsiteY63" fmla="*/ 6811 h 10000"/>
              <a:gd name="connsiteX64" fmla="*/ 6887 w 10000"/>
              <a:gd name="connsiteY64" fmla="*/ 6693 h 10000"/>
              <a:gd name="connsiteX65" fmla="*/ 6779 w 10000"/>
              <a:gd name="connsiteY65" fmla="*/ 6592 h 10000"/>
              <a:gd name="connsiteX66" fmla="*/ 6757 w 10000"/>
              <a:gd name="connsiteY66" fmla="*/ 6514 h 10000"/>
              <a:gd name="connsiteX67" fmla="*/ 6785 w 10000"/>
              <a:gd name="connsiteY67" fmla="*/ 6457 h 10000"/>
              <a:gd name="connsiteX68" fmla="*/ 6931 w 10000"/>
              <a:gd name="connsiteY68" fmla="*/ 6503 h 10000"/>
              <a:gd name="connsiteX69" fmla="*/ 7045 w 10000"/>
              <a:gd name="connsiteY69" fmla="*/ 6500 h 10000"/>
              <a:gd name="connsiteX70" fmla="*/ 6983 w 10000"/>
              <a:gd name="connsiteY70" fmla="*/ 6404 h 10000"/>
              <a:gd name="connsiteX71" fmla="*/ 7003 w 10000"/>
              <a:gd name="connsiteY71" fmla="*/ 6346 h 10000"/>
              <a:gd name="connsiteX72" fmla="*/ 7089 w 10000"/>
              <a:gd name="connsiteY72" fmla="*/ 6265 h 10000"/>
              <a:gd name="connsiteX73" fmla="*/ 7074 w 10000"/>
              <a:gd name="connsiteY73" fmla="*/ 6198 h 10000"/>
              <a:gd name="connsiteX74" fmla="*/ 7152 w 10000"/>
              <a:gd name="connsiteY74" fmla="*/ 5971 h 10000"/>
              <a:gd name="connsiteX75" fmla="*/ 7130 w 10000"/>
              <a:gd name="connsiteY75" fmla="*/ 5902 h 10000"/>
              <a:gd name="connsiteX76" fmla="*/ 6729 w 10000"/>
              <a:gd name="connsiteY76" fmla="*/ 5729 h 10000"/>
              <a:gd name="connsiteX77" fmla="*/ 6785 w 10000"/>
              <a:gd name="connsiteY77" fmla="*/ 5723 h 10000"/>
              <a:gd name="connsiteX78" fmla="*/ 6998 w 10000"/>
              <a:gd name="connsiteY78" fmla="*/ 5768 h 10000"/>
              <a:gd name="connsiteX79" fmla="*/ 7230 w 10000"/>
              <a:gd name="connsiteY79" fmla="*/ 5751 h 10000"/>
              <a:gd name="connsiteX80" fmla="*/ 7295 w 10000"/>
              <a:gd name="connsiteY80" fmla="*/ 5689 h 10000"/>
              <a:gd name="connsiteX81" fmla="*/ 7074 w 10000"/>
              <a:gd name="connsiteY81" fmla="*/ 5571 h 10000"/>
              <a:gd name="connsiteX82" fmla="*/ 6414 w 10000"/>
              <a:gd name="connsiteY82" fmla="*/ 5495 h 10000"/>
              <a:gd name="connsiteX83" fmla="*/ 6458 w 10000"/>
              <a:gd name="connsiteY83" fmla="*/ 5459 h 10000"/>
              <a:gd name="connsiteX84" fmla="*/ 6998 w 10000"/>
              <a:gd name="connsiteY84" fmla="*/ 5434 h 10000"/>
              <a:gd name="connsiteX85" fmla="*/ 7295 w 10000"/>
              <a:gd name="connsiteY85" fmla="*/ 5506 h 10000"/>
              <a:gd name="connsiteX86" fmla="*/ 7466 w 10000"/>
              <a:gd name="connsiteY86" fmla="*/ 5459 h 10000"/>
              <a:gd name="connsiteX87" fmla="*/ 7529 w 10000"/>
              <a:gd name="connsiteY87" fmla="*/ 5337 h 10000"/>
              <a:gd name="connsiteX88" fmla="*/ 7840 w 10000"/>
              <a:gd name="connsiteY88" fmla="*/ 5337 h 10000"/>
              <a:gd name="connsiteX89" fmla="*/ 8261 w 10000"/>
              <a:gd name="connsiteY89" fmla="*/ 5093 h 10000"/>
              <a:gd name="connsiteX90" fmla="*/ 8275 w 10000"/>
              <a:gd name="connsiteY90" fmla="*/ 4928 h 10000"/>
              <a:gd name="connsiteX91" fmla="*/ 8453 w 10000"/>
              <a:gd name="connsiteY91" fmla="*/ 4965 h 10000"/>
              <a:gd name="connsiteX92" fmla="*/ 8446 w 10000"/>
              <a:gd name="connsiteY92" fmla="*/ 5130 h 10000"/>
              <a:gd name="connsiteX93" fmla="*/ 8727 w 10000"/>
              <a:gd name="connsiteY93" fmla="*/ 5118 h 10000"/>
              <a:gd name="connsiteX94" fmla="*/ 8913 w 10000"/>
              <a:gd name="connsiteY94" fmla="*/ 4948 h 10000"/>
              <a:gd name="connsiteX95" fmla="*/ 9258 w 10000"/>
              <a:gd name="connsiteY95" fmla="*/ 4795 h 10000"/>
              <a:gd name="connsiteX96" fmla="*/ 9203 w 10000"/>
              <a:gd name="connsiteY96" fmla="*/ 4621 h 10000"/>
              <a:gd name="connsiteX97" fmla="*/ 9306 w 10000"/>
              <a:gd name="connsiteY97" fmla="*/ 4690 h 10000"/>
              <a:gd name="connsiteX98" fmla="*/ 9464 w 10000"/>
              <a:gd name="connsiteY98" fmla="*/ 4690 h 10000"/>
              <a:gd name="connsiteX99" fmla="*/ 9464 w 10000"/>
              <a:gd name="connsiteY99" fmla="*/ 4609 h 10000"/>
              <a:gd name="connsiteX100" fmla="*/ 9611 w 10000"/>
              <a:gd name="connsiteY100" fmla="*/ 4550 h 10000"/>
              <a:gd name="connsiteX101" fmla="*/ 9592 w 10000"/>
              <a:gd name="connsiteY101" fmla="*/ 4487 h 10000"/>
              <a:gd name="connsiteX102" fmla="*/ 8350 w 10000"/>
              <a:gd name="connsiteY102" fmla="*/ 4611 h 10000"/>
              <a:gd name="connsiteX103" fmla="*/ 8058 w 10000"/>
              <a:gd name="connsiteY103" fmla="*/ 4576 h 10000"/>
              <a:gd name="connsiteX104" fmla="*/ 7942 w 10000"/>
              <a:gd name="connsiteY104" fmla="*/ 4621 h 10000"/>
              <a:gd name="connsiteX105" fmla="*/ 7903 w 10000"/>
              <a:gd name="connsiteY105" fmla="*/ 4532 h 10000"/>
              <a:gd name="connsiteX106" fmla="*/ 7765 w 10000"/>
              <a:gd name="connsiteY106" fmla="*/ 4456 h 10000"/>
              <a:gd name="connsiteX107" fmla="*/ 7213 w 10000"/>
              <a:gd name="connsiteY107" fmla="*/ 4297 h 10000"/>
              <a:gd name="connsiteX108" fmla="*/ 6887 w 10000"/>
              <a:gd name="connsiteY108" fmla="*/ 4324 h 10000"/>
              <a:gd name="connsiteX109" fmla="*/ 6757 w 10000"/>
              <a:gd name="connsiteY109" fmla="*/ 4278 h 10000"/>
              <a:gd name="connsiteX110" fmla="*/ 6894 w 10000"/>
              <a:gd name="connsiteY110" fmla="*/ 4240 h 10000"/>
              <a:gd name="connsiteX111" fmla="*/ 6998 w 10000"/>
              <a:gd name="connsiteY111" fmla="*/ 4156 h 10000"/>
              <a:gd name="connsiteX112" fmla="*/ 7152 w 10000"/>
              <a:gd name="connsiteY112" fmla="*/ 4182 h 10000"/>
              <a:gd name="connsiteX113" fmla="*/ 7335 w 10000"/>
              <a:gd name="connsiteY113" fmla="*/ 4161 h 10000"/>
              <a:gd name="connsiteX114" fmla="*/ 7611 w 10000"/>
              <a:gd name="connsiteY114" fmla="*/ 4188 h 10000"/>
              <a:gd name="connsiteX115" fmla="*/ 7645 w 10000"/>
              <a:gd name="connsiteY115" fmla="*/ 4177 h 10000"/>
              <a:gd name="connsiteX116" fmla="*/ 7859 w 10000"/>
              <a:gd name="connsiteY116" fmla="*/ 4305 h 10000"/>
              <a:gd name="connsiteX117" fmla="*/ 8017 w 10000"/>
              <a:gd name="connsiteY117" fmla="*/ 4257 h 10000"/>
              <a:gd name="connsiteX118" fmla="*/ 8032 w 10000"/>
              <a:gd name="connsiteY118" fmla="*/ 4214 h 10000"/>
              <a:gd name="connsiteX119" fmla="*/ 8176 w 10000"/>
              <a:gd name="connsiteY119" fmla="*/ 4290 h 10000"/>
              <a:gd name="connsiteX120" fmla="*/ 8369 w 10000"/>
              <a:gd name="connsiteY120" fmla="*/ 4331 h 10000"/>
              <a:gd name="connsiteX121" fmla="*/ 8446 w 10000"/>
              <a:gd name="connsiteY121" fmla="*/ 4255 h 10000"/>
              <a:gd name="connsiteX122" fmla="*/ 8507 w 10000"/>
              <a:gd name="connsiteY122" fmla="*/ 4297 h 10000"/>
              <a:gd name="connsiteX123" fmla="*/ 8596 w 10000"/>
              <a:gd name="connsiteY123" fmla="*/ 4446 h 10000"/>
              <a:gd name="connsiteX124" fmla="*/ 8782 w 10000"/>
              <a:gd name="connsiteY124" fmla="*/ 4478 h 10000"/>
              <a:gd name="connsiteX125" fmla="*/ 9542 w 10000"/>
              <a:gd name="connsiteY125" fmla="*/ 4262 h 10000"/>
              <a:gd name="connsiteX126" fmla="*/ 9914 w 10000"/>
              <a:gd name="connsiteY126" fmla="*/ 3962 h 10000"/>
              <a:gd name="connsiteX127" fmla="*/ 10000 w 10000"/>
              <a:gd name="connsiteY127" fmla="*/ 3744 h 10000"/>
              <a:gd name="connsiteX128" fmla="*/ 9866 w 10000"/>
              <a:gd name="connsiteY128" fmla="*/ 3546 h 10000"/>
              <a:gd name="connsiteX129" fmla="*/ 9582 w 10000"/>
              <a:gd name="connsiteY129" fmla="*/ 3428 h 10000"/>
              <a:gd name="connsiteX130" fmla="*/ 9382 w 10000"/>
              <a:gd name="connsiteY130" fmla="*/ 3233 h 10000"/>
              <a:gd name="connsiteX131" fmla="*/ 9569 w 10000"/>
              <a:gd name="connsiteY131" fmla="*/ 3227 h 10000"/>
              <a:gd name="connsiteX132" fmla="*/ 9555 w 10000"/>
              <a:gd name="connsiteY132" fmla="*/ 3180 h 10000"/>
              <a:gd name="connsiteX133" fmla="*/ 9068 w 10000"/>
              <a:gd name="connsiteY133" fmla="*/ 3045 h 10000"/>
              <a:gd name="connsiteX134" fmla="*/ 9047 w 10000"/>
              <a:gd name="connsiteY134" fmla="*/ 2920 h 10000"/>
              <a:gd name="connsiteX135" fmla="*/ 8953 w 10000"/>
              <a:gd name="connsiteY135" fmla="*/ 2789 h 10000"/>
              <a:gd name="connsiteX136" fmla="*/ 8569 w 10000"/>
              <a:gd name="connsiteY136" fmla="*/ 2813 h 10000"/>
              <a:gd name="connsiteX137" fmla="*/ 8431 w 10000"/>
              <a:gd name="connsiteY137" fmla="*/ 2673 h 10000"/>
              <a:gd name="connsiteX138" fmla="*/ 8350 w 10000"/>
              <a:gd name="connsiteY138" fmla="*/ 2665 h 10000"/>
              <a:gd name="connsiteX139" fmla="*/ 8350 w 10000"/>
              <a:gd name="connsiteY139" fmla="*/ 2726 h 10000"/>
              <a:gd name="connsiteX140" fmla="*/ 8176 w 10000"/>
              <a:gd name="connsiteY140" fmla="*/ 2959 h 10000"/>
              <a:gd name="connsiteX141" fmla="*/ 7990 w 10000"/>
              <a:gd name="connsiteY141" fmla="*/ 3096 h 10000"/>
              <a:gd name="connsiteX142" fmla="*/ 7401 w 10000"/>
              <a:gd name="connsiteY142" fmla="*/ 3329 h 10000"/>
              <a:gd name="connsiteX143" fmla="*/ 7198 w 10000"/>
              <a:gd name="connsiteY143" fmla="*/ 3322 h 10000"/>
              <a:gd name="connsiteX144" fmla="*/ 6915 w 10000"/>
              <a:gd name="connsiteY144" fmla="*/ 3359 h 10000"/>
              <a:gd name="connsiteX145" fmla="*/ 6757 w 10000"/>
              <a:gd name="connsiteY145" fmla="*/ 3322 h 10000"/>
              <a:gd name="connsiteX146" fmla="*/ 6965 w 10000"/>
              <a:gd name="connsiteY146" fmla="*/ 3255 h 10000"/>
              <a:gd name="connsiteX147" fmla="*/ 7235 w 10000"/>
              <a:gd name="connsiteY147" fmla="*/ 3227 h 10000"/>
              <a:gd name="connsiteX148" fmla="*/ 7455 w 10000"/>
              <a:gd name="connsiteY148" fmla="*/ 3118 h 10000"/>
              <a:gd name="connsiteX149" fmla="*/ 7674 w 10000"/>
              <a:gd name="connsiteY149" fmla="*/ 3066 h 10000"/>
              <a:gd name="connsiteX150" fmla="*/ 8082 w 10000"/>
              <a:gd name="connsiteY150" fmla="*/ 2874 h 10000"/>
              <a:gd name="connsiteX151" fmla="*/ 8157 w 10000"/>
              <a:gd name="connsiteY151" fmla="*/ 2750 h 10000"/>
              <a:gd name="connsiteX152" fmla="*/ 8165 w 10000"/>
              <a:gd name="connsiteY152" fmla="*/ 2589 h 10000"/>
              <a:gd name="connsiteX153" fmla="*/ 7978 w 10000"/>
              <a:gd name="connsiteY153" fmla="*/ 2562 h 10000"/>
              <a:gd name="connsiteX154" fmla="*/ 8058 w 10000"/>
              <a:gd name="connsiteY154" fmla="*/ 2463 h 10000"/>
              <a:gd name="connsiteX155" fmla="*/ 8087 w 10000"/>
              <a:gd name="connsiteY155" fmla="*/ 2338 h 10000"/>
              <a:gd name="connsiteX156" fmla="*/ 8007 w 10000"/>
              <a:gd name="connsiteY156" fmla="*/ 2222 h 10000"/>
              <a:gd name="connsiteX157" fmla="*/ 7450 w 10000"/>
              <a:gd name="connsiteY157" fmla="*/ 2382 h 10000"/>
              <a:gd name="connsiteX158" fmla="*/ 6694 w 10000"/>
              <a:gd name="connsiteY158" fmla="*/ 2311 h 10000"/>
              <a:gd name="connsiteX159" fmla="*/ 6304 w 10000"/>
              <a:gd name="connsiteY159" fmla="*/ 1864 h 10000"/>
              <a:gd name="connsiteX160" fmla="*/ 5294 w 10000"/>
              <a:gd name="connsiteY160" fmla="*/ 1779 h 10000"/>
              <a:gd name="connsiteX161" fmla="*/ 4505 w 10000"/>
              <a:gd name="connsiteY161" fmla="*/ 1407 h 10000"/>
              <a:gd name="connsiteX162" fmla="*/ 3730 w 10000"/>
              <a:gd name="connsiteY162" fmla="*/ 962 h 10000"/>
              <a:gd name="connsiteX163" fmla="*/ 3154 w 10000"/>
              <a:gd name="connsiteY163" fmla="*/ 143 h 10000"/>
              <a:gd name="connsiteX164" fmla="*/ 2375 w 10000"/>
              <a:gd name="connsiteY164" fmla="*/ 0 h 10000"/>
              <a:gd name="connsiteX165" fmla="*/ 2226 w 10000"/>
              <a:gd name="connsiteY165" fmla="*/ 772 h 10000"/>
              <a:gd name="connsiteX166" fmla="*/ 2375 w 10000"/>
              <a:gd name="connsiteY166" fmla="*/ 967 h 10000"/>
              <a:gd name="connsiteX167" fmla="*/ 2791 w 10000"/>
              <a:gd name="connsiteY167" fmla="*/ 1185 h 10000"/>
              <a:gd name="connsiteX168" fmla="*/ 2808 w 10000"/>
              <a:gd name="connsiteY168" fmla="*/ 1446 h 10000"/>
              <a:gd name="connsiteX169" fmla="*/ 2632 w 10000"/>
              <a:gd name="connsiteY169" fmla="*/ 1665 h 10000"/>
              <a:gd name="connsiteX170" fmla="*/ 2375 w 10000"/>
              <a:gd name="connsiteY170" fmla="*/ 1798 h 10000"/>
              <a:gd name="connsiteX171" fmla="*/ 2039 w 10000"/>
              <a:gd name="connsiteY171" fmla="*/ 1851 h 10000"/>
              <a:gd name="connsiteX172" fmla="*/ 1950 w 10000"/>
              <a:gd name="connsiteY172" fmla="*/ 1929 h 10000"/>
              <a:gd name="connsiteX173" fmla="*/ 2148 w 10000"/>
              <a:gd name="connsiteY173" fmla="*/ 2110 h 10000"/>
              <a:gd name="connsiteX174" fmla="*/ 2261 w 10000"/>
              <a:gd name="connsiteY174" fmla="*/ 2541 h 10000"/>
              <a:gd name="connsiteX175" fmla="*/ 2005 w 10000"/>
              <a:gd name="connsiteY175" fmla="*/ 2910 h 10000"/>
              <a:gd name="connsiteX176" fmla="*/ 2094 w 10000"/>
              <a:gd name="connsiteY176" fmla="*/ 3022 h 10000"/>
              <a:gd name="connsiteX177" fmla="*/ 2012 w 10000"/>
              <a:gd name="connsiteY177" fmla="*/ 3214 h 10000"/>
              <a:gd name="connsiteX178" fmla="*/ 1850 w 10000"/>
              <a:gd name="connsiteY178" fmla="*/ 3349 h 10000"/>
              <a:gd name="connsiteX179" fmla="*/ 1199 w 10000"/>
              <a:gd name="connsiteY179" fmla="*/ 3450 h 10000"/>
              <a:gd name="connsiteX180" fmla="*/ 1158 w 10000"/>
              <a:gd name="connsiteY180" fmla="*/ 3629 h 10000"/>
              <a:gd name="connsiteX181" fmla="*/ 808 w 10000"/>
              <a:gd name="connsiteY181" fmla="*/ 3893 h 10000"/>
              <a:gd name="connsiteX182" fmla="*/ 854 w 10000"/>
              <a:gd name="connsiteY182" fmla="*/ 4276 h 10000"/>
              <a:gd name="connsiteX183" fmla="*/ 560 w 10000"/>
              <a:gd name="connsiteY183" fmla="*/ 4766 h 10000"/>
              <a:gd name="connsiteX184" fmla="*/ 358 w 10000"/>
              <a:gd name="connsiteY184" fmla="*/ 4822 h 10000"/>
              <a:gd name="connsiteX185" fmla="*/ 275 w 10000"/>
              <a:gd name="connsiteY185" fmla="*/ 4706 h 10000"/>
              <a:gd name="connsiteX186" fmla="*/ 174 w 10000"/>
              <a:gd name="connsiteY186" fmla="*/ 4882 h 10000"/>
              <a:gd name="connsiteX187" fmla="*/ 239 w 10000"/>
              <a:gd name="connsiteY187" fmla="*/ 4578 h 10000"/>
              <a:gd name="connsiteX188" fmla="*/ 197 w 10000"/>
              <a:gd name="connsiteY188"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6419 w 10000"/>
              <a:gd name="connsiteY57" fmla="*/ 8186 h 10000"/>
              <a:gd name="connsiteX58" fmla="*/ 6586 w 10000"/>
              <a:gd name="connsiteY58" fmla="*/ 7505 h 10000"/>
              <a:gd name="connsiteX59" fmla="*/ 6855 w 10000"/>
              <a:gd name="connsiteY59" fmla="*/ 7204 h 10000"/>
              <a:gd name="connsiteX60" fmla="*/ 6855 w 10000"/>
              <a:gd name="connsiteY60" fmla="*/ 7043 h 10000"/>
              <a:gd name="connsiteX61" fmla="*/ 6757 w 10000"/>
              <a:gd name="connsiteY61" fmla="*/ 6956 h 10000"/>
              <a:gd name="connsiteX62" fmla="*/ 6915 w 10000"/>
              <a:gd name="connsiteY62" fmla="*/ 6811 h 10000"/>
              <a:gd name="connsiteX63" fmla="*/ 6887 w 10000"/>
              <a:gd name="connsiteY63" fmla="*/ 6693 h 10000"/>
              <a:gd name="connsiteX64" fmla="*/ 6779 w 10000"/>
              <a:gd name="connsiteY64" fmla="*/ 6592 h 10000"/>
              <a:gd name="connsiteX65" fmla="*/ 6757 w 10000"/>
              <a:gd name="connsiteY65" fmla="*/ 6514 h 10000"/>
              <a:gd name="connsiteX66" fmla="*/ 6785 w 10000"/>
              <a:gd name="connsiteY66" fmla="*/ 6457 h 10000"/>
              <a:gd name="connsiteX67" fmla="*/ 6931 w 10000"/>
              <a:gd name="connsiteY67" fmla="*/ 6503 h 10000"/>
              <a:gd name="connsiteX68" fmla="*/ 7045 w 10000"/>
              <a:gd name="connsiteY68" fmla="*/ 6500 h 10000"/>
              <a:gd name="connsiteX69" fmla="*/ 6983 w 10000"/>
              <a:gd name="connsiteY69" fmla="*/ 6404 h 10000"/>
              <a:gd name="connsiteX70" fmla="*/ 7003 w 10000"/>
              <a:gd name="connsiteY70" fmla="*/ 6346 h 10000"/>
              <a:gd name="connsiteX71" fmla="*/ 7089 w 10000"/>
              <a:gd name="connsiteY71" fmla="*/ 6265 h 10000"/>
              <a:gd name="connsiteX72" fmla="*/ 7074 w 10000"/>
              <a:gd name="connsiteY72" fmla="*/ 6198 h 10000"/>
              <a:gd name="connsiteX73" fmla="*/ 7152 w 10000"/>
              <a:gd name="connsiteY73" fmla="*/ 5971 h 10000"/>
              <a:gd name="connsiteX74" fmla="*/ 7130 w 10000"/>
              <a:gd name="connsiteY74" fmla="*/ 5902 h 10000"/>
              <a:gd name="connsiteX75" fmla="*/ 6729 w 10000"/>
              <a:gd name="connsiteY75" fmla="*/ 5729 h 10000"/>
              <a:gd name="connsiteX76" fmla="*/ 6785 w 10000"/>
              <a:gd name="connsiteY76" fmla="*/ 5723 h 10000"/>
              <a:gd name="connsiteX77" fmla="*/ 6998 w 10000"/>
              <a:gd name="connsiteY77" fmla="*/ 5768 h 10000"/>
              <a:gd name="connsiteX78" fmla="*/ 7230 w 10000"/>
              <a:gd name="connsiteY78" fmla="*/ 5751 h 10000"/>
              <a:gd name="connsiteX79" fmla="*/ 7295 w 10000"/>
              <a:gd name="connsiteY79" fmla="*/ 5689 h 10000"/>
              <a:gd name="connsiteX80" fmla="*/ 7074 w 10000"/>
              <a:gd name="connsiteY80" fmla="*/ 5571 h 10000"/>
              <a:gd name="connsiteX81" fmla="*/ 6414 w 10000"/>
              <a:gd name="connsiteY81" fmla="*/ 5495 h 10000"/>
              <a:gd name="connsiteX82" fmla="*/ 6458 w 10000"/>
              <a:gd name="connsiteY82" fmla="*/ 5459 h 10000"/>
              <a:gd name="connsiteX83" fmla="*/ 6998 w 10000"/>
              <a:gd name="connsiteY83" fmla="*/ 5434 h 10000"/>
              <a:gd name="connsiteX84" fmla="*/ 7295 w 10000"/>
              <a:gd name="connsiteY84" fmla="*/ 5506 h 10000"/>
              <a:gd name="connsiteX85" fmla="*/ 7466 w 10000"/>
              <a:gd name="connsiteY85" fmla="*/ 5459 h 10000"/>
              <a:gd name="connsiteX86" fmla="*/ 7529 w 10000"/>
              <a:gd name="connsiteY86" fmla="*/ 5337 h 10000"/>
              <a:gd name="connsiteX87" fmla="*/ 7840 w 10000"/>
              <a:gd name="connsiteY87" fmla="*/ 5337 h 10000"/>
              <a:gd name="connsiteX88" fmla="*/ 8261 w 10000"/>
              <a:gd name="connsiteY88" fmla="*/ 5093 h 10000"/>
              <a:gd name="connsiteX89" fmla="*/ 8275 w 10000"/>
              <a:gd name="connsiteY89" fmla="*/ 4928 h 10000"/>
              <a:gd name="connsiteX90" fmla="*/ 8453 w 10000"/>
              <a:gd name="connsiteY90" fmla="*/ 4965 h 10000"/>
              <a:gd name="connsiteX91" fmla="*/ 8446 w 10000"/>
              <a:gd name="connsiteY91" fmla="*/ 5130 h 10000"/>
              <a:gd name="connsiteX92" fmla="*/ 8727 w 10000"/>
              <a:gd name="connsiteY92" fmla="*/ 5118 h 10000"/>
              <a:gd name="connsiteX93" fmla="*/ 8913 w 10000"/>
              <a:gd name="connsiteY93" fmla="*/ 4948 h 10000"/>
              <a:gd name="connsiteX94" fmla="*/ 9258 w 10000"/>
              <a:gd name="connsiteY94" fmla="*/ 4795 h 10000"/>
              <a:gd name="connsiteX95" fmla="*/ 9203 w 10000"/>
              <a:gd name="connsiteY95" fmla="*/ 4621 h 10000"/>
              <a:gd name="connsiteX96" fmla="*/ 9306 w 10000"/>
              <a:gd name="connsiteY96" fmla="*/ 4690 h 10000"/>
              <a:gd name="connsiteX97" fmla="*/ 9464 w 10000"/>
              <a:gd name="connsiteY97" fmla="*/ 4690 h 10000"/>
              <a:gd name="connsiteX98" fmla="*/ 9464 w 10000"/>
              <a:gd name="connsiteY98" fmla="*/ 4609 h 10000"/>
              <a:gd name="connsiteX99" fmla="*/ 9611 w 10000"/>
              <a:gd name="connsiteY99" fmla="*/ 4550 h 10000"/>
              <a:gd name="connsiteX100" fmla="*/ 9592 w 10000"/>
              <a:gd name="connsiteY100" fmla="*/ 4487 h 10000"/>
              <a:gd name="connsiteX101" fmla="*/ 8350 w 10000"/>
              <a:gd name="connsiteY101" fmla="*/ 4611 h 10000"/>
              <a:gd name="connsiteX102" fmla="*/ 8058 w 10000"/>
              <a:gd name="connsiteY102" fmla="*/ 4576 h 10000"/>
              <a:gd name="connsiteX103" fmla="*/ 7942 w 10000"/>
              <a:gd name="connsiteY103" fmla="*/ 4621 h 10000"/>
              <a:gd name="connsiteX104" fmla="*/ 7903 w 10000"/>
              <a:gd name="connsiteY104" fmla="*/ 4532 h 10000"/>
              <a:gd name="connsiteX105" fmla="*/ 7765 w 10000"/>
              <a:gd name="connsiteY105" fmla="*/ 4456 h 10000"/>
              <a:gd name="connsiteX106" fmla="*/ 7213 w 10000"/>
              <a:gd name="connsiteY106" fmla="*/ 4297 h 10000"/>
              <a:gd name="connsiteX107" fmla="*/ 6887 w 10000"/>
              <a:gd name="connsiteY107" fmla="*/ 4324 h 10000"/>
              <a:gd name="connsiteX108" fmla="*/ 6757 w 10000"/>
              <a:gd name="connsiteY108" fmla="*/ 4278 h 10000"/>
              <a:gd name="connsiteX109" fmla="*/ 6894 w 10000"/>
              <a:gd name="connsiteY109" fmla="*/ 4240 h 10000"/>
              <a:gd name="connsiteX110" fmla="*/ 6998 w 10000"/>
              <a:gd name="connsiteY110" fmla="*/ 4156 h 10000"/>
              <a:gd name="connsiteX111" fmla="*/ 7152 w 10000"/>
              <a:gd name="connsiteY111" fmla="*/ 4182 h 10000"/>
              <a:gd name="connsiteX112" fmla="*/ 7335 w 10000"/>
              <a:gd name="connsiteY112" fmla="*/ 4161 h 10000"/>
              <a:gd name="connsiteX113" fmla="*/ 7611 w 10000"/>
              <a:gd name="connsiteY113" fmla="*/ 4188 h 10000"/>
              <a:gd name="connsiteX114" fmla="*/ 7645 w 10000"/>
              <a:gd name="connsiteY114" fmla="*/ 4177 h 10000"/>
              <a:gd name="connsiteX115" fmla="*/ 7859 w 10000"/>
              <a:gd name="connsiteY115" fmla="*/ 4305 h 10000"/>
              <a:gd name="connsiteX116" fmla="*/ 8017 w 10000"/>
              <a:gd name="connsiteY116" fmla="*/ 4257 h 10000"/>
              <a:gd name="connsiteX117" fmla="*/ 8032 w 10000"/>
              <a:gd name="connsiteY117" fmla="*/ 4214 h 10000"/>
              <a:gd name="connsiteX118" fmla="*/ 8176 w 10000"/>
              <a:gd name="connsiteY118" fmla="*/ 4290 h 10000"/>
              <a:gd name="connsiteX119" fmla="*/ 8369 w 10000"/>
              <a:gd name="connsiteY119" fmla="*/ 4331 h 10000"/>
              <a:gd name="connsiteX120" fmla="*/ 8446 w 10000"/>
              <a:gd name="connsiteY120" fmla="*/ 4255 h 10000"/>
              <a:gd name="connsiteX121" fmla="*/ 8507 w 10000"/>
              <a:gd name="connsiteY121" fmla="*/ 4297 h 10000"/>
              <a:gd name="connsiteX122" fmla="*/ 8596 w 10000"/>
              <a:gd name="connsiteY122" fmla="*/ 4446 h 10000"/>
              <a:gd name="connsiteX123" fmla="*/ 8782 w 10000"/>
              <a:gd name="connsiteY123" fmla="*/ 4478 h 10000"/>
              <a:gd name="connsiteX124" fmla="*/ 9542 w 10000"/>
              <a:gd name="connsiteY124" fmla="*/ 4262 h 10000"/>
              <a:gd name="connsiteX125" fmla="*/ 9914 w 10000"/>
              <a:gd name="connsiteY125" fmla="*/ 3962 h 10000"/>
              <a:gd name="connsiteX126" fmla="*/ 10000 w 10000"/>
              <a:gd name="connsiteY126" fmla="*/ 3744 h 10000"/>
              <a:gd name="connsiteX127" fmla="*/ 9866 w 10000"/>
              <a:gd name="connsiteY127" fmla="*/ 3546 h 10000"/>
              <a:gd name="connsiteX128" fmla="*/ 9582 w 10000"/>
              <a:gd name="connsiteY128" fmla="*/ 3428 h 10000"/>
              <a:gd name="connsiteX129" fmla="*/ 9382 w 10000"/>
              <a:gd name="connsiteY129" fmla="*/ 3233 h 10000"/>
              <a:gd name="connsiteX130" fmla="*/ 9569 w 10000"/>
              <a:gd name="connsiteY130" fmla="*/ 3227 h 10000"/>
              <a:gd name="connsiteX131" fmla="*/ 9555 w 10000"/>
              <a:gd name="connsiteY131" fmla="*/ 3180 h 10000"/>
              <a:gd name="connsiteX132" fmla="*/ 9068 w 10000"/>
              <a:gd name="connsiteY132" fmla="*/ 3045 h 10000"/>
              <a:gd name="connsiteX133" fmla="*/ 9047 w 10000"/>
              <a:gd name="connsiteY133" fmla="*/ 2920 h 10000"/>
              <a:gd name="connsiteX134" fmla="*/ 8953 w 10000"/>
              <a:gd name="connsiteY134" fmla="*/ 2789 h 10000"/>
              <a:gd name="connsiteX135" fmla="*/ 8569 w 10000"/>
              <a:gd name="connsiteY135" fmla="*/ 2813 h 10000"/>
              <a:gd name="connsiteX136" fmla="*/ 8431 w 10000"/>
              <a:gd name="connsiteY136" fmla="*/ 2673 h 10000"/>
              <a:gd name="connsiteX137" fmla="*/ 8350 w 10000"/>
              <a:gd name="connsiteY137" fmla="*/ 2665 h 10000"/>
              <a:gd name="connsiteX138" fmla="*/ 8350 w 10000"/>
              <a:gd name="connsiteY138" fmla="*/ 2726 h 10000"/>
              <a:gd name="connsiteX139" fmla="*/ 8176 w 10000"/>
              <a:gd name="connsiteY139" fmla="*/ 2959 h 10000"/>
              <a:gd name="connsiteX140" fmla="*/ 7990 w 10000"/>
              <a:gd name="connsiteY140" fmla="*/ 3096 h 10000"/>
              <a:gd name="connsiteX141" fmla="*/ 7401 w 10000"/>
              <a:gd name="connsiteY141" fmla="*/ 3329 h 10000"/>
              <a:gd name="connsiteX142" fmla="*/ 7198 w 10000"/>
              <a:gd name="connsiteY142" fmla="*/ 3322 h 10000"/>
              <a:gd name="connsiteX143" fmla="*/ 6915 w 10000"/>
              <a:gd name="connsiteY143" fmla="*/ 3359 h 10000"/>
              <a:gd name="connsiteX144" fmla="*/ 6757 w 10000"/>
              <a:gd name="connsiteY144" fmla="*/ 3322 h 10000"/>
              <a:gd name="connsiteX145" fmla="*/ 6965 w 10000"/>
              <a:gd name="connsiteY145" fmla="*/ 3255 h 10000"/>
              <a:gd name="connsiteX146" fmla="*/ 7235 w 10000"/>
              <a:gd name="connsiteY146" fmla="*/ 3227 h 10000"/>
              <a:gd name="connsiteX147" fmla="*/ 7455 w 10000"/>
              <a:gd name="connsiteY147" fmla="*/ 3118 h 10000"/>
              <a:gd name="connsiteX148" fmla="*/ 7674 w 10000"/>
              <a:gd name="connsiteY148" fmla="*/ 3066 h 10000"/>
              <a:gd name="connsiteX149" fmla="*/ 8082 w 10000"/>
              <a:gd name="connsiteY149" fmla="*/ 2874 h 10000"/>
              <a:gd name="connsiteX150" fmla="*/ 8157 w 10000"/>
              <a:gd name="connsiteY150" fmla="*/ 2750 h 10000"/>
              <a:gd name="connsiteX151" fmla="*/ 8165 w 10000"/>
              <a:gd name="connsiteY151" fmla="*/ 2589 h 10000"/>
              <a:gd name="connsiteX152" fmla="*/ 7978 w 10000"/>
              <a:gd name="connsiteY152" fmla="*/ 2562 h 10000"/>
              <a:gd name="connsiteX153" fmla="*/ 8058 w 10000"/>
              <a:gd name="connsiteY153" fmla="*/ 2463 h 10000"/>
              <a:gd name="connsiteX154" fmla="*/ 8087 w 10000"/>
              <a:gd name="connsiteY154" fmla="*/ 2338 h 10000"/>
              <a:gd name="connsiteX155" fmla="*/ 8007 w 10000"/>
              <a:gd name="connsiteY155" fmla="*/ 2222 h 10000"/>
              <a:gd name="connsiteX156" fmla="*/ 7450 w 10000"/>
              <a:gd name="connsiteY156" fmla="*/ 2382 h 10000"/>
              <a:gd name="connsiteX157" fmla="*/ 6694 w 10000"/>
              <a:gd name="connsiteY157" fmla="*/ 2311 h 10000"/>
              <a:gd name="connsiteX158" fmla="*/ 6304 w 10000"/>
              <a:gd name="connsiteY158" fmla="*/ 1864 h 10000"/>
              <a:gd name="connsiteX159" fmla="*/ 5294 w 10000"/>
              <a:gd name="connsiteY159" fmla="*/ 1779 h 10000"/>
              <a:gd name="connsiteX160" fmla="*/ 4505 w 10000"/>
              <a:gd name="connsiteY160" fmla="*/ 1407 h 10000"/>
              <a:gd name="connsiteX161" fmla="*/ 3730 w 10000"/>
              <a:gd name="connsiteY161" fmla="*/ 962 h 10000"/>
              <a:gd name="connsiteX162" fmla="*/ 3154 w 10000"/>
              <a:gd name="connsiteY162" fmla="*/ 143 h 10000"/>
              <a:gd name="connsiteX163" fmla="*/ 2375 w 10000"/>
              <a:gd name="connsiteY163" fmla="*/ 0 h 10000"/>
              <a:gd name="connsiteX164" fmla="*/ 2226 w 10000"/>
              <a:gd name="connsiteY164" fmla="*/ 772 h 10000"/>
              <a:gd name="connsiteX165" fmla="*/ 2375 w 10000"/>
              <a:gd name="connsiteY165" fmla="*/ 967 h 10000"/>
              <a:gd name="connsiteX166" fmla="*/ 2791 w 10000"/>
              <a:gd name="connsiteY166" fmla="*/ 1185 h 10000"/>
              <a:gd name="connsiteX167" fmla="*/ 2808 w 10000"/>
              <a:gd name="connsiteY167" fmla="*/ 1446 h 10000"/>
              <a:gd name="connsiteX168" fmla="*/ 2632 w 10000"/>
              <a:gd name="connsiteY168" fmla="*/ 1665 h 10000"/>
              <a:gd name="connsiteX169" fmla="*/ 2375 w 10000"/>
              <a:gd name="connsiteY169" fmla="*/ 1798 h 10000"/>
              <a:gd name="connsiteX170" fmla="*/ 2039 w 10000"/>
              <a:gd name="connsiteY170" fmla="*/ 1851 h 10000"/>
              <a:gd name="connsiteX171" fmla="*/ 1950 w 10000"/>
              <a:gd name="connsiteY171" fmla="*/ 1929 h 10000"/>
              <a:gd name="connsiteX172" fmla="*/ 2148 w 10000"/>
              <a:gd name="connsiteY172" fmla="*/ 2110 h 10000"/>
              <a:gd name="connsiteX173" fmla="*/ 2261 w 10000"/>
              <a:gd name="connsiteY173" fmla="*/ 2541 h 10000"/>
              <a:gd name="connsiteX174" fmla="*/ 2005 w 10000"/>
              <a:gd name="connsiteY174" fmla="*/ 2910 h 10000"/>
              <a:gd name="connsiteX175" fmla="*/ 2094 w 10000"/>
              <a:gd name="connsiteY175" fmla="*/ 3022 h 10000"/>
              <a:gd name="connsiteX176" fmla="*/ 2012 w 10000"/>
              <a:gd name="connsiteY176" fmla="*/ 3214 h 10000"/>
              <a:gd name="connsiteX177" fmla="*/ 1850 w 10000"/>
              <a:gd name="connsiteY177" fmla="*/ 3349 h 10000"/>
              <a:gd name="connsiteX178" fmla="*/ 1199 w 10000"/>
              <a:gd name="connsiteY178" fmla="*/ 3450 h 10000"/>
              <a:gd name="connsiteX179" fmla="*/ 1158 w 10000"/>
              <a:gd name="connsiteY179" fmla="*/ 3629 h 10000"/>
              <a:gd name="connsiteX180" fmla="*/ 808 w 10000"/>
              <a:gd name="connsiteY180" fmla="*/ 3893 h 10000"/>
              <a:gd name="connsiteX181" fmla="*/ 854 w 10000"/>
              <a:gd name="connsiteY181" fmla="*/ 4276 h 10000"/>
              <a:gd name="connsiteX182" fmla="*/ 560 w 10000"/>
              <a:gd name="connsiteY182" fmla="*/ 4766 h 10000"/>
              <a:gd name="connsiteX183" fmla="*/ 358 w 10000"/>
              <a:gd name="connsiteY183" fmla="*/ 4822 h 10000"/>
              <a:gd name="connsiteX184" fmla="*/ 275 w 10000"/>
              <a:gd name="connsiteY184" fmla="*/ 4706 h 10000"/>
              <a:gd name="connsiteX185" fmla="*/ 174 w 10000"/>
              <a:gd name="connsiteY185" fmla="*/ 4882 h 10000"/>
              <a:gd name="connsiteX186" fmla="*/ 239 w 10000"/>
              <a:gd name="connsiteY186" fmla="*/ 4578 h 10000"/>
              <a:gd name="connsiteX187" fmla="*/ 197 w 10000"/>
              <a:gd name="connsiteY187"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6419 w 10000"/>
              <a:gd name="connsiteY56" fmla="*/ 8186 h 10000"/>
              <a:gd name="connsiteX57" fmla="*/ 6586 w 10000"/>
              <a:gd name="connsiteY57" fmla="*/ 7505 h 10000"/>
              <a:gd name="connsiteX58" fmla="*/ 6855 w 10000"/>
              <a:gd name="connsiteY58" fmla="*/ 7204 h 10000"/>
              <a:gd name="connsiteX59" fmla="*/ 6855 w 10000"/>
              <a:gd name="connsiteY59" fmla="*/ 7043 h 10000"/>
              <a:gd name="connsiteX60" fmla="*/ 6757 w 10000"/>
              <a:gd name="connsiteY60" fmla="*/ 6956 h 10000"/>
              <a:gd name="connsiteX61" fmla="*/ 6915 w 10000"/>
              <a:gd name="connsiteY61" fmla="*/ 6811 h 10000"/>
              <a:gd name="connsiteX62" fmla="*/ 6887 w 10000"/>
              <a:gd name="connsiteY62" fmla="*/ 6693 h 10000"/>
              <a:gd name="connsiteX63" fmla="*/ 6779 w 10000"/>
              <a:gd name="connsiteY63" fmla="*/ 6592 h 10000"/>
              <a:gd name="connsiteX64" fmla="*/ 6757 w 10000"/>
              <a:gd name="connsiteY64" fmla="*/ 6514 h 10000"/>
              <a:gd name="connsiteX65" fmla="*/ 6785 w 10000"/>
              <a:gd name="connsiteY65" fmla="*/ 6457 h 10000"/>
              <a:gd name="connsiteX66" fmla="*/ 6931 w 10000"/>
              <a:gd name="connsiteY66" fmla="*/ 6503 h 10000"/>
              <a:gd name="connsiteX67" fmla="*/ 7045 w 10000"/>
              <a:gd name="connsiteY67" fmla="*/ 6500 h 10000"/>
              <a:gd name="connsiteX68" fmla="*/ 6983 w 10000"/>
              <a:gd name="connsiteY68" fmla="*/ 6404 h 10000"/>
              <a:gd name="connsiteX69" fmla="*/ 7003 w 10000"/>
              <a:gd name="connsiteY69" fmla="*/ 6346 h 10000"/>
              <a:gd name="connsiteX70" fmla="*/ 7089 w 10000"/>
              <a:gd name="connsiteY70" fmla="*/ 6265 h 10000"/>
              <a:gd name="connsiteX71" fmla="*/ 7074 w 10000"/>
              <a:gd name="connsiteY71" fmla="*/ 6198 h 10000"/>
              <a:gd name="connsiteX72" fmla="*/ 7152 w 10000"/>
              <a:gd name="connsiteY72" fmla="*/ 5971 h 10000"/>
              <a:gd name="connsiteX73" fmla="*/ 7130 w 10000"/>
              <a:gd name="connsiteY73" fmla="*/ 5902 h 10000"/>
              <a:gd name="connsiteX74" fmla="*/ 6729 w 10000"/>
              <a:gd name="connsiteY74" fmla="*/ 5729 h 10000"/>
              <a:gd name="connsiteX75" fmla="*/ 6785 w 10000"/>
              <a:gd name="connsiteY75" fmla="*/ 5723 h 10000"/>
              <a:gd name="connsiteX76" fmla="*/ 6998 w 10000"/>
              <a:gd name="connsiteY76" fmla="*/ 5768 h 10000"/>
              <a:gd name="connsiteX77" fmla="*/ 7230 w 10000"/>
              <a:gd name="connsiteY77" fmla="*/ 5751 h 10000"/>
              <a:gd name="connsiteX78" fmla="*/ 7295 w 10000"/>
              <a:gd name="connsiteY78" fmla="*/ 5689 h 10000"/>
              <a:gd name="connsiteX79" fmla="*/ 7074 w 10000"/>
              <a:gd name="connsiteY79" fmla="*/ 5571 h 10000"/>
              <a:gd name="connsiteX80" fmla="*/ 6414 w 10000"/>
              <a:gd name="connsiteY80" fmla="*/ 5495 h 10000"/>
              <a:gd name="connsiteX81" fmla="*/ 6458 w 10000"/>
              <a:gd name="connsiteY81" fmla="*/ 5459 h 10000"/>
              <a:gd name="connsiteX82" fmla="*/ 6998 w 10000"/>
              <a:gd name="connsiteY82" fmla="*/ 5434 h 10000"/>
              <a:gd name="connsiteX83" fmla="*/ 7295 w 10000"/>
              <a:gd name="connsiteY83" fmla="*/ 5506 h 10000"/>
              <a:gd name="connsiteX84" fmla="*/ 7466 w 10000"/>
              <a:gd name="connsiteY84" fmla="*/ 5459 h 10000"/>
              <a:gd name="connsiteX85" fmla="*/ 7529 w 10000"/>
              <a:gd name="connsiteY85" fmla="*/ 5337 h 10000"/>
              <a:gd name="connsiteX86" fmla="*/ 7840 w 10000"/>
              <a:gd name="connsiteY86" fmla="*/ 5337 h 10000"/>
              <a:gd name="connsiteX87" fmla="*/ 8261 w 10000"/>
              <a:gd name="connsiteY87" fmla="*/ 5093 h 10000"/>
              <a:gd name="connsiteX88" fmla="*/ 8275 w 10000"/>
              <a:gd name="connsiteY88" fmla="*/ 4928 h 10000"/>
              <a:gd name="connsiteX89" fmla="*/ 8453 w 10000"/>
              <a:gd name="connsiteY89" fmla="*/ 4965 h 10000"/>
              <a:gd name="connsiteX90" fmla="*/ 8446 w 10000"/>
              <a:gd name="connsiteY90" fmla="*/ 5130 h 10000"/>
              <a:gd name="connsiteX91" fmla="*/ 8727 w 10000"/>
              <a:gd name="connsiteY91" fmla="*/ 5118 h 10000"/>
              <a:gd name="connsiteX92" fmla="*/ 8913 w 10000"/>
              <a:gd name="connsiteY92" fmla="*/ 4948 h 10000"/>
              <a:gd name="connsiteX93" fmla="*/ 9258 w 10000"/>
              <a:gd name="connsiteY93" fmla="*/ 4795 h 10000"/>
              <a:gd name="connsiteX94" fmla="*/ 9203 w 10000"/>
              <a:gd name="connsiteY94" fmla="*/ 4621 h 10000"/>
              <a:gd name="connsiteX95" fmla="*/ 9306 w 10000"/>
              <a:gd name="connsiteY95" fmla="*/ 4690 h 10000"/>
              <a:gd name="connsiteX96" fmla="*/ 9464 w 10000"/>
              <a:gd name="connsiteY96" fmla="*/ 4690 h 10000"/>
              <a:gd name="connsiteX97" fmla="*/ 9464 w 10000"/>
              <a:gd name="connsiteY97" fmla="*/ 4609 h 10000"/>
              <a:gd name="connsiteX98" fmla="*/ 9611 w 10000"/>
              <a:gd name="connsiteY98" fmla="*/ 4550 h 10000"/>
              <a:gd name="connsiteX99" fmla="*/ 9592 w 10000"/>
              <a:gd name="connsiteY99" fmla="*/ 4487 h 10000"/>
              <a:gd name="connsiteX100" fmla="*/ 8350 w 10000"/>
              <a:gd name="connsiteY100" fmla="*/ 4611 h 10000"/>
              <a:gd name="connsiteX101" fmla="*/ 8058 w 10000"/>
              <a:gd name="connsiteY101" fmla="*/ 4576 h 10000"/>
              <a:gd name="connsiteX102" fmla="*/ 7942 w 10000"/>
              <a:gd name="connsiteY102" fmla="*/ 4621 h 10000"/>
              <a:gd name="connsiteX103" fmla="*/ 7903 w 10000"/>
              <a:gd name="connsiteY103" fmla="*/ 4532 h 10000"/>
              <a:gd name="connsiteX104" fmla="*/ 7765 w 10000"/>
              <a:gd name="connsiteY104" fmla="*/ 4456 h 10000"/>
              <a:gd name="connsiteX105" fmla="*/ 7213 w 10000"/>
              <a:gd name="connsiteY105" fmla="*/ 4297 h 10000"/>
              <a:gd name="connsiteX106" fmla="*/ 6887 w 10000"/>
              <a:gd name="connsiteY106" fmla="*/ 4324 h 10000"/>
              <a:gd name="connsiteX107" fmla="*/ 6757 w 10000"/>
              <a:gd name="connsiteY107" fmla="*/ 4278 h 10000"/>
              <a:gd name="connsiteX108" fmla="*/ 6894 w 10000"/>
              <a:gd name="connsiteY108" fmla="*/ 4240 h 10000"/>
              <a:gd name="connsiteX109" fmla="*/ 6998 w 10000"/>
              <a:gd name="connsiteY109" fmla="*/ 4156 h 10000"/>
              <a:gd name="connsiteX110" fmla="*/ 7152 w 10000"/>
              <a:gd name="connsiteY110" fmla="*/ 4182 h 10000"/>
              <a:gd name="connsiteX111" fmla="*/ 7335 w 10000"/>
              <a:gd name="connsiteY111" fmla="*/ 4161 h 10000"/>
              <a:gd name="connsiteX112" fmla="*/ 7611 w 10000"/>
              <a:gd name="connsiteY112" fmla="*/ 4188 h 10000"/>
              <a:gd name="connsiteX113" fmla="*/ 7645 w 10000"/>
              <a:gd name="connsiteY113" fmla="*/ 4177 h 10000"/>
              <a:gd name="connsiteX114" fmla="*/ 7859 w 10000"/>
              <a:gd name="connsiteY114" fmla="*/ 4305 h 10000"/>
              <a:gd name="connsiteX115" fmla="*/ 8017 w 10000"/>
              <a:gd name="connsiteY115" fmla="*/ 4257 h 10000"/>
              <a:gd name="connsiteX116" fmla="*/ 8032 w 10000"/>
              <a:gd name="connsiteY116" fmla="*/ 4214 h 10000"/>
              <a:gd name="connsiteX117" fmla="*/ 8176 w 10000"/>
              <a:gd name="connsiteY117" fmla="*/ 4290 h 10000"/>
              <a:gd name="connsiteX118" fmla="*/ 8369 w 10000"/>
              <a:gd name="connsiteY118" fmla="*/ 4331 h 10000"/>
              <a:gd name="connsiteX119" fmla="*/ 8446 w 10000"/>
              <a:gd name="connsiteY119" fmla="*/ 4255 h 10000"/>
              <a:gd name="connsiteX120" fmla="*/ 8507 w 10000"/>
              <a:gd name="connsiteY120" fmla="*/ 4297 h 10000"/>
              <a:gd name="connsiteX121" fmla="*/ 8596 w 10000"/>
              <a:gd name="connsiteY121" fmla="*/ 4446 h 10000"/>
              <a:gd name="connsiteX122" fmla="*/ 8782 w 10000"/>
              <a:gd name="connsiteY122" fmla="*/ 4478 h 10000"/>
              <a:gd name="connsiteX123" fmla="*/ 9542 w 10000"/>
              <a:gd name="connsiteY123" fmla="*/ 4262 h 10000"/>
              <a:gd name="connsiteX124" fmla="*/ 9914 w 10000"/>
              <a:gd name="connsiteY124" fmla="*/ 3962 h 10000"/>
              <a:gd name="connsiteX125" fmla="*/ 10000 w 10000"/>
              <a:gd name="connsiteY125" fmla="*/ 3744 h 10000"/>
              <a:gd name="connsiteX126" fmla="*/ 9866 w 10000"/>
              <a:gd name="connsiteY126" fmla="*/ 3546 h 10000"/>
              <a:gd name="connsiteX127" fmla="*/ 9582 w 10000"/>
              <a:gd name="connsiteY127" fmla="*/ 3428 h 10000"/>
              <a:gd name="connsiteX128" fmla="*/ 9382 w 10000"/>
              <a:gd name="connsiteY128" fmla="*/ 3233 h 10000"/>
              <a:gd name="connsiteX129" fmla="*/ 9569 w 10000"/>
              <a:gd name="connsiteY129" fmla="*/ 3227 h 10000"/>
              <a:gd name="connsiteX130" fmla="*/ 9555 w 10000"/>
              <a:gd name="connsiteY130" fmla="*/ 3180 h 10000"/>
              <a:gd name="connsiteX131" fmla="*/ 9068 w 10000"/>
              <a:gd name="connsiteY131" fmla="*/ 3045 h 10000"/>
              <a:gd name="connsiteX132" fmla="*/ 9047 w 10000"/>
              <a:gd name="connsiteY132" fmla="*/ 2920 h 10000"/>
              <a:gd name="connsiteX133" fmla="*/ 8953 w 10000"/>
              <a:gd name="connsiteY133" fmla="*/ 2789 h 10000"/>
              <a:gd name="connsiteX134" fmla="*/ 8569 w 10000"/>
              <a:gd name="connsiteY134" fmla="*/ 2813 h 10000"/>
              <a:gd name="connsiteX135" fmla="*/ 8431 w 10000"/>
              <a:gd name="connsiteY135" fmla="*/ 2673 h 10000"/>
              <a:gd name="connsiteX136" fmla="*/ 8350 w 10000"/>
              <a:gd name="connsiteY136" fmla="*/ 2665 h 10000"/>
              <a:gd name="connsiteX137" fmla="*/ 8350 w 10000"/>
              <a:gd name="connsiteY137" fmla="*/ 2726 h 10000"/>
              <a:gd name="connsiteX138" fmla="*/ 8176 w 10000"/>
              <a:gd name="connsiteY138" fmla="*/ 2959 h 10000"/>
              <a:gd name="connsiteX139" fmla="*/ 7990 w 10000"/>
              <a:gd name="connsiteY139" fmla="*/ 3096 h 10000"/>
              <a:gd name="connsiteX140" fmla="*/ 7401 w 10000"/>
              <a:gd name="connsiteY140" fmla="*/ 3329 h 10000"/>
              <a:gd name="connsiteX141" fmla="*/ 7198 w 10000"/>
              <a:gd name="connsiteY141" fmla="*/ 3322 h 10000"/>
              <a:gd name="connsiteX142" fmla="*/ 6915 w 10000"/>
              <a:gd name="connsiteY142" fmla="*/ 3359 h 10000"/>
              <a:gd name="connsiteX143" fmla="*/ 6757 w 10000"/>
              <a:gd name="connsiteY143" fmla="*/ 3322 h 10000"/>
              <a:gd name="connsiteX144" fmla="*/ 6965 w 10000"/>
              <a:gd name="connsiteY144" fmla="*/ 3255 h 10000"/>
              <a:gd name="connsiteX145" fmla="*/ 7235 w 10000"/>
              <a:gd name="connsiteY145" fmla="*/ 3227 h 10000"/>
              <a:gd name="connsiteX146" fmla="*/ 7455 w 10000"/>
              <a:gd name="connsiteY146" fmla="*/ 3118 h 10000"/>
              <a:gd name="connsiteX147" fmla="*/ 7674 w 10000"/>
              <a:gd name="connsiteY147" fmla="*/ 3066 h 10000"/>
              <a:gd name="connsiteX148" fmla="*/ 8082 w 10000"/>
              <a:gd name="connsiteY148" fmla="*/ 2874 h 10000"/>
              <a:gd name="connsiteX149" fmla="*/ 8157 w 10000"/>
              <a:gd name="connsiteY149" fmla="*/ 2750 h 10000"/>
              <a:gd name="connsiteX150" fmla="*/ 8165 w 10000"/>
              <a:gd name="connsiteY150" fmla="*/ 2589 h 10000"/>
              <a:gd name="connsiteX151" fmla="*/ 7978 w 10000"/>
              <a:gd name="connsiteY151" fmla="*/ 2562 h 10000"/>
              <a:gd name="connsiteX152" fmla="*/ 8058 w 10000"/>
              <a:gd name="connsiteY152" fmla="*/ 2463 h 10000"/>
              <a:gd name="connsiteX153" fmla="*/ 8087 w 10000"/>
              <a:gd name="connsiteY153" fmla="*/ 2338 h 10000"/>
              <a:gd name="connsiteX154" fmla="*/ 8007 w 10000"/>
              <a:gd name="connsiteY154" fmla="*/ 2222 h 10000"/>
              <a:gd name="connsiteX155" fmla="*/ 7450 w 10000"/>
              <a:gd name="connsiteY155" fmla="*/ 2382 h 10000"/>
              <a:gd name="connsiteX156" fmla="*/ 6694 w 10000"/>
              <a:gd name="connsiteY156" fmla="*/ 2311 h 10000"/>
              <a:gd name="connsiteX157" fmla="*/ 6304 w 10000"/>
              <a:gd name="connsiteY157" fmla="*/ 1864 h 10000"/>
              <a:gd name="connsiteX158" fmla="*/ 5294 w 10000"/>
              <a:gd name="connsiteY158" fmla="*/ 1779 h 10000"/>
              <a:gd name="connsiteX159" fmla="*/ 4505 w 10000"/>
              <a:gd name="connsiteY159" fmla="*/ 1407 h 10000"/>
              <a:gd name="connsiteX160" fmla="*/ 3730 w 10000"/>
              <a:gd name="connsiteY160" fmla="*/ 962 h 10000"/>
              <a:gd name="connsiteX161" fmla="*/ 3154 w 10000"/>
              <a:gd name="connsiteY161" fmla="*/ 143 h 10000"/>
              <a:gd name="connsiteX162" fmla="*/ 2375 w 10000"/>
              <a:gd name="connsiteY162" fmla="*/ 0 h 10000"/>
              <a:gd name="connsiteX163" fmla="*/ 2226 w 10000"/>
              <a:gd name="connsiteY163" fmla="*/ 772 h 10000"/>
              <a:gd name="connsiteX164" fmla="*/ 2375 w 10000"/>
              <a:gd name="connsiteY164" fmla="*/ 967 h 10000"/>
              <a:gd name="connsiteX165" fmla="*/ 2791 w 10000"/>
              <a:gd name="connsiteY165" fmla="*/ 1185 h 10000"/>
              <a:gd name="connsiteX166" fmla="*/ 2808 w 10000"/>
              <a:gd name="connsiteY166" fmla="*/ 1446 h 10000"/>
              <a:gd name="connsiteX167" fmla="*/ 2632 w 10000"/>
              <a:gd name="connsiteY167" fmla="*/ 1665 h 10000"/>
              <a:gd name="connsiteX168" fmla="*/ 2375 w 10000"/>
              <a:gd name="connsiteY168" fmla="*/ 1798 h 10000"/>
              <a:gd name="connsiteX169" fmla="*/ 2039 w 10000"/>
              <a:gd name="connsiteY169" fmla="*/ 1851 h 10000"/>
              <a:gd name="connsiteX170" fmla="*/ 1950 w 10000"/>
              <a:gd name="connsiteY170" fmla="*/ 1929 h 10000"/>
              <a:gd name="connsiteX171" fmla="*/ 2148 w 10000"/>
              <a:gd name="connsiteY171" fmla="*/ 2110 h 10000"/>
              <a:gd name="connsiteX172" fmla="*/ 2261 w 10000"/>
              <a:gd name="connsiteY172" fmla="*/ 2541 h 10000"/>
              <a:gd name="connsiteX173" fmla="*/ 2005 w 10000"/>
              <a:gd name="connsiteY173" fmla="*/ 2910 h 10000"/>
              <a:gd name="connsiteX174" fmla="*/ 2094 w 10000"/>
              <a:gd name="connsiteY174" fmla="*/ 3022 h 10000"/>
              <a:gd name="connsiteX175" fmla="*/ 2012 w 10000"/>
              <a:gd name="connsiteY175" fmla="*/ 3214 h 10000"/>
              <a:gd name="connsiteX176" fmla="*/ 1850 w 10000"/>
              <a:gd name="connsiteY176" fmla="*/ 3349 h 10000"/>
              <a:gd name="connsiteX177" fmla="*/ 1199 w 10000"/>
              <a:gd name="connsiteY177" fmla="*/ 3450 h 10000"/>
              <a:gd name="connsiteX178" fmla="*/ 1158 w 10000"/>
              <a:gd name="connsiteY178" fmla="*/ 3629 h 10000"/>
              <a:gd name="connsiteX179" fmla="*/ 808 w 10000"/>
              <a:gd name="connsiteY179" fmla="*/ 3893 h 10000"/>
              <a:gd name="connsiteX180" fmla="*/ 854 w 10000"/>
              <a:gd name="connsiteY180" fmla="*/ 4276 h 10000"/>
              <a:gd name="connsiteX181" fmla="*/ 560 w 10000"/>
              <a:gd name="connsiteY181" fmla="*/ 4766 h 10000"/>
              <a:gd name="connsiteX182" fmla="*/ 358 w 10000"/>
              <a:gd name="connsiteY182" fmla="*/ 4822 h 10000"/>
              <a:gd name="connsiteX183" fmla="*/ 275 w 10000"/>
              <a:gd name="connsiteY183" fmla="*/ 4706 h 10000"/>
              <a:gd name="connsiteX184" fmla="*/ 174 w 10000"/>
              <a:gd name="connsiteY184" fmla="*/ 4882 h 10000"/>
              <a:gd name="connsiteX185" fmla="*/ 239 w 10000"/>
              <a:gd name="connsiteY185" fmla="*/ 4578 h 10000"/>
              <a:gd name="connsiteX186" fmla="*/ 197 w 10000"/>
              <a:gd name="connsiteY186"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6419 w 10000"/>
              <a:gd name="connsiteY55" fmla="*/ 8186 h 10000"/>
              <a:gd name="connsiteX56" fmla="*/ 6586 w 10000"/>
              <a:gd name="connsiteY56" fmla="*/ 7505 h 10000"/>
              <a:gd name="connsiteX57" fmla="*/ 6855 w 10000"/>
              <a:gd name="connsiteY57" fmla="*/ 7204 h 10000"/>
              <a:gd name="connsiteX58" fmla="*/ 6855 w 10000"/>
              <a:gd name="connsiteY58" fmla="*/ 7043 h 10000"/>
              <a:gd name="connsiteX59" fmla="*/ 6757 w 10000"/>
              <a:gd name="connsiteY59" fmla="*/ 6956 h 10000"/>
              <a:gd name="connsiteX60" fmla="*/ 6915 w 10000"/>
              <a:gd name="connsiteY60" fmla="*/ 6811 h 10000"/>
              <a:gd name="connsiteX61" fmla="*/ 6887 w 10000"/>
              <a:gd name="connsiteY61" fmla="*/ 6693 h 10000"/>
              <a:gd name="connsiteX62" fmla="*/ 6779 w 10000"/>
              <a:gd name="connsiteY62" fmla="*/ 6592 h 10000"/>
              <a:gd name="connsiteX63" fmla="*/ 6757 w 10000"/>
              <a:gd name="connsiteY63" fmla="*/ 6514 h 10000"/>
              <a:gd name="connsiteX64" fmla="*/ 6785 w 10000"/>
              <a:gd name="connsiteY64" fmla="*/ 6457 h 10000"/>
              <a:gd name="connsiteX65" fmla="*/ 6931 w 10000"/>
              <a:gd name="connsiteY65" fmla="*/ 6503 h 10000"/>
              <a:gd name="connsiteX66" fmla="*/ 7045 w 10000"/>
              <a:gd name="connsiteY66" fmla="*/ 6500 h 10000"/>
              <a:gd name="connsiteX67" fmla="*/ 6983 w 10000"/>
              <a:gd name="connsiteY67" fmla="*/ 6404 h 10000"/>
              <a:gd name="connsiteX68" fmla="*/ 7003 w 10000"/>
              <a:gd name="connsiteY68" fmla="*/ 6346 h 10000"/>
              <a:gd name="connsiteX69" fmla="*/ 7089 w 10000"/>
              <a:gd name="connsiteY69" fmla="*/ 6265 h 10000"/>
              <a:gd name="connsiteX70" fmla="*/ 7074 w 10000"/>
              <a:gd name="connsiteY70" fmla="*/ 6198 h 10000"/>
              <a:gd name="connsiteX71" fmla="*/ 7152 w 10000"/>
              <a:gd name="connsiteY71" fmla="*/ 5971 h 10000"/>
              <a:gd name="connsiteX72" fmla="*/ 7130 w 10000"/>
              <a:gd name="connsiteY72" fmla="*/ 5902 h 10000"/>
              <a:gd name="connsiteX73" fmla="*/ 6729 w 10000"/>
              <a:gd name="connsiteY73" fmla="*/ 5729 h 10000"/>
              <a:gd name="connsiteX74" fmla="*/ 6785 w 10000"/>
              <a:gd name="connsiteY74" fmla="*/ 5723 h 10000"/>
              <a:gd name="connsiteX75" fmla="*/ 6998 w 10000"/>
              <a:gd name="connsiteY75" fmla="*/ 5768 h 10000"/>
              <a:gd name="connsiteX76" fmla="*/ 7230 w 10000"/>
              <a:gd name="connsiteY76" fmla="*/ 5751 h 10000"/>
              <a:gd name="connsiteX77" fmla="*/ 7295 w 10000"/>
              <a:gd name="connsiteY77" fmla="*/ 5689 h 10000"/>
              <a:gd name="connsiteX78" fmla="*/ 7074 w 10000"/>
              <a:gd name="connsiteY78" fmla="*/ 5571 h 10000"/>
              <a:gd name="connsiteX79" fmla="*/ 6414 w 10000"/>
              <a:gd name="connsiteY79" fmla="*/ 5495 h 10000"/>
              <a:gd name="connsiteX80" fmla="*/ 6458 w 10000"/>
              <a:gd name="connsiteY80" fmla="*/ 5459 h 10000"/>
              <a:gd name="connsiteX81" fmla="*/ 6998 w 10000"/>
              <a:gd name="connsiteY81" fmla="*/ 5434 h 10000"/>
              <a:gd name="connsiteX82" fmla="*/ 7295 w 10000"/>
              <a:gd name="connsiteY82" fmla="*/ 5506 h 10000"/>
              <a:gd name="connsiteX83" fmla="*/ 7466 w 10000"/>
              <a:gd name="connsiteY83" fmla="*/ 5459 h 10000"/>
              <a:gd name="connsiteX84" fmla="*/ 7529 w 10000"/>
              <a:gd name="connsiteY84" fmla="*/ 5337 h 10000"/>
              <a:gd name="connsiteX85" fmla="*/ 7840 w 10000"/>
              <a:gd name="connsiteY85" fmla="*/ 5337 h 10000"/>
              <a:gd name="connsiteX86" fmla="*/ 8261 w 10000"/>
              <a:gd name="connsiteY86" fmla="*/ 5093 h 10000"/>
              <a:gd name="connsiteX87" fmla="*/ 8275 w 10000"/>
              <a:gd name="connsiteY87" fmla="*/ 4928 h 10000"/>
              <a:gd name="connsiteX88" fmla="*/ 8453 w 10000"/>
              <a:gd name="connsiteY88" fmla="*/ 4965 h 10000"/>
              <a:gd name="connsiteX89" fmla="*/ 8446 w 10000"/>
              <a:gd name="connsiteY89" fmla="*/ 5130 h 10000"/>
              <a:gd name="connsiteX90" fmla="*/ 8727 w 10000"/>
              <a:gd name="connsiteY90" fmla="*/ 5118 h 10000"/>
              <a:gd name="connsiteX91" fmla="*/ 8913 w 10000"/>
              <a:gd name="connsiteY91" fmla="*/ 4948 h 10000"/>
              <a:gd name="connsiteX92" fmla="*/ 9258 w 10000"/>
              <a:gd name="connsiteY92" fmla="*/ 4795 h 10000"/>
              <a:gd name="connsiteX93" fmla="*/ 9203 w 10000"/>
              <a:gd name="connsiteY93" fmla="*/ 4621 h 10000"/>
              <a:gd name="connsiteX94" fmla="*/ 9306 w 10000"/>
              <a:gd name="connsiteY94" fmla="*/ 4690 h 10000"/>
              <a:gd name="connsiteX95" fmla="*/ 9464 w 10000"/>
              <a:gd name="connsiteY95" fmla="*/ 4690 h 10000"/>
              <a:gd name="connsiteX96" fmla="*/ 9464 w 10000"/>
              <a:gd name="connsiteY96" fmla="*/ 4609 h 10000"/>
              <a:gd name="connsiteX97" fmla="*/ 9611 w 10000"/>
              <a:gd name="connsiteY97" fmla="*/ 4550 h 10000"/>
              <a:gd name="connsiteX98" fmla="*/ 9592 w 10000"/>
              <a:gd name="connsiteY98" fmla="*/ 4487 h 10000"/>
              <a:gd name="connsiteX99" fmla="*/ 8350 w 10000"/>
              <a:gd name="connsiteY99" fmla="*/ 4611 h 10000"/>
              <a:gd name="connsiteX100" fmla="*/ 8058 w 10000"/>
              <a:gd name="connsiteY100" fmla="*/ 4576 h 10000"/>
              <a:gd name="connsiteX101" fmla="*/ 7942 w 10000"/>
              <a:gd name="connsiteY101" fmla="*/ 4621 h 10000"/>
              <a:gd name="connsiteX102" fmla="*/ 7903 w 10000"/>
              <a:gd name="connsiteY102" fmla="*/ 4532 h 10000"/>
              <a:gd name="connsiteX103" fmla="*/ 7765 w 10000"/>
              <a:gd name="connsiteY103" fmla="*/ 4456 h 10000"/>
              <a:gd name="connsiteX104" fmla="*/ 7213 w 10000"/>
              <a:gd name="connsiteY104" fmla="*/ 4297 h 10000"/>
              <a:gd name="connsiteX105" fmla="*/ 6887 w 10000"/>
              <a:gd name="connsiteY105" fmla="*/ 4324 h 10000"/>
              <a:gd name="connsiteX106" fmla="*/ 6757 w 10000"/>
              <a:gd name="connsiteY106" fmla="*/ 4278 h 10000"/>
              <a:gd name="connsiteX107" fmla="*/ 6894 w 10000"/>
              <a:gd name="connsiteY107" fmla="*/ 4240 h 10000"/>
              <a:gd name="connsiteX108" fmla="*/ 6998 w 10000"/>
              <a:gd name="connsiteY108" fmla="*/ 4156 h 10000"/>
              <a:gd name="connsiteX109" fmla="*/ 7152 w 10000"/>
              <a:gd name="connsiteY109" fmla="*/ 4182 h 10000"/>
              <a:gd name="connsiteX110" fmla="*/ 7335 w 10000"/>
              <a:gd name="connsiteY110" fmla="*/ 4161 h 10000"/>
              <a:gd name="connsiteX111" fmla="*/ 7611 w 10000"/>
              <a:gd name="connsiteY111" fmla="*/ 4188 h 10000"/>
              <a:gd name="connsiteX112" fmla="*/ 7645 w 10000"/>
              <a:gd name="connsiteY112" fmla="*/ 4177 h 10000"/>
              <a:gd name="connsiteX113" fmla="*/ 7859 w 10000"/>
              <a:gd name="connsiteY113" fmla="*/ 4305 h 10000"/>
              <a:gd name="connsiteX114" fmla="*/ 8017 w 10000"/>
              <a:gd name="connsiteY114" fmla="*/ 4257 h 10000"/>
              <a:gd name="connsiteX115" fmla="*/ 8032 w 10000"/>
              <a:gd name="connsiteY115" fmla="*/ 4214 h 10000"/>
              <a:gd name="connsiteX116" fmla="*/ 8176 w 10000"/>
              <a:gd name="connsiteY116" fmla="*/ 4290 h 10000"/>
              <a:gd name="connsiteX117" fmla="*/ 8369 w 10000"/>
              <a:gd name="connsiteY117" fmla="*/ 4331 h 10000"/>
              <a:gd name="connsiteX118" fmla="*/ 8446 w 10000"/>
              <a:gd name="connsiteY118" fmla="*/ 4255 h 10000"/>
              <a:gd name="connsiteX119" fmla="*/ 8507 w 10000"/>
              <a:gd name="connsiteY119" fmla="*/ 4297 h 10000"/>
              <a:gd name="connsiteX120" fmla="*/ 8596 w 10000"/>
              <a:gd name="connsiteY120" fmla="*/ 4446 h 10000"/>
              <a:gd name="connsiteX121" fmla="*/ 8782 w 10000"/>
              <a:gd name="connsiteY121" fmla="*/ 4478 h 10000"/>
              <a:gd name="connsiteX122" fmla="*/ 9542 w 10000"/>
              <a:gd name="connsiteY122" fmla="*/ 4262 h 10000"/>
              <a:gd name="connsiteX123" fmla="*/ 9914 w 10000"/>
              <a:gd name="connsiteY123" fmla="*/ 3962 h 10000"/>
              <a:gd name="connsiteX124" fmla="*/ 10000 w 10000"/>
              <a:gd name="connsiteY124" fmla="*/ 3744 h 10000"/>
              <a:gd name="connsiteX125" fmla="*/ 9866 w 10000"/>
              <a:gd name="connsiteY125" fmla="*/ 3546 h 10000"/>
              <a:gd name="connsiteX126" fmla="*/ 9582 w 10000"/>
              <a:gd name="connsiteY126" fmla="*/ 3428 h 10000"/>
              <a:gd name="connsiteX127" fmla="*/ 9382 w 10000"/>
              <a:gd name="connsiteY127" fmla="*/ 3233 h 10000"/>
              <a:gd name="connsiteX128" fmla="*/ 9569 w 10000"/>
              <a:gd name="connsiteY128" fmla="*/ 3227 h 10000"/>
              <a:gd name="connsiteX129" fmla="*/ 9555 w 10000"/>
              <a:gd name="connsiteY129" fmla="*/ 3180 h 10000"/>
              <a:gd name="connsiteX130" fmla="*/ 9068 w 10000"/>
              <a:gd name="connsiteY130" fmla="*/ 3045 h 10000"/>
              <a:gd name="connsiteX131" fmla="*/ 9047 w 10000"/>
              <a:gd name="connsiteY131" fmla="*/ 2920 h 10000"/>
              <a:gd name="connsiteX132" fmla="*/ 8953 w 10000"/>
              <a:gd name="connsiteY132" fmla="*/ 2789 h 10000"/>
              <a:gd name="connsiteX133" fmla="*/ 8569 w 10000"/>
              <a:gd name="connsiteY133" fmla="*/ 2813 h 10000"/>
              <a:gd name="connsiteX134" fmla="*/ 8431 w 10000"/>
              <a:gd name="connsiteY134" fmla="*/ 2673 h 10000"/>
              <a:gd name="connsiteX135" fmla="*/ 8350 w 10000"/>
              <a:gd name="connsiteY135" fmla="*/ 2665 h 10000"/>
              <a:gd name="connsiteX136" fmla="*/ 8350 w 10000"/>
              <a:gd name="connsiteY136" fmla="*/ 2726 h 10000"/>
              <a:gd name="connsiteX137" fmla="*/ 8176 w 10000"/>
              <a:gd name="connsiteY137" fmla="*/ 2959 h 10000"/>
              <a:gd name="connsiteX138" fmla="*/ 7990 w 10000"/>
              <a:gd name="connsiteY138" fmla="*/ 3096 h 10000"/>
              <a:gd name="connsiteX139" fmla="*/ 7401 w 10000"/>
              <a:gd name="connsiteY139" fmla="*/ 3329 h 10000"/>
              <a:gd name="connsiteX140" fmla="*/ 7198 w 10000"/>
              <a:gd name="connsiteY140" fmla="*/ 3322 h 10000"/>
              <a:gd name="connsiteX141" fmla="*/ 6915 w 10000"/>
              <a:gd name="connsiteY141" fmla="*/ 3359 h 10000"/>
              <a:gd name="connsiteX142" fmla="*/ 6757 w 10000"/>
              <a:gd name="connsiteY142" fmla="*/ 3322 h 10000"/>
              <a:gd name="connsiteX143" fmla="*/ 6965 w 10000"/>
              <a:gd name="connsiteY143" fmla="*/ 3255 h 10000"/>
              <a:gd name="connsiteX144" fmla="*/ 7235 w 10000"/>
              <a:gd name="connsiteY144" fmla="*/ 3227 h 10000"/>
              <a:gd name="connsiteX145" fmla="*/ 7455 w 10000"/>
              <a:gd name="connsiteY145" fmla="*/ 3118 h 10000"/>
              <a:gd name="connsiteX146" fmla="*/ 7674 w 10000"/>
              <a:gd name="connsiteY146" fmla="*/ 3066 h 10000"/>
              <a:gd name="connsiteX147" fmla="*/ 8082 w 10000"/>
              <a:gd name="connsiteY147" fmla="*/ 2874 h 10000"/>
              <a:gd name="connsiteX148" fmla="*/ 8157 w 10000"/>
              <a:gd name="connsiteY148" fmla="*/ 2750 h 10000"/>
              <a:gd name="connsiteX149" fmla="*/ 8165 w 10000"/>
              <a:gd name="connsiteY149" fmla="*/ 2589 h 10000"/>
              <a:gd name="connsiteX150" fmla="*/ 7978 w 10000"/>
              <a:gd name="connsiteY150" fmla="*/ 2562 h 10000"/>
              <a:gd name="connsiteX151" fmla="*/ 8058 w 10000"/>
              <a:gd name="connsiteY151" fmla="*/ 2463 h 10000"/>
              <a:gd name="connsiteX152" fmla="*/ 8087 w 10000"/>
              <a:gd name="connsiteY152" fmla="*/ 2338 h 10000"/>
              <a:gd name="connsiteX153" fmla="*/ 8007 w 10000"/>
              <a:gd name="connsiteY153" fmla="*/ 2222 h 10000"/>
              <a:gd name="connsiteX154" fmla="*/ 7450 w 10000"/>
              <a:gd name="connsiteY154" fmla="*/ 2382 h 10000"/>
              <a:gd name="connsiteX155" fmla="*/ 6694 w 10000"/>
              <a:gd name="connsiteY155" fmla="*/ 2311 h 10000"/>
              <a:gd name="connsiteX156" fmla="*/ 6304 w 10000"/>
              <a:gd name="connsiteY156" fmla="*/ 1864 h 10000"/>
              <a:gd name="connsiteX157" fmla="*/ 5294 w 10000"/>
              <a:gd name="connsiteY157" fmla="*/ 1779 h 10000"/>
              <a:gd name="connsiteX158" fmla="*/ 4505 w 10000"/>
              <a:gd name="connsiteY158" fmla="*/ 1407 h 10000"/>
              <a:gd name="connsiteX159" fmla="*/ 3730 w 10000"/>
              <a:gd name="connsiteY159" fmla="*/ 962 h 10000"/>
              <a:gd name="connsiteX160" fmla="*/ 3154 w 10000"/>
              <a:gd name="connsiteY160" fmla="*/ 143 h 10000"/>
              <a:gd name="connsiteX161" fmla="*/ 2375 w 10000"/>
              <a:gd name="connsiteY161" fmla="*/ 0 h 10000"/>
              <a:gd name="connsiteX162" fmla="*/ 2226 w 10000"/>
              <a:gd name="connsiteY162" fmla="*/ 772 h 10000"/>
              <a:gd name="connsiteX163" fmla="*/ 2375 w 10000"/>
              <a:gd name="connsiteY163" fmla="*/ 967 h 10000"/>
              <a:gd name="connsiteX164" fmla="*/ 2791 w 10000"/>
              <a:gd name="connsiteY164" fmla="*/ 1185 h 10000"/>
              <a:gd name="connsiteX165" fmla="*/ 2808 w 10000"/>
              <a:gd name="connsiteY165" fmla="*/ 1446 h 10000"/>
              <a:gd name="connsiteX166" fmla="*/ 2632 w 10000"/>
              <a:gd name="connsiteY166" fmla="*/ 1665 h 10000"/>
              <a:gd name="connsiteX167" fmla="*/ 2375 w 10000"/>
              <a:gd name="connsiteY167" fmla="*/ 1798 h 10000"/>
              <a:gd name="connsiteX168" fmla="*/ 2039 w 10000"/>
              <a:gd name="connsiteY168" fmla="*/ 1851 h 10000"/>
              <a:gd name="connsiteX169" fmla="*/ 1950 w 10000"/>
              <a:gd name="connsiteY169" fmla="*/ 1929 h 10000"/>
              <a:gd name="connsiteX170" fmla="*/ 2148 w 10000"/>
              <a:gd name="connsiteY170" fmla="*/ 2110 h 10000"/>
              <a:gd name="connsiteX171" fmla="*/ 2261 w 10000"/>
              <a:gd name="connsiteY171" fmla="*/ 2541 h 10000"/>
              <a:gd name="connsiteX172" fmla="*/ 2005 w 10000"/>
              <a:gd name="connsiteY172" fmla="*/ 2910 h 10000"/>
              <a:gd name="connsiteX173" fmla="*/ 2094 w 10000"/>
              <a:gd name="connsiteY173" fmla="*/ 3022 h 10000"/>
              <a:gd name="connsiteX174" fmla="*/ 2012 w 10000"/>
              <a:gd name="connsiteY174" fmla="*/ 3214 h 10000"/>
              <a:gd name="connsiteX175" fmla="*/ 1850 w 10000"/>
              <a:gd name="connsiteY175" fmla="*/ 3349 h 10000"/>
              <a:gd name="connsiteX176" fmla="*/ 1199 w 10000"/>
              <a:gd name="connsiteY176" fmla="*/ 3450 h 10000"/>
              <a:gd name="connsiteX177" fmla="*/ 1158 w 10000"/>
              <a:gd name="connsiteY177" fmla="*/ 3629 h 10000"/>
              <a:gd name="connsiteX178" fmla="*/ 808 w 10000"/>
              <a:gd name="connsiteY178" fmla="*/ 3893 h 10000"/>
              <a:gd name="connsiteX179" fmla="*/ 854 w 10000"/>
              <a:gd name="connsiteY179" fmla="*/ 4276 h 10000"/>
              <a:gd name="connsiteX180" fmla="*/ 560 w 10000"/>
              <a:gd name="connsiteY180" fmla="*/ 4766 h 10000"/>
              <a:gd name="connsiteX181" fmla="*/ 358 w 10000"/>
              <a:gd name="connsiteY181" fmla="*/ 4822 h 10000"/>
              <a:gd name="connsiteX182" fmla="*/ 275 w 10000"/>
              <a:gd name="connsiteY182" fmla="*/ 4706 h 10000"/>
              <a:gd name="connsiteX183" fmla="*/ 174 w 10000"/>
              <a:gd name="connsiteY183" fmla="*/ 4882 h 10000"/>
              <a:gd name="connsiteX184" fmla="*/ 239 w 10000"/>
              <a:gd name="connsiteY184" fmla="*/ 4578 h 10000"/>
              <a:gd name="connsiteX185" fmla="*/ 197 w 10000"/>
              <a:gd name="connsiteY185"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6419 w 10000"/>
              <a:gd name="connsiteY54" fmla="*/ 8186 h 10000"/>
              <a:gd name="connsiteX55" fmla="*/ 6586 w 10000"/>
              <a:gd name="connsiteY55" fmla="*/ 7505 h 10000"/>
              <a:gd name="connsiteX56" fmla="*/ 6855 w 10000"/>
              <a:gd name="connsiteY56" fmla="*/ 7204 h 10000"/>
              <a:gd name="connsiteX57" fmla="*/ 6855 w 10000"/>
              <a:gd name="connsiteY57" fmla="*/ 7043 h 10000"/>
              <a:gd name="connsiteX58" fmla="*/ 6757 w 10000"/>
              <a:gd name="connsiteY58" fmla="*/ 6956 h 10000"/>
              <a:gd name="connsiteX59" fmla="*/ 6915 w 10000"/>
              <a:gd name="connsiteY59" fmla="*/ 6811 h 10000"/>
              <a:gd name="connsiteX60" fmla="*/ 6887 w 10000"/>
              <a:gd name="connsiteY60" fmla="*/ 6693 h 10000"/>
              <a:gd name="connsiteX61" fmla="*/ 6779 w 10000"/>
              <a:gd name="connsiteY61" fmla="*/ 6592 h 10000"/>
              <a:gd name="connsiteX62" fmla="*/ 6757 w 10000"/>
              <a:gd name="connsiteY62" fmla="*/ 6514 h 10000"/>
              <a:gd name="connsiteX63" fmla="*/ 6785 w 10000"/>
              <a:gd name="connsiteY63" fmla="*/ 6457 h 10000"/>
              <a:gd name="connsiteX64" fmla="*/ 6931 w 10000"/>
              <a:gd name="connsiteY64" fmla="*/ 6503 h 10000"/>
              <a:gd name="connsiteX65" fmla="*/ 7045 w 10000"/>
              <a:gd name="connsiteY65" fmla="*/ 6500 h 10000"/>
              <a:gd name="connsiteX66" fmla="*/ 6983 w 10000"/>
              <a:gd name="connsiteY66" fmla="*/ 6404 h 10000"/>
              <a:gd name="connsiteX67" fmla="*/ 7003 w 10000"/>
              <a:gd name="connsiteY67" fmla="*/ 6346 h 10000"/>
              <a:gd name="connsiteX68" fmla="*/ 7089 w 10000"/>
              <a:gd name="connsiteY68" fmla="*/ 6265 h 10000"/>
              <a:gd name="connsiteX69" fmla="*/ 7074 w 10000"/>
              <a:gd name="connsiteY69" fmla="*/ 6198 h 10000"/>
              <a:gd name="connsiteX70" fmla="*/ 7152 w 10000"/>
              <a:gd name="connsiteY70" fmla="*/ 5971 h 10000"/>
              <a:gd name="connsiteX71" fmla="*/ 7130 w 10000"/>
              <a:gd name="connsiteY71" fmla="*/ 5902 h 10000"/>
              <a:gd name="connsiteX72" fmla="*/ 6729 w 10000"/>
              <a:gd name="connsiteY72" fmla="*/ 5729 h 10000"/>
              <a:gd name="connsiteX73" fmla="*/ 6785 w 10000"/>
              <a:gd name="connsiteY73" fmla="*/ 5723 h 10000"/>
              <a:gd name="connsiteX74" fmla="*/ 6998 w 10000"/>
              <a:gd name="connsiteY74" fmla="*/ 5768 h 10000"/>
              <a:gd name="connsiteX75" fmla="*/ 7230 w 10000"/>
              <a:gd name="connsiteY75" fmla="*/ 5751 h 10000"/>
              <a:gd name="connsiteX76" fmla="*/ 7295 w 10000"/>
              <a:gd name="connsiteY76" fmla="*/ 5689 h 10000"/>
              <a:gd name="connsiteX77" fmla="*/ 7074 w 10000"/>
              <a:gd name="connsiteY77" fmla="*/ 5571 h 10000"/>
              <a:gd name="connsiteX78" fmla="*/ 6414 w 10000"/>
              <a:gd name="connsiteY78" fmla="*/ 5495 h 10000"/>
              <a:gd name="connsiteX79" fmla="*/ 6458 w 10000"/>
              <a:gd name="connsiteY79" fmla="*/ 5459 h 10000"/>
              <a:gd name="connsiteX80" fmla="*/ 6998 w 10000"/>
              <a:gd name="connsiteY80" fmla="*/ 5434 h 10000"/>
              <a:gd name="connsiteX81" fmla="*/ 7295 w 10000"/>
              <a:gd name="connsiteY81" fmla="*/ 5506 h 10000"/>
              <a:gd name="connsiteX82" fmla="*/ 7466 w 10000"/>
              <a:gd name="connsiteY82" fmla="*/ 5459 h 10000"/>
              <a:gd name="connsiteX83" fmla="*/ 7529 w 10000"/>
              <a:gd name="connsiteY83" fmla="*/ 5337 h 10000"/>
              <a:gd name="connsiteX84" fmla="*/ 7840 w 10000"/>
              <a:gd name="connsiteY84" fmla="*/ 5337 h 10000"/>
              <a:gd name="connsiteX85" fmla="*/ 8261 w 10000"/>
              <a:gd name="connsiteY85" fmla="*/ 5093 h 10000"/>
              <a:gd name="connsiteX86" fmla="*/ 8275 w 10000"/>
              <a:gd name="connsiteY86" fmla="*/ 4928 h 10000"/>
              <a:gd name="connsiteX87" fmla="*/ 8453 w 10000"/>
              <a:gd name="connsiteY87" fmla="*/ 4965 h 10000"/>
              <a:gd name="connsiteX88" fmla="*/ 8446 w 10000"/>
              <a:gd name="connsiteY88" fmla="*/ 5130 h 10000"/>
              <a:gd name="connsiteX89" fmla="*/ 8727 w 10000"/>
              <a:gd name="connsiteY89" fmla="*/ 5118 h 10000"/>
              <a:gd name="connsiteX90" fmla="*/ 8913 w 10000"/>
              <a:gd name="connsiteY90" fmla="*/ 4948 h 10000"/>
              <a:gd name="connsiteX91" fmla="*/ 9258 w 10000"/>
              <a:gd name="connsiteY91" fmla="*/ 4795 h 10000"/>
              <a:gd name="connsiteX92" fmla="*/ 9203 w 10000"/>
              <a:gd name="connsiteY92" fmla="*/ 4621 h 10000"/>
              <a:gd name="connsiteX93" fmla="*/ 9306 w 10000"/>
              <a:gd name="connsiteY93" fmla="*/ 4690 h 10000"/>
              <a:gd name="connsiteX94" fmla="*/ 9464 w 10000"/>
              <a:gd name="connsiteY94" fmla="*/ 4690 h 10000"/>
              <a:gd name="connsiteX95" fmla="*/ 9464 w 10000"/>
              <a:gd name="connsiteY95" fmla="*/ 4609 h 10000"/>
              <a:gd name="connsiteX96" fmla="*/ 9611 w 10000"/>
              <a:gd name="connsiteY96" fmla="*/ 4550 h 10000"/>
              <a:gd name="connsiteX97" fmla="*/ 9592 w 10000"/>
              <a:gd name="connsiteY97" fmla="*/ 4487 h 10000"/>
              <a:gd name="connsiteX98" fmla="*/ 8350 w 10000"/>
              <a:gd name="connsiteY98" fmla="*/ 4611 h 10000"/>
              <a:gd name="connsiteX99" fmla="*/ 8058 w 10000"/>
              <a:gd name="connsiteY99" fmla="*/ 4576 h 10000"/>
              <a:gd name="connsiteX100" fmla="*/ 7942 w 10000"/>
              <a:gd name="connsiteY100" fmla="*/ 4621 h 10000"/>
              <a:gd name="connsiteX101" fmla="*/ 7903 w 10000"/>
              <a:gd name="connsiteY101" fmla="*/ 4532 h 10000"/>
              <a:gd name="connsiteX102" fmla="*/ 7765 w 10000"/>
              <a:gd name="connsiteY102" fmla="*/ 4456 h 10000"/>
              <a:gd name="connsiteX103" fmla="*/ 7213 w 10000"/>
              <a:gd name="connsiteY103" fmla="*/ 4297 h 10000"/>
              <a:gd name="connsiteX104" fmla="*/ 6887 w 10000"/>
              <a:gd name="connsiteY104" fmla="*/ 4324 h 10000"/>
              <a:gd name="connsiteX105" fmla="*/ 6757 w 10000"/>
              <a:gd name="connsiteY105" fmla="*/ 4278 h 10000"/>
              <a:gd name="connsiteX106" fmla="*/ 6894 w 10000"/>
              <a:gd name="connsiteY106" fmla="*/ 4240 h 10000"/>
              <a:gd name="connsiteX107" fmla="*/ 6998 w 10000"/>
              <a:gd name="connsiteY107" fmla="*/ 4156 h 10000"/>
              <a:gd name="connsiteX108" fmla="*/ 7152 w 10000"/>
              <a:gd name="connsiteY108" fmla="*/ 4182 h 10000"/>
              <a:gd name="connsiteX109" fmla="*/ 7335 w 10000"/>
              <a:gd name="connsiteY109" fmla="*/ 4161 h 10000"/>
              <a:gd name="connsiteX110" fmla="*/ 7611 w 10000"/>
              <a:gd name="connsiteY110" fmla="*/ 4188 h 10000"/>
              <a:gd name="connsiteX111" fmla="*/ 7645 w 10000"/>
              <a:gd name="connsiteY111" fmla="*/ 4177 h 10000"/>
              <a:gd name="connsiteX112" fmla="*/ 7859 w 10000"/>
              <a:gd name="connsiteY112" fmla="*/ 4305 h 10000"/>
              <a:gd name="connsiteX113" fmla="*/ 8017 w 10000"/>
              <a:gd name="connsiteY113" fmla="*/ 4257 h 10000"/>
              <a:gd name="connsiteX114" fmla="*/ 8032 w 10000"/>
              <a:gd name="connsiteY114" fmla="*/ 4214 h 10000"/>
              <a:gd name="connsiteX115" fmla="*/ 8176 w 10000"/>
              <a:gd name="connsiteY115" fmla="*/ 4290 h 10000"/>
              <a:gd name="connsiteX116" fmla="*/ 8369 w 10000"/>
              <a:gd name="connsiteY116" fmla="*/ 4331 h 10000"/>
              <a:gd name="connsiteX117" fmla="*/ 8446 w 10000"/>
              <a:gd name="connsiteY117" fmla="*/ 4255 h 10000"/>
              <a:gd name="connsiteX118" fmla="*/ 8507 w 10000"/>
              <a:gd name="connsiteY118" fmla="*/ 4297 h 10000"/>
              <a:gd name="connsiteX119" fmla="*/ 8596 w 10000"/>
              <a:gd name="connsiteY119" fmla="*/ 4446 h 10000"/>
              <a:gd name="connsiteX120" fmla="*/ 8782 w 10000"/>
              <a:gd name="connsiteY120" fmla="*/ 4478 h 10000"/>
              <a:gd name="connsiteX121" fmla="*/ 9542 w 10000"/>
              <a:gd name="connsiteY121" fmla="*/ 4262 h 10000"/>
              <a:gd name="connsiteX122" fmla="*/ 9914 w 10000"/>
              <a:gd name="connsiteY122" fmla="*/ 3962 h 10000"/>
              <a:gd name="connsiteX123" fmla="*/ 10000 w 10000"/>
              <a:gd name="connsiteY123" fmla="*/ 3744 h 10000"/>
              <a:gd name="connsiteX124" fmla="*/ 9866 w 10000"/>
              <a:gd name="connsiteY124" fmla="*/ 3546 h 10000"/>
              <a:gd name="connsiteX125" fmla="*/ 9582 w 10000"/>
              <a:gd name="connsiteY125" fmla="*/ 3428 h 10000"/>
              <a:gd name="connsiteX126" fmla="*/ 9382 w 10000"/>
              <a:gd name="connsiteY126" fmla="*/ 3233 h 10000"/>
              <a:gd name="connsiteX127" fmla="*/ 9569 w 10000"/>
              <a:gd name="connsiteY127" fmla="*/ 3227 h 10000"/>
              <a:gd name="connsiteX128" fmla="*/ 9555 w 10000"/>
              <a:gd name="connsiteY128" fmla="*/ 3180 h 10000"/>
              <a:gd name="connsiteX129" fmla="*/ 9068 w 10000"/>
              <a:gd name="connsiteY129" fmla="*/ 3045 h 10000"/>
              <a:gd name="connsiteX130" fmla="*/ 9047 w 10000"/>
              <a:gd name="connsiteY130" fmla="*/ 2920 h 10000"/>
              <a:gd name="connsiteX131" fmla="*/ 8953 w 10000"/>
              <a:gd name="connsiteY131" fmla="*/ 2789 h 10000"/>
              <a:gd name="connsiteX132" fmla="*/ 8569 w 10000"/>
              <a:gd name="connsiteY132" fmla="*/ 2813 h 10000"/>
              <a:gd name="connsiteX133" fmla="*/ 8431 w 10000"/>
              <a:gd name="connsiteY133" fmla="*/ 2673 h 10000"/>
              <a:gd name="connsiteX134" fmla="*/ 8350 w 10000"/>
              <a:gd name="connsiteY134" fmla="*/ 2665 h 10000"/>
              <a:gd name="connsiteX135" fmla="*/ 8350 w 10000"/>
              <a:gd name="connsiteY135" fmla="*/ 2726 h 10000"/>
              <a:gd name="connsiteX136" fmla="*/ 8176 w 10000"/>
              <a:gd name="connsiteY136" fmla="*/ 2959 h 10000"/>
              <a:gd name="connsiteX137" fmla="*/ 7990 w 10000"/>
              <a:gd name="connsiteY137" fmla="*/ 3096 h 10000"/>
              <a:gd name="connsiteX138" fmla="*/ 7401 w 10000"/>
              <a:gd name="connsiteY138" fmla="*/ 3329 h 10000"/>
              <a:gd name="connsiteX139" fmla="*/ 7198 w 10000"/>
              <a:gd name="connsiteY139" fmla="*/ 3322 h 10000"/>
              <a:gd name="connsiteX140" fmla="*/ 6915 w 10000"/>
              <a:gd name="connsiteY140" fmla="*/ 3359 h 10000"/>
              <a:gd name="connsiteX141" fmla="*/ 6757 w 10000"/>
              <a:gd name="connsiteY141" fmla="*/ 3322 h 10000"/>
              <a:gd name="connsiteX142" fmla="*/ 6965 w 10000"/>
              <a:gd name="connsiteY142" fmla="*/ 3255 h 10000"/>
              <a:gd name="connsiteX143" fmla="*/ 7235 w 10000"/>
              <a:gd name="connsiteY143" fmla="*/ 3227 h 10000"/>
              <a:gd name="connsiteX144" fmla="*/ 7455 w 10000"/>
              <a:gd name="connsiteY144" fmla="*/ 3118 h 10000"/>
              <a:gd name="connsiteX145" fmla="*/ 7674 w 10000"/>
              <a:gd name="connsiteY145" fmla="*/ 3066 h 10000"/>
              <a:gd name="connsiteX146" fmla="*/ 8082 w 10000"/>
              <a:gd name="connsiteY146" fmla="*/ 2874 h 10000"/>
              <a:gd name="connsiteX147" fmla="*/ 8157 w 10000"/>
              <a:gd name="connsiteY147" fmla="*/ 2750 h 10000"/>
              <a:gd name="connsiteX148" fmla="*/ 8165 w 10000"/>
              <a:gd name="connsiteY148" fmla="*/ 2589 h 10000"/>
              <a:gd name="connsiteX149" fmla="*/ 7978 w 10000"/>
              <a:gd name="connsiteY149" fmla="*/ 2562 h 10000"/>
              <a:gd name="connsiteX150" fmla="*/ 8058 w 10000"/>
              <a:gd name="connsiteY150" fmla="*/ 2463 h 10000"/>
              <a:gd name="connsiteX151" fmla="*/ 8087 w 10000"/>
              <a:gd name="connsiteY151" fmla="*/ 2338 h 10000"/>
              <a:gd name="connsiteX152" fmla="*/ 8007 w 10000"/>
              <a:gd name="connsiteY152" fmla="*/ 2222 h 10000"/>
              <a:gd name="connsiteX153" fmla="*/ 7450 w 10000"/>
              <a:gd name="connsiteY153" fmla="*/ 2382 h 10000"/>
              <a:gd name="connsiteX154" fmla="*/ 6694 w 10000"/>
              <a:gd name="connsiteY154" fmla="*/ 2311 h 10000"/>
              <a:gd name="connsiteX155" fmla="*/ 6304 w 10000"/>
              <a:gd name="connsiteY155" fmla="*/ 1864 h 10000"/>
              <a:gd name="connsiteX156" fmla="*/ 5294 w 10000"/>
              <a:gd name="connsiteY156" fmla="*/ 1779 h 10000"/>
              <a:gd name="connsiteX157" fmla="*/ 4505 w 10000"/>
              <a:gd name="connsiteY157" fmla="*/ 1407 h 10000"/>
              <a:gd name="connsiteX158" fmla="*/ 3730 w 10000"/>
              <a:gd name="connsiteY158" fmla="*/ 962 h 10000"/>
              <a:gd name="connsiteX159" fmla="*/ 3154 w 10000"/>
              <a:gd name="connsiteY159" fmla="*/ 143 h 10000"/>
              <a:gd name="connsiteX160" fmla="*/ 2375 w 10000"/>
              <a:gd name="connsiteY160" fmla="*/ 0 h 10000"/>
              <a:gd name="connsiteX161" fmla="*/ 2226 w 10000"/>
              <a:gd name="connsiteY161" fmla="*/ 772 h 10000"/>
              <a:gd name="connsiteX162" fmla="*/ 2375 w 10000"/>
              <a:gd name="connsiteY162" fmla="*/ 967 h 10000"/>
              <a:gd name="connsiteX163" fmla="*/ 2791 w 10000"/>
              <a:gd name="connsiteY163" fmla="*/ 1185 h 10000"/>
              <a:gd name="connsiteX164" fmla="*/ 2808 w 10000"/>
              <a:gd name="connsiteY164" fmla="*/ 1446 h 10000"/>
              <a:gd name="connsiteX165" fmla="*/ 2632 w 10000"/>
              <a:gd name="connsiteY165" fmla="*/ 1665 h 10000"/>
              <a:gd name="connsiteX166" fmla="*/ 2375 w 10000"/>
              <a:gd name="connsiteY166" fmla="*/ 1798 h 10000"/>
              <a:gd name="connsiteX167" fmla="*/ 2039 w 10000"/>
              <a:gd name="connsiteY167" fmla="*/ 1851 h 10000"/>
              <a:gd name="connsiteX168" fmla="*/ 1950 w 10000"/>
              <a:gd name="connsiteY168" fmla="*/ 1929 h 10000"/>
              <a:gd name="connsiteX169" fmla="*/ 2148 w 10000"/>
              <a:gd name="connsiteY169" fmla="*/ 2110 h 10000"/>
              <a:gd name="connsiteX170" fmla="*/ 2261 w 10000"/>
              <a:gd name="connsiteY170" fmla="*/ 2541 h 10000"/>
              <a:gd name="connsiteX171" fmla="*/ 2005 w 10000"/>
              <a:gd name="connsiteY171" fmla="*/ 2910 h 10000"/>
              <a:gd name="connsiteX172" fmla="*/ 2094 w 10000"/>
              <a:gd name="connsiteY172" fmla="*/ 3022 h 10000"/>
              <a:gd name="connsiteX173" fmla="*/ 2012 w 10000"/>
              <a:gd name="connsiteY173" fmla="*/ 3214 h 10000"/>
              <a:gd name="connsiteX174" fmla="*/ 1850 w 10000"/>
              <a:gd name="connsiteY174" fmla="*/ 3349 h 10000"/>
              <a:gd name="connsiteX175" fmla="*/ 1199 w 10000"/>
              <a:gd name="connsiteY175" fmla="*/ 3450 h 10000"/>
              <a:gd name="connsiteX176" fmla="*/ 1158 w 10000"/>
              <a:gd name="connsiteY176" fmla="*/ 3629 h 10000"/>
              <a:gd name="connsiteX177" fmla="*/ 808 w 10000"/>
              <a:gd name="connsiteY177" fmla="*/ 3893 h 10000"/>
              <a:gd name="connsiteX178" fmla="*/ 854 w 10000"/>
              <a:gd name="connsiteY178" fmla="*/ 4276 h 10000"/>
              <a:gd name="connsiteX179" fmla="*/ 560 w 10000"/>
              <a:gd name="connsiteY179" fmla="*/ 4766 h 10000"/>
              <a:gd name="connsiteX180" fmla="*/ 358 w 10000"/>
              <a:gd name="connsiteY180" fmla="*/ 4822 h 10000"/>
              <a:gd name="connsiteX181" fmla="*/ 275 w 10000"/>
              <a:gd name="connsiteY181" fmla="*/ 4706 h 10000"/>
              <a:gd name="connsiteX182" fmla="*/ 174 w 10000"/>
              <a:gd name="connsiteY182" fmla="*/ 4882 h 10000"/>
              <a:gd name="connsiteX183" fmla="*/ 239 w 10000"/>
              <a:gd name="connsiteY183" fmla="*/ 4578 h 10000"/>
              <a:gd name="connsiteX184" fmla="*/ 197 w 10000"/>
              <a:gd name="connsiteY184"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6419 w 10000"/>
              <a:gd name="connsiteY53" fmla="*/ 8186 h 10000"/>
              <a:gd name="connsiteX54" fmla="*/ 6586 w 10000"/>
              <a:gd name="connsiteY54" fmla="*/ 7505 h 10000"/>
              <a:gd name="connsiteX55" fmla="*/ 6855 w 10000"/>
              <a:gd name="connsiteY55" fmla="*/ 7204 h 10000"/>
              <a:gd name="connsiteX56" fmla="*/ 6855 w 10000"/>
              <a:gd name="connsiteY56" fmla="*/ 7043 h 10000"/>
              <a:gd name="connsiteX57" fmla="*/ 6757 w 10000"/>
              <a:gd name="connsiteY57" fmla="*/ 6956 h 10000"/>
              <a:gd name="connsiteX58" fmla="*/ 6915 w 10000"/>
              <a:gd name="connsiteY58" fmla="*/ 6811 h 10000"/>
              <a:gd name="connsiteX59" fmla="*/ 6887 w 10000"/>
              <a:gd name="connsiteY59" fmla="*/ 6693 h 10000"/>
              <a:gd name="connsiteX60" fmla="*/ 6779 w 10000"/>
              <a:gd name="connsiteY60" fmla="*/ 6592 h 10000"/>
              <a:gd name="connsiteX61" fmla="*/ 6757 w 10000"/>
              <a:gd name="connsiteY61" fmla="*/ 6514 h 10000"/>
              <a:gd name="connsiteX62" fmla="*/ 6785 w 10000"/>
              <a:gd name="connsiteY62" fmla="*/ 6457 h 10000"/>
              <a:gd name="connsiteX63" fmla="*/ 6931 w 10000"/>
              <a:gd name="connsiteY63" fmla="*/ 6503 h 10000"/>
              <a:gd name="connsiteX64" fmla="*/ 7045 w 10000"/>
              <a:gd name="connsiteY64" fmla="*/ 6500 h 10000"/>
              <a:gd name="connsiteX65" fmla="*/ 6983 w 10000"/>
              <a:gd name="connsiteY65" fmla="*/ 6404 h 10000"/>
              <a:gd name="connsiteX66" fmla="*/ 7003 w 10000"/>
              <a:gd name="connsiteY66" fmla="*/ 6346 h 10000"/>
              <a:gd name="connsiteX67" fmla="*/ 7089 w 10000"/>
              <a:gd name="connsiteY67" fmla="*/ 6265 h 10000"/>
              <a:gd name="connsiteX68" fmla="*/ 7074 w 10000"/>
              <a:gd name="connsiteY68" fmla="*/ 6198 h 10000"/>
              <a:gd name="connsiteX69" fmla="*/ 7152 w 10000"/>
              <a:gd name="connsiteY69" fmla="*/ 5971 h 10000"/>
              <a:gd name="connsiteX70" fmla="*/ 7130 w 10000"/>
              <a:gd name="connsiteY70" fmla="*/ 5902 h 10000"/>
              <a:gd name="connsiteX71" fmla="*/ 6729 w 10000"/>
              <a:gd name="connsiteY71" fmla="*/ 5729 h 10000"/>
              <a:gd name="connsiteX72" fmla="*/ 6785 w 10000"/>
              <a:gd name="connsiteY72" fmla="*/ 5723 h 10000"/>
              <a:gd name="connsiteX73" fmla="*/ 6998 w 10000"/>
              <a:gd name="connsiteY73" fmla="*/ 5768 h 10000"/>
              <a:gd name="connsiteX74" fmla="*/ 7230 w 10000"/>
              <a:gd name="connsiteY74" fmla="*/ 5751 h 10000"/>
              <a:gd name="connsiteX75" fmla="*/ 7295 w 10000"/>
              <a:gd name="connsiteY75" fmla="*/ 5689 h 10000"/>
              <a:gd name="connsiteX76" fmla="*/ 7074 w 10000"/>
              <a:gd name="connsiteY76" fmla="*/ 5571 h 10000"/>
              <a:gd name="connsiteX77" fmla="*/ 6414 w 10000"/>
              <a:gd name="connsiteY77" fmla="*/ 5495 h 10000"/>
              <a:gd name="connsiteX78" fmla="*/ 6458 w 10000"/>
              <a:gd name="connsiteY78" fmla="*/ 5459 h 10000"/>
              <a:gd name="connsiteX79" fmla="*/ 6998 w 10000"/>
              <a:gd name="connsiteY79" fmla="*/ 5434 h 10000"/>
              <a:gd name="connsiteX80" fmla="*/ 7295 w 10000"/>
              <a:gd name="connsiteY80" fmla="*/ 5506 h 10000"/>
              <a:gd name="connsiteX81" fmla="*/ 7466 w 10000"/>
              <a:gd name="connsiteY81" fmla="*/ 5459 h 10000"/>
              <a:gd name="connsiteX82" fmla="*/ 7529 w 10000"/>
              <a:gd name="connsiteY82" fmla="*/ 5337 h 10000"/>
              <a:gd name="connsiteX83" fmla="*/ 7840 w 10000"/>
              <a:gd name="connsiteY83" fmla="*/ 5337 h 10000"/>
              <a:gd name="connsiteX84" fmla="*/ 8261 w 10000"/>
              <a:gd name="connsiteY84" fmla="*/ 5093 h 10000"/>
              <a:gd name="connsiteX85" fmla="*/ 8275 w 10000"/>
              <a:gd name="connsiteY85" fmla="*/ 4928 h 10000"/>
              <a:gd name="connsiteX86" fmla="*/ 8453 w 10000"/>
              <a:gd name="connsiteY86" fmla="*/ 4965 h 10000"/>
              <a:gd name="connsiteX87" fmla="*/ 8446 w 10000"/>
              <a:gd name="connsiteY87" fmla="*/ 5130 h 10000"/>
              <a:gd name="connsiteX88" fmla="*/ 8727 w 10000"/>
              <a:gd name="connsiteY88" fmla="*/ 5118 h 10000"/>
              <a:gd name="connsiteX89" fmla="*/ 8913 w 10000"/>
              <a:gd name="connsiteY89" fmla="*/ 4948 h 10000"/>
              <a:gd name="connsiteX90" fmla="*/ 9258 w 10000"/>
              <a:gd name="connsiteY90" fmla="*/ 4795 h 10000"/>
              <a:gd name="connsiteX91" fmla="*/ 9203 w 10000"/>
              <a:gd name="connsiteY91" fmla="*/ 4621 h 10000"/>
              <a:gd name="connsiteX92" fmla="*/ 9306 w 10000"/>
              <a:gd name="connsiteY92" fmla="*/ 4690 h 10000"/>
              <a:gd name="connsiteX93" fmla="*/ 9464 w 10000"/>
              <a:gd name="connsiteY93" fmla="*/ 4690 h 10000"/>
              <a:gd name="connsiteX94" fmla="*/ 9464 w 10000"/>
              <a:gd name="connsiteY94" fmla="*/ 4609 h 10000"/>
              <a:gd name="connsiteX95" fmla="*/ 9611 w 10000"/>
              <a:gd name="connsiteY95" fmla="*/ 4550 h 10000"/>
              <a:gd name="connsiteX96" fmla="*/ 9592 w 10000"/>
              <a:gd name="connsiteY96" fmla="*/ 4487 h 10000"/>
              <a:gd name="connsiteX97" fmla="*/ 8350 w 10000"/>
              <a:gd name="connsiteY97" fmla="*/ 4611 h 10000"/>
              <a:gd name="connsiteX98" fmla="*/ 8058 w 10000"/>
              <a:gd name="connsiteY98" fmla="*/ 4576 h 10000"/>
              <a:gd name="connsiteX99" fmla="*/ 7942 w 10000"/>
              <a:gd name="connsiteY99" fmla="*/ 4621 h 10000"/>
              <a:gd name="connsiteX100" fmla="*/ 7903 w 10000"/>
              <a:gd name="connsiteY100" fmla="*/ 4532 h 10000"/>
              <a:gd name="connsiteX101" fmla="*/ 7765 w 10000"/>
              <a:gd name="connsiteY101" fmla="*/ 4456 h 10000"/>
              <a:gd name="connsiteX102" fmla="*/ 7213 w 10000"/>
              <a:gd name="connsiteY102" fmla="*/ 4297 h 10000"/>
              <a:gd name="connsiteX103" fmla="*/ 6887 w 10000"/>
              <a:gd name="connsiteY103" fmla="*/ 4324 h 10000"/>
              <a:gd name="connsiteX104" fmla="*/ 6757 w 10000"/>
              <a:gd name="connsiteY104" fmla="*/ 4278 h 10000"/>
              <a:gd name="connsiteX105" fmla="*/ 6894 w 10000"/>
              <a:gd name="connsiteY105" fmla="*/ 4240 h 10000"/>
              <a:gd name="connsiteX106" fmla="*/ 6998 w 10000"/>
              <a:gd name="connsiteY106" fmla="*/ 4156 h 10000"/>
              <a:gd name="connsiteX107" fmla="*/ 7152 w 10000"/>
              <a:gd name="connsiteY107" fmla="*/ 4182 h 10000"/>
              <a:gd name="connsiteX108" fmla="*/ 7335 w 10000"/>
              <a:gd name="connsiteY108" fmla="*/ 4161 h 10000"/>
              <a:gd name="connsiteX109" fmla="*/ 7611 w 10000"/>
              <a:gd name="connsiteY109" fmla="*/ 4188 h 10000"/>
              <a:gd name="connsiteX110" fmla="*/ 7645 w 10000"/>
              <a:gd name="connsiteY110" fmla="*/ 4177 h 10000"/>
              <a:gd name="connsiteX111" fmla="*/ 7859 w 10000"/>
              <a:gd name="connsiteY111" fmla="*/ 4305 h 10000"/>
              <a:gd name="connsiteX112" fmla="*/ 8017 w 10000"/>
              <a:gd name="connsiteY112" fmla="*/ 4257 h 10000"/>
              <a:gd name="connsiteX113" fmla="*/ 8032 w 10000"/>
              <a:gd name="connsiteY113" fmla="*/ 4214 h 10000"/>
              <a:gd name="connsiteX114" fmla="*/ 8176 w 10000"/>
              <a:gd name="connsiteY114" fmla="*/ 4290 h 10000"/>
              <a:gd name="connsiteX115" fmla="*/ 8369 w 10000"/>
              <a:gd name="connsiteY115" fmla="*/ 4331 h 10000"/>
              <a:gd name="connsiteX116" fmla="*/ 8446 w 10000"/>
              <a:gd name="connsiteY116" fmla="*/ 4255 h 10000"/>
              <a:gd name="connsiteX117" fmla="*/ 8507 w 10000"/>
              <a:gd name="connsiteY117" fmla="*/ 4297 h 10000"/>
              <a:gd name="connsiteX118" fmla="*/ 8596 w 10000"/>
              <a:gd name="connsiteY118" fmla="*/ 4446 h 10000"/>
              <a:gd name="connsiteX119" fmla="*/ 8782 w 10000"/>
              <a:gd name="connsiteY119" fmla="*/ 4478 h 10000"/>
              <a:gd name="connsiteX120" fmla="*/ 9542 w 10000"/>
              <a:gd name="connsiteY120" fmla="*/ 4262 h 10000"/>
              <a:gd name="connsiteX121" fmla="*/ 9914 w 10000"/>
              <a:gd name="connsiteY121" fmla="*/ 3962 h 10000"/>
              <a:gd name="connsiteX122" fmla="*/ 10000 w 10000"/>
              <a:gd name="connsiteY122" fmla="*/ 3744 h 10000"/>
              <a:gd name="connsiteX123" fmla="*/ 9866 w 10000"/>
              <a:gd name="connsiteY123" fmla="*/ 3546 h 10000"/>
              <a:gd name="connsiteX124" fmla="*/ 9582 w 10000"/>
              <a:gd name="connsiteY124" fmla="*/ 3428 h 10000"/>
              <a:gd name="connsiteX125" fmla="*/ 9382 w 10000"/>
              <a:gd name="connsiteY125" fmla="*/ 3233 h 10000"/>
              <a:gd name="connsiteX126" fmla="*/ 9569 w 10000"/>
              <a:gd name="connsiteY126" fmla="*/ 3227 h 10000"/>
              <a:gd name="connsiteX127" fmla="*/ 9555 w 10000"/>
              <a:gd name="connsiteY127" fmla="*/ 3180 h 10000"/>
              <a:gd name="connsiteX128" fmla="*/ 9068 w 10000"/>
              <a:gd name="connsiteY128" fmla="*/ 3045 h 10000"/>
              <a:gd name="connsiteX129" fmla="*/ 9047 w 10000"/>
              <a:gd name="connsiteY129" fmla="*/ 2920 h 10000"/>
              <a:gd name="connsiteX130" fmla="*/ 8953 w 10000"/>
              <a:gd name="connsiteY130" fmla="*/ 2789 h 10000"/>
              <a:gd name="connsiteX131" fmla="*/ 8569 w 10000"/>
              <a:gd name="connsiteY131" fmla="*/ 2813 h 10000"/>
              <a:gd name="connsiteX132" fmla="*/ 8431 w 10000"/>
              <a:gd name="connsiteY132" fmla="*/ 2673 h 10000"/>
              <a:gd name="connsiteX133" fmla="*/ 8350 w 10000"/>
              <a:gd name="connsiteY133" fmla="*/ 2665 h 10000"/>
              <a:gd name="connsiteX134" fmla="*/ 8350 w 10000"/>
              <a:gd name="connsiteY134" fmla="*/ 2726 h 10000"/>
              <a:gd name="connsiteX135" fmla="*/ 8176 w 10000"/>
              <a:gd name="connsiteY135" fmla="*/ 2959 h 10000"/>
              <a:gd name="connsiteX136" fmla="*/ 7990 w 10000"/>
              <a:gd name="connsiteY136" fmla="*/ 3096 h 10000"/>
              <a:gd name="connsiteX137" fmla="*/ 7401 w 10000"/>
              <a:gd name="connsiteY137" fmla="*/ 3329 h 10000"/>
              <a:gd name="connsiteX138" fmla="*/ 7198 w 10000"/>
              <a:gd name="connsiteY138" fmla="*/ 3322 h 10000"/>
              <a:gd name="connsiteX139" fmla="*/ 6915 w 10000"/>
              <a:gd name="connsiteY139" fmla="*/ 3359 h 10000"/>
              <a:gd name="connsiteX140" fmla="*/ 6757 w 10000"/>
              <a:gd name="connsiteY140" fmla="*/ 3322 h 10000"/>
              <a:gd name="connsiteX141" fmla="*/ 6965 w 10000"/>
              <a:gd name="connsiteY141" fmla="*/ 3255 h 10000"/>
              <a:gd name="connsiteX142" fmla="*/ 7235 w 10000"/>
              <a:gd name="connsiteY142" fmla="*/ 3227 h 10000"/>
              <a:gd name="connsiteX143" fmla="*/ 7455 w 10000"/>
              <a:gd name="connsiteY143" fmla="*/ 3118 h 10000"/>
              <a:gd name="connsiteX144" fmla="*/ 7674 w 10000"/>
              <a:gd name="connsiteY144" fmla="*/ 3066 h 10000"/>
              <a:gd name="connsiteX145" fmla="*/ 8082 w 10000"/>
              <a:gd name="connsiteY145" fmla="*/ 2874 h 10000"/>
              <a:gd name="connsiteX146" fmla="*/ 8157 w 10000"/>
              <a:gd name="connsiteY146" fmla="*/ 2750 h 10000"/>
              <a:gd name="connsiteX147" fmla="*/ 8165 w 10000"/>
              <a:gd name="connsiteY147" fmla="*/ 2589 h 10000"/>
              <a:gd name="connsiteX148" fmla="*/ 7978 w 10000"/>
              <a:gd name="connsiteY148" fmla="*/ 2562 h 10000"/>
              <a:gd name="connsiteX149" fmla="*/ 8058 w 10000"/>
              <a:gd name="connsiteY149" fmla="*/ 2463 h 10000"/>
              <a:gd name="connsiteX150" fmla="*/ 8087 w 10000"/>
              <a:gd name="connsiteY150" fmla="*/ 2338 h 10000"/>
              <a:gd name="connsiteX151" fmla="*/ 8007 w 10000"/>
              <a:gd name="connsiteY151" fmla="*/ 2222 h 10000"/>
              <a:gd name="connsiteX152" fmla="*/ 7450 w 10000"/>
              <a:gd name="connsiteY152" fmla="*/ 2382 h 10000"/>
              <a:gd name="connsiteX153" fmla="*/ 6694 w 10000"/>
              <a:gd name="connsiteY153" fmla="*/ 2311 h 10000"/>
              <a:gd name="connsiteX154" fmla="*/ 6304 w 10000"/>
              <a:gd name="connsiteY154" fmla="*/ 1864 h 10000"/>
              <a:gd name="connsiteX155" fmla="*/ 5294 w 10000"/>
              <a:gd name="connsiteY155" fmla="*/ 1779 h 10000"/>
              <a:gd name="connsiteX156" fmla="*/ 4505 w 10000"/>
              <a:gd name="connsiteY156" fmla="*/ 1407 h 10000"/>
              <a:gd name="connsiteX157" fmla="*/ 3730 w 10000"/>
              <a:gd name="connsiteY157" fmla="*/ 962 h 10000"/>
              <a:gd name="connsiteX158" fmla="*/ 3154 w 10000"/>
              <a:gd name="connsiteY158" fmla="*/ 143 h 10000"/>
              <a:gd name="connsiteX159" fmla="*/ 2375 w 10000"/>
              <a:gd name="connsiteY159" fmla="*/ 0 h 10000"/>
              <a:gd name="connsiteX160" fmla="*/ 2226 w 10000"/>
              <a:gd name="connsiteY160" fmla="*/ 772 h 10000"/>
              <a:gd name="connsiteX161" fmla="*/ 2375 w 10000"/>
              <a:gd name="connsiteY161" fmla="*/ 967 h 10000"/>
              <a:gd name="connsiteX162" fmla="*/ 2791 w 10000"/>
              <a:gd name="connsiteY162" fmla="*/ 1185 h 10000"/>
              <a:gd name="connsiteX163" fmla="*/ 2808 w 10000"/>
              <a:gd name="connsiteY163" fmla="*/ 1446 h 10000"/>
              <a:gd name="connsiteX164" fmla="*/ 2632 w 10000"/>
              <a:gd name="connsiteY164" fmla="*/ 1665 h 10000"/>
              <a:gd name="connsiteX165" fmla="*/ 2375 w 10000"/>
              <a:gd name="connsiteY165" fmla="*/ 1798 h 10000"/>
              <a:gd name="connsiteX166" fmla="*/ 2039 w 10000"/>
              <a:gd name="connsiteY166" fmla="*/ 1851 h 10000"/>
              <a:gd name="connsiteX167" fmla="*/ 1950 w 10000"/>
              <a:gd name="connsiteY167" fmla="*/ 1929 h 10000"/>
              <a:gd name="connsiteX168" fmla="*/ 2148 w 10000"/>
              <a:gd name="connsiteY168" fmla="*/ 2110 h 10000"/>
              <a:gd name="connsiteX169" fmla="*/ 2261 w 10000"/>
              <a:gd name="connsiteY169" fmla="*/ 2541 h 10000"/>
              <a:gd name="connsiteX170" fmla="*/ 2005 w 10000"/>
              <a:gd name="connsiteY170" fmla="*/ 2910 h 10000"/>
              <a:gd name="connsiteX171" fmla="*/ 2094 w 10000"/>
              <a:gd name="connsiteY171" fmla="*/ 3022 h 10000"/>
              <a:gd name="connsiteX172" fmla="*/ 2012 w 10000"/>
              <a:gd name="connsiteY172" fmla="*/ 3214 h 10000"/>
              <a:gd name="connsiteX173" fmla="*/ 1850 w 10000"/>
              <a:gd name="connsiteY173" fmla="*/ 3349 h 10000"/>
              <a:gd name="connsiteX174" fmla="*/ 1199 w 10000"/>
              <a:gd name="connsiteY174" fmla="*/ 3450 h 10000"/>
              <a:gd name="connsiteX175" fmla="*/ 1158 w 10000"/>
              <a:gd name="connsiteY175" fmla="*/ 3629 h 10000"/>
              <a:gd name="connsiteX176" fmla="*/ 808 w 10000"/>
              <a:gd name="connsiteY176" fmla="*/ 3893 h 10000"/>
              <a:gd name="connsiteX177" fmla="*/ 854 w 10000"/>
              <a:gd name="connsiteY177" fmla="*/ 4276 h 10000"/>
              <a:gd name="connsiteX178" fmla="*/ 560 w 10000"/>
              <a:gd name="connsiteY178" fmla="*/ 4766 h 10000"/>
              <a:gd name="connsiteX179" fmla="*/ 358 w 10000"/>
              <a:gd name="connsiteY179" fmla="*/ 4822 h 10000"/>
              <a:gd name="connsiteX180" fmla="*/ 275 w 10000"/>
              <a:gd name="connsiteY180" fmla="*/ 4706 h 10000"/>
              <a:gd name="connsiteX181" fmla="*/ 174 w 10000"/>
              <a:gd name="connsiteY181" fmla="*/ 4882 h 10000"/>
              <a:gd name="connsiteX182" fmla="*/ 239 w 10000"/>
              <a:gd name="connsiteY182" fmla="*/ 4578 h 10000"/>
              <a:gd name="connsiteX183" fmla="*/ 197 w 10000"/>
              <a:gd name="connsiteY183"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6419 w 10000"/>
              <a:gd name="connsiteY52" fmla="*/ 8186 h 10000"/>
              <a:gd name="connsiteX53" fmla="*/ 6586 w 10000"/>
              <a:gd name="connsiteY53" fmla="*/ 7505 h 10000"/>
              <a:gd name="connsiteX54" fmla="*/ 6855 w 10000"/>
              <a:gd name="connsiteY54" fmla="*/ 7204 h 10000"/>
              <a:gd name="connsiteX55" fmla="*/ 6855 w 10000"/>
              <a:gd name="connsiteY55" fmla="*/ 7043 h 10000"/>
              <a:gd name="connsiteX56" fmla="*/ 6757 w 10000"/>
              <a:gd name="connsiteY56" fmla="*/ 6956 h 10000"/>
              <a:gd name="connsiteX57" fmla="*/ 6915 w 10000"/>
              <a:gd name="connsiteY57" fmla="*/ 6811 h 10000"/>
              <a:gd name="connsiteX58" fmla="*/ 6887 w 10000"/>
              <a:gd name="connsiteY58" fmla="*/ 6693 h 10000"/>
              <a:gd name="connsiteX59" fmla="*/ 6779 w 10000"/>
              <a:gd name="connsiteY59" fmla="*/ 6592 h 10000"/>
              <a:gd name="connsiteX60" fmla="*/ 6757 w 10000"/>
              <a:gd name="connsiteY60" fmla="*/ 6514 h 10000"/>
              <a:gd name="connsiteX61" fmla="*/ 6785 w 10000"/>
              <a:gd name="connsiteY61" fmla="*/ 6457 h 10000"/>
              <a:gd name="connsiteX62" fmla="*/ 6931 w 10000"/>
              <a:gd name="connsiteY62" fmla="*/ 6503 h 10000"/>
              <a:gd name="connsiteX63" fmla="*/ 7045 w 10000"/>
              <a:gd name="connsiteY63" fmla="*/ 6500 h 10000"/>
              <a:gd name="connsiteX64" fmla="*/ 6983 w 10000"/>
              <a:gd name="connsiteY64" fmla="*/ 6404 h 10000"/>
              <a:gd name="connsiteX65" fmla="*/ 7003 w 10000"/>
              <a:gd name="connsiteY65" fmla="*/ 6346 h 10000"/>
              <a:gd name="connsiteX66" fmla="*/ 7089 w 10000"/>
              <a:gd name="connsiteY66" fmla="*/ 6265 h 10000"/>
              <a:gd name="connsiteX67" fmla="*/ 7074 w 10000"/>
              <a:gd name="connsiteY67" fmla="*/ 6198 h 10000"/>
              <a:gd name="connsiteX68" fmla="*/ 7152 w 10000"/>
              <a:gd name="connsiteY68" fmla="*/ 5971 h 10000"/>
              <a:gd name="connsiteX69" fmla="*/ 7130 w 10000"/>
              <a:gd name="connsiteY69" fmla="*/ 5902 h 10000"/>
              <a:gd name="connsiteX70" fmla="*/ 6729 w 10000"/>
              <a:gd name="connsiteY70" fmla="*/ 5729 h 10000"/>
              <a:gd name="connsiteX71" fmla="*/ 6785 w 10000"/>
              <a:gd name="connsiteY71" fmla="*/ 5723 h 10000"/>
              <a:gd name="connsiteX72" fmla="*/ 6998 w 10000"/>
              <a:gd name="connsiteY72" fmla="*/ 5768 h 10000"/>
              <a:gd name="connsiteX73" fmla="*/ 7230 w 10000"/>
              <a:gd name="connsiteY73" fmla="*/ 5751 h 10000"/>
              <a:gd name="connsiteX74" fmla="*/ 7295 w 10000"/>
              <a:gd name="connsiteY74" fmla="*/ 5689 h 10000"/>
              <a:gd name="connsiteX75" fmla="*/ 7074 w 10000"/>
              <a:gd name="connsiteY75" fmla="*/ 5571 h 10000"/>
              <a:gd name="connsiteX76" fmla="*/ 6414 w 10000"/>
              <a:gd name="connsiteY76" fmla="*/ 5495 h 10000"/>
              <a:gd name="connsiteX77" fmla="*/ 6458 w 10000"/>
              <a:gd name="connsiteY77" fmla="*/ 5459 h 10000"/>
              <a:gd name="connsiteX78" fmla="*/ 6998 w 10000"/>
              <a:gd name="connsiteY78" fmla="*/ 5434 h 10000"/>
              <a:gd name="connsiteX79" fmla="*/ 7295 w 10000"/>
              <a:gd name="connsiteY79" fmla="*/ 5506 h 10000"/>
              <a:gd name="connsiteX80" fmla="*/ 7466 w 10000"/>
              <a:gd name="connsiteY80" fmla="*/ 5459 h 10000"/>
              <a:gd name="connsiteX81" fmla="*/ 7529 w 10000"/>
              <a:gd name="connsiteY81" fmla="*/ 5337 h 10000"/>
              <a:gd name="connsiteX82" fmla="*/ 7840 w 10000"/>
              <a:gd name="connsiteY82" fmla="*/ 5337 h 10000"/>
              <a:gd name="connsiteX83" fmla="*/ 8261 w 10000"/>
              <a:gd name="connsiteY83" fmla="*/ 5093 h 10000"/>
              <a:gd name="connsiteX84" fmla="*/ 8275 w 10000"/>
              <a:gd name="connsiteY84" fmla="*/ 4928 h 10000"/>
              <a:gd name="connsiteX85" fmla="*/ 8453 w 10000"/>
              <a:gd name="connsiteY85" fmla="*/ 4965 h 10000"/>
              <a:gd name="connsiteX86" fmla="*/ 8446 w 10000"/>
              <a:gd name="connsiteY86" fmla="*/ 5130 h 10000"/>
              <a:gd name="connsiteX87" fmla="*/ 8727 w 10000"/>
              <a:gd name="connsiteY87" fmla="*/ 5118 h 10000"/>
              <a:gd name="connsiteX88" fmla="*/ 8913 w 10000"/>
              <a:gd name="connsiteY88" fmla="*/ 4948 h 10000"/>
              <a:gd name="connsiteX89" fmla="*/ 9258 w 10000"/>
              <a:gd name="connsiteY89" fmla="*/ 4795 h 10000"/>
              <a:gd name="connsiteX90" fmla="*/ 9203 w 10000"/>
              <a:gd name="connsiteY90" fmla="*/ 4621 h 10000"/>
              <a:gd name="connsiteX91" fmla="*/ 9306 w 10000"/>
              <a:gd name="connsiteY91" fmla="*/ 4690 h 10000"/>
              <a:gd name="connsiteX92" fmla="*/ 9464 w 10000"/>
              <a:gd name="connsiteY92" fmla="*/ 4690 h 10000"/>
              <a:gd name="connsiteX93" fmla="*/ 9464 w 10000"/>
              <a:gd name="connsiteY93" fmla="*/ 4609 h 10000"/>
              <a:gd name="connsiteX94" fmla="*/ 9611 w 10000"/>
              <a:gd name="connsiteY94" fmla="*/ 4550 h 10000"/>
              <a:gd name="connsiteX95" fmla="*/ 9592 w 10000"/>
              <a:gd name="connsiteY95" fmla="*/ 4487 h 10000"/>
              <a:gd name="connsiteX96" fmla="*/ 8350 w 10000"/>
              <a:gd name="connsiteY96" fmla="*/ 4611 h 10000"/>
              <a:gd name="connsiteX97" fmla="*/ 8058 w 10000"/>
              <a:gd name="connsiteY97" fmla="*/ 4576 h 10000"/>
              <a:gd name="connsiteX98" fmla="*/ 7942 w 10000"/>
              <a:gd name="connsiteY98" fmla="*/ 4621 h 10000"/>
              <a:gd name="connsiteX99" fmla="*/ 7903 w 10000"/>
              <a:gd name="connsiteY99" fmla="*/ 4532 h 10000"/>
              <a:gd name="connsiteX100" fmla="*/ 7765 w 10000"/>
              <a:gd name="connsiteY100" fmla="*/ 4456 h 10000"/>
              <a:gd name="connsiteX101" fmla="*/ 7213 w 10000"/>
              <a:gd name="connsiteY101" fmla="*/ 4297 h 10000"/>
              <a:gd name="connsiteX102" fmla="*/ 6887 w 10000"/>
              <a:gd name="connsiteY102" fmla="*/ 4324 h 10000"/>
              <a:gd name="connsiteX103" fmla="*/ 6757 w 10000"/>
              <a:gd name="connsiteY103" fmla="*/ 4278 h 10000"/>
              <a:gd name="connsiteX104" fmla="*/ 6894 w 10000"/>
              <a:gd name="connsiteY104" fmla="*/ 4240 h 10000"/>
              <a:gd name="connsiteX105" fmla="*/ 6998 w 10000"/>
              <a:gd name="connsiteY105" fmla="*/ 4156 h 10000"/>
              <a:gd name="connsiteX106" fmla="*/ 7152 w 10000"/>
              <a:gd name="connsiteY106" fmla="*/ 4182 h 10000"/>
              <a:gd name="connsiteX107" fmla="*/ 7335 w 10000"/>
              <a:gd name="connsiteY107" fmla="*/ 4161 h 10000"/>
              <a:gd name="connsiteX108" fmla="*/ 7611 w 10000"/>
              <a:gd name="connsiteY108" fmla="*/ 4188 h 10000"/>
              <a:gd name="connsiteX109" fmla="*/ 7645 w 10000"/>
              <a:gd name="connsiteY109" fmla="*/ 4177 h 10000"/>
              <a:gd name="connsiteX110" fmla="*/ 7859 w 10000"/>
              <a:gd name="connsiteY110" fmla="*/ 4305 h 10000"/>
              <a:gd name="connsiteX111" fmla="*/ 8017 w 10000"/>
              <a:gd name="connsiteY111" fmla="*/ 4257 h 10000"/>
              <a:gd name="connsiteX112" fmla="*/ 8032 w 10000"/>
              <a:gd name="connsiteY112" fmla="*/ 4214 h 10000"/>
              <a:gd name="connsiteX113" fmla="*/ 8176 w 10000"/>
              <a:gd name="connsiteY113" fmla="*/ 4290 h 10000"/>
              <a:gd name="connsiteX114" fmla="*/ 8369 w 10000"/>
              <a:gd name="connsiteY114" fmla="*/ 4331 h 10000"/>
              <a:gd name="connsiteX115" fmla="*/ 8446 w 10000"/>
              <a:gd name="connsiteY115" fmla="*/ 4255 h 10000"/>
              <a:gd name="connsiteX116" fmla="*/ 8507 w 10000"/>
              <a:gd name="connsiteY116" fmla="*/ 4297 h 10000"/>
              <a:gd name="connsiteX117" fmla="*/ 8596 w 10000"/>
              <a:gd name="connsiteY117" fmla="*/ 4446 h 10000"/>
              <a:gd name="connsiteX118" fmla="*/ 8782 w 10000"/>
              <a:gd name="connsiteY118" fmla="*/ 4478 h 10000"/>
              <a:gd name="connsiteX119" fmla="*/ 9542 w 10000"/>
              <a:gd name="connsiteY119" fmla="*/ 4262 h 10000"/>
              <a:gd name="connsiteX120" fmla="*/ 9914 w 10000"/>
              <a:gd name="connsiteY120" fmla="*/ 3962 h 10000"/>
              <a:gd name="connsiteX121" fmla="*/ 10000 w 10000"/>
              <a:gd name="connsiteY121" fmla="*/ 3744 h 10000"/>
              <a:gd name="connsiteX122" fmla="*/ 9866 w 10000"/>
              <a:gd name="connsiteY122" fmla="*/ 3546 h 10000"/>
              <a:gd name="connsiteX123" fmla="*/ 9582 w 10000"/>
              <a:gd name="connsiteY123" fmla="*/ 3428 h 10000"/>
              <a:gd name="connsiteX124" fmla="*/ 9382 w 10000"/>
              <a:gd name="connsiteY124" fmla="*/ 3233 h 10000"/>
              <a:gd name="connsiteX125" fmla="*/ 9569 w 10000"/>
              <a:gd name="connsiteY125" fmla="*/ 3227 h 10000"/>
              <a:gd name="connsiteX126" fmla="*/ 9555 w 10000"/>
              <a:gd name="connsiteY126" fmla="*/ 3180 h 10000"/>
              <a:gd name="connsiteX127" fmla="*/ 9068 w 10000"/>
              <a:gd name="connsiteY127" fmla="*/ 3045 h 10000"/>
              <a:gd name="connsiteX128" fmla="*/ 9047 w 10000"/>
              <a:gd name="connsiteY128" fmla="*/ 2920 h 10000"/>
              <a:gd name="connsiteX129" fmla="*/ 8953 w 10000"/>
              <a:gd name="connsiteY129" fmla="*/ 2789 h 10000"/>
              <a:gd name="connsiteX130" fmla="*/ 8569 w 10000"/>
              <a:gd name="connsiteY130" fmla="*/ 2813 h 10000"/>
              <a:gd name="connsiteX131" fmla="*/ 8431 w 10000"/>
              <a:gd name="connsiteY131" fmla="*/ 2673 h 10000"/>
              <a:gd name="connsiteX132" fmla="*/ 8350 w 10000"/>
              <a:gd name="connsiteY132" fmla="*/ 2665 h 10000"/>
              <a:gd name="connsiteX133" fmla="*/ 8350 w 10000"/>
              <a:gd name="connsiteY133" fmla="*/ 2726 h 10000"/>
              <a:gd name="connsiteX134" fmla="*/ 8176 w 10000"/>
              <a:gd name="connsiteY134" fmla="*/ 2959 h 10000"/>
              <a:gd name="connsiteX135" fmla="*/ 7990 w 10000"/>
              <a:gd name="connsiteY135" fmla="*/ 3096 h 10000"/>
              <a:gd name="connsiteX136" fmla="*/ 7401 w 10000"/>
              <a:gd name="connsiteY136" fmla="*/ 3329 h 10000"/>
              <a:gd name="connsiteX137" fmla="*/ 7198 w 10000"/>
              <a:gd name="connsiteY137" fmla="*/ 3322 h 10000"/>
              <a:gd name="connsiteX138" fmla="*/ 6915 w 10000"/>
              <a:gd name="connsiteY138" fmla="*/ 3359 h 10000"/>
              <a:gd name="connsiteX139" fmla="*/ 6757 w 10000"/>
              <a:gd name="connsiteY139" fmla="*/ 3322 h 10000"/>
              <a:gd name="connsiteX140" fmla="*/ 6965 w 10000"/>
              <a:gd name="connsiteY140" fmla="*/ 3255 h 10000"/>
              <a:gd name="connsiteX141" fmla="*/ 7235 w 10000"/>
              <a:gd name="connsiteY141" fmla="*/ 3227 h 10000"/>
              <a:gd name="connsiteX142" fmla="*/ 7455 w 10000"/>
              <a:gd name="connsiteY142" fmla="*/ 3118 h 10000"/>
              <a:gd name="connsiteX143" fmla="*/ 7674 w 10000"/>
              <a:gd name="connsiteY143" fmla="*/ 3066 h 10000"/>
              <a:gd name="connsiteX144" fmla="*/ 8082 w 10000"/>
              <a:gd name="connsiteY144" fmla="*/ 2874 h 10000"/>
              <a:gd name="connsiteX145" fmla="*/ 8157 w 10000"/>
              <a:gd name="connsiteY145" fmla="*/ 2750 h 10000"/>
              <a:gd name="connsiteX146" fmla="*/ 8165 w 10000"/>
              <a:gd name="connsiteY146" fmla="*/ 2589 h 10000"/>
              <a:gd name="connsiteX147" fmla="*/ 7978 w 10000"/>
              <a:gd name="connsiteY147" fmla="*/ 2562 h 10000"/>
              <a:gd name="connsiteX148" fmla="*/ 8058 w 10000"/>
              <a:gd name="connsiteY148" fmla="*/ 2463 h 10000"/>
              <a:gd name="connsiteX149" fmla="*/ 8087 w 10000"/>
              <a:gd name="connsiteY149" fmla="*/ 2338 h 10000"/>
              <a:gd name="connsiteX150" fmla="*/ 8007 w 10000"/>
              <a:gd name="connsiteY150" fmla="*/ 2222 h 10000"/>
              <a:gd name="connsiteX151" fmla="*/ 7450 w 10000"/>
              <a:gd name="connsiteY151" fmla="*/ 2382 h 10000"/>
              <a:gd name="connsiteX152" fmla="*/ 6694 w 10000"/>
              <a:gd name="connsiteY152" fmla="*/ 2311 h 10000"/>
              <a:gd name="connsiteX153" fmla="*/ 6304 w 10000"/>
              <a:gd name="connsiteY153" fmla="*/ 1864 h 10000"/>
              <a:gd name="connsiteX154" fmla="*/ 5294 w 10000"/>
              <a:gd name="connsiteY154" fmla="*/ 1779 h 10000"/>
              <a:gd name="connsiteX155" fmla="*/ 4505 w 10000"/>
              <a:gd name="connsiteY155" fmla="*/ 1407 h 10000"/>
              <a:gd name="connsiteX156" fmla="*/ 3730 w 10000"/>
              <a:gd name="connsiteY156" fmla="*/ 962 h 10000"/>
              <a:gd name="connsiteX157" fmla="*/ 3154 w 10000"/>
              <a:gd name="connsiteY157" fmla="*/ 143 h 10000"/>
              <a:gd name="connsiteX158" fmla="*/ 2375 w 10000"/>
              <a:gd name="connsiteY158" fmla="*/ 0 h 10000"/>
              <a:gd name="connsiteX159" fmla="*/ 2226 w 10000"/>
              <a:gd name="connsiteY159" fmla="*/ 772 h 10000"/>
              <a:gd name="connsiteX160" fmla="*/ 2375 w 10000"/>
              <a:gd name="connsiteY160" fmla="*/ 967 h 10000"/>
              <a:gd name="connsiteX161" fmla="*/ 2791 w 10000"/>
              <a:gd name="connsiteY161" fmla="*/ 1185 h 10000"/>
              <a:gd name="connsiteX162" fmla="*/ 2808 w 10000"/>
              <a:gd name="connsiteY162" fmla="*/ 1446 h 10000"/>
              <a:gd name="connsiteX163" fmla="*/ 2632 w 10000"/>
              <a:gd name="connsiteY163" fmla="*/ 1665 h 10000"/>
              <a:gd name="connsiteX164" fmla="*/ 2375 w 10000"/>
              <a:gd name="connsiteY164" fmla="*/ 1798 h 10000"/>
              <a:gd name="connsiteX165" fmla="*/ 2039 w 10000"/>
              <a:gd name="connsiteY165" fmla="*/ 1851 h 10000"/>
              <a:gd name="connsiteX166" fmla="*/ 1950 w 10000"/>
              <a:gd name="connsiteY166" fmla="*/ 1929 h 10000"/>
              <a:gd name="connsiteX167" fmla="*/ 2148 w 10000"/>
              <a:gd name="connsiteY167" fmla="*/ 2110 h 10000"/>
              <a:gd name="connsiteX168" fmla="*/ 2261 w 10000"/>
              <a:gd name="connsiteY168" fmla="*/ 2541 h 10000"/>
              <a:gd name="connsiteX169" fmla="*/ 2005 w 10000"/>
              <a:gd name="connsiteY169" fmla="*/ 2910 h 10000"/>
              <a:gd name="connsiteX170" fmla="*/ 2094 w 10000"/>
              <a:gd name="connsiteY170" fmla="*/ 3022 h 10000"/>
              <a:gd name="connsiteX171" fmla="*/ 2012 w 10000"/>
              <a:gd name="connsiteY171" fmla="*/ 3214 h 10000"/>
              <a:gd name="connsiteX172" fmla="*/ 1850 w 10000"/>
              <a:gd name="connsiteY172" fmla="*/ 3349 h 10000"/>
              <a:gd name="connsiteX173" fmla="*/ 1199 w 10000"/>
              <a:gd name="connsiteY173" fmla="*/ 3450 h 10000"/>
              <a:gd name="connsiteX174" fmla="*/ 1158 w 10000"/>
              <a:gd name="connsiteY174" fmla="*/ 3629 h 10000"/>
              <a:gd name="connsiteX175" fmla="*/ 808 w 10000"/>
              <a:gd name="connsiteY175" fmla="*/ 3893 h 10000"/>
              <a:gd name="connsiteX176" fmla="*/ 854 w 10000"/>
              <a:gd name="connsiteY176" fmla="*/ 4276 h 10000"/>
              <a:gd name="connsiteX177" fmla="*/ 560 w 10000"/>
              <a:gd name="connsiteY177" fmla="*/ 4766 h 10000"/>
              <a:gd name="connsiteX178" fmla="*/ 358 w 10000"/>
              <a:gd name="connsiteY178" fmla="*/ 4822 h 10000"/>
              <a:gd name="connsiteX179" fmla="*/ 275 w 10000"/>
              <a:gd name="connsiteY179" fmla="*/ 4706 h 10000"/>
              <a:gd name="connsiteX180" fmla="*/ 174 w 10000"/>
              <a:gd name="connsiteY180" fmla="*/ 4882 h 10000"/>
              <a:gd name="connsiteX181" fmla="*/ 239 w 10000"/>
              <a:gd name="connsiteY181" fmla="*/ 4578 h 10000"/>
              <a:gd name="connsiteX182" fmla="*/ 197 w 10000"/>
              <a:gd name="connsiteY182"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6419 w 10000"/>
              <a:gd name="connsiteY51" fmla="*/ 8186 h 10000"/>
              <a:gd name="connsiteX52" fmla="*/ 6586 w 10000"/>
              <a:gd name="connsiteY52" fmla="*/ 7505 h 10000"/>
              <a:gd name="connsiteX53" fmla="*/ 6855 w 10000"/>
              <a:gd name="connsiteY53" fmla="*/ 7204 h 10000"/>
              <a:gd name="connsiteX54" fmla="*/ 6855 w 10000"/>
              <a:gd name="connsiteY54" fmla="*/ 7043 h 10000"/>
              <a:gd name="connsiteX55" fmla="*/ 6757 w 10000"/>
              <a:gd name="connsiteY55" fmla="*/ 6956 h 10000"/>
              <a:gd name="connsiteX56" fmla="*/ 6915 w 10000"/>
              <a:gd name="connsiteY56" fmla="*/ 6811 h 10000"/>
              <a:gd name="connsiteX57" fmla="*/ 6887 w 10000"/>
              <a:gd name="connsiteY57" fmla="*/ 6693 h 10000"/>
              <a:gd name="connsiteX58" fmla="*/ 6779 w 10000"/>
              <a:gd name="connsiteY58" fmla="*/ 6592 h 10000"/>
              <a:gd name="connsiteX59" fmla="*/ 6757 w 10000"/>
              <a:gd name="connsiteY59" fmla="*/ 6514 h 10000"/>
              <a:gd name="connsiteX60" fmla="*/ 6785 w 10000"/>
              <a:gd name="connsiteY60" fmla="*/ 6457 h 10000"/>
              <a:gd name="connsiteX61" fmla="*/ 6931 w 10000"/>
              <a:gd name="connsiteY61" fmla="*/ 6503 h 10000"/>
              <a:gd name="connsiteX62" fmla="*/ 7045 w 10000"/>
              <a:gd name="connsiteY62" fmla="*/ 6500 h 10000"/>
              <a:gd name="connsiteX63" fmla="*/ 6983 w 10000"/>
              <a:gd name="connsiteY63" fmla="*/ 6404 h 10000"/>
              <a:gd name="connsiteX64" fmla="*/ 7003 w 10000"/>
              <a:gd name="connsiteY64" fmla="*/ 6346 h 10000"/>
              <a:gd name="connsiteX65" fmla="*/ 7089 w 10000"/>
              <a:gd name="connsiteY65" fmla="*/ 6265 h 10000"/>
              <a:gd name="connsiteX66" fmla="*/ 7074 w 10000"/>
              <a:gd name="connsiteY66" fmla="*/ 6198 h 10000"/>
              <a:gd name="connsiteX67" fmla="*/ 7152 w 10000"/>
              <a:gd name="connsiteY67" fmla="*/ 5971 h 10000"/>
              <a:gd name="connsiteX68" fmla="*/ 7130 w 10000"/>
              <a:gd name="connsiteY68" fmla="*/ 5902 h 10000"/>
              <a:gd name="connsiteX69" fmla="*/ 6729 w 10000"/>
              <a:gd name="connsiteY69" fmla="*/ 5729 h 10000"/>
              <a:gd name="connsiteX70" fmla="*/ 6785 w 10000"/>
              <a:gd name="connsiteY70" fmla="*/ 5723 h 10000"/>
              <a:gd name="connsiteX71" fmla="*/ 6998 w 10000"/>
              <a:gd name="connsiteY71" fmla="*/ 5768 h 10000"/>
              <a:gd name="connsiteX72" fmla="*/ 7230 w 10000"/>
              <a:gd name="connsiteY72" fmla="*/ 5751 h 10000"/>
              <a:gd name="connsiteX73" fmla="*/ 7295 w 10000"/>
              <a:gd name="connsiteY73" fmla="*/ 5689 h 10000"/>
              <a:gd name="connsiteX74" fmla="*/ 7074 w 10000"/>
              <a:gd name="connsiteY74" fmla="*/ 5571 h 10000"/>
              <a:gd name="connsiteX75" fmla="*/ 6414 w 10000"/>
              <a:gd name="connsiteY75" fmla="*/ 5495 h 10000"/>
              <a:gd name="connsiteX76" fmla="*/ 6458 w 10000"/>
              <a:gd name="connsiteY76" fmla="*/ 5459 h 10000"/>
              <a:gd name="connsiteX77" fmla="*/ 6998 w 10000"/>
              <a:gd name="connsiteY77" fmla="*/ 5434 h 10000"/>
              <a:gd name="connsiteX78" fmla="*/ 7295 w 10000"/>
              <a:gd name="connsiteY78" fmla="*/ 5506 h 10000"/>
              <a:gd name="connsiteX79" fmla="*/ 7466 w 10000"/>
              <a:gd name="connsiteY79" fmla="*/ 5459 h 10000"/>
              <a:gd name="connsiteX80" fmla="*/ 7529 w 10000"/>
              <a:gd name="connsiteY80" fmla="*/ 5337 h 10000"/>
              <a:gd name="connsiteX81" fmla="*/ 7840 w 10000"/>
              <a:gd name="connsiteY81" fmla="*/ 5337 h 10000"/>
              <a:gd name="connsiteX82" fmla="*/ 8261 w 10000"/>
              <a:gd name="connsiteY82" fmla="*/ 5093 h 10000"/>
              <a:gd name="connsiteX83" fmla="*/ 8275 w 10000"/>
              <a:gd name="connsiteY83" fmla="*/ 4928 h 10000"/>
              <a:gd name="connsiteX84" fmla="*/ 8453 w 10000"/>
              <a:gd name="connsiteY84" fmla="*/ 4965 h 10000"/>
              <a:gd name="connsiteX85" fmla="*/ 8446 w 10000"/>
              <a:gd name="connsiteY85" fmla="*/ 5130 h 10000"/>
              <a:gd name="connsiteX86" fmla="*/ 8727 w 10000"/>
              <a:gd name="connsiteY86" fmla="*/ 5118 h 10000"/>
              <a:gd name="connsiteX87" fmla="*/ 8913 w 10000"/>
              <a:gd name="connsiteY87" fmla="*/ 4948 h 10000"/>
              <a:gd name="connsiteX88" fmla="*/ 9258 w 10000"/>
              <a:gd name="connsiteY88" fmla="*/ 4795 h 10000"/>
              <a:gd name="connsiteX89" fmla="*/ 9203 w 10000"/>
              <a:gd name="connsiteY89" fmla="*/ 4621 h 10000"/>
              <a:gd name="connsiteX90" fmla="*/ 9306 w 10000"/>
              <a:gd name="connsiteY90" fmla="*/ 4690 h 10000"/>
              <a:gd name="connsiteX91" fmla="*/ 9464 w 10000"/>
              <a:gd name="connsiteY91" fmla="*/ 4690 h 10000"/>
              <a:gd name="connsiteX92" fmla="*/ 9464 w 10000"/>
              <a:gd name="connsiteY92" fmla="*/ 4609 h 10000"/>
              <a:gd name="connsiteX93" fmla="*/ 9611 w 10000"/>
              <a:gd name="connsiteY93" fmla="*/ 4550 h 10000"/>
              <a:gd name="connsiteX94" fmla="*/ 9592 w 10000"/>
              <a:gd name="connsiteY94" fmla="*/ 4487 h 10000"/>
              <a:gd name="connsiteX95" fmla="*/ 8350 w 10000"/>
              <a:gd name="connsiteY95" fmla="*/ 4611 h 10000"/>
              <a:gd name="connsiteX96" fmla="*/ 8058 w 10000"/>
              <a:gd name="connsiteY96" fmla="*/ 4576 h 10000"/>
              <a:gd name="connsiteX97" fmla="*/ 7942 w 10000"/>
              <a:gd name="connsiteY97" fmla="*/ 4621 h 10000"/>
              <a:gd name="connsiteX98" fmla="*/ 7903 w 10000"/>
              <a:gd name="connsiteY98" fmla="*/ 4532 h 10000"/>
              <a:gd name="connsiteX99" fmla="*/ 7765 w 10000"/>
              <a:gd name="connsiteY99" fmla="*/ 4456 h 10000"/>
              <a:gd name="connsiteX100" fmla="*/ 7213 w 10000"/>
              <a:gd name="connsiteY100" fmla="*/ 4297 h 10000"/>
              <a:gd name="connsiteX101" fmla="*/ 6887 w 10000"/>
              <a:gd name="connsiteY101" fmla="*/ 4324 h 10000"/>
              <a:gd name="connsiteX102" fmla="*/ 6757 w 10000"/>
              <a:gd name="connsiteY102" fmla="*/ 4278 h 10000"/>
              <a:gd name="connsiteX103" fmla="*/ 6894 w 10000"/>
              <a:gd name="connsiteY103" fmla="*/ 4240 h 10000"/>
              <a:gd name="connsiteX104" fmla="*/ 6998 w 10000"/>
              <a:gd name="connsiteY104" fmla="*/ 4156 h 10000"/>
              <a:gd name="connsiteX105" fmla="*/ 7152 w 10000"/>
              <a:gd name="connsiteY105" fmla="*/ 4182 h 10000"/>
              <a:gd name="connsiteX106" fmla="*/ 7335 w 10000"/>
              <a:gd name="connsiteY106" fmla="*/ 4161 h 10000"/>
              <a:gd name="connsiteX107" fmla="*/ 7611 w 10000"/>
              <a:gd name="connsiteY107" fmla="*/ 4188 h 10000"/>
              <a:gd name="connsiteX108" fmla="*/ 7645 w 10000"/>
              <a:gd name="connsiteY108" fmla="*/ 4177 h 10000"/>
              <a:gd name="connsiteX109" fmla="*/ 7859 w 10000"/>
              <a:gd name="connsiteY109" fmla="*/ 4305 h 10000"/>
              <a:gd name="connsiteX110" fmla="*/ 8017 w 10000"/>
              <a:gd name="connsiteY110" fmla="*/ 4257 h 10000"/>
              <a:gd name="connsiteX111" fmla="*/ 8032 w 10000"/>
              <a:gd name="connsiteY111" fmla="*/ 4214 h 10000"/>
              <a:gd name="connsiteX112" fmla="*/ 8176 w 10000"/>
              <a:gd name="connsiteY112" fmla="*/ 4290 h 10000"/>
              <a:gd name="connsiteX113" fmla="*/ 8369 w 10000"/>
              <a:gd name="connsiteY113" fmla="*/ 4331 h 10000"/>
              <a:gd name="connsiteX114" fmla="*/ 8446 w 10000"/>
              <a:gd name="connsiteY114" fmla="*/ 4255 h 10000"/>
              <a:gd name="connsiteX115" fmla="*/ 8507 w 10000"/>
              <a:gd name="connsiteY115" fmla="*/ 4297 h 10000"/>
              <a:gd name="connsiteX116" fmla="*/ 8596 w 10000"/>
              <a:gd name="connsiteY116" fmla="*/ 4446 h 10000"/>
              <a:gd name="connsiteX117" fmla="*/ 8782 w 10000"/>
              <a:gd name="connsiteY117" fmla="*/ 4478 h 10000"/>
              <a:gd name="connsiteX118" fmla="*/ 9542 w 10000"/>
              <a:gd name="connsiteY118" fmla="*/ 4262 h 10000"/>
              <a:gd name="connsiteX119" fmla="*/ 9914 w 10000"/>
              <a:gd name="connsiteY119" fmla="*/ 3962 h 10000"/>
              <a:gd name="connsiteX120" fmla="*/ 10000 w 10000"/>
              <a:gd name="connsiteY120" fmla="*/ 3744 h 10000"/>
              <a:gd name="connsiteX121" fmla="*/ 9866 w 10000"/>
              <a:gd name="connsiteY121" fmla="*/ 3546 h 10000"/>
              <a:gd name="connsiteX122" fmla="*/ 9582 w 10000"/>
              <a:gd name="connsiteY122" fmla="*/ 3428 h 10000"/>
              <a:gd name="connsiteX123" fmla="*/ 9382 w 10000"/>
              <a:gd name="connsiteY123" fmla="*/ 3233 h 10000"/>
              <a:gd name="connsiteX124" fmla="*/ 9569 w 10000"/>
              <a:gd name="connsiteY124" fmla="*/ 3227 h 10000"/>
              <a:gd name="connsiteX125" fmla="*/ 9555 w 10000"/>
              <a:gd name="connsiteY125" fmla="*/ 3180 h 10000"/>
              <a:gd name="connsiteX126" fmla="*/ 9068 w 10000"/>
              <a:gd name="connsiteY126" fmla="*/ 3045 h 10000"/>
              <a:gd name="connsiteX127" fmla="*/ 9047 w 10000"/>
              <a:gd name="connsiteY127" fmla="*/ 2920 h 10000"/>
              <a:gd name="connsiteX128" fmla="*/ 8953 w 10000"/>
              <a:gd name="connsiteY128" fmla="*/ 2789 h 10000"/>
              <a:gd name="connsiteX129" fmla="*/ 8569 w 10000"/>
              <a:gd name="connsiteY129" fmla="*/ 2813 h 10000"/>
              <a:gd name="connsiteX130" fmla="*/ 8431 w 10000"/>
              <a:gd name="connsiteY130" fmla="*/ 2673 h 10000"/>
              <a:gd name="connsiteX131" fmla="*/ 8350 w 10000"/>
              <a:gd name="connsiteY131" fmla="*/ 2665 h 10000"/>
              <a:gd name="connsiteX132" fmla="*/ 8350 w 10000"/>
              <a:gd name="connsiteY132" fmla="*/ 2726 h 10000"/>
              <a:gd name="connsiteX133" fmla="*/ 8176 w 10000"/>
              <a:gd name="connsiteY133" fmla="*/ 2959 h 10000"/>
              <a:gd name="connsiteX134" fmla="*/ 7990 w 10000"/>
              <a:gd name="connsiteY134" fmla="*/ 3096 h 10000"/>
              <a:gd name="connsiteX135" fmla="*/ 7401 w 10000"/>
              <a:gd name="connsiteY135" fmla="*/ 3329 h 10000"/>
              <a:gd name="connsiteX136" fmla="*/ 7198 w 10000"/>
              <a:gd name="connsiteY136" fmla="*/ 3322 h 10000"/>
              <a:gd name="connsiteX137" fmla="*/ 6915 w 10000"/>
              <a:gd name="connsiteY137" fmla="*/ 3359 h 10000"/>
              <a:gd name="connsiteX138" fmla="*/ 6757 w 10000"/>
              <a:gd name="connsiteY138" fmla="*/ 3322 h 10000"/>
              <a:gd name="connsiteX139" fmla="*/ 6965 w 10000"/>
              <a:gd name="connsiteY139" fmla="*/ 3255 h 10000"/>
              <a:gd name="connsiteX140" fmla="*/ 7235 w 10000"/>
              <a:gd name="connsiteY140" fmla="*/ 3227 h 10000"/>
              <a:gd name="connsiteX141" fmla="*/ 7455 w 10000"/>
              <a:gd name="connsiteY141" fmla="*/ 3118 h 10000"/>
              <a:gd name="connsiteX142" fmla="*/ 7674 w 10000"/>
              <a:gd name="connsiteY142" fmla="*/ 3066 h 10000"/>
              <a:gd name="connsiteX143" fmla="*/ 8082 w 10000"/>
              <a:gd name="connsiteY143" fmla="*/ 2874 h 10000"/>
              <a:gd name="connsiteX144" fmla="*/ 8157 w 10000"/>
              <a:gd name="connsiteY144" fmla="*/ 2750 h 10000"/>
              <a:gd name="connsiteX145" fmla="*/ 8165 w 10000"/>
              <a:gd name="connsiteY145" fmla="*/ 2589 h 10000"/>
              <a:gd name="connsiteX146" fmla="*/ 7978 w 10000"/>
              <a:gd name="connsiteY146" fmla="*/ 2562 h 10000"/>
              <a:gd name="connsiteX147" fmla="*/ 8058 w 10000"/>
              <a:gd name="connsiteY147" fmla="*/ 2463 h 10000"/>
              <a:gd name="connsiteX148" fmla="*/ 8087 w 10000"/>
              <a:gd name="connsiteY148" fmla="*/ 2338 h 10000"/>
              <a:gd name="connsiteX149" fmla="*/ 8007 w 10000"/>
              <a:gd name="connsiteY149" fmla="*/ 2222 h 10000"/>
              <a:gd name="connsiteX150" fmla="*/ 7450 w 10000"/>
              <a:gd name="connsiteY150" fmla="*/ 2382 h 10000"/>
              <a:gd name="connsiteX151" fmla="*/ 6694 w 10000"/>
              <a:gd name="connsiteY151" fmla="*/ 2311 h 10000"/>
              <a:gd name="connsiteX152" fmla="*/ 6304 w 10000"/>
              <a:gd name="connsiteY152" fmla="*/ 1864 h 10000"/>
              <a:gd name="connsiteX153" fmla="*/ 5294 w 10000"/>
              <a:gd name="connsiteY153" fmla="*/ 1779 h 10000"/>
              <a:gd name="connsiteX154" fmla="*/ 4505 w 10000"/>
              <a:gd name="connsiteY154" fmla="*/ 1407 h 10000"/>
              <a:gd name="connsiteX155" fmla="*/ 3730 w 10000"/>
              <a:gd name="connsiteY155" fmla="*/ 962 h 10000"/>
              <a:gd name="connsiteX156" fmla="*/ 3154 w 10000"/>
              <a:gd name="connsiteY156" fmla="*/ 143 h 10000"/>
              <a:gd name="connsiteX157" fmla="*/ 2375 w 10000"/>
              <a:gd name="connsiteY157" fmla="*/ 0 h 10000"/>
              <a:gd name="connsiteX158" fmla="*/ 2226 w 10000"/>
              <a:gd name="connsiteY158" fmla="*/ 772 h 10000"/>
              <a:gd name="connsiteX159" fmla="*/ 2375 w 10000"/>
              <a:gd name="connsiteY159" fmla="*/ 967 h 10000"/>
              <a:gd name="connsiteX160" fmla="*/ 2791 w 10000"/>
              <a:gd name="connsiteY160" fmla="*/ 1185 h 10000"/>
              <a:gd name="connsiteX161" fmla="*/ 2808 w 10000"/>
              <a:gd name="connsiteY161" fmla="*/ 1446 h 10000"/>
              <a:gd name="connsiteX162" fmla="*/ 2632 w 10000"/>
              <a:gd name="connsiteY162" fmla="*/ 1665 h 10000"/>
              <a:gd name="connsiteX163" fmla="*/ 2375 w 10000"/>
              <a:gd name="connsiteY163" fmla="*/ 1798 h 10000"/>
              <a:gd name="connsiteX164" fmla="*/ 2039 w 10000"/>
              <a:gd name="connsiteY164" fmla="*/ 1851 h 10000"/>
              <a:gd name="connsiteX165" fmla="*/ 1950 w 10000"/>
              <a:gd name="connsiteY165" fmla="*/ 1929 h 10000"/>
              <a:gd name="connsiteX166" fmla="*/ 2148 w 10000"/>
              <a:gd name="connsiteY166" fmla="*/ 2110 h 10000"/>
              <a:gd name="connsiteX167" fmla="*/ 2261 w 10000"/>
              <a:gd name="connsiteY167" fmla="*/ 2541 h 10000"/>
              <a:gd name="connsiteX168" fmla="*/ 2005 w 10000"/>
              <a:gd name="connsiteY168" fmla="*/ 2910 h 10000"/>
              <a:gd name="connsiteX169" fmla="*/ 2094 w 10000"/>
              <a:gd name="connsiteY169" fmla="*/ 3022 h 10000"/>
              <a:gd name="connsiteX170" fmla="*/ 2012 w 10000"/>
              <a:gd name="connsiteY170" fmla="*/ 3214 h 10000"/>
              <a:gd name="connsiteX171" fmla="*/ 1850 w 10000"/>
              <a:gd name="connsiteY171" fmla="*/ 3349 h 10000"/>
              <a:gd name="connsiteX172" fmla="*/ 1199 w 10000"/>
              <a:gd name="connsiteY172" fmla="*/ 3450 h 10000"/>
              <a:gd name="connsiteX173" fmla="*/ 1158 w 10000"/>
              <a:gd name="connsiteY173" fmla="*/ 3629 h 10000"/>
              <a:gd name="connsiteX174" fmla="*/ 808 w 10000"/>
              <a:gd name="connsiteY174" fmla="*/ 3893 h 10000"/>
              <a:gd name="connsiteX175" fmla="*/ 854 w 10000"/>
              <a:gd name="connsiteY175" fmla="*/ 4276 h 10000"/>
              <a:gd name="connsiteX176" fmla="*/ 560 w 10000"/>
              <a:gd name="connsiteY176" fmla="*/ 4766 h 10000"/>
              <a:gd name="connsiteX177" fmla="*/ 358 w 10000"/>
              <a:gd name="connsiteY177" fmla="*/ 4822 h 10000"/>
              <a:gd name="connsiteX178" fmla="*/ 275 w 10000"/>
              <a:gd name="connsiteY178" fmla="*/ 4706 h 10000"/>
              <a:gd name="connsiteX179" fmla="*/ 174 w 10000"/>
              <a:gd name="connsiteY179" fmla="*/ 4882 h 10000"/>
              <a:gd name="connsiteX180" fmla="*/ 239 w 10000"/>
              <a:gd name="connsiteY180" fmla="*/ 4578 h 10000"/>
              <a:gd name="connsiteX181" fmla="*/ 197 w 10000"/>
              <a:gd name="connsiteY181"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6419 w 10000"/>
              <a:gd name="connsiteY50" fmla="*/ 8186 h 10000"/>
              <a:gd name="connsiteX51" fmla="*/ 6586 w 10000"/>
              <a:gd name="connsiteY51" fmla="*/ 7505 h 10000"/>
              <a:gd name="connsiteX52" fmla="*/ 6855 w 10000"/>
              <a:gd name="connsiteY52" fmla="*/ 7204 h 10000"/>
              <a:gd name="connsiteX53" fmla="*/ 6855 w 10000"/>
              <a:gd name="connsiteY53" fmla="*/ 7043 h 10000"/>
              <a:gd name="connsiteX54" fmla="*/ 6757 w 10000"/>
              <a:gd name="connsiteY54" fmla="*/ 6956 h 10000"/>
              <a:gd name="connsiteX55" fmla="*/ 6915 w 10000"/>
              <a:gd name="connsiteY55" fmla="*/ 6811 h 10000"/>
              <a:gd name="connsiteX56" fmla="*/ 6887 w 10000"/>
              <a:gd name="connsiteY56" fmla="*/ 6693 h 10000"/>
              <a:gd name="connsiteX57" fmla="*/ 6779 w 10000"/>
              <a:gd name="connsiteY57" fmla="*/ 6592 h 10000"/>
              <a:gd name="connsiteX58" fmla="*/ 6757 w 10000"/>
              <a:gd name="connsiteY58" fmla="*/ 6514 h 10000"/>
              <a:gd name="connsiteX59" fmla="*/ 6785 w 10000"/>
              <a:gd name="connsiteY59" fmla="*/ 6457 h 10000"/>
              <a:gd name="connsiteX60" fmla="*/ 6931 w 10000"/>
              <a:gd name="connsiteY60" fmla="*/ 6503 h 10000"/>
              <a:gd name="connsiteX61" fmla="*/ 7045 w 10000"/>
              <a:gd name="connsiteY61" fmla="*/ 6500 h 10000"/>
              <a:gd name="connsiteX62" fmla="*/ 6983 w 10000"/>
              <a:gd name="connsiteY62" fmla="*/ 6404 h 10000"/>
              <a:gd name="connsiteX63" fmla="*/ 7003 w 10000"/>
              <a:gd name="connsiteY63" fmla="*/ 6346 h 10000"/>
              <a:gd name="connsiteX64" fmla="*/ 7089 w 10000"/>
              <a:gd name="connsiteY64" fmla="*/ 6265 h 10000"/>
              <a:gd name="connsiteX65" fmla="*/ 7074 w 10000"/>
              <a:gd name="connsiteY65" fmla="*/ 6198 h 10000"/>
              <a:gd name="connsiteX66" fmla="*/ 7152 w 10000"/>
              <a:gd name="connsiteY66" fmla="*/ 5971 h 10000"/>
              <a:gd name="connsiteX67" fmla="*/ 7130 w 10000"/>
              <a:gd name="connsiteY67" fmla="*/ 5902 h 10000"/>
              <a:gd name="connsiteX68" fmla="*/ 6729 w 10000"/>
              <a:gd name="connsiteY68" fmla="*/ 5729 h 10000"/>
              <a:gd name="connsiteX69" fmla="*/ 6785 w 10000"/>
              <a:gd name="connsiteY69" fmla="*/ 5723 h 10000"/>
              <a:gd name="connsiteX70" fmla="*/ 6998 w 10000"/>
              <a:gd name="connsiteY70" fmla="*/ 5768 h 10000"/>
              <a:gd name="connsiteX71" fmla="*/ 7230 w 10000"/>
              <a:gd name="connsiteY71" fmla="*/ 5751 h 10000"/>
              <a:gd name="connsiteX72" fmla="*/ 7295 w 10000"/>
              <a:gd name="connsiteY72" fmla="*/ 5689 h 10000"/>
              <a:gd name="connsiteX73" fmla="*/ 7074 w 10000"/>
              <a:gd name="connsiteY73" fmla="*/ 5571 h 10000"/>
              <a:gd name="connsiteX74" fmla="*/ 6414 w 10000"/>
              <a:gd name="connsiteY74" fmla="*/ 5495 h 10000"/>
              <a:gd name="connsiteX75" fmla="*/ 6458 w 10000"/>
              <a:gd name="connsiteY75" fmla="*/ 5459 h 10000"/>
              <a:gd name="connsiteX76" fmla="*/ 6998 w 10000"/>
              <a:gd name="connsiteY76" fmla="*/ 5434 h 10000"/>
              <a:gd name="connsiteX77" fmla="*/ 7295 w 10000"/>
              <a:gd name="connsiteY77" fmla="*/ 5506 h 10000"/>
              <a:gd name="connsiteX78" fmla="*/ 7466 w 10000"/>
              <a:gd name="connsiteY78" fmla="*/ 5459 h 10000"/>
              <a:gd name="connsiteX79" fmla="*/ 7529 w 10000"/>
              <a:gd name="connsiteY79" fmla="*/ 5337 h 10000"/>
              <a:gd name="connsiteX80" fmla="*/ 7840 w 10000"/>
              <a:gd name="connsiteY80" fmla="*/ 5337 h 10000"/>
              <a:gd name="connsiteX81" fmla="*/ 8261 w 10000"/>
              <a:gd name="connsiteY81" fmla="*/ 5093 h 10000"/>
              <a:gd name="connsiteX82" fmla="*/ 8275 w 10000"/>
              <a:gd name="connsiteY82" fmla="*/ 4928 h 10000"/>
              <a:gd name="connsiteX83" fmla="*/ 8453 w 10000"/>
              <a:gd name="connsiteY83" fmla="*/ 4965 h 10000"/>
              <a:gd name="connsiteX84" fmla="*/ 8446 w 10000"/>
              <a:gd name="connsiteY84" fmla="*/ 5130 h 10000"/>
              <a:gd name="connsiteX85" fmla="*/ 8727 w 10000"/>
              <a:gd name="connsiteY85" fmla="*/ 5118 h 10000"/>
              <a:gd name="connsiteX86" fmla="*/ 8913 w 10000"/>
              <a:gd name="connsiteY86" fmla="*/ 4948 h 10000"/>
              <a:gd name="connsiteX87" fmla="*/ 9258 w 10000"/>
              <a:gd name="connsiteY87" fmla="*/ 4795 h 10000"/>
              <a:gd name="connsiteX88" fmla="*/ 9203 w 10000"/>
              <a:gd name="connsiteY88" fmla="*/ 4621 h 10000"/>
              <a:gd name="connsiteX89" fmla="*/ 9306 w 10000"/>
              <a:gd name="connsiteY89" fmla="*/ 4690 h 10000"/>
              <a:gd name="connsiteX90" fmla="*/ 9464 w 10000"/>
              <a:gd name="connsiteY90" fmla="*/ 4690 h 10000"/>
              <a:gd name="connsiteX91" fmla="*/ 9464 w 10000"/>
              <a:gd name="connsiteY91" fmla="*/ 4609 h 10000"/>
              <a:gd name="connsiteX92" fmla="*/ 9611 w 10000"/>
              <a:gd name="connsiteY92" fmla="*/ 4550 h 10000"/>
              <a:gd name="connsiteX93" fmla="*/ 9592 w 10000"/>
              <a:gd name="connsiteY93" fmla="*/ 4487 h 10000"/>
              <a:gd name="connsiteX94" fmla="*/ 8350 w 10000"/>
              <a:gd name="connsiteY94" fmla="*/ 4611 h 10000"/>
              <a:gd name="connsiteX95" fmla="*/ 8058 w 10000"/>
              <a:gd name="connsiteY95" fmla="*/ 4576 h 10000"/>
              <a:gd name="connsiteX96" fmla="*/ 7942 w 10000"/>
              <a:gd name="connsiteY96" fmla="*/ 4621 h 10000"/>
              <a:gd name="connsiteX97" fmla="*/ 7903 w 10000"/>
              <a:gd name="connsiteY97" fmla="*/ 4532 h 10000"/>
              <a:gd name="connsiteX98" fmla="*/ 7765 w 10000"/>
              <a:gd name="connsiteY98" fmla="*/ 4456 h 10000"/>
              <a:gd name="connsiteX99" fmla="*/ 7213 w 10000"/>
              <a:gd name="connsiteY99" fmla="*/ 4297 h 10000"/>
              <a:gd name="connsiteX100" fmla="*/ 6887 w 10000"/>
              <a:gd name="connsiteY100" fmla="*/ 4324 h 10000"/>
              <a:gd name="connsiteX101" fmla="*/ 6757 w 10000"/>
              <a:gd name="connsiteY101" fmla="*/ 4278 h 10000"/>
              <a:gd name="connsiteX102" fmla="*/ 6894 w 10000"/>
              <a:gd name="connsiteY102" fmla="*/ 4240 h 10000"/>
              <a:gd name="connsiteX103" fmla="*/ 6998 w 10000"/>
              <a:gd name="connsiteY103" fmla="*/ 4156 h 10000"/>
              <a:gd name="connsiteX104" fmla="*/ 7152 w 10000"/>
              <a:gd name="connsiteY104" fmla="*/ 4182 h 10000"/>
              <a:gd name="connsiteX105" fmla="*/ 7335 w 10000"/>
              <a:gd name="connsiteY105" fmla="*/ 4161 h 10000"/>
              <a:gd name="connsiteX106" fmla="*/ 7611 w 10000"/>
              <a:gd name="connsiteY106" fmla="*/ 4188 h 10000"/>
              <a:gd name="connsiteX107" fmla="*/ 7645 w 10000"/>
              <a:gd name="connsiteY107" fmla="*/ 4177 h 10000"/>
              <a:gd name="connsiteX108" fmla="*/ 7859 w 10000"/>
              <a:gd name="connsiteY108" fmla="*/ 4305 h 10000"/>
              <a:gd name="connsiteX109" fmla="*/ 8017 w 10000"/>
              <a:gd name="connsiteY109" fmla="*/ 4257 h 10000"/>
              <a:gd name="connsiteX110" fmla="*/ 8032 w 10000"/>
              <a:gd name="connsiteY110" fmla="*/ 4214 h 10000"/>
              <a:gd name="connsiteX111" fmla="*/ 8176 w 10000"/>
              <a:gd name="connsiteY111" fmla="*/ 4290 h 10000"/>
              <a:gd name="connsiteX112" fmla="*/ 8369 w 10000"/>
              <a:gd name="connsiteY112" fmla="*/ 4331 h 10000"/>
              <a:gd name="connsiteX113" fmla="*/ 8446 w 10000"/>
              <a:gd name="connsiteY113" fmla="*/ 4255 h 10000"/>
              <a:gd name="connsiteX114" fmla="*/ 8507 w 10000"/>
              <a:gd name="connsiteY114" fmla="*/ 4297 h 10000"/>
              <a:gd name="connsiteX115" fmla="*/ 8596 w 10000"/>
              <a:gd name="connsiteY115" fmla="*/ 4446 h 10000"/>
              <a:gd name="connsiteX116" fmla="*/ 8782 w 10000"/>
              <a:gd name="connsiteY116" fmla="*/ 4478 h 10000"/>
              <a:gd name="connsiteX117" fmla="*/ 9542 w 10000"/>
              <a:gd name="connsiteY117" fmla="*/ 4262 h 10000"/>
              <a:gd name="connsiteX118" fmla="*/ 9914 w 10000"/>
              <a:gd name="connsiteY118" fmla="*/ 3962 h 10000"/>
              <a:gd name="connsiteX119" fmla="*/ 10000 w 10000"/>
              <a:gd name="connsiteY119" fmla="*/ 3744 h 10000"/>
              <a:gd name="connsiteX120" fmla="*/ 9866 w 10000"/>
              <a:gd name="connsiteY120" fmla="*/ 3546 h 10000"/>
              <a:gd name="connsiteX121" fmla="*/ 9582 w 10000"/>
              <a:gd name="connsiteY121" fmla="*/ 3428 h 10000"/>
              <a:gd name="connsiteX122" fmla="*/ 9382 w 10000"/>
              <a:gd name="connsiteY122" fmla="*/ 3233 h 10000"/>
              <a:gd name="connsiteX123" fmla="*/ 9569 w 10000"/>
              <a:gd name="connsiteY123" fmla="*/ 3227 h 10000"/>
              <a:gd name="connsiteX124" fmla="*/ 9555 w 10000"/>
              <a:gd name="connsiteY124" fmla="*/ 3180 h 10000"/>
              <a:gd name="connsiteX125" fmla="*/ 9068 w 10000"/>
              <a:gd name="connsiteY125" fmla="*/ 3045 h 10000"/>
              <a:gd name="connsiteX126" fmla="*/ 9047 w 10000"/>
              <a:gd name="connsiteY126" fmla="*/ 2920 h 10000"/>
              <a:gd name="connsiteX127" fmla="*/ 8953 w 10000"/>
              <a:gd name="connsiteY127" fmla="*/ 2789 h 10000"/>
              <a:gd name="connsiteX128" fmla="*/ 8569 w 10000"/>
              <a:gd name="connsiteY128" fmla="*/ 2813 h 10000"/>
              <a:gd name="connsiteX129" fmla="*/ 8431 w 10000"/>
              <a:gd name="connsiteY129" fmla="*/ 2673 h 10000"/>
              <a:gd name="connsiteX130" fmla="*/ 8350 w 10000"/>
              <a:gd name="connsiteY130" fmla="*/ 2665 h 10000"/>
              <a:gd name="connsiteX131" fmla="*/ 8350 w 10000"/>
              <a:gd name="connsiteY131" fmla="*/ 2726 h 10000"/>
              <a:gd name="connsiteX132" fmla="*/ 8176 w 10000"/>
              <a:gd name="connsiteY132" fmla="*/ 2959 h 10000"/>
              <a:gd name="connsiteX133" fmla="*/ 7990 w 10000"/>
              <a:gd name="connsiteY133" fmla="*/ 3096 h 10000"/>
              <a:gd name="connsiteX134" fmla="*/ 7401 w 10000"/>
              <a:gd name="connsiteY134" fmla="*/ 3329 h 10000"/>
              <a:gd name="connsiteX135" fmla="*/ 7198 w 10000"/>
              <a:gd name="connsiteY135" fmla="*/ 3322 h 10000"/>
              <a:gd name="connsiteX136" fmla="*/ 6915 w 10000"/>
              <a:gd name="connsiteY136" fmla="*/ 3359 h 10000"/>
              <a:gd name="connsiteX137" fmla="*/ 6757 w 10000"/>
              <a:gd name="connsiteY137" fmla="*/ 3322 h 10000"/>
              <a:gd name="connsiteX138" fmla="*/ 6965 w 10000"/>
              <a:gd name="connsiteY138" fmla="*/ 3255 h 10000"/>
              <a:gd name="connsiteX139" fmla="*/ 7235 w 10000"/>
              <a:gd name="connsiteY139" fmla="*/ 3227 h 10000"/>
              <a:gd name="connsiteX140" fmla="*/ 7455 w 10000"/>
              <a:gd name="connsiteY140" fmla="*/ 3118 h 10000"/>
              <a:gd name="connsiteX141" fmla="*/ 7674 w 10000"/>
              <a:gd name="connsiteY141" fmla="*/ 3066 h 10000"/>
              <a:gd name="connsiteX142" fmla="*/ 8082 w 10000"/>
              <a:gd name="connsiteY142" fmla="*/ 2874 h 10000"/>
              <a:gd name="connsiteX143" fmla="*/ 8157 w 10000"/>
              <a:gd name="connsiteY143" fmla="*/ 2750 h 10000"/>
              <a:gd name="connsiteX144" fmla="*/ 8165 w 10000"/>
              <a:gd name="connsiteY144" fmla="*/ 2589 h 10000"/>
              <a:gd name="connsiteX145" fmla="*/ 7978 w 10000"/>
              <a:gd name="connsiteY145" fmla="*/ 2562 h 10000"/>
              <a:gd name="connsiteX146" fmla="*/ 8058 w 10000"/>
              <a:gd name="connsiteY146" fmla="*/ 2463 h 10000"/>
              <a:gd name="connsiteX147" fmla="*/ 8087 w 10000"/>
              <a:gd name="connsiteY147" fmla="*/ 2338 h 10000"/>
              <a:gd name="connsiteX148" fmla="*/ 8007 w 10000"/>
              <a:gd name="connsiteY148" fmla="*/ 2222 h 10000"/>
              <a:gd name="connsiteX149" fmla="*/ 7450 w 10000"/>
              <a:gd name="connsiteY149" fmla="*/ 2382 h 10000"/>
              <a:gd name="connsiteX150" fmla="*/ 6694 w 10000"/>
              <a:gd name="connsiteY150" fmla="*/ 2311 h 10000"/>
              <a:gd name="connsiteX151" fmla="*/ 6304 w 10000"/>
              <a:gd name="connsiteY151" fmla="*/ 1864 h 10000"/>
              <a:gd name="connsiteX152" fmla="*/ 5294 w 10000"/>
              <a:gd name="connsiteY152" fmla="*/ 1779 h 10000"/>
              <a:gd name="connsiteX153" fmla="*/ 4505 w 10000"/>
              <a:gd name="connsiteY153" fmla="*/ 1407 h 10000"/>
              <a:gd name="connsiteX154" fmla="*/ 3730 w 10000"/>
              <a:gd name="connsiteY154" fmla="*/ 962 h 10000"/>
              <a:gd name="connsiteX155" fmla="*/ 3154 w 10000"/>
              <a:gd name="connsiteY155" fmla="*/ 143 h 10000"/>
              <a:gd name="connsiteX156" fmla="*/ 2375 w 10000"/>
              <a:gd name="connsiteY156" fmla="*/ 0 h 10000"/>
              <a:gd name="connsiteX157" fmla="*/ 2226 w 10000"/>
              <a:gd name="connsiteY157" fmla="*/ 772 h 10000"/>
              <a:gd name="connsiteX158" fmla="*/ 2375 w 10000"/>
              <a:gd name="connsiteY158" fmla="*/ 967 h 10000"/>
              <a:gd name="connsiteX159" fmla="*/ 2791 w 10000"/>
              <a:gd name="connsiteY159" fmla="*/ 1185 h 10000"/>
              <a:gd name="connsiteX160" fmla="*/ 2808 w 10000"/>
              <a:gd name="connsiteY160" fmla="*/ 1446 h 10000"/>
              <a:gd name="connsiteX161" fmla="*/ 2632 w 10000"/>
              <a:gd name="connsiteY161" fmla="*/ 1665 h 10000"/>
              <a:gd name="connsiteX162" fmla="*/ 2375 w 10000"/>
              <a:gd name="connsiteY162" fmla="*/ 1798 h 10000"/>
              <a:gd name="connsiteX163" fmla="*/ 2039 w 10000"/>
              <a:gd name="connsiteY163" fmla="*/ 1851 h 10000"/>
              <a:gd name="connsiteX164" fmla="*/ 1950 w 10000"/>
              <a:gd name="connsiteY164" fmla="*/ 1929 h 10000"/>
              <a:gd name="connsiteX165" fmla="*/ 2148 w 10000"/>
              <a:gd name="connsiteY165" fmla="*/ 2110 h 10000"/>
              <a:gd name="connsiteX166" fmla="*/ 2261 w 10000"/>
              <a:gd name="connsiteY166" fmla="*/ 2541 h 10000"/>
              <a:gd name="connsiteX167" fmla="*/ 2005 w 10000"/>
              <a:gd name="connsiteY167" fmla="*/ 2910 h 10000"/>
              <a:gd name="connsiteX168" fmla="*/ 2094 w 10000"/>
              <a:gd name="connsiteY168" fmla="*/ 3022 h 10000"/>
              <a:gd name="connsiteX169" fmla="*/ 2012 w 10000"/>
              <a:gd name="connsiteY169" fmla="*/ 3214 h 10000"/>
              <a:gd name="connsiteX170" fmla="*/ 1850 w 10000"/>
              <a:gd name="connsiteY170" fmla="*/ 3349 h 10000"/>
              <a:gd name="connsiteX171" fmla="*/ 1199 w 10000"/>
              <a:gd name="connsiteY171" fmla="*/ 3450 h 10000"/>
              <a:gd name="connsiteX172" fmla="*/ 1158 w 10000"/>
              <a:gd name="connsiteY172" fmla="*/ 3629 h 10000"/>
              <a:gd name="connsiteX173" fmla="*/ 808 w 10000"/>
              <a:gd name="connsiteY173" fmla="*/ 3893 h 10000"/>
              <a:gd name="connsiteX174" fmla="*/ 854 w 10000"/>
              <a:gd name="connsiteY174" fmla="*/ 4276 h 10000"/>
              <a:gd name="connsiteX175" fmla="*/ 560 w 10000"/>
              <a:gd name="connsiteY175" fmla="*/ 4766 h 10000"/>
              <a:gd name="connsiteX176" fmla="*/ 358 w 10000"/>
              <a:gd name="connsiteY176" fmla="*/ 4822 h 10000"/>
              <a:gd name="connsiteX177" fmla="*/ 275 w 10000"/>
              <a:gd name="connsiteY177" fmla="*/ 4706 h 10000"/>
              <a:gd name="connsiteX178" fmla="*/ 174 w 10000"/>
              <a:gd name="connsiteY178" fmla="*/ 4882 h 10000"/>
              <a:gd name="connsiteX179" fmla="*/ 239 w 10000"/>
              <a:gd name="connsiteY179" fmla="*/ 4578 h 10000"/>
              <a:gd name="connsiteX180" fmla="*/ 197 w 10000"/>
              <a:gd name="connsiteY180"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6419 w 10000"/>
              <a:gd name="connsiteY49" fmla="*/ 8186 h 10000"/>
              <a:gd name="connsiteX50" fmla="*/ 6586 w 10000"/>
              <a:gd name="connsiteY50" fmla="*/ 7505 h 10000"/>
              <a:gd name="connsiteX51" fmla="*/ 6855 w 10000"/>
              <a:gd name="connsiteY51" fmla="*/ 7204 h 10000"/>
              <a:gd name="connsiteX52" fmla="*/ 6855 w 10000"/>
              <a:gd name="connsiteY52" fmla="*/ 7043 h 10000"/>
              <a:gd name="connsiteX53" fmla="*/ 6757 w 10000"/>
              <a:gd name="connsiteY53" fmla="*/ 6956 h 10000"/>
              <a:gd name="connsiteX54" fmla="*/ 6915 w 10000"/>
              <a:gd name="connsiteY54" fmla="*/ 6811 h 10000"/>
              <a:gd name="connsiteX55" fmla="*/ 6887 w 10000"/>
              <a:gd name="connsiteY55" fmla="*/ 6693 h 10000"/>
              <a:gd name="connsiteX56" fmla="*/ 6779 w 10000"/>
              <a:gd name="connsiteY56" fmla="*/ 6592 h 10000"/>
              <a:gd name="connsiteX57" fmla="*/ 6757 w 10000"/>
              <a:gd name="connsiteY57" fmla="*/ 6514 h 10000"/>
              <a:gd name="connsiteX58" fmla="*/ 6785 w 10000"/>
              <a:gd name="connsiteY58" fmla="*/ 6457 h 10000"/>
              <a:gd name="connsiteX59" fmla="*/ 6931 w 10000"/>
              <a:gd name="connsiteY59" fmla="*/ 6503 h 10000"/>
              <a:gd name="connsiteX60" fmla="*/ 7045 w 10000"/>
              <a:gd name="connsiteY60" fmla="*/ 6500 h 10000"/>
              <a:gd name="connsiteX61" fmla="*/ 6983 w 10000"/>
              <a:gd name="connsiteY61" fmla="*/ 6404 h 10000"/>
              <a:gd name="connsiteX62" fmla="*/ 7003 w 10000"/>
              <a:gd name="connsiteY62" fmla="*/ 6346 h 10000"/>
              <a:gd name="connsiteX63" fmla="*/ 7089 w 10000"/>
              <a:gd name="connsiteY63" fmla="*/ 6265 h 10000"/>
              <a:gd name="connsiteX64" fmla="*/ 7074 w 10000"/>
              <a:gd name="connsiteY64" fmla="*/ 6198 h 10000"/>
              <a:gd name="connsiteX65" fmla="*/ 7152 w 10000"/>
              <a:gd name="connsiteY65" fmla="*/ 5971 h 10000"/>
              <a:gd name="connsiteX66" fmla="*/ 7130 w 10000"/>
              <a:gd name="connsiteY66" fmla="*/ 5902 h 10000"/>
              <a:gd name="connsiteX67" fmla="*/ 6729 w 10000"/>
              <a:gd name="connsiteY67" fmla="*/ 5729 h 10000"/>
              <a:gd name="connsiteX68" fmla="*/ 6785 w 10000"/>
              <a:gd name="connsiteY68" fmla="*/ 5723 h 10000"/>
              <a:gd name="connsiteX69" fmla="*/ 6998 w 10000"/>
              <a:gd name="connsiteY69" fmla="*/ 5768 h 10000"/>
              <a:gd name="connsiteX70" fmla="*/ 7230 w 10000"/>
              <a:gd name="connsiteY70" fmla="*/ 5751 h 10000"/>
              <a:gd name="connsiteX71" fmla="*/ 7295 w 10000"/>
              <a:gd name="connsiteY71" fmla="*/ 5689 h 10000"/>
              <a:gd name="connsiteX72" fmla="*/ 7074 w 10000"/>
              <a:gd name="connsiteY72" fmla="*/ 5571 h 10000"/>
              <a:gd name="connsiteX73" fmla="*/ 6414 w 10000"/>
              <a:gd name="connsiteY73" fmla="*/ 5495 h 10000"/>
              <a:gd name="connsiteX74" fmla="*/ 6458 w 10000"/>
              <a:gd name="connsiteY74" fmla="*/ 5459 h 10000"/>
              <a:gd name="connsiteX75" fmla="*/ 6998 w 10000"/>
              <a:gd name="connsiteY75" fmla="*/ 5434 h 10000"/>
              <a:gd name="connsiteX76" fmla="*/ 7295 w 10000"/>
              <a:gd name="connsiteY76" fmla="*/ 5506 h 10000"/>
              <a:gd name="connsiteX77" fmla="*/ 7466 w 10000"/>
              <a:gd name="connsiteY77" fmla="*/ 5459 h 10000"/>
              <a:gd name="connsiteX78" fmla="*/ 7529 w 10000"/>
              <a:gd name="connsiteY78" fmla="*/ 5337 h 10000"/>
              <a:gd name="connsiteX79" fmla="*/ 7840 w 10000"/>
              <a:gd name="connsiteY79" fmla="*/ 5337 h 10000"/>
              <a:gd name="connsiteX80" fmla="*/ 8261 w 10000"/>
              <a:gd name="connsiteY80" fmla="*/ 5093 h 10000"/>
              <a:gd name="connsiteX81" fmla="*/ 8275 w 10000"/>
              <a:gd name="connsiteY81" fmla="*/ 4928 h 10000"/>
              <a:gd name="connsiteX82" fmla="*/ 8453 w 10000"/>
              <a:gd name="connsiteY82" fmla="*/ 4965 h 10000"/>
              <a:gd name="connsiteX83" fmla="*/ 8446 w 10000"/>
              <a:gd name="connsiteY83" fmla="*/ 5130 h 10000"/>
              <a:gd name="connsiteX84" fmla="*/ 8727 w 10000"/>
              <a:gd name="connsiteY84" fmla="*/ 5118 h 10000"/>
              <a:gd name="connsiteX85" fmla="*/ 8913 w 10000"/>
              <a:gd name="connsiteY85" fmla="*/ 4948 h 10000"/>
              <a:gd name="connsiteX86" fmla="*/ 9258 w 10000"/>
              <a:gd name="connsiteY86" fmla="*/ 4795 h 10000"/>
              <a:gd name="connsiteX87" fmla="*/ 9203 w 10000"/>
              <a:gd name="connsiteY87" fmla="*/ 4621 h 10000"/>
              <a:gd name="connsiteX88" fmla="*/ 9306 w 10000"/>
              <a:gd name="connsiteY88" fmla="*/ 4690 h 10000"/>
              <a:gd name="connsiteX89" fmla="*/ 9464 w 10000"/>
              <a:gd name="connsiteY89" fmla="*/ 4690 h 10000"/>
              <a:gd name="connsiteX90" fmla="*/ 9464 w 10000"/>
              <a:gd name="connsiteY90" fmla="*/ 4609 h 10000"/>
              <a:gd name="connsiteX91" fmla="*/ 9611 w 10000"/>
              <a:gd name="connsiteY91" fmla="*/ 4550 h 10000"/>
              <a:gd name="connsiteX92" fmla="*/ 9592 w 10000"/>
              <a:gd name="connsiteY92" fmla="*/ 4487 h 10000"/>
              <a:gd name="connsiteX93" fmla="*/ 8350 w 10000"/>
              <a:gd name="connsiteY93" fmla="*/ 4611 h 10000"/>
              <a:gd name="connsiteX94" fmla="*/ 8058 w 10000"/>
              <a:gd name="connsiteY94" fmla="*/ 4576 h 10000"/>
              <a:gd name="connsiteX95" fmla="*/ 7942 w 10000"/>
              <a:gd name="connsiteY95" fmla="*/ 4621 h 10000"/>
              <a:gd name="connsiteX96" fmla="*/ 7903 w 10000"/>
              <a:gd name="connsiteY96" fmla="*/ 4532 h 10000"/>
              <a:gd name="connsiteX97" fmla="*/ 7765 w 10000"/>
              <a:gd name="connsiteY97" fmla="*/ 4456 h 10000"/>
              <a:gd name="connsiteX98" fmla="*/ 7213 w 10000"/>
              <a:gd name="connsiteY98" fmla="*/ 4297 h 10000"/>
              <a:gd name="connsiteX99" fmla="*/ 6887 w 10000"/>
              <a:gd name="connsiteY99" fmla="*/ 4324 h 10000"/>
              <a:gd name="connsiteX100" fmla="*/ 6757 w 10000"/>
              <a:gd name="connsiteY100" fmla="*/ 4278 h 10000"/>
              <a:gd name="connsiteX101" fmla="*/ 6894 w 10000"/>
              <a:gd name="connsiteY101" fmla="*/ 4240 h 10000"/>
              <a:gd name="connsiteX102" fmla="*/ 6998 w 10000"/>
              <a:gd name="connsiteY102" fmla="*/ 4156 h 10000"/>
              <a:gd name="connsiteX103" fmla="*/ 7152 w 10000"/>
              <a:gd name="connsiteY103" fmla="*/ 4182 h 10000"/>
              <a:gd name="connsiteX104" fmla="*/ 7335 w 10000"/>
              <a:gd name="connsiteY104" fmla="*/ 4161 h 10000"/>
              <a:gd name="connsiteX105" fmla="*/ 7611 w 10000"/>
              <a:gd name="connsiteY105" fmla="*/ 4188 h 10000"/>
              <a:gd name="connsiteX106" fmla="*/ 7645 w 10000"/>
              <a:gd name="connsiteY106" fmla="*/ 4177 h 10000"/>
              <a:gd name="connsiteX107" fmla="*/ 7859 w 10000"/>
              <a:gd name="connsiteY107" fmla="*/ 4305 h 10000"/>
              <a:gd name="connsiteX108" fmla="*/ 8017 w 10000"/>
              <a:gd name="connsiteY108" fmla="*/ 4257 h 10000"/>
              <a:gd name="connsiteX109" fmla="*/ 8032 w 10000"/>
              <a:gd name="connsiteY109" fmla="*/ 4214 h 10000"/>
              <a:gd name="connsiteX110" fmla="*/ 8176 w 10000"/>
              <a:gd name="connsiteY110" fmla="*/ 4290 h 10000"/>
              <a:gd name="connsiteX111" fmla="*/ 8369 w 10000"/>
              <a:gd name="connsiteY111" fmla="*/ 4331 h 10000"/>
              <a:gd name="connsiteX112" fmla="*/ 8446 w 10000"/>
              <a:gd name="connsiteY112" fmla="*/ 4255 h 10000"/>
              <a:gd name="connsiteX113" fmla="*/ 8507 w 10000"/>
              <a:gd name="connsiteY113" fmla="*/ 4297 h 10000"/>
              <a:gd name="connsiteX114" fmla="*/ 8596 w 10000"/>
              <a:gd name="connsiteY114" fmla="*/ 4446 h 10000"/>
              <a:gd name="connsiteX115" fmla="*/ 8782 w 10000"/>
              <a:gd name="connsiteY115" fmla="*/ 4478 h 10000"/>
              <a:gd name="connsiteX116" fmla="*/ 9542 w 10000"/>
              <a:gd name="connsiteY116" fmla="*/ 4262 h 10000"/>
              <a:gd name="connsiteX117" fmla="*/ 9914 w 10000"/>
              <a:gd name="connsiteY117" fmla="*/ 3962 h 10000"/>
              <a:gd name="connsiteX118" fmla="*/ 10000 w 10000"/>
              <a:gd name="connsiteY118" fmla="*/ 3744 h 10000"/>
              <a:gd name="connsiteX119" fmla="*/ 9866 w 10000"/>
              <a:gd name="connsiteY119" fmla="*/ 3546 h 10000"/>
              <a:gd name="connsiteX120" fmla="*/ 9582 w 10000"/>
              <a:gd name="connsiteY120" fmla="*/ 3428 h 10000"/>
              <a:gd name="connsiteX121" fmla="*/ 9382 w 10000"/>
              <a:gd name="connsiteY121" fmla="*/ 3233 h 10000"/>
              <a:gd name="connsiteX122" fmla="*/ 9569 w 10000"/>
              <a:gd name="connsiteY122" fmla="*/ 3227 h 10000"/>
              <a:gd name="connsiteX123" fmla="*/ 9555 w 10000"/>
              <a:gd name="connsiteY123" fmla="*/ 3180 h 10000"/>
              <a:gd name="connsiteX124" fmla="*/ 9068 w 10000"/>
              <a:gd name="connsiteY124" fmla="*/ 3045 h 10000"/>
              <a:gd name="connsiteX125" fmla="*/ 9047 w 10000"/>
              <a:gd name="connsiteY125" fmla="*/ 2920 h 10000"/>
              <a:gd name="connsiteX126" fmla="*/ 8953 w 10000"/>
              <a:gd name="connsiteY126" fmla="*/ 2789 h 10000"/>
              <a:gd name="connsiteX127" fmla="*/ 8569 w 10000"/>
              <a:gd name="connsiteY127" fmla="*/ 2813 h 10000"/>
              <a:gd name="connsiteX128" fmla="*/ 8431 w 10000"/>
              <a:gd name="connsiteY128" fmla="*/ 2673 h 10000"/>
              <a:gd name="connsiteX129" fmla="*/ 8350 w 10000"/>
              <a:gd name="connsiteY129" fmla="*/ 2665 h 10000"/>
              <a:gd name="connsiteX130" fmla="*/ 8350 w 10000"/>
              <a:gd name="connsiteY130" fmla="*/ 2726 h 10000"/>
              <a:gd name="connsiteX131" fmla="*/ 8176 w 10000"/>
              <a:gd name="connsiteY131" fmla="*/ 2959 h 10000"/>
              <a:gd name="connsiteX132" fmla="*/ 7990 w 10000"/>
              <a:gd name="connsiteY132" fmla="*/ 3096 h 10000"/>
              <a:gd name="connsiteX133" fmla="*/ 7401 w 10000"/>
              <a:gd name="connsiteY133" fmla="*/ 3329 h 10000"/>
              <a:gd name="connsiteX134" fmla="*/ 7198 w 10000"/>
              <a:gd name="connsiteY134" fmla="*/ 3322 h 10000"/>
              <a:gd name="connsiteX135" fmla="*/ 6915 w 10000"/>
              <a:gd name="connsiteY135" fmla="*/ 3359 h 10000"/>
              <a:gd name="connsiteX136" fmla="*/ 6757 w 10000"/>
              <a:gd name="connsiteY136" fmla="*/ 3322 h 10000"/>
              <a:gd name="connsiteX137" fmla="*/ 6965 w 10000"/>
              <a:gd name="connsiteY137" fmla="*/ 3255 h 10000"/>
              <a:gd name="connsiteX138" fmla="*/ 7235 w 10000"/>
              <a:gd name="connsiteY138" fmla="*/ 3227 h 10000"/>
              <a:gd name="connsiteX139" fmla="*/ 7455 w 10000"/>
              <a:gd name="connsiteY139" fmla="*/ 3118 h 10000"/>
              <a:gd name="connsiteX140" fmla="*/ 7674 w 10000"/>
              <a:gd name="connsiteY140" fmla="*/ 3066 h 10000"/>
              <a:gd name="connsiteX141" fmla="*/ 8082 w 10000"/>
              <a:gd name="connsiteY141" fmla="*/ 2874 h 10000"/>
              <a:gd name="connsiteX142" fmla="*/ 8157 w 10000"/>
              <a:gd name="connsiteY142" fmla="*/ 2750 h 10000"/>
              <a:gd name="connsiteX143" fmla="*/ 8165 w 10000"/>
              <a:gd name="connsiteY143" fmla="*/ 2589 h 10000"/>
              <a:gd name="connsiteX144" fmla="*/ 7978 w 10000"/>
              <a:gd name="connsiteY144" fmla="*/ 2562 h 10000"/>
              <a:gd name="connsiteX145" fmla="*/ 8058 w 10000"/>
              <a:gd name="connsiteY145" fmla="*/ 2463 h 10000"/>
              <a:gd name="connsiteX146" fmla="*/ 8087 w 10000"/>
              <a:gd name="connsiteY146" fmla="*/ 2338 h 10000"/>
              <a:gd name="connsiteX147" fmla="*/ 8007 w 10000"/>
              <a:gd name="connsiteY147" fmla="*/ 2222 h 10000"/>
              <a:gd name="connsiteX148" fmla="*/ 7450 w 10000"/>
              <a:gd name="connsiteY148" fmla="*/ 2382 h 10000"/>
              <a:gd name="connsiteX149" fmla="*/ 6694 w 10000"/>
              <a:gd name="connsiteY149" fmla="*/ 2311 h 10000"/>
              <a:gd name="connsiteX150" fmla="*/ 6304 w 10000"/>
              <a:gd name="connsiteY150" fmla="*/ 1864 h 10000"/>
              <a:gd name="connsiteX151" fmla="*/ 5294 w 10000"/>
              <a:gd name="connsiteY151" fmla="*/ 1779 h 10000"/>
              <a:gd name="connsiteX152" fmla="*/ 4505 w 10000"/>
              <a:gd name="connsiteY152" fmla="*/ 1407 h 10000"/>
              <a:gd name="connsiteX153" fmla="*/ 3730 w 10000"/>
              <a:gd name="connsiteY153" fmla="*/ 962 h 10000"/>
              <a:gd name="connsiteX154" fmla="*/ 3154 w 10000"/>
              <a:gd name="connsiteY154" fmla="*/ 143 h 10000"/>
              <a:gd name="connsiteX155" fmla="*/ 2375 w 10000"/>
              <a:gd name="connsiteY155" fmla="*/ 0 h 10000"/>
              <a:gd name="connsiteX156" fmla="*/ 2226 w 10000"/>
              <a:gd name="connsiteY156" fmla="*/ 772 h 10000"/>
              <a:gd name="connsiteX157" fmla="*/ 2375 w 10000"/>
              <a:gd name="connsiteY157" fmla="*/ 967 h 10000"/>
              <a:gd name="connsiteX158" fmla="*/ 2791 w 10000"/>
              <a:gd name="connsiteY158" fmla="*/ 1185 h 10000"/>
              <a:gd name="connsiteX159" fmla="*/ 2808 w 10000"/>
              <a:gd name="connsiteY159" fmla="*/ 1446 h 10000"/>
              <a:gd name="connsiteX160" fmla="*/ 2632 w 10000"/>
              <a:gd name="connsiteY160" fmla="*/ 1665 h 10000"/>
              <a:gd name="connsiteX161" fmla="*/ 2375 w 10000"/>
              <a:gd name="connsiteY161" fmla="*/ 1798 h 10000"/>
              <a:gd name="connsiteX162" fmla="*/ 2039 w 10000"/>
              <a:gd name="connsiteY162" fmla="*/ 1851 h 10000"/>
              <a:gd name="connsiteX163" fmla="*/ 1950 w 10000"/>
              <a:gd name="connsiteY163" fmla="*/ 1929 h 10000"/>
              <a:gd name="connsiteX164" fmla="*/ 2148 w 10000"/>
              <a:gd name="connsiteY164" fmla="*/ 2110 h 10000"/>
              <a:gd name="connsiteX165" fmla="*/ 2261 w 10000"/>
              <a:gd name="connsiteY165" fmla="*/ 2541 h 10000"/>
              <a:gd name="connsiteX166" fmla="*/ 2005 w 10000"/>
              <a:gd name="connsiteY166" fmla="*/ 2910 h 10000"/>
              <a:gd name="connsiteX167" fmla="*/ 2094 w 10000"/>
              <a:gd name="connsiteY167" fmla="*/ 3022 h 10000"/>
              <a:gd name="connsiteX168" fmla="*/ 2012 w 10000"/>
              <a:gd name="connsiteY168" fmla="*/ 3214 h 10000"/>
              <a:gd name="connsiteX169" fmla="*/ 1850 w 10000"/>
              <a:gd name="connsiteY169" fmla="*/ 3349 h 10000"/>
              <a:gd name="connsiteX170" fmla="*/ 1199 w 10000"/>
              <a:gd name="connsiteY170" fmla="*/ 3450 h 10000"/>
              <a:gd name="connsiteX171" fmla="*/ 1158 w 10000"/>
              <a:gd name="connsiteY171" fmla="*/ 3629 h 10000"/>
              <a:gd name="connsiteX172" fmla="*/ 808 w 10000"/>
              <a:gd name="connsiteY172" fmla="*/ 3893 h 10000"/>
              <a:gd name="connsiteX173" fmla="*/ 854 w 10000"/>
              <a:gd name="connsiteY173" fmla="*/ 4276 h 10000"/>
              <a:gd name="connsiteX174" fmla="*/ 560 w 10000"/>
              <a:gd name="connsiteY174" fmla="*/ 4766 h 10000"/>
              <a:gd name="connsiteX175" fmla="*/ 358 w 10000"/>
              <a:gd name="connsiteY175" fmla="*/ 4822 h 10000"/>
              <a:gd name="connsiteX176" fmla="*/ 275 w 10000"/>
              <a:gd name="connsiteY176" fmla="*/ 4706 h 10000"/>
              <a:gd name="connsiteX177" fmla="*/ 174 w 10000"/>
              <a:gd name="connsiteY177" fmla="*/ 4882 h 10000"/>
              <a:gd name="connsiteX178" fmla="*/ 239 w 10000"/>
              <a:gd name="connsiteY178" fmla="*/ 4578 h 10000"/>
              <a:gd name="connsiteX179" fmla="*/ 197 w 10000"/>
              <a:gd name="connsiteY17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6419 w 10000"/>
              <a:gd name="connsiteY48" fmla="*/ 8186 h 10000"/>
              <a:gd name="connsiteX49" fmla="*/ 6586 w 10000"/>
              <a:gd name="connsiteY49" fmla="*/ 7505 h 10000"/>
              <a:gd name="connsiteX50" fmla="*/ 6855 w 10000"/>
              <a:gd name="connsiteY50" fmla="*/ 7204 h 10000"/>
              <a:gd name="connsiteX51" fmla="*/ 6855 w 10000"/>
              <a:gd name="connsiteY51" fmla="*/ 7043 h 10000"/>
              <a:gd name="connsiteX52" fmla="*/ 6757 w 10000"/>
              <a:gd name="connsiteY52" fmla="*/ 6956 h 10000"/>
              <a:gd name="connsiteX53" fmla="*/ 6915 w 10000"/>
              <a:gd name="connsiteY53" fmla="*/ 6811 h 10000"/>
              <a:gd name="connsiteX54" fmla="*/ 6887 w 10000"/>
              <a:gd name="connsiteY54" fmla="*/ 6693 h 10000"/>
              <a:gd name="connsiteX55" fmla="*/ 6779 w 10000"/>
              <a:gd name="connsiteY55" fmla="*/ 6592 h 10000"/>
              <a:gd name="connsiteX56" fmla="*/ 6757 w 10000"/>
              <a:gd name="connsiteY56" fmla="*/ 6514 h 10000"/>
              <a:gd name="connsiteX57" fmla="*/ 6785 w 10000"/>
              <a:gd name="connsiteY57" fmla="*/ 6457 h 10000"/>
              <a:gd name="connsiteX58" fmla="*/ 6931 w 10000"/>
              <a:gd name="connsiteY58" fmla="*/ 6503 h 10000"/>
              <a:gd name="connsiteX59" fmla="*/ 7045 w 10000"/>
              <a:gd name="connsiteY59" fmla="*/ 6500 h 10000"/>
              <a:gd name="connsiteX60" fmla="*/ 6983 w 10000"/>
              <a:gd name="connsiteY60" fmla="*/ 6404 h 10000"/>
              <a:gd name="connsiteX61" fmla="*/ 7003 w 10000"/>
              <a:gd name="connsiteY61" fmla="*/ 6346 h 10000"/>
              <a:gd name="connsiteX62" fmla="*/ 7089 w 10000"/>
              <a:gd name="connsiteY62" fmla="*/ 6265 h 10000"/>
              <a:gd name="connsiteX63" fmla="*/ 7074 w 10000"/>
              <a:gd name="connsiteY63" fmla="*/ 6198 h 10000"/>
              <a:gd name="connsiteX64" fmla="*/ 7152 w 10000"/>
              <a:gd name="connsiteY64" fmla="*/ 5971 h 10000"/>
              <a:gd name="connsiteX65" fmla="*/ 7130 w 10000"/>
              <a:gd name="connsiteY65" fmla="*/ 5902 h 10000"/>
              <a:gd name="connsiteX66" fmla="*/ 6729 w 10000"/>
              <a:gd name="connsiteY66" fmla="*/ 5729 h 10000"/>
              <a:gd name="connsiteX67" fmla="*/ 6785 w 10000"/>
              <a:gd name="connsiteY67" fmla="*/ 5723 h 10000"/>
              <a:gd name="connsiteX68" fmla="*/ 6998 w 10000"/>
              <a:gd name="connsiteY68" fmla="*/ 5768 h 10000"/>
              <a:gd name="connsiteX69" fmla="*/ 7230 w 10000"/>
              <a:gd name="connsiteY69" fmla="*/ 5751 h 10000"/>
              <a:gd name="connsiteX70" fmla="*/ 7295 w 10000"/>
              <a:gd name="connsiteY70" fmla="*/ 5689 h 10000"/>
              <a:gd name="connsiteX71" fmla="*/ 7074 w 10000"/>
              <a:gd name="connsiteY71" fmla="*/ 5571 h 10000"/>
              <a:gd name="connsiteX72" fmla="*/ 6414 w 10000"/>
              <a:gd name="connsiteY72" fmla="*/ 5495 h 10000"/>
              <a:gd name="connsiteX73" fmla="*/ 6458 w 10000"/>
              <a:gd name="connsiteY73" fmla="*/ 5459 h 10000"/>
              <a:gd name="connsiteX74" fmla="*/ 6998 w 10000"/>
              <a:gd name="connsiteY74" fmla="*/ 5434 h 10000"/>
              <a:gd name="connsiteX75" fmla="*/ 7295 w 10000"/>
              <a:gd name="connsiteY75" fmla="*/ 5506 h 10000"/>
              <a:gd name="connsiteX76" fmla="*/ 7466 w 10000"/>
              <a:gd name="connsiteY76" fmla="*/ 5459 h 10000"/>
              <a:gd name="connsiteX77" fmla="*/ 7529 w 10000"/>
              <a:gd name="connsiteY77" fmla="*/ 5337 h 10000"/>
              <a:gd name="connsiteX78" fmla="*/ 7840 w 10000"/>
              <a:gd name="connsiteY78" fmla="*/ 5337 h 10000"/>
              <a:gd name="connsiteX79" fmla="*/ 8261 w 10000"/>
              <a:gd name="connsiteY79" fmla="*/ 5093 h 10000"/>
              <a:gd name="connsiteX80" fmla="*/ 8275 w 10000"/>
              <a:gd name="connsiteY80" fmla="*/ 4928 h 10000"/>
              <a:gd name="connsiteX81" fmla="*/ 8453 w 10000"/>
              <a:gd name="connsiteY81" fmla="*/ 4965 h 10000"/>
              <a:gd name="connsiteX82" fmla="*/ 8446 w 10000"/>
              <a:gd name="connsiteY82" fmla="*/ 5130 h 10000"/>
              <a:gd name="connsiteX83" fmla="*/ 8727 w 10000"/>
              <a:gd name="connsiteY83" fmla="*/ 5118 h 10000"/>
              <a:gd name="connsiteX84" fmla="*/ 8913 w 10000"/>
              <a:gd name="connsiteY84" fmla="*/ 4948 h 10000"/>
              <a:gd name="connsiteX85" fmla="*/ 9258 w 10000"/>
              <a:gd name="connsiteY85" fmla="*/ 4795 h 10000"/>
              <a:gd name="connsiteX86" fmla="*/ 9203 w 10000"/>
              <a:gd name="connsiteY86" fmla="*/ 4621 h 10000"/>
              <a:gd name="connsiteX87" fmla="*/ 9306 w 10000"/>
              <a:gd name="connsiteY87" fmla="*/ 4690 h 10000"/>
              <a:gd name="connsiteX88" fmla="*/ 9464 w 10000"/>
              <a:gd name="connsiteY88" fmla="*/ 4690 h 10000"/>
              <a:gd name="connsiteX89" fmla="*/ 9464 w 10000"/>
              <a:gd name="connsiteY89" fmla="*/ 4609 h 10000"/>
              <a:gd name="connsiteX90" fmla="*/ 9611 w 10000"/>
              <a:gd name="connsiteY90" fmla="*/ 4550 h 10000"/>
              <a:gd name="connsiteX91" fmla="*/ 9592 w 10000"/>
              <a:gd name="connsiteY91" fmla="*/ 4487 h 10000"/>
              <a:gd name="connsiteX92" fmla="*/ 8350 w 10000"/>
              <a:gd name="connsiteY92" fmla="*/ 4611 h 10000"/>
              <a:gd name="connsiteX93" fmla="*/ 8058 w 10000"/>
              <a:gd name="connsiteY93" fmla="*/ 4576 h 10000"/>
              <a:gd name="connsiteX94" fmla="*/ 7942 w 10000"/>
              <a:gd name="connsiteY94" fmla="*/ 4621 h 10000"/>
              <a:gd name="connsiteX95" fmla="*/ 7903 w 10000"/>
              <a:gd name="connsiteY95" fmla="*/ 4532 h 10000"/>
              <a:gd name="connsiteX96" fmla="*/ 7765 w 10000"/>
              <a:gd name="connsiteY96" fmla="*/ 4456 h 10000"/>
              <a:gd name="connsiteX97" fmla="*/ 7213 w 10000"/>
              <a:gd name="connsiteY97" fmla="*/ 4297 h 10000"/>
              <a:gd name="connsiteX98" fmla="*/ 6887 w 10000"/>
              <a:gd name="connsiteY98" fmla="*/ 4324 h 10000"/>
              <a:gd name="connsiteX99" fmla="*/ 6757 w 10000"/>
              <a:gd name="connsiteY99" fmla="*/ 4278 h 10000"/>
              <a:gd name="connsiteX100" fmla="*/ 6894 w 10000"/>
              <a:gd name="connsiteY100" fmla="*/ 4240 h 10000"/>
              <a:gd name="connsiteX101" fmla="*/ 6998 w 10000"/>
              <a:gd name="connsiteY101" fmla="*/ 4156 h 10000"/>
              <a:gd name="connsiteX102" fmla="*/ 7152 w 10000"/>
              <a:gd name="connsiteY102" fmla="*/ 4182 h 10000"/>
              <a:gd name="connsiteX103" fmla="*/ 7335 w 10000"/>
              <a:gd name="connsiteY103" fmla="*/ 4161 h 10000"/>
              <a:gd name="connsiteX104" fmla="*/ 7611 w 10000"/>
              <a:gd name="connsiteY104" fmla="*/ 4188 h 10000"/>
              <a:gd name="connsiteX105" fmla="*/ 7645 w 10000"/>
              <a:gd name="connsiteY105" fmla="*/ 4177 h 10000"/>
              <a:gd name="connsiteX106" fmla="*/ 7859 w 10000"/>
              <a:gd name="connsiteY106" fmla="*/ 4305 h 10000"/>
              <a:gd name="connsiteX107" fmla="*/ 8017 w 10000"/>
              <a:gd name="connsiteY107" fmla="*/ 4257 h 10000"/>
              <a:gd name="connsiteX108" fmla="*/ 8032 w 10000"/>
              <a:gd name="connsiteY108" fmla="*/ 4214 h 10000"/>
              <a:gd name="connsiteX109" fmla="*/ 8176 w 10000"/>
              <a:gd name="connsiteY109" fmla="*/ 4290 h 10000"/>
              <a:gd name="connsiteX110" fmla="*/ 8369 w 10000"/>
              <a:gd name="connsiteY110" fmla="*/ 4331 h 10000"/>
              <a:gd name="connsiteX111" fmla="*/ 8446 w 10000"/>
              <a:gd name="connsiteY111" fmla="*/ 4255 h 10000"/>
              <a:gd name="connsiteX112" fmla="*/ 8507 w 10000"/>
              <a:gd name="connsiteY112" fmla="*/ 4297 h 10000"/>
              <a:gd name="connsiteX113" fmla="*/ 8596 w 10000"/>
              <a:gd name="connsiteY113" fmla="*/ 4446 h 10000"/>
              <a:gd name="connsiteX114" fmla="*/ 8782 w 10000"/>
              <a:gd name="connsiteY114" fmla="*/ 4478 h 10000"/>
              <a:gd name="connsiteX115" fmla="*/ 9542 w 10000"/>
              <a:gd name="connsiteY115" fmla="*/ 4262 h 10000"/>
              <a:gd name="connsiteX116" fmla="*/ 9914 w 10000"/>
              <a:gd name="connsiteY116" fmla="*/ 3962 h 10000"/>
              <a:gd name="connsiteX117" fmla="*/ 10000 w 10000"/>
              <a:gd name="connsiteY117" fmla="*/ 3744 h 10000"/>
              <a:gd name="connsiteX118" fmla="*/ 9866 w 10000"/>
              <a:gd name="connsiteY118" fmla="*/ 3546 h 10000"/>
              <a:gd name="connsiteX119" fmla="*/ 9582 w 10000"/>
              <a:gd name="connsiteY119" fmla="*/ 3428 h 10000"/>
              <a:gd name="connsiteX120" fmla="*/ 9382 w 10000"/>
              <a:gd name="connsiteY120" fmla="*/ 3233 h 10000"/>
              <a:gd name="connsiteX121" fmla="*/ 9569 w 10000"/>
              <a:gd name="connsiteY121" fmla="*/ 3227 h 10000"/>
              <a:gd name="connsiteX122" fmla="*/ 9555 w 10000"/>
              <a:gd name="connsiteY122" fmla="*/ 3180 h 10000"/>
              <a:gd name="connsiteX123" fmla="*/ 9068 w 10000"/>
              <a:gd name="connsiteY123" fmla="*/ 3045 h 10000"/>
              <a:gd name="connsiteX124" fmla="*/ 9047 w 10000"/>
              <a:gd name="connsiteY124" fmla="*/ 2920 h 10000"/>
              <a:gd name="connsiteX125" fmla="*/ 8953 w 10000"/>
              <a:gd name="connsiteY125" fmla="*/ 2789 h 10000"/>
              <a:gd name="connsiteX126" fmla="*/ 8569 w 10000"/>
              <a:gd name="connsiteY126" fmla="*/ 2813 h 10000"/>
              <a:gd name="connsiteX127" fmla="*/ 8431 w 10000"/>
              <a:gd name="connsiteY127" fmla="*/ 2673 h 10000"/>
              <a:gd name="connsiteX128" fmla="*/ 8350 w 10000"/>
              <a:gd name="connsiteY128" fmla="*/ 2665 h 10000"/>
              <a:gd name="connsiteX129" fmla="*/ 8350 w 10000"/>
              <a:gd name="connsiteY129" fmla="*/ 2726 h 10000"/>
              <a:gd name="connsiteX130" fmla="*/ 8176 w 10000"/>
              <a:gd name="connsiteY130" fmla="*/ 2959 h 10000"/>
              <a:gd name="connsiteX131" fmla="*/ 7990 w 10000"/>
              <a:gd name="connsiteY131" fmla="*/ 3096 h 10000"/>
              <a:gd name="connsiteX132" fmla="*/ 7401 w 10000"/>
              <a:gd name="connsiteY132" fmla="*/ 3329 h 10000"/>
              <a:gd name="connsiteX133" fmla="*/ 7198 w 10000"/>
              <a:gd name="connsiteY133" fmla="*/ 3322 h 10000"/>
              <a:gd name="connsiteX134" fmla="*/ 6915 w 10000"/>
              <a:gd name="connsiteY134" fmla="*/ 3359 h 10000"/>
              <a:gd name="connsiteX135" fmla="*/ 6757 w 10000"/>
              <a:gd name="connsiteY135" fmla="*/ 3322 h 10000"/>
              <a:gd name="connsiteX136" fmla="*/ 6965 w 10000"/>
              <a:gd name="connsiteY136" fmla="*/ 3255 h 10000"/>
              <a:gd name="connsiteX137" fmla="*/ 7235 w 10000"/>
              <a:gd name="connsiteY137" fmla="*/ 3227 h 10000"/>
              <a:gd name="connsiteX138" fmla="*/ 7455 w 10000"/>
              <a:gd name="connsiteY138" fmla="*/ 3118 h 10000"/>
              <a:gd name="connsiteX139" fmla="*/ 7674 w 10000"/>
              <a:gd name="connsiteY139" fmla="*/ 3066 h 10000"/>
              <a:gd name="connsiteX140" fmla="*/ 8082 w 10000"/>
              <a:gd name="connsiteY140" fmla="*/ 2874 h 10000"/>
              <a:gd name="connsiteX141" fmla="*/ 8157 w 10000"/>
              <a:gd name="connsiteY141" fmla="*/ 2750 h 10000"/>
              <a:gd name="connsiteX142" fmla="*/ 8165 w 10000"/>
              <a:gd name="connsiteY142" fmla="*/ 2589 h 10000"/>
              <a:gd name="connsiteX143" fmla="*/ 7978 w 10000"/>
              <a:gd name="connsiteY143" fmla="*/ 2562 h 10000"/>
              <a:gd name="connsiteX144" fmla="*/ 8058 w 10000"/>
              <a:gd name="connsiteY144" fmla="*/ 2463 h 10000"/>
              <a:gd name="connsiteX145" fmla="*/ 8087 w 10000"/>
              <a:gd name="connsiteY145" fmla="*/ 2338 h 10000"/>
              <a:gd name="connsiteX146" fmla="*/ 8007 w 10000"/>
              <a:gd name="connsiteY146" fmla="*/ 2222 h 10000"/>
              <a:gd name="connsiteX147" fmla="*/ 7450 w 10000"/>
              <a:gd name="connsiteY147" fmla="*/ 2382 h 10000"/>
              <a:gd name="connsiteX148" fmla="*/ 6694 w 10000"/>
              <a:gd name="connsiteY148" fmla="*/ 2311 h 10000"/>
              <a:gd name="connsiteX149" fmla="*/ 6304 w 10000"/>
              <a:gd name="connsiteY149" fmla="*/ 1864 h 10000"/>
              <a:gd name="connsiteX150" fmla="*/ 5294 w 10000"/>
              <a:gd name="connsiteY150" fmla="*/ 1779 h 10000"/>
              <a:gd name="connsiteX151" fmla="*/ 4505 w 10000"/>
              <a:gd name="connsiteY151" fmla="*/ 1407 h 10000"/>
              <a:gd name="connsiteX152" fmla="*/ 3730 w 10000"/>
              <a:gd name="connsiteY152" fmla="*/ 962 h 10000"/>
              <a:gd name="connsiteX153" fmla="*/ 3154 w 10000"/>
              <a:gd name="connsiteY153" fmla="*/ 143 h 10000"/>
              <a:gd name="connsiteX154" fmla="*/ 2375 w 10000"/>
              <a:gd name="connsiteY154" fmla="*/ 0 h 10000"/>
              <a:gd name="connsiteX155" fmla="*/ 2226 w 10000"/>
              <a:gd name="connsiteY155" fmla="*/ 772 h 10000"/>
              <a:gd name="connsiteX156" fmla="*/ 2375 w 10000"/>
              <a:gd name="connsiteY156" fmla="*/ 967 h 10000"/>
              <a:gd name="connsiteX157" fmla="*/ 2791 w 10000"/>
              <a:gd name="connsiteY157" fmla="*/ 1185 h 10000"/>
              <a:gd name="connsiteX158" fmla="*/ 2808 w 10000"/>
              <a:gd name="connsiteY158" fmla="*/ 1446 h 10000"/>
              <a:gd name="connsiteX159" fmla="*/ 2632 w 10000"/>
              <a:gd name="connsiteY159" fmla="*/ 1665 h 10000"/>
              <a:gd name="connsiteX160" fmla="*/ 2375 w 10000"/>
              <a:gd name="connsiteY160" fmla="*/ 1798 h 10000"/>
              <a:gd name="connsiteX161" fmla="*/ 2039 w 10000"/>
              <a:gd name="connsiteY161" fmla="*/ 1851 h 10000"/>
              <a:gd name="connsiteX162" fmla="*/ 1950 w 10000"/>
              <a:gd name="connsiteY162" fmla="*/ 1929 h 10000"/>
              <a:gd name="connsiteX163" fmla="*/ 2148 w 10000"/>
              <a:gd name="connsiteY163" fmla="*/ 2110 h 10000"/>
              <a:gd name="connsiteX164" fmla="*/ 2261 w 10000"/>
              <a:gd name="connsiteY164" fmla="*/ 2541 h 10000"/>
              <a:gd name="connsiteX165" fmla="*/ 2005 w 10000"/>
              <a:gd name="connsiteY165" fmla="*/ 2910 h 10000"/>
              <a:gd name="connsiteX166" fmla="*/ 2094 w 10000"/>
              <a:gd name="connsiteY166" fmla="*/ 3022 h 10000"/>
              <a:gd name="connsiteX167" fmla="*/ 2012 w 10000"/>
              <a:gd name="connsiteY167" fmla="*/ 3214 h 10000"/>
              <a:gd name="connsiteX168" fmla="*/ 1850 w 10000"/>
              <a:gd name="connsiteY168" fmla="*/ 3349 h 10000"/>
              <a:gd name="connsiteX169" fmla="*/ 1199 w 10000"/>
              <a:gd name="connsiteY169" fmla="*/ 3450 h 10000"/>
              <a:gd name="connsiteX170" fmla="*/ 1158 w 10000"/>
              <a:gd name="connsiteY170" fmla="*/ 3629 h 10000"/>
              <a:gd name="connsiteX171" fmla="*/ 808 w 10000"/>
              <a:gd name="connsiteY171" fmla="*/ 3893 h 10000"/>
              <a:gd name="connsiteX172" fmla="*/ 854 w 10000"/>
              <a:gd name="connsiteY172" fmla="*/ 4276 h 10000"/>
              <a:gd name="connsiteX173" fmla="*/ 560 w 10000"/>
              <a:gd name="connsiteY173" fmla="*/ 4766 h 10000"/>
              <a:gd name="connsiteX174" fmla="*/ 358 w 10000"/>
              <a:gd name="connsiteY174" fmla="*/ 4822 h 10000"/>
              <a:gd name="connsiteX175" fmla="*/ 275 w 10000"/>
              <a:gd name="connsiteY175" fmla="*/ 4706 h 10000"/>
              <a:gd name="connsiteX176" fmla="*/ 174 w 10000"/>
              <a:gd name="connsiteY176" fmla="*/ 4882 h 10000"/>
              <a:gd name="connsiteX177" fmla="*/ 239 w 10000"/>
              <a:gd name="connsiteY177" fmla="*/ 4578 h 10000"/>
              <a:gd name="connsiteX178" fmla="*/ 197 w 10000"/>
              <a:gd name="connsiteY178"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6419 w 10000"/>
              <a:gd name="connsiteY47" fmla="*/ 8186 h 10000"/>
              <a:gd name="connsiteX48" fmla="*/ 6586 w 10000"/>
              <a:gd name="connsiteY48" fmla="*/ 7505 h 10000"/>
              <a:gd name="connsiteX49" fmla="*/ 6855 w 10000"/>
              <a:gd name="connsiteY49" fmla="*/ 7204 h 10000"/>
              <a:gd name="connsiteX50" fmla="*/ 6855 w 10000"/>
              <a:gd name="connsiteY50" fmla="*/ 7043 h 10000"/>
              <a:gd name="connsiteX51" fmla="*/ 6757 w 10000"/>
              <a:gd name="connsiteY51" fmla="*/ 6956 h 10000"/>
              <a:gd name="connsiteX52" fmla="*/ 6915 w 10000"/>
              <a:gd name="connsiteY52" fmla="*/ 6811 h 10000"/>
              <a:gd name="connsiteX53" fmla="*/ 6887 w 10000"/>
              <a:gd name="connsiteY53" fmla="*/ 6693 h 10000"/>
              <a:gd name="connsiteX54" fmla="*/ 6779 w 10000"/>
              <a:gd name="connsiteY54" fmla="*/ 6592 h 10000"/>
              <a:gd name="connsiteX55" fmla="*/ 6757 w 10000"/>
              <a:gd name="connsiteY55" fmla="*/ 6514 h 10000"/>
              <a:gd name="connsiteX56" fmla="*/ 6785 w 10000"/>
              <a:gd name="connsiteY56" fmla="*/ 6457 h 10000"/>
              <a:gd name="connsiteX57" fmla="*/ 6931 w 10000"/>
              <a:gd name="connsiteY57" fmla="*/ 6503 h 10000"/>
              <a:gd name="connsiteX58" fmla="*/ 7045 w 10000"/>
              <a:gd name="connsiteY58" fmla="*/ 6500 h 10000"/>
              <a:gd name="connsiteX59" fmla="*/ 6983 w 10000"/>
              <a:gd name="connsiteY59" fmla="*/ 6404 h 10000"/>
              <a:gd name="connsiteX60" fmla="*/ 7003 w 10000"/>
              <a:gd name="connsiteY60" fmla="*/ 6346 h 10000"/>
              <a:gd name="connsiteX61" fmla="*/ 7089 w 10000"/>
              <a:gd name="connsiteY61" fmla="*/ 6265 h 10000"/>
              <a:gd name="connsiteX62" fmla="*/ 7074 w 10000"/>
              <a:gd name="connsiteY62" fmla="*/ 6198 h 10000"/>
              <a:gd name="connsiteX63" fmla="*/ 7152 w 10000"/>
              <a:gd name="connsiteY63" fmla="*/ 5971 h 10000"/>
              <a:gd name="connsiteX64" fmla="*/ 7130 w 10000"/>
              <a:gd name="connsiteY64" fmla="*/ 5902 h 10000"/>
              <a:gd name="connsiteX65" fmla="*/ 6729 w 10000"/>
              <a:gd name="connsiteY65" fmla="*/ 5729 h 10000"/>
              <a:gd name="connsiteX66" fmla="*/ 6785 w 10000"/>
              <a:gd name="connsiteY66" fmla="*/ 5723 h 10000"/>
              <a:gd name="connsiteX67" fmla="*/ 6998 w 10000"/>
              <a:gd name="connsiteY67" fmla="*/ 5768 h 10000"/>
              <a:gd name="connsiteX68" fmla="*/ 7230 w 10000"/>
              <a:gd name="connsiteY68" fmla="*/ 5751 h 10000"/>
              <a:gd name="connsiteX69" fmla="*/ 7295 w 10000"/>
              <a:gd name="connsiteY69" fmla="*/ 5689 h 10000"/>
              <a:gd name="connsiteX70" fmla="*/ 7074 w 10000"/>
              <a:gd name="connsiteY70" fmla="*/ 5571 h 10000"/>
              <a:gd name="connsiteX71" fmla="*/ 6414 w 10000"/>
              <a:gd name="connsiteY71" fmla="*/ 5495 h 10000"/>
              <a:gd name="connsiteX72" fmla="*/ 6458 w 10000"/>
              <a:gd name="connsiteY72" fmla="*/ 5459 h 10000"/>
              <a:gd name="connsiteX73" fmla="*/ 6998 w 10000"/>
              <a:gd name="connsiteY73" fmla="*/ 5434 h 10000"/>
              <a:gd name="connsiteX74" fmla="*/ 7295 w 10000"/>
              <a:gd name="connsiteY74" fmla="*/ 5506 h 10000"/>
              <a:gd name="connsiteX75" fmla="*/ 7466 w 10000"/>
              <a:gd name="connsiteY75" fmla="*/ 5459 h 10000"/>
              <a:gd name="connsiteX76" fmla="*/ 7529 w 10000"/>
              <a:gd name="connsiteY76" fmla="*/ 5337 h 10000"/>
              <a:gd name="connsiteX77" fmla="*/ 7840 w 10000"/>
              <a:gd name="connsiteY77" fmla="*/ 5337 h 10000"/>
              <a:gd name="connsiteX78" fmla="*/ 8261 w 10000"/>
              <a:gd name="connsiteY78" fmla="*/ 5093 h 10000"/>
              <a:gd name="connsiteX79" fmla="*/ 8275 w 10000"/>
              <a:gd name="connsiteY79" fmla="*/ 4928 h 10000"/>
              <a:gd name="connsiteX80" fmla="*/ 8453 w 10000"/>
              <a:gd name="connsiteY80" fmla="*/ 4965 h 10000"/>
              <a:gd name="connsiteX81" fmla="*/ 8446 w 10000"/>
              <a:gd name="connsiteY81" fmla="*/ 5130 h 10000"/>
              <a:gd name="connsiteX82" fmla="*/ 8727 w 10000"/>
              <a:gd name="connsiteY82" fmla="*/ 5118 h 10000"/>
              <a:gd name="connsiteX83" fmla="*/ 8913 w 10000"/>
              <a:gd name="connsiteY83" fmla="*/ 4948 h 10000"/>
              <a:gd name="connsiteX84" fmla="*/ 9258 w 10000"/>
              <a:gd name="connsiteY84" fmla="*/ 4795 h 10000"/>
              <a:gd name="connsiteX85" fmla="*/ 9203 w 10000"/>
              <a:gd name="connsiteY85" fmla="*/ 4621 h 10000"/>
              <a:gd name="connsiteX86" fmla="*/ 9306 w 10000"/>
              <a:gd name="connsiteY86" fmla="*/ 4690 h 10000"/>
              <a:gd name="connsiteX87" fmla="*/ 9464 w 10000"/>
              <a:gd name="connsiteY87" fmla="*/ 4690 h 10000"/>
              <a:gd name="connsiteX88" fmla="*/ 9464 w 10000"/>
              <a:gd name="connsiteY88" fmla="*/ 4609 h 10000"/>
              <a:gd name="connsiteX89" fmla="*/ 9611 w 10000"/>
              <a:gd name="connsiteY89" fmla="*/ 4550 h 10000"/>
              <a:gd name="connsiteX90" fmla="*/ 9592 w 10000"/>
              <a:gd name="connsiteY90" fmla="*/ 4487 h 10000"/>
              <a:gd name="connsiteX91" fmla="*/ 8350 w 10000"/>
              <a:gd name="connsiteY91" fmla="*/ 4611 h 10000"/>
              <a:gd name="connsiteX92" fmla="*/ 8058 w 10000"/>
              <a:gd name="connsiteY92" fmla="*/ 4576 h 10000"/>
              <a:gd name="connsiteX93" fmla="*/ 7942 w 10000"/>
              <a:gd name="connsiteY93" fmla="*/ 4621 h 10000"/>
              <a:gd name="connsiteX94" fmla="*/ 7903 w 10000"/>
              <a:gd name="connsiteY94" fmla="*/ 4532 h 10000"/>
              <a:gd name="connsiteX95" fmla="*/ 7765 w 10000"/>
              <a:gd name="connsiteY95" fmla="*/ 4456 h 10000"/>
              <a:gd name="connsiteX96" fmla="*/ 7213 w 10000"/>
              <a:gd name="connsiteY96" fmla="*/ 4297 h 10000"/>
              <a:gd name="connsiteX97" fmla="*/ 6887 w 10000"/>
              <a:gd name="connsiteY97" fmla="*/ 4324 h 10000"/>
              <a:gd name="connsiteX98" fmla="*/ 6757 w 10000"/>
              <a:gd name="connsiteY98" fmla="*/ 4278 h 10000"/>
              <a:gd name="connsiteX99" fmla="*/ 6894 w 10000"/>
              <a:gd name="connsiteY99" fmla="*/ 4240 h 10000"/>
              <a:gd name="connsiteX100" fmla="*/ 6998 w 10000"/>
              <a:gd name="connsiteY100" fmla="*/ 4156 h 10000"/>
              <a:gd name="connsiteX101" fmla="*/ 7152 w 10000"/>
              <a:gd name="connsiteY101" fmla="*/ 4182 h 10000"/>
              <a:gd name="connsiteX102" fmla="*/ 7335 w 10000"/>
              <a:gd name="connsiteY102" fmla="*/ 4161 h 10000"/>
              <a:gd name="connsiteX103" fmla="*/ 7611 w 10000"/>
              <a:gd name="connsiteY103" fmla="*/ 4188 h 10000"/>
              <a:gd name="connsiteX104" fmla="*/ 7645 w 10000"/>
              <a:gd name="connsiteY104" fmla="*/ 4177 h 10000"/>
              <a:gd name="connsiteX105" fmla="*/ 7859 w 10000"/>
              <a:gd name="connsiteY105" fmla="*/ 4305 h 10000"/>
              <a:gd name="connsiteX106" fmla="*/ 8017 w 10000"/>
              <a:gd name="connsiteY106" fmla="*/ 4257 h 10000"/>
              <a:gd name="connsiteX107" fmla="*/ 8032 w 10000"/>
              <a:gd name="connsiteY107" fmla="*/ 4214 h 10000"/>
              <a:gd name="connsiteX108" fmla="*/ 8176 w 10000"/>
              <a:gd name="connsiteY108" fmla="*/ 4290 h 10000"/>
              <a:gd name="connsiteX109" fmla="*/ 8369 w 10000"/>
              <a:gd name="connsiteY109" fmla="*/ 4331 h 10000"/>
              <a:gd name="connsiteX110" fmla="*/ 8446 w 10000"/>
              <a:gd name="connsiteY110" fmla="*/ 4255 h 10000"/>
              <a:gd name="connsiteX111" fmla="*/ 8507 w 10000"/>
              <a:gd name="connsiteY111" fmla="*/ 4297 h 10000"/>
              <a:gd name="connsiteX112" fmla="*/ 8596 w 10000"/>
              <a:gd name="connsiteY112" fmla="*/ 4446 h 10000"/>
              <a:gd name="connsiteX113" fmla="*/ 8782 w 10000"/>
              <a:gd name="connsiteY113" fmla="*/ 4478 h 10000"/>
              <a:gd name="connsiteX114" fmla="*/ 9542 w 10000"/>
              <a:gd name="connsiteY114" fmla="*/ 4262 h 10000"/>
              <a:gd name="connsiteX115" fmla="*/ 9914 w 10000"/>
              <a:gd name="connsiteY115" fmla="*/ 3962 h 10000"/>
              <a:gd name="connsiteX116" fmla="*/ 10000 w 10000"/>
              <a:gd name="connsiteY116" fmla="*/ 3744 h 10000"/>
              <a:gd name="connsiteX117" fmla="*/ 9866 w 10000"/>
              <a:gd name="connsiteY117" fmla="*/ 3546 h 10000"/>
              <a:gd name="connsiteX118" fmla="*/ 9582 w 10000"/>
              <a:gd name="connsiteY118" fmla="*/ 3428 h 10000"/>
              <a:gd name="connsiteX119" fmla="*/ 9382 w 10000"/>
              <a:gd name="connsiteY119" fmla="*/ 3233 h 10000"/>
              <a:gd name="connsiteX120" fmla="*/ 9569 w 10000"/>
              <a:gd name="connsiteY120" fmla="*/ 3227 h 10000"/>
              <a:gd name="connsiteX121" fmla="*/ 9555 w 10000"/>
              <a:gd name="connsiteY121" fmla="*/ 3180 h 10000"/>
              <a:gd name="connsiteX122" fmla="*/ 9068 w 10000"/>
              <a:gd name="connsiteY122" fmla="*/ 3045 h 10000"/>
              <a:gd name="connsiteX123" fmla="*/ 9047 w 10000"/>
              <a:gd name="connsiteY123" fmla="*/ 2920 h 10000"/>
              <a:gd name="connsiteX124" fmla="*/ 8953 w 10000"/>
              <a:gd name="connsiteY124" fmla="*/ 2789 h 10000"/>
              <a:gd name="connsiteX125" fmla="*/ 8569 w 10000"/>
              <a:gd name="connsiteY125" fmla="*/ 2813 h 10000"/>
              <a:gd name="connsiteX126" fmla="*/ 8431 w 10000"/>
              <a:gd name="connsiteY126" fmla="*/ 2673 h 10000"/>
              <a:gd name="connsiteX127" fmla="*/ 8350 w 10000"/>
              <a:gd name="connsiteY127" fmla="*/ 2665 h 10000"/>
              <a:gd name="connsiteX128" fmla="*/ 8350 w 10000"/>
              <a:gd name="connsiteY128" fmla="*/ 2726 h 10000"/>
              <a:gd name="connsiteX129" fmla="*/ 8176 w 10000"/>
              <a:gd name="connsiteY129" fmla="*/ 2959 h 10000"/>
              <a:gd name="connsiteX130" fmla="*/ 7990 w 10000"/>
              <a:gd name="connsiteY130" fmla="*/ 3096 h 10000"/>
              <a:gd name="connsiteX131" fmla="*/ 7401 w 10000"/>
              <a:gd name="connsiteY131" fmla="*/ 3329 h 10000"/>
              <a:gd name="connsiteX132" fmla="*/ 7198 w 10000"/>
              <a:gd name="connsiteY132" fmla="*/ 3322 h 10000"/>
              <a:gd name="connsiteX133" fmla="*/ 6915 w 10000"/>
              <a:gd name="connsiteY133" fmla="*/ 3359 h 10000"/>
              <a:gd name="connsiteX134" fmla="*/ 6757 w 10000"/>
              <a:gd name="connsiteY134" fmla="*/ 3322 h 10000"/>
              <a:gd name="connsiteX135" fmla="*/ 6965 w 10000"/>
              <a:gd name="connsiteY135" fmla="*/ 3255 h 10000"/>
              <a:gd name="connsiteX136" fmla="*/ 7235 w 10000"/>
              <a:gd name="connsiteY136" fmla="*/ 3227 h 10000"/>
              <a:gd name="connsiteX137" fmla="*/ 7455 w 10000"/>
              <a:gd name="connsiteY137" fmla="*/ 3118 h 10000"/>
              <a:gd name="connsiteX138" fmla="*/ 7674 w 10000"/>
              <a:gd name="connsiteY138" fmla="*/ 3066 h 10000"/>
              <a:gd name="connsiteX139" fmla="*/ 8082 w 10000"/>
              <a:gd name="connsiteY139" fmla="*/ 2874 h 10000"/>
              <a:gd name="connsiteX140" fmla="*/ 8157 w 10000"/>
              <a:gd name="connsiteY140" fmla="*/ 2750 h 10000"/>
              <a:gd name="connsiteX141" fmla="*/ 8165 w 10000"/>
              <a:gd name="connsiteY141" fmla="*/ 2589 h 10000"/>
              <a:gd name="connsiteX142" fmla="*/ 7978 w 10000"/>
              <a:gd name="connsiteY142" fmla="*/ 2562 h 10000"/>
              <a:gd name="connsiteX143" fmla="*/ 8058 w 10000"/>
              <a:gd name="connsiteY143" fmla="*/ 2463 h 10000"/>
              <a:gd name="connsiteX144" fmla="*/ 8087 w 10000"/>
              <a:gd name="connsiteY144" fmla="*/ 2338 h 10000"/>
              <a:gd name="connsiteX145" fmla="*/ 8007 w 10000"/>
              <a:gd name="connsiteY145" fmla="*/ 2222 h 10000"/>
              <a:gd name="connsiteX146" fmla="*/ 7450 w 10000"/>
              <a:gd name="connsiteY146" fmla="*/ 2382 h 10000"/>
              <a:gd name="connsiteX147" fmla="*/ 6694 w 10000"/>
              <a:gd name="connsiteY147" fmla="*/ 2311 h 10000"/>
              <a:gd name="connsiteX148" fmla="*/ 6304 w 10000"/>
              <a:gd name="connsiteY148" fmla="*/ 1864 h 10000"/>
              <a:gd name="connsiteX149" fmla="*/ 5294 w 10000"/>
              <a:gd name="connsiteY149" fmla="*/ 1779 h 10000"/>
              <a:gd name="connsiteX150" fmla="*/ 4505 w 10000"/>
              <a:gd name="connsiteY150" fmla="*/ 1407 h 10000"/>
              <a:gd name="connsiteX151" fmla="*/ 3730 w 10000"/>
              <a:gd name="connsiteY151" fmla="*/ 962 h 10000"/>
              <a:gd name="connsiteX152" fmla="*/ 3154 w 10000"/>
              <a:gd name="connsiteY152" fmla="*/ 143 h 10000"/>
              <a:gd name="connsiteX153" fmla="*/ 2375 w 10000"/>
              <a:gd name="connsiteY153" fmla="*/ 0 h 10000"/>
              <a:gd name="connsiteX154" fmla="*/ 2226 w 10000"/>
              <a:gd name="connsiteY154" fmla="*/ 772 h 10000"/>
              <a:gd name="connsiteX155" fmla="*/ 2375 w 10000"/>
              <a:gd name="connsiteY155" fmla="*/ 967 h 10000"/>
              <a:gd name="connsiteX156" fmla="*/ 2791 w 10000"/>
              <a:gd name="connsiteY156" fmla="*/ 1185 h 10000"/>
              <a:gd name="connsiteX157" fmla="*/ 2808 w 10000"/>
              <a:gd name="connsiteY157" fmla="*/ 1446 h 10000"/>
              <a:gd name="connsiteX158" fmla="*/ 2632 w 10000"/>
              <a:gd name="connsiteY158" fmla="*/ 1665 h 10000"/>
              <a:gd name="connsiteX159" fmla="*/ 2375 w 10000"/>
              <a:gd name="connsiteY159" fmla="*/ 1798 h 10000"/>
              <a:gd name="connsiteX160" fmla="*/ 2039 w 10000"/>
              <a:gd name="connsiteY160" fmla="*/ 1851 h 10000"/>
              <a:gd name="connsiteX161" fmla="*/ 1950 w 10000"/>
              <a:gd name="connsiteY161" fmla="*/ 1929 h 10000"/>
              <a:gd name="connsiteX162" fmla="*/ 2148 w 10000"/>
              <a:gd name="connsiteY162" fmla="*/ 2110 h 10000"/>
              <a:gd name="connsiteX163" fmla="*/ 2261 w 10000"/>
              <a:gd name="connsiteY163" fmla="*/ 2541 h 10000"/>
              <a:gd name="connsiteX164" fmla="*/ 2005 w 10000"/>
              <a:gd name="connsiteY164" fmla="*/ 2910 h 10000"/>
              <a:gd name="connsiteX165" fmla="*/ 2094 w 10000"/>
              <a:gd name="connsiteY165" fmla="*/ 3022 h 10000"/>
              <a:gd name="connsiteX166" fmla="*/ 2012 w 10000"/>
              <a:gd name="connsiteY166" fmla="*/ 3214 h 10000"/>
              <a:gd name="connsiteX167" fmla="*/ 1850 w 10000"/>
              <a:gd name="connsiteY167" fmla="*/ 3349 h 10000"/>
              <a:gd name="connsiteX168" fmla="*/ 1199 w 10000"/>
              <a:gd name="connsiteY168" fmla="*/ 3450 h 10000"/>
              <a:gd name="connsiteX169" fmla="*/ 1158 w 10000"/>
              <a:gd name="connsiteY169" fmla="*/ 3629 h 10000"/>
              <a:gd name="connsiteX170" fmla="*/ 808 w 10000"/>
              <a:gd name="connsiteY170" fmla="*/ 3893 h 10000"/>
              <a:gd name="connsiteX171" fmla="*/ 854 w 10000"/>
              <a:gd name="connsiteY171" fmla="*/ 4276 h 10000"/>
              <a:gd name="connsiteX172" fmla="*/ 560 w 10000"/>
              <a:gd name="connsiteY172" fmla="*/ 4766 h 10000"/>
              <a:gd name="connsiteX173" fmla="*/ 358 w 10000"/>
              <a:gd name="connsiteY173" fmla="*/ 4822 h 10000"/>
              <a:gd name="connsiteX174" fmla="*/ 275 w 10000"/>
              <a:gd name="connsiteY174" fmla="*/ 4706 h 10000"/>
              <a:gd name="connsiteX175" fmla="*/ 174 w 10000"/>
              <a:gd name="connsiteY175" fmla="*/ 4882 h 10000"/>
              <a:gd name="connsiteX176" fmla="*/ 239 w 10000"/>
              <a:gd name="connsiteY176" fmla="*/ 4578 h 10000"/>
              <a:gd name="connsiteX177" fmla="*/ 197 w 10000"/>
              <a:gd name="connsiteY177" fmla="*/ 4521 h 10000"/>
              <a:gd name="connsiteX0" fmla="*/ 197 w 10000"/>
              <a:gd name="connsiteY0" fmla="*/ 4521 h 9972"/>
              <a:gd name="connsiteX1" fmla="*/ 0 w 10000"/>
              <a:gd name="connsiteY1" fmla="*/ 4679 h 9972"/>
              <a:gd name="connsiteX2" fmla="*/ 0 w 10000"/>
              <a:gd name="connsiteY2" fmla="*/ 5459 h 9972"/>
              <a:gd name="connsiteX3" fmla="*/ 109 w 10000"/>
              <a:gd name="connsiteY3" fmla="*/ 5480 h 9972"/>
              <a:gd name="connsiteX4" fmla="*/ 134 w 10000"/>
              <a:gd name="connsiteY4" fmla="*/ 5540 h 9972"/>
              <a:gd name="connsiteX5" fmla="*/ 130 w 10000"/>
              <a:gd name="connsiteY5" fmla="*/ 5647 h 9972"/>
              <a:gd name="connsiteX6" fmla="*/ 89 w 10000"/>
              <a:gd name="connsiteY6" fmla="*/ 5693 h 9972"/>
              <a:gd name="connsiteX7" fmla="*/ 255 w 10000"/>
              <a:gd name="connsiteY7" fmla="*/ 5602 h 9972"/>
              <a:gd name="connsiteX8" fmla="*/ 325 w 10000"/>
              <a:gd name="connsiteY8" fmla="*/ 5515 h 9972"/>
              <a:gd name="connsiteX9" fmla="*/ 413 w 10000"/>
              <a:gd name="connsiteY9" fmla="*/ 5574 h 9972"/>
              <a:gd name="connsiteX10" fmla="*/ 316 w 10000"/>
              <a:gd name="connsiteY10" fmla="*/ 5703 h 9972"/>
              <a:gd name="connsiteX11" fmla="*/ 419 w 10000"/>
              <a:gd name="connsiteY11" fmla="*/ 5706 h 9972"/>
              <a:gd name="connsiteX12" fmla="*/ 469 w 10000"/>
              <a:gd name="connsiteY12" fmla="*/ 5738 h 9972"/>
              <a:gd name="connsiteX13" fmla="*/ 337 w 10000"/>
              <a:gd name="connsiteY13" fmla="*/ 5779 h 9972"/>
              <a:gd name="connsiteX14" fmla="*/ 130 w 10000"/>
              <a:gd name="connsiteY14" fmla="*/ 5909 h 9972"/>
              <a:gd name="connsiteX15" fmla="*/ 497 w 10000"/>
              <a:gd name="connsiteY15" fmla="*/ 6013 h 9972"/>
              <a:gd name="connsiteX16" fmla="*/ 545 w 10000"/>
              <a:gd name="connsiteY16" fmla="*/ 6159 h 9972"/>
              <a:gd name="connsiteX17" fmla="*/ 419 w 10000"/>
              <a:gd name="connsiteY17" fmla="*/ 6373 h 9972"/>
              <a:gd name="connsiteX18" fmla="*/ 688 w 10000"/>
              <a:gd name="connsiteY18" fmla="*/ 6361 h 9972"/>
              <a:gd name="connsiteX19" fmla="*/ 709 w 10000"/>
              <a:gd name="connsiteY19" fmla="*/ 6521 h 9972"/>
              <a:gd name="connsiteX20" fmla="*/ 530 w 10000"/>
              <a:gd name="connsiteY20" fmla="*/ 6635 h 9972"/>
              <a:gd name="connsiteX21" fmla="*/ 560 w 10000"/>
              <a:gd name="connsiteY21" fmla="*/ 6846 h 9972"/>
              <a:gd name="connsiteX22" fmla="*/ 489 w 10000"/>
              <a:gd name="connsiteY22" fmla="*/ 7014 h 9972"/>
              <a:gd name="connsiteX23" fmla="*/ 703 w 10000"/>
              <a:gd name="connsiteY23" fmla="*/ 7030 h 9972"/>
              <a:gd name="connsiteX24" fmla="*/ 909 w 10000"/>
              <a:gd name="connsiteY24" fmla="*/ 7668 h 9972"/>
              <a:gd name="connsiteX25" fmla="*/ 1150 w 10000"/>
              <a:gd name="connsiteY25" fmla="*/ 7826 h 9972"/>
              <a:gd name="connsiteX26" fmla="*/ 1255 w 10000"/>
              <a:gd name="connsiteY26" fmla="*/ 8000 h 9972"/>
              <a:gd name="connsiteX27" fmla="*/ 1514 w 10000"/>
              <a:gd name="connsiteY27" fmla="*/ 8123 h 9972"/>
              <a:gd name="connsiteX28" fmla="*/ 1684 w 10000"/>
              <a:gd name="connsiteY28" fmla="*/ 8285 h 9972"/>
              <a:gd name="connsiteX29" fmla="*/ 1661 w 10000"/>
              <a:gd name="connsiteY29" fmla="*/ 8400 h 9972"/>
              <a:gd name="connsiteX30" fmla="*/ 1496 w 10000"/>
              <a:gd name="connsiteY30" fmla="*/ 8442 h 9972"/>
              <a:gd name="connsiteX31" fmla="*/ 1316 w 10000"/>
              <a:gd name="connsiteY31" fmla="*/ 8414 h 9972"/>
              <a:gd name="connsiteX32" fmla="*/ 1260 w 10000"/>
              <a:gd name="connsiteY32" fmla="*/ 8460 h 9972"/>
              <a:gd name="connsiteX33" fmla="*/ 1397 w 10000"/>
              <a:gd name="connsiteY33" fmla="*/ 8708 h 9972"/>
              <a:gd name="connsiteX34" fmla="*/ 1205 w 10000"/>
              <a:gd name="connsiteY34" fmla="*/ 8687 h 9972"/>
              <a:gd name="connsiteX35" fmla="*/ 1040 w 10000"/>
              <a:gd name="connsiteY35" fmla="*/ 8627 h 9972"/>
              <a:gd name="connsiteX36" fmla="*/ 1012 w 10000"/>
              <a:gd name="connsiteY36" fmla="*/ 8719 h 9972"/>
              <a:gd name="connsiteX37" fmla="*/ 1557 w 10000"/>
              <a:gd name="connsiteY37" fmla="*/ 9568 h 9972"/>
              <a:gd name="connsiteX38" fmla="*/ 1469 w 10000"/>
              <a:gd name="connsiteY38" fmla="*/ 9647 h 9972"/>
              <a:gd name="connsiteX39" fmla="*/ 1408 w 10000"/>
              <a:gd name="connsiteY39" fmla="*/ 9810 h 9972"/>
              <a:gd name="connsiteX40" fmla="*/ 1329 w 10000"/>
              <a:gd name="connsiteY40" fmla="*/ 9822 h 9972"/>
              <a:gd name="connsiteX41" fmla="*/ 1281 w 10000"/>
              <a:gd name="connsiteY41" fmla="*/ 9895 h 9972"/>
              <a:gd name="connsiteX42" fmla="*/ 1609 w 10000"/>
              <a:gd name="connsiteY42" fmla="*/ 9901 h 9972"/>
              <a:gd name="connsiteX43" fmla="*/ 1900 w 10000"/>
              <a:gd name="connsiteY43" fmla="*/ 9972 h 9972"/>
              <a:gd name="connsiteX44" fmla="*/ 2383 w 10000"/>
              <a:gd name="connsiteY44" fmla="*/ 9898 h 9972"/>
              <a:gd name="connsiteX45" fmla="*/ 2816 w 10000"/>
              <a:gd name="connsiteY45" fmla="*/ 9912 h 9972"/>
              <a:gd name="connsiteX46" fmla="*/ 6419 w 10000"/>
              <a:gd name="connsiteY46" fmla="*/ 8186 h 9972"/>
              <a:gd name="connsiteX47" fmla="*/ 6586 w 10000"/>
              <a:gd name="connsiteY47" fmla="*/ 7505 h 9972"/>
              <a:gd name="connsiteX48" fmla="*/ 6855 w 10000"/>
              <a:gd name="connsiteY48" fmla="*/ 7204 h 9972"/>
              <a:gd name="connsiteX49" fmla="*/ 6855 w 10000"/>
              <a:gd name="connsiteY49" fmla="*/ 7043 h 9972"/>
              <a:gd name="connsiteX50" fmla="*/ 6757 w 10000"/>
              <a:gd name="connsiteY50" fmla="*/ 6956 h 9972"/>
              <a:gd name="connsiteX51" fmla="*/ 6915 w 10000"/>
              <a:gd name="connsiteY51" fmla="*/ 6811 h 9972"/>
              <a:gd name="connsiteX52" fmla="*/ 6887 w 10000"/>
              <a:gd name="connsiteY52" fmla="*/ 6693 h 9972"/>
              <a:gd name="connsiteX53" fmla="*/ 6779 w 10000"/>
              <a:gd name="connsiteY53" fmla="*/ 6592 h 9972"/>
              <a:gd name="connsiteX54" fmla="*/ 6757 w 10000"/>
              <a:gd name="connsiteY54" fmla="*/ 6514 h 9972"/>
              <a:gd name="connsiteX55" fmla="*/ 6785 w 10000"/>
              <a:gd name="connsiteY55" fmla="*/ 6457 h 9972"/>
              <a:gd name="connsiteX56" fmla="*/ 6931 w 10000"/>
              <a:gd name="connsiteY56" fmla="*/ 6503 h 9972"/>
              <a:gd name="connsiteX57" fmla="*/ 7045 w 10000"/>
              <a:gd name="connsiteY57" fmla="*/ 6500 h 9972"/>
              <a:gd name="connsiteX58" fmla="*/ 6983 w 10000"/>
              <a:gd name="connsiteY58" fmla="*/ 6404 h 9972"/>
              <a:gd name="connsiteX59" fmla="*/ 7003 w 10000"/>
              <a:gd name="connsiteY59" fmla="*/ 6346 h 9972"/>
              <a:gd name="connsiteX60" fmla="*/ 7089 w 10000"/>
              <a:gd name="connsiteY60" fmla="*/ 6265 h 9972"/>
              <a:gd name="connsiteX61" fmla="*/ 7074 w 10000"/>
              <a:gd name="connsiteY61" fmla="*/ 6198 h 9972"/>
              <a:gd name="connsiteX62" fmla="*/ 7152 w 10000"/>
              <a:gd name="connsiteY62" fmla="*/ 5971 h 9972"/>
              <a:gd name="connsiteX63" fmla="*/ 7130 w 10000"/>
              <a:gd name="connsiteY63" fmla="*/ 5902 h 9972"/>
              <a:gd name="connsiteX64" fmla="*/ 6729 w 10000"/>
              <a:gd name="connsiteY64" fmla="*/ 5729 h 9972"/>
              <a:gd name="connsiteX65" fmla="*/ 6785 w 10000"/>
              <a:gd name="connsiteY65" fmla="*/ 5723 h 9972"/>
              <a:gd name="connsiteX66" fmla="*/ 6998 w 10000"/>
              <a:gd name="connsiteY66" fmla="*/ 5768 h 9972"/>
              <a:gd name="connsiteX67" fmla="*/ 7230 w 10000"/>
              <a:gd name="connsiteY67" fmla="*/ 5751 h 9972"/>
              <a:gd name="connsiteX68" fmla="*/ 7295 w 10000"/>
              <a:gd name="connsiteY68" fmla="*/ 5689 h 9972"/>
              <a:gd name="connsiteX69" fmla="*/ 7074 w 10000"/>
              <a:gd name="connsiteY69" fmla="*/ 5571 h 9972"/>
              <a:gd name="connsiteX70" fmla="*/ 6414 w 10000"/>
              <a:gd name="connsiteY70" fmla="*/ 5495 h 9972"/>
              <a:gd name="connsiteX71" fmla="*/ 6458 w 10000"/>
              <a:gd name="connsiteY71" fmla="*/ 5459 h 9972"/>
              <a:gd name="connsiteX72" fmla="*/ 6998 w 10000"/>
              <a:gd name="connsiteY72" fmla="*/ 5434 h 9972"/>
              <a:gd name="connsiteX73" fmla="*/ 7295 w 10000"/>
              <a:gd name="connsiteY73" fmla="*/ 5506 h 9972"/>
              <a:gd name="connsiteX74" fmla="*/ 7466 w 10000"/>
              <a:gd name="connsiteY74" fmla="*/ 5459 h 9972"/>
              <a:gd name="connsiteX75" fmla="*/ 7529 w 10000"/>
              <a:gd name="connsiteY75" fmla="*/ 5337 h 9972"/>
              <a:gd name="connsiteX76" fmla="*/ 7840 w 10000"/>
              <a:gd name="connsiteY76" fmla="*/ 5337 h 9972"/>
              <a:gd name="connsiteX77" fmla="*/ 8261 w 10000"/>
              <a:gd name="connsiteY77" fmla="*/ 5093 h 9972"/>
              <a:gd name="connsiteX78" fmla="*/ 8275 w 10000"/>
              <a:gd name="connsiteY78" fmla="*/ 4928 h 9972"/>
              <a:gd name="connsiteX79" fmla="*/ 8453 w 10000"/>
              <a:gd name="connsiteY79" fmla="*/ 4965 h 9972"/>
              <a:gd name="connsiteX80" fmla="*/ 8446 w 10000"/>
              <a:gd name="connsiteY80" fmla="*/ 5130 h 9972"/>
              <a:gd name="connsiteX81" fmla="*/ 8727 w 10000"/>
              <a:gd name="connsiteY81" fmla="*/ 5118 h 9972"/>
              <a:gd name="connsiteX82" fmla="*/ 8913 w 10000"/>
              <a:gd name="connsiteY82" fmla="*/ 4948 h 9972"/>
              <a:gd name="connsiteX83" fmla="*/ 9258 w 10000"/>
              <a:gd name="connsiteY83" fmla="*/ 4795 h 9972"/>
              <a:gd name="connsiteX84" fmla="*/ 9203 w 10000"/>
              <a:gd name="connsiteY84" fmla="*/ 4621 h 9972"/>
              <a:gd name="connsiteX85" fmla="*/ 9306 w 10000"/>
              <a:gd name="connsiteY85" fmla="*/ 4690 h 9972"/>
              <a:gd name="connsiteX86" fmla="*/ 9464 w 10000"/>
              <a:gd name="connsiteY86" fmla="*/ 4690 h 9972"/>
              <a:gd name="connsiteX87" fmla="*/ 9464 w 10000"/>
              <a:gd name="connsiteY87" fmla="*/ 4609 h 9972"/>
              <a:gd name="connsiteX88" fmla="*/ 9611 w 10000"/>
              <a:gd name="connsiteY88" fmla="*/ 4550 h 9972"/>
              <a:gd name="connsiteX89" fmla="*/ 9592 w 10000"/>
              <a:gd name="connsiteY89" fmla="*/ 4487 h 9972"/>
              <a:gd name="connsiteX90" fmla="*/ 8350 w 10000"/>
              <a:gd name="connsiteY90" fmla="*/ 4611 h 9972"/>
              <a:gd name="connsiteX91" fmla="*/ 8058 w 10000"/>
              <a:gd name="connsiteY91" fmla="*/ 4576 h 9972"/>
              <a:gd name="connsiteX92" fmla="*/ 7942 w 10000"/>
              <a:gd name="connsiteY92" fmla="*/ 4621 h 9972"/>
              <a:gd name="connsiteX93" fmla="*/ 7903 w 10000"/>
              <a:gd name="connsiteY93" fmla="*/ 4532 h 9972"/>
              <a:gd name="connsiteX94" fmla="*/ 7765 w 10000"/>
              <a:gd name="connsiteY94" fmla="*/ 4456 h 9972"/>
              <a:gd name="connsiteX95" fmla="*/ 7213 w 10000"/>
              <a:gd name="connsiteY95" fmla="*/ 4297 h 9972"/>
              <a:gd name="connsiteX96" fmla="*/ 6887 w 10000"/>
              <a:gd name="connsiteY96" fmla="*/ 4324 h 9972"/>
              <a:gd name="connsiteX97" fmla="*/ 6757 w 10000"/>
              <a:gd name="connsiteY97" fmla="*/ 4278 h 9972"/>
              <a:gd name="connsiteX98" fmla="*/ 6894 w 10000"/>
              <a:gd name="connsiteY98" fmla="*/ 4240 h 9972"/>
              <a:gd name="connsiteX99" fmla="*/ 6998 w 10000"/>
              <a:gd name="connsiteY99" fmla="*/ 4156 h 9972"/>
              <a:gd name="connsiteX100" fmla="*/ 7152 w 10000"/>
              <a:gd name="connsiteY100" fmla="*/ 4182 h 9972"/>
              <a:gd name="connsiteX101" fmla="*/ 7335 w 10000"/>
              <a:gd name="connsiteY101" fmla="*/ 4161 h 9972"/>
              <a:gd name="connsiteX102" fmla="*/ 7611 w 10000"/>
              <a:gd name="connsiteY102" fmla="*/ 4188 h 9972"/>
              <a:gd name="connsiteX103" fmla="*/ 7645 w 10000"/>
              <a:gd name="connsiteY103" fmla="*/ 4177 h 9972"/>
              <a:gd name="connsiteX104" fmla="*/ 7859 w 10000"/>
              <a:gd name="connsiteY104" fmla="*/ 4305 h 9972"/>
              <a:gd name="connsiteX105" fmla="*/ 8017 w 10000"/>
              <a:gd name="connsiteY105" fmla="*/ 4257 h 9972"/>
              <a:gd name="connsiteX106" fmla="*/ 8032 w 10000"/>
              <a:gd name="connsiteY106" fmla="*/ 4214 h 9972"/>
              <a:gd name="connsiteX107" fmla="*/ 8176 w 10000"/>
              <a:gd name="connsiteY107" fmla="*/ 4290 h 9972"/>
              <a:gd name="connsiteX108" fmla="*/ 8369 w 10000"/>
              <a:gd name="connsiteY108" fmla="*/ 4331 h 9972"/>
              <a:gd name="connsiteX109" fmla="*/ 8446 w 10000"/>
              <a:gd name="connsiteY109" fmla="*/ 4255 h 9972"/>
              <a:gd name="connsiteX110" fmla="*/ 8507 w 10000"/>
              <a:gd name="connsiteY110" fmla="*/ 4297 h 9972"/>
              <a:gd name="connsiteX111" fmla="*/ 8596 w 10000"/>
              <a:gd name="connsiteY111" fmla="*/ 4446 h 9972"/>
              <a:gd name="connsiteX112" fmla="*/ 8782 w 10000"/>
              <a:gd name="connsiteY112" fmla="*/ 4478 h 9972"/>
              <a:gd name="connsiteX113" fmla="*/ 9542 w 10000"/>
              <a:gd name="connsiteY113" fmla="*/ 4262 h 9972"/>
              <a:gd name="connsiteX114" fmla="*/ 9914 w 10000"/>
              <a:gd name="connsiteY114" fmla="*/ 3962 h 9972"/>
              <a:gd name="connsiteX115" fmla="*/ 10000 w 10000"/>
              <a:gd name="connsiteY115" fmla="*/ 3744 h 9972"/>
              <a:gd name="connsiteX116" fmla="*/ 9866 w 10000"/>
              <a:gd name="connsiteY116" fmla="*/ 3546 h 9972"/>
              <a:gd name="connsiteX117" fmla="*/ 9582 w 10000"/>
              <a:gd name="connsiteY117" fmla="*/ 3428 h 9972"/>
              <a:gd name="connsiteX118" fmla="*/ 9382 w 10000"/>
              <a:gd name="connsiteY118" fmla="*/ 3233 h 9972"/>
              <a:gd name="connsiteX119" fmla="*/ 9569 w 10000"/>
              <a:gd name="connsiteY119" fmla="*/ 3227 h 9972"/>
              <a:gd name="connsiteX120" fmla="*/ 9555 w 10000"/>
              <a:gd name="connsiteY120" fmla="*/ 3180 h 9972"/>
              <a:gd name="connsiteX121" fmla="*/ 9068 w 10000"/>
              <a:gd name="connsiteY121" fmla="*/ 3045 h 9972"/>
              <a:gd name="connsiteX122" fmla="*/ 9047 w 10000"/>
              <a:gd name="connsiteY122" fmla="*/ 2920 h 9972"/>
              <a:gd name="connsiteX123" fmla="*/ 8953 w 10000"/>
              <a:gd name="connsiteY123" fmla="*/ 2789 h 9972"/>
              <a:gd name="connsiteX124" fmla="*/ 8569 w 10000"/>
              <a:gd name="connsiteY124" fmla="*/ 2813 h 9972"/>
              <a:gd name="connsiteX125" fmla="*/ 8431 w 10000"/>
              <a:gd name="connsiteY125" fmla="*/ 2673 h 9972"/>
              <a:gd name="connsiteX126" fmla="*/ 8350 w 10000"/>
              <a:gd name="connsiteY126" fmla="*/ 2665 h 9972"/>
              <a:gd name="connsiteX127" fmla="*/ 8350 w 10000"/>
              <a:gd name="connsiteY127" fmla="*/ 2726 h 9972"/>
              <a:gd name="connsiteX128" fmla="*/ 8176 w 10000"/>
              <a:gd name="connsiteY128" fmla="*/ 2959 h 9972"/>
              <a:gd name="connsiteX129" fmla="*/ 7990 w 10000"/>
              <a:gd name="connsiteY129" fmla="*/ 3096 h 9972"/>
              <a:gd name="connsiteX130" fmla="*/ 7401 w 10000"/>
              <a:gd name="connsiteY130" fmla="*/ 3329 h 9972"/>
              <a:gd name="connsiteX131" fmla="*/ 7198 w 10000"/>
              <a:gd name="connsiteY131" fmla="*/ 3322 h 9972"/>
              <a:gd name="connsiteX132" fmla="*/ 6915 w 10000"/>
              <a:gd name="connsiteY132" fmla="*/ 3359 h 9972"/>
              <a:gd name="connsiteX133" fmla="*/ 6757 w 10000"/>
              <a:gd name="connsiteY133" fmla="*/ 3322 h 9972"/>
              <a:gd name="connsiteX134" fmla="*/ 6965 w 10000"/>
              <a:gd name="connsiteY134" fmla="*/ 3255 h 9972"/>
              <a:gd name="connsiteX135" fmla="*/ 7235 w 10000"/>
              <a:gd name="connsiteY135" fmla="*/ 3227 h 9972"/>
              <a:gd name="connsiteX136" fmla="*/ 7455 w 10000"/>
              <a:gd name="connsiteY136" fmla="*/ 3118 h 9972"/>
              <a:gd name="connsiteX137" fmla="*/ 7674 w 10000"/>
              <a:gd name="connsiteY137" fmla="*/ 3066 h 9972"/>
              <a:gd name="connsiteX138" fmla="*/ 8082 w 10000"/>
              <a:gd name="connsiteY138" fmla="*/ 2874 h 9972"/>
              <a:gd name="connsiteX139" fmla="*/ 8157 w 10000"/>
              <a:gd name="connsiteY139" fmla="*/ 2750 h 9972"/>
              <a:gd name="connsiteX140" fmla="*/ 8165 w 10000"/>
              <a:gd name="connsiteY140" fmla="*/ 2589 h 9972"/>
              <a:gd name="connsiteX141" fmla="*/ 7978 w 10000"/>
              <a:gd name="connsiteY141" fmla="*/ 2562 h 9972"/>
              <a:gd name="connsiteX142" fmla="*/ 8058 w 10000"/>
              <a:gd name="connsiteY142" fmla="*/ 2463 h 9972"/>
              <a:gd name="connsiteX143" fmla="*/ 8087 w 10000"/>
              <a:gd name="connsiteY143" fmla="*/ 2338 h 9972"/>
              <a:gd name="connsiteX144" fmla="*/ 8007 w 10000"/>
              <a:gd name="connsiteY144" fmla="*/ 2222 h 9972"/>
              <a:gd name="connsiteX145" fmla="*/ 7450 w 10000"/>
              <a:gd name="connsiteY145" fmla="*/ 2382 h 9972"/>
              <a:gd name="connsiteX146" fmla="*/ 6694 w 10000"/>
              <a:gd name="connsiteY146" fmla="*/ 2311 h 9972"/>
              <a:gd name="connsiteX147" fmla="*/ 6304 w 10000"/>
              <a:gd name="connsiteY147" fmla="*/ 1864 h 9972"/>
              <a:gd name="connsiteX148" fmla="*/ 5294 w 10000"/>
              <a:gd name="connsiteY148" fmla="*/ 1779 h 9972"/>
              <a:gd name="connsiteX149" fmla="*/ 4505 w 10000"/>
              <a:gd name="connsiteY149" fmla="*/ 1407 h 9972"/>
              <a:gd name="connsiteX150" fmla="*/ 3730 w 10000"/>
              <a:gd name="connsiteY150" fmla="*/ 962 h 9972"/>
              <a:gd name="connsiteX151" fmla="*/ 3154 w 10000"/>
              <a:gd name="connsiteY151" fmla="*/ 143 h 9972"/>
              <a:gd name="connsiteX152" fmla="*/ 2375 w 10000"/>
              <a:gd name="connsiteY152" fmla="*/ 0 h 9972"/>
              <a:gd name="connsiteX153" fmla="*/ 2226 w 10000"/>
              <a:gd name="connsiteY153" fmla="*/ 772 h 9972"/>
              <a:gd name="connsiteX154" fmla="*/ 2375 w 10000"/>
              <a:gd name="connsiteY154" fmla="*/ 967 h 9972"/>
              <a:gd name="connsiteX155" fmla="*/ 2791 w 10000"/>
              <a:gd name="connsiteY155" fmla="*/ 1185 h 9972"/>
              <a:gd name="connsiteX156" fmla="*/ 2808 w 10000"/>
              <a:gd name="connsiteY156" fmla="*/ 1446 h 9972"/>
              <a:gd name="connsiteX157" fmla="*/ 2632 w 10000"/>
              <a:gd name="connsiteY157" fmla="*/ 1665 h 9972"/>
              <a:gd name="connsiteX158" fmla="*/ 2375 w 10000"/>
              <a:gd name="connsiteY158" fmla="*/ 1798 h 9972"/>
              <a:gd name="connsiteX159" fmla="*/ 2039 w 10000"/>
              <a:gd name="connsiteY159" fmla="*/ 1851 h 9972"/>
              <a:gd name="connsiteX160" fmla="*/ 1950 w 10000"/>
              <a:gd name="connsiteY160" fmla="*/ 1929 h 9972"/>
              <a:gd name="connsiteX161" fmla="*/ 2148 w 10000"/>
              <a:gd name="connsiteY161" fmla="*/ 2110 h 9972"/>
              <a:gd name="connsiteX162" fmla="*/ 2261 w 10000"/>
              <a:gd name="connsiteY162" fmla="*/ 2541 h 9972"/>
              <a:gd name="connsiteX163" fmla="*/ 2005 w 10000"/>
              <a:gd name="connsiteY163" fmla="*/ 2910 h 9972"/>
              <a:gd name="connsiteX164" fmla="*/ 2094 w 10000"/>
              <a:gd name="connsiteY164" fmla="*/ 3022 h 9972"/>
              <a:gd name="connsiteX165" fmla="*/ 2012 w 10000"/>
              <a:gd name="connsiteY165" fmla="*/ 3214 h 9972"/>
              <a:gd name="connsiteX166" fmla="*/ 1850 w 10000"/>
              <a:gd name="connsiteY166" fmla="*/ 3349 h 9972"/>
              <a:gd name="connsiteX167" fmla="*/ 1199 w 10000"/>
              <a:gd name="connsiteY167" fmla="*/ 3450 h 9972"/>
              <a:gd name="connsiteX168" fmla="*/ 1158 w 10000"/>
              <a:gd name="connsiteY168" fmla="*/ 3629 h 9972"/>
              <a:gd name="connsiteX169" fmla="*/ 808 w 10000"/>
              <a:gd name="connsiteY169" fmla="*/ 3893 h 9972"/>
              <a:gd name="connsiteX170" fmla="*/ 854 w 10000"/>
              <a:gd name="connsiteY170" fmla="*/ 4276 h 9972"/>
              <a:gd name="connsiteX171" fmla="*/ 560 w 10000"/>
              <a:gd name="connsiteY171" fmla="*/ 4766 h 9972"/>
              <a:gd name="connsiteX172" fmla="*/ 358 w 10000"/>
              <a:gd name="connsiteY172" fmla="*/ 4822 h 9972"/>
              <a:gd name="connsiteX173" fmla="*/ 275 w 10000"/>
              <a:gd name="connsiteY173" fmla="*/ 4706 h 9972"/>
              <a:gd name="connsiteX174" fmla="*/ 174 w 10000"/>
              <a:gd name="connsiteY174" fmla="*/ 4882 h 9972"/>
              <a:gd name="connsiteX175" fmla="*/ 239 w 10000"/>
              <a:gd name="connsiteY175" fmla="*/ 4578 h 9972"/>
              <a:gd name="connsiteX176" fmla="*/ 197 w 10000"/>
              <a:gd name="connsiteY176" fmla="*/ 4521 h 9972"/>
              <a:gd name="connsiteX0" fmla="*/ 197 w 10000"/>
              <a:gd name="connsiteY0" fmla="*/ 4534 h 10000"/>
              <a:gd name="connsiteX1" fmla="*/ 0 w 10000"/>
              <a:gd name="connsiteY1" fmla="*/ 4692 h 10000"/>
              <a:gd name="connsiteX2" fmla="*/ 0 w 10000"/>
              <a:gd name="connsiteY2" fmla="*/ 5474 h 10000"/>
              <a:gd name="connsiteX3" fmla="*/ 109 w 10000"/>
              <a:gd name="connsiteY3" fmla="*/ 5495 h 10000"/>
              <a:gd name="connsiteX4" fmla="*/ 134 w 10000"/>
              <a:gd name="connsiteY4" fmla="*/ 5556 h 10000"/>
              <a:gd name="connsiteX5" fmla="*/ 130 w 10000"/>
              <a:gd name="connsiteY5" fmla="*/ 5663 h 10000"/>
              <a:gd name="connsiteX6" fmla="*/ 89 w 10000"/>
              <a:gd name="connsiteY6" fmla="*/ 5709 h 10000"/>
              <a:gd name="connsiteX7" fmla="*/ 255 w 10000"/>
              <a:gd name="connsiteY7" fmla="*/ 5618 h 10000"/>
              <a:gd name="connsiteX8" fmla="*/ 325 w 10000"/>
              <a:gd name="connsiteY8" fmla="*/ 5530 h 10000"/>
              <a:gd name="connsiteX9" fmla="*/ 413 w 10000"/>
              <a:gd name="connsiteY9" fmla="*/ 5590 h 10000"/>
              <a:gd name="connsiteX10" fmla="*/ 316 w 10000"/>
              <a:gd name="connsiteY10" fmla="*/ 5719 h 10000"/>
              <a:gd name="connsiteX11" fmla="*/ 419 w 10000"/>
              <a:gd name="connsiteY11" fmla="*/ 5722 h 10000"/>
              <a:gd name="connsiteX12" fmla="*/ 469 w 10000"/>
              <a:gd name="connsiteY12" fmla="*/ 5754 h 10000"/>
              <a:gd name="connsiteX13" fmla="*/ 337 w 10000"/>
              <a:gd name="connsiteY13" fmla="*/ 5795 h 10000"/>
              <a:gd name="connsiteX14" fmla="*/ 130 w 10000"/>
              <a:gd name="connsiteY14" fmla="*/ 5926 h 10000"/>
              <a:gd name="connsiteX15" fmla="*/ 497 w 10000"/>
              <a:gd name="connsiteY15" fmla="*/ 6030 h 10000"/>
              <a:gd name="connsiteX16" fmla="*/ 545 w 10000"/>
              <a:gd name="connsiteY16" fmla="*/ 6176 h 10000"/>
              <a:gd name="connsiteX17" fmla="*/ 419 w 10000"/>
              <a:gd name="connsiteY17" fmla="*/ 6391 h 10000"/>
              <a:gd name="connsiteX18" fmla="*/ 688 w 10000"/>
              <a:gd name="connsiteY18" fmla="*/ 6379 h 10000"/>
              <a:gd name="connsiteX19" fmla="*/ 709 w 10000"/>
              <a:gd name="connsiteY19" fmla="*/ 6539 h 10000"/>
              <a:gd name="connsiteX20" fmla="*/ 530 w 10000"/>
              <a:gd name="connsiteY20" fmla="*/ 6654 h 10000"/>
              <a:gd name="connsiteX21" fmla="*/ 560 w 10000"/>
              <a:gd name="connsiteY21" fmla="*/ 6865 h 10000"/>
              <a:gd name="connsiteX22" fmla="*/ 489 w 10000"/>
              <a:gd name="connsiteY22" fmla="*/ 7034 h 10000"/>
              <a:gd name="connsiteX23" fmla="*/ 703 w 10000"/>
              <a:gd name="connsiteY23" fmla="*/ 7050 h 10000"/>
              <a:gd name="connsiteX24" fmla="*/ 909 w 10000"/>
              <a:gd name="connsiteY24" fmla="*/ 7690 h 10000"/>
              <a:gd name="connsiteX25" fmla="*/ 1150 w 10000"/>
              <a:gd name="connsiteY25" fmla="*/ 7848 h 10000"/>
              <a:gd name="connsiteX26" fmla="*/ 1255 w 10000"/>
              <a:gd name="connsiteY26" fmla="*/ 8022 h 10000"/>
              <a:gd name="connsiteX27" fmla="*/ 1514 w 10000"/>
              <a:gd name="connsiteY27" fmla="*/ 8146 h 10000"/>
              <a:gd name="connsiteX28" fmla="*/ 1684 w 10000"/>
              <a:gd name="connsiteY28" fmla="*/ 8308 h 10000"/>
              <a:gd name="connsiteX29" fmla="*/ 1661 w 10000"/>
              <a:gd name="connsiteY29" fmla="*/ 8424 h 10000"/>
              <a:gd name="connsiteX30" fmla="*/ 1496 w 10000"/>
              <a:gd name="connsiteY30" fmla="*/ 8466 h 10000"/>
              <a:gd name="connsiteX31" fmla="*/ 1316 w 10000"/>
              <a:gd name="connsiteY31" fmla="*/ 8438 h 10000"/>
              <a:gd name="connsiteX32" fmla="*/ 1260 w 10000"/>
              <a:gd name="connsiteY32" fmla="*/ 8484 h 10000"/>
              <a:gd name="connsiteX33" fmla="*/ 1397 w 10000"/>
              <a:gd name="connsiteY33" fmla="*/ 8732 h 10000"/>
              <a:gd name="connsiteX34" fmla="*/ 1205 w 10000"/>
              <a:gd name="connsiteY34" fmla="*/ 8711 h 10000"/>
              <a:gd name="connsiteX35" fmla="*/ 1040 w 10000"/>
              <a:gd name="connsiteY35" fmla="*/ 8651 h 10000"/>
              <a:gd name="connsiteX36" fmla="*/ 1012 w 10000"/>
              <a:gd name="connsiteY36" fmla="*/ 8743 h 10000"/>
              <a:gd name="connsiteX37" fmla="*/ 1557 w 10000"/>
              <a:gd name="connsiteY37" fmla="*/ 9595 h 10000"/>
              <a:gd name="connsiteX38" fmla="*/ 1469 w 10000"/>
              <a:gd name="connsiteY38" fmla="*/ 9674 h 10000"/>
              <a:gd name="connsiteX39" fmla="*/ 1408 w 10000"/>
              <a:gd name="connsiteY39" fmla="*/ 9838 h 10000"/>
              <a:gd name="connsiteX40" fmla="*/ 1329 w 10000"/>
              <a:gd name="connsiteY40" fmla="*/ 9850 h 10000"/>
              <a:gd name="connsiteX41" fmla="*/ 1281 w 10000"/>
              <a:gd name="connsiteY41" fmla="*/ 9923 h 10000"/>
              <a:gd name="connsiteX42" fmla="*/ 1609 w 10000"/>
              <a:gd name="connsiteY42" fmla="*/ 9929 h 10000"/>
              <a:gd name="connsiteX43" fmla="*/ 1900 w 10000"/>
              <a:gd name="connsiteY43" fmla="*/ 10000 h 10000"/>
              <a:gd name="connsiteX44" fmla="*/ 2383 w 10000"/>
              <a:gd name="connsiteY44" fmla="*/ 9926 h 10000"/>
              <a:gd name="connsiteX45" fmla="*/ 6419 w 10000"/>
              <a:gd name="connsiteY45" fmla="*/ 8209 h 10000"/>
              <a:gd name="connsiteX46" fmla="*/ 6586 w 10000"/>
              <a:gd name="connsiteY46" fmla="*/ 7526 h 10000"/>
              <a:gd name="connsiteX47" fmla="*/ 6855 w 10000"/>
              <a:gd name="connsiteY47" fmla="*/ 7224 h 10000"/>
              <a:gd name="connsiteX48" fmla="*/ 6855 w 10000"/>
              <a:gd name="connsiteY48" fmla="*/ 7063 h 10000"/>
              <a:gd name="connsiteX49" fmla="*/ 6757 w 10000"/>
              <a:gd name="connsiteY49" fmla="*/ 6976 h 10000"/>
              <a:gd name="connsiteX50" fmla="*/ 6915 w 10000"/>
              <a:gd name="connsiteY50" fmla="*/ 6830 h 10000"/>
              <a:gd name="connsiteX51" fmla="*/ 6887 w 10000"/>
              <a:gd name="connsiteY51" fmla="*/ 6712 h 10000"/>
              <a:gd name="connsiteX52" fmla="*/ 6779 w 10000"/>
              <a:gd name="connsiteY52" fmla="*/ 6611 h 10000"/>
              <a:gd name="connsiteX53" fmla="*/ 6757 w 10000"/>
              <a:gd name="connsiteY53" fmla="*/ 6532 h 10000"/>
              <a:gd name="connsiteX54" fmla="*/ 6785 w 10000"/>
              <a:gd name="connsiteY54" fmla="*/ 6475 h 10000"/>
              <a:gd name="connsiteX55" fmla="*/ 6931 w 10000"/>
              <a:gd name="connsiteY55" fmla="*/ 6521 h 10000"/>
              <a:gd name="connsiteX56" fmla="*/ 7045 w 10000"/>
              <a:gd name="connsiteY56" fmla="*/ 6518 h 10000"/>
              <a:gd name="connsiteX57" fmla="*/ 6983 w 10000"/>
              <a:gd name="connsiteY57" fmla="*/ 6422 h 10000"/>
              <a:gd name="connsiteX58" fmla="*/ 7003 w 10000"/>
              <a:gd name="connsiteY58" fmla="*/ 6364 h 10000"/>
              <a:gd name="connsiteX59" fmla="*/ 7089 w 10000"/>
              <a:gd name="connsiteY59" fmla="*/ 6283 h 10000"/>
              <a:gd name="connsiteX60" fmla="*/ 7074 w 10000"/>
              <a:gd name="connsiteY60" fmla="*/ 6215 h 10000"/>
              <a:gd name="connsiteX61" fmla="*/ 7152 w 10000"/>
              <a:gd name="connsiteY61" fmla="*/ 5988 h 10000"/>
              <a:gd name="connsiteX62" fmla="*/ 7130 w 10000"/>
              <a:gd name="connsiteY62" fmla="*/ 5919 h 10000"/>
              <a:gd name="connsiteX63" fmla="*/ 6729 w 10000"/>
              <a:gd name="connsiteY63" fmla="*/ 5745 h 10000"/>
              <a:gd name="connsiteX64" fmla="*/ 6785 w 10000"/>
              <a:gd name="connsiteY64" fmla="*/ 5739 h 10000"/>
              <a:gd name="connsiteX65" fmla="*/ 6998 w 10000"/>
              <a:gd name="connsiteY65" fmla="*/ 5784 h 10000"/>
              <a:gd name="connsiteX66" fmla="*/ 7230 w 10000"/>
              <a:gd name="connsiteY66" fmla="*/ 5767 h 10000"/>
              <a:gd name="connsiteX67" fmla="*/ 7295 w 10000"/>
              <a:gd name="connsiteY67" fmla="*/ 5705 h 10000"/>
              <a:gd name="connsiteX68" fmla="*/ 7074 w 10000"/>
              <a:gd name="connsiteY68" fmla="*/ 5587 h 10000"/>
              <a:gd name="connsiteX69" fmla="*/ 6414 w 10000"/>
              <a:gd name="connsiteY69" fmla="*/ 5510 h 10000"/>
              <a:gd name="connsiteX70" fmla="*/ 6458 w 10000"/>
              <a:gd name="connsiteY70" fmla="*/ 5474 h 10000"/>
              <a:gd name="connsiteX71" fmla="*/ 6998 w 10000"/>
              <a:gd name="connsiteY71" fmla="*/ 5449 h 10000"/>
              <a:gd name="connsiteX72" fmla="*/ 7295 w 10000"/>
              <a:gd name="connsiteY72" fmla="*/ 5521 h 10000"/>
              <a:gd name="connsiteX73" fmla="*/ 7466 w 10000"/>
              <a:gd name="connsiteY73" fmla="*/ 5474 h 10000"/>
              <a:gd name="connsiteX74" fmla="*/ 7529 w 10000"/>
              <a:gd name="connsiteY74" fmla="*/ 5352 h 10000"/>
              <a:gd name="connsiteX75" fmla="*/ 7840 w 10000"/>
              <a:gd name="connsiteY75" fmla="*/ 5352 h 10000"/>
              <a:gd name="connsiteX76" fmla="*/ 8261 w 10000"/>
              <a:gd name="connsiteY76" fmla="*/ 5107 h 10000"/>
              <a:gd name="connsiteX77" fmla="*/ 8275 w 10000"/>
              <a:gd name="connsiteY77" fmla="*/ 4942 h 10000"/>
              <a:gd name="connsiteX78" fmla="*/ 8453 w 10000"/>
              <a:gd name="connsiteY78" fmla="*/ 4979 h 10000"/>
              <a:gd name="connsiteX79" fmla="*/ 8446 w 10000"/>
              <a:gd name="connsiteY79" fmla="*/ 5144 h 10000"/>
              <a:gd name="connsiteX80" fmla="*/ 8727 w 10000"/>
              <a:gd name="connsiteY80" fmla="*/ 5132 h 10000"/>
              <a:gd name="connsiteX81" fmla="*/ 8913 w 10000"/>
              <a:gd name="connsiteY81" fmla="*/ 4962 h 10000"/>
              <a:gd name="connsiteX82" fmla="*/ 9258 w 10000"/>
              <a:gd name="connsiteY82" fmla="*/ 4808 h 10000"/>
              <a:gd name="connsiteX83" fmla="*/ 9203 w 10000"/>
              <a:gd name="connsiteY83" fmla="*/ 4634 h 10000"/>
              <a:gd name="connsiteX84" fmla="*/ 9306 w 10000"/>
              <a:gd name="connsiteY84" fmla="*/ 4703 h 10000"/>
              <a:gd name="connsiteX85" fmla="*/ 9464 w 10000"/>
              <a:gd name="connsiteY85" fmla="*/ 4703 h 10000"/>
              <a:gd name="connsiteX86" fmla="*/ 9464 w 10000"/>
              <a:gd name="connsiteY86" fmla="*/ 4622 h 10000"/>
              <a:gd name="connsiteX87" fmla="*/ 9611 w 10000"/>
              <a:gd name="connsiteY87" fmla="*/ 4563 h 10000"/>
              <a:gd name="connsiteX88" fmla="*/ 9592 w 10000"/>
              <a:gd name="connsiteY88" fmla="*/ 4500 h 10000"/>
              <a:gd name="connsiteX89" fmla="*/ 8350 w 10000"/>
              <a:gd name="connsiteY89" fmla="*/ 4624 h 10000"/>
              <a:gd name="connsiteX90" fmla="*/ 8058 w 10000"/>
              <a:gd name="connsiteY90" fmla="*/ 4589 h 10000"/>
              <a:gd name="connsiteX91" fmla="*/ 7942 w 10000"/>
              <a:gd name="connsiteY91" fmla="*/ 4634 h 10000"/>
              <a:gd name="connsiteX92" fmla="*/ 7903 w 10000"/>
              <a:gd name="connsiteY92" fmla="*/ 4545 h 10000"/>
              <a:gd name="connsiteX93" fmla="*/ 7765 w 10000"/>
              <a:gd name="connsiteY93" fmla="*/ 4469 h 10000"/>
              <a:gd name="connsiteX94" fmla="*/ 7213 w 10000"/>
              <a:gd name="connsiteY94" fmla="*/ 4309 h 10000"/>
              <a:gd name="connsiteX95" fmla="*/ 6887 w 10000"/>
              <a:gd name="connsiteY95" fmla="*/ 4336 h 10000"/>
              <a:gd name="connsiteX96" fmla="*/ 6757 w 10000"/>
              <a:gd name="connsiteY96" fmla="*/ 4290 h 10000"/>
              <a:gd name="connsiteX97" fmla="*/ 6894 w 10000"/>
              <a:gd name="connsiteY97" fmla="*/ 4252 h 10000"/>
              <a:gd name="connsiteX98" fmla="*/ 6998 w 10000"/>
              <a:gd name="connsiteY98" fmla="*/ 4168 h 10000"/>
              <a:gd name="connsiteX99" fmla="*/ 7152 w 10000"/>
              <a:gd name="connsiteY99" fmla="*/ 4194 h 10000"/>
              <a:gd name="connsiteX100" fmla="*/ 7335 w 10000"/>
              <a:gd name="connsiteY100" fmla="*/ 4173 h 10000"/>
              <a:gd name="connsiteX101" fmla="*/ 7611 w 10000"/>
              <a:gd name="connsiteY101" fmla="*/ 4200 h 10000"/>
              <a:gd name="connsiteX102" fmla="*/ 7645 w 10000"/>
              <a:gd name="connsiteY102" fmla="*/ 4189 h 10000"/>
              <a:gd name="connsiteX103" fmla="*/ 7859 w 10000"/>
              <a:gd name="connsiteY103" fmla="*/ 4317 h 10000"/>
              <a:gd name="connsiteX104" fmla="*/ 8017 w 10000"/>
              <a:gd name="connsiteY104" fmla="*/ 4269 h 10000"/>
              <a:gd name="connsiteX105" fmla="*/ 8032 w 10000"/>
              <a:gd name="connsiteY105" fmla="*/ 4226 h 10000"/>
              <a:gd name="connsiteX106" fmla="*/ 8176 w 10000"/>
              <a:gd name="connsiteY106" fmla="*/ 4302 h 10000"/>
              <a:gd name="connsiteX107" fmla="*/ 8369 w 10000"/>
              <a:gd name="connsiteY107" fmla="*/ 4343 h 10000"/>
              <a:gd name="connsiteX108" fmla="*/ 8446 w 10000"/>
              <a:gd name="connsiteY108" fmla="*/ 4267 h 10000"/>
              <a:gd name="connsiteX109" fmla="*/ 8507 w 10000"/>
              <a:gd name="connsiteY109" fmla="*/ 4309 h 10000"/>
              <a:gd name="connsiteX110" fmla="*/ 8596 w 10000"/>
              <a:gd name="connsiteY110" fmla="*/ 4458 h 10000"/>
              <a:gd name="connsiteX111" fmla="*/ 8782 w 10000"/>
              <a:gd name="connsiteY111" fmla="*/ 4491 h 10000"/>
              <a:gd name="connsiteX112" fmla="*/ 9542 w 10000"/>
              <a:gd name="connsiteY112" fmla="*/ 4274 h 10000"/>
              <a:gd name="connsiteX113" fmla="*/ 9914 w 10000"/>
              <a:gd name="connsiteY113" fmla="*/ 3973 h 10000"/>
              <a:gd name="connsiteX114" fmla="*/ 10000 w 10000"/>
              <a:gd name="connsiteY114" fmla="*/ 3755 h 10000"/>
              <a:gd name="connsiteX115" fmla="*/ 9866 w 10000"/>
              <a:gd name="connsiteY115" fmla="*/ 3556 h 10000"/>
              <a:gd name="connsiteX116" fmla="*/ 9582 w 10000"/>
              <a:gd name="connsiteY116" fmla="*/ 3438 h 10000"/>
              <a:gd name="connsiteX117" fmla="*/ 9382 w 10000"/>
              <a:gd name="connsiteY117" fmla="*/ 3242 h 10000"/>
              <a:gd name="connsiteX118" fmla="*/ 9569 w 10000"/>
              <a:gd name="connsiteY118" fmla="*/ 3236 h 10000"/>
              <a:gd name="connsiteX119" fmla="*/ 9555 w 10000"/>
              <a:gd name="connsiteY119" fmla="*/ 3189 h 10000"/>
              <a:gd name="connsiteX120" fmla="*/ 9068 w 10000"/>
              <a:gd name="connsiteY120" fmla="*/ 3054 h 10000"/>
              <a:gd name="connsiteX121" fmla="*/ 9047 w 10000"/>
              <a:gd name="connsiteY121" fmla="*/ 2928 h 10000"/>
              <a:gd name="connsiteX122" fmla="*/ 8953 w 10000"/>
              <a:gd name="connsiteY122" fmla="*/ 2797 h 10000"/>
              <a:gd name="connsiteX123" fmla="*/ 8569 w 10000"/>
              <a:gd name="connsiteY123" fmla="*/ 2821 h 10000"/>
              <a:gd name="connsiteX124" fmla="*/ 8431 w 10000"/>
              <a:gd name="connsiteY124" fmla="*/ 2681 h 10000"/>
              <a:gd name="connsiteX125" fmla="*/ 8350 w 10000"/>
              <a:gd name="connsiteY125" fmla="*/ 2672 h 10000"/>
              <a:gd name="connsiteX126" fmla="*/ 8350 w 10000"/>
              <a:gd name="connsiteY126" fmla="*/ 2734 h 10000"/>
              <a:gd name="connsiteX127" fmla="*/ 8176 w 10000"/>
              <a:gd name="connsiteY127" fmla="*/ 2967 h 10000"/>
              <a:gd name="connsiteX128" fmla="*/ 7990 w 10000"/>
              <a:gd name="connsiteY128" fmla="*/ 3105 h 10000"/>
              <a:gd name="connsiteX129" fmla="*/ 7401 w 10000"/>
              <a:gd name="connsiteY129" fmla="*/ 3338 h 10000"/>
              <a:gd name="connsiteX130" fmla="*/ 7198 w 10000"/>
              <a:gd name="connsiteY130" fmla="*/ 3331 h 10000"/>
              <a:gd name="connsiteX131" fmla="*/ 6915 w 10000"/>
              <a:gd name="connsiteY131" fmla="*/ 3368 h 10000"/>
              <a:gd name="connsiteX132" fmla="*/ 6757 w 10000"/>
              <a:gd name="connsiteY132" fmla="*/ 3331 h 10000"/>
              <a:gd name="connsiteX133" fmla="*/ 6965 w 10000"/>
              <a:gd name="connsiteY133" fmla="*/ 3264 h 10000"/>
              <a:gd name="connsiteX134" fmla="*/ 7235 w 10000"/>
              <a:gd name="connsiteY134" fmla="*/ 3236 h 10000"/>
              <a:gd name="connsiteX135" fmla="*/ 7455 w 10000"/>
              <a:gd name="connsiteY135" fmla="*/ 3127 h 10000"/>
              <a:gd name="connsiteX136" fmla="*/ 7674 w 10000"/>
              <a:gd name="connsiteY136" fmla="*/ 3075 h 10000"/>
              <a:gd name="connsiteX137" fmla="*/ 8082 w 10000"/>
              <a:gd name="connsiteY137" fmla="*/ 2882 h 10000"/>
              <a:gd name="connsiteX138" fmla="*/ 8157 w 10000"/>
              <a:gd name="connsiteY138" fmla="*/ 2758 h 10000"/>
              <a:gd name="connsiteX139" fmla="*/ 8165 w 10000"/>
              <a:gd name="connsiteY139" fmla="*/ 2596 h 10000"/>
              <a:gd name="connsiteX140" fmla="*/ 7978 w 10000"/>
              <a:gd name="connsiteY140" fmla="*/ 2569 h 10000"/>
              <a:gd name="connsiteX141" fmla="*/ 8058 w 10000"/>
              <a:gd name="connsiteY141" fmla="*/ 2470 h 10000"/>
              <a:gd name="connsiteX142" fmla="*/ 8087 w 10000"/>
              <a:gd name="connsiteY142" fmla="*/ 2345 h 10000"/>
              <a:gd name="connsiteX143" fmla="*/ 8007 w 10000"/>
              <a:gd name="connsiteY143" fmla="*/ 2228 h 10000"/>
              <a:gd name="connsiteX144" fmla="*/ 7450 w 10000"/>
              <a:gd name="connsiteY144" fmla="*/ 2389 h 10000"/>
              <a:gd name="connsiteX145" fmla="*/ 6694 w 10000"/>
              <a:gd name="connsiteY145" fmla="*/ 2317 h 10000"/>
              <a:gd name="connsiteX146" fmla="*/ 6304 w 10000"/>
              <a:gd name="connsiteY146" fmla="*/ 1869 h 10000"/>
              <a:gd name="connsiteX147" fmla="*/ 5294 w 10000"/>
              <a:gd name="connsiteY147" fmla="*/ 1784 h 10000"/>
              <a:gd name="connsiteX148" fmla="*/ 4505 w 10000"/>
              <a:gd name="connsiteY148" fmla="*/ 1411 h 10000"/>
              <a:gd name="connsiteX149" fmla="*/ 3730 w 10000"/>
              <a:gd name="connsiteY149" fmla="*/ 965 h 10000"/>
              <a:gd name="connsiteX150" fmla="*/ 3154 w 10000"/>
              <a:gd name="connsiteY150" fmla="*/ 143 h 10000"/>
              <a:gd name="connsiteX151" fmla="*/ 2375 w 10000"/>
              <a:gd name="connsiteY151" fmla="*/ 0 h 10000"/>
              <a:gd name="connsiteX152" fmla="*/ 2226 w 10000"/>
              <a:gd name="connsiteY152" fmla="*/ 774 h 10000"/>
              <a:gd name="connsiteX153" fmla="*/ 2375 w 10000"/>
              <a:gd name="connsiteY153" fmla="*/ 970 h 10000"/>
              <a:gd name="connsiteX154" fmla="*/ 2791 w 10000"/>
              <a:gd name="connsiteY154" fmla="*/ 1188 h 10000"/>
              <a:gd name="connsiteX155" fmla="*/ 2808 w 10000"/>
              <a:gd name="connsiteY155" fmla="*/ 1450 h 10000"/>
              <a:gd name="connsiteX156" fmla="*/ 2632 w 10000"/>
              <a:gd name="connsiteY156" fmla="*/ 1670 h 10000"/>
              <a:gd name="connsiteX157" fmla="*/ 2375 w 10000"/>
              <a:gd name="connsiteY157" fmla="*/ 1803 h 10000"/>
              <a:gd name="connsiteX158" fmla="*/ 2039 w 10000"/>
              <a:gd name="connsiteY158" fmla="*/ 1856 h 10000"/>
              <a:gd name="connsiteX159" fmla="*/ 1950 w 10000"/>
              <a:gd name="connsiteY159" fmla="*/ 1934 h 10000"/>
              <a:gd name="connsiteX160" fmla="*/ 2148 w 10000"/>
              <a:gd name="connsiteY160" fmla="*/ 2116 h 10000"/>
              <a:gd name="connsiteX161" fmla="*/ 2261 w 10000"/>
              <a:gd name="connsiteY161" fmla="*/ 2548 h 10000"/>
              <a:gd name="connsiteX162" fmla="*/ 2005 w 10000"/>
              <a:gd name="connsiteY162" fmla="*/ 2918 h 10000"/>
              <a:gd name="connsiteX163" fmla="*/ 2094 w 10000"/>
              <a:gd name="connsiteY163" fmla="*/ 3030 h 10000"/>
              <a:gd name="connsiteX164" fmla="*/ 2012 w 10000"/>
              <a:gd name="connsiteY164" fmla="*/ 3223 h 10000"/>
              <a:gd name="connsiteX165" fmla="*/ 1850 w 10000"/>
              <a:gd name="connsiteY165" fmla="*/ 3358 h 10000"/>
              <a:gd name="connsiteX166" fmla="*/ 1199 w 10000"/>
              <a:gd name="connsiteY166" fmla="*/ 3460 h 10000"/>
              <a:gd name="connsiteX167" fmla="*/ 1158 w 10000"/>
              <a:gd name="connsiteY167" fmla="*/ 3639 h 10000"/>
              <a:gd name="connsiteX168" fmla="*/ 808 w 10000"/>
              <a:gd name="connsiteY168" fmla="*/ 3904 h 10000"/>
              <a:gd name="connsiteX169" fmla="*/ 854 w 10000"/>
              <a:gd name="connsiteY169" fmla="*/ 4288 h 10000"/>
              <a:gd name="connsiteX170" fmla="*/ 560 w 10000"/>
              <a:gd name="connsiteY170" fmla="*/ 4779 h 10000"/>
              <a:gd name="connsiteX171" fmla="*/ 358 w 10000"/>
              <a:gd name="connsiteY171" fmla="*/ 4836 h 10000"/>
              <a:gd name="connsiteX172" fmla="*/ 275 w 10000"/>
              <a:gd name="connsiteY172" fmla="*/ 4719 h 10000"/>
              <a:gd name="connsiteX173" fmla="*/ 174 w 10000"/>
              <a:gd name="connsiteY173" fmla="*/ 4896 h 10000"/>
              <a:gd name="connsiteX174" fmla="*/ 239 w 10000"/>
              <a:gd name="connsiteY174" fmla="*/ 4591 h 10000"/>
              <a:gd name="connsiteX175" fmla="*/ 197 w 10000"/>
              <a:gd name="connsiteY175" fmla="*/ 4534 h 10000"/>
              <a:gd name="connsiteX0" fmla="*/ 197 w 10000"/>
              <a:gd name="connsiteY0" fmla="*/ 4534 h 10000"/>
              <a:gd name="connsiteX1" fmla="*/ 0 w 10000"/>
              <a:gd name="connsiteY1" fmla="*/ 4692 h 10000"/>
              <a:gd name="connsiteX2" fmla="*/ 0 w 10000"/>
              <a:gd name="connsiteY2" fmla="*/ 5474 h 10000"/>
              <a:gd name="connsiteX3" fmla="*/ 109 w 10000"/>
              <a:gd name="connsiteY3" fmla="*/ 5495 h 10000"/>
              <a:gd name="connsiteX4" fmla="*/ 134 w 10000"/>
              <a:gd name="connsiteY4" fmla="*/ 5556 h 10000"/>
              <a:gd name="connsiteX5" fmla="*/ 130 w 10000"/>
              <a:gd name="connsiteY5" fmla="*/ 5663 h 10000"/>
              <a:gd name="connsiteX6" fmla="*/ 89 w 10000"/>
              <a:gd name="connsiteY6" fmla="*/ 5709 h 10000"/>
              <a:gd name="connsiteX7" fmla="*/ 255 w 10000"/>
              <a:gd name="connsiteY7" fmla="*/ 5618 h 10000"/>
              <a:gd name="connsiteX8" fmla="*/ 325 w 10000"/>
              <a:gd name="connsiteY8" fmla="*/ 5530 h 10000"/>
              <a:gd name="connsiteX9" fmla="*/ 413 w 10000"/>
              <a:gd name="connsiteY9" fmla="*/ 5590 h 10000"/>
              <a:gd name="connsiteX10" fmla="*/ 316 w 10000"/>
              <a:gd name="connsiteY10" fmla="*/ 5719 h 10000"/>
              <a:gd name="connsiteX11" fmla="*/ 419 w 10000"/>
              <a:gd name="connsiteY11" fmla="*/ 5722 h 10000"/>
              <a:gd name="connsiteX12" fmla="*/ 469 w 10000"/>
              <a:gd name="connsiteY12" fmla="*/ 5754 h 10000"/>
              <a:gd name="connsiteX13" fmla="*/ 337 w 10000"/>
              <a:gd name="connsiteY13" fmla="*/ 5795 h 10000"/>
              <a:gd name="connsiteX14" fmla="*/ 130 w 10000"/>
              <a:gd name="connsiteY14" fmla="*/ 5926 h 10000"/>
              <a:gd name="connsiteX15" fmla="*/ 497 w 10000"/>
              <a:gd name="connsiteY15" fmla="*/ 6030 h 10000"/>
              <a:gd name="connsiteX16" fmla="*/ 545 w 10000"/>
              <a:gd name="connsiteY16" fmla="*/ 6176 h 10000"/>
              <a:gd name="connsiteX17" fmla="*/ 419 w 10000"/>
              <a:gd name="connsiteY17" fmla="*/ 6391 h 10000"/>
              <a:gd name="connsiteX18" fmla="*/ 688 w 10000"/>
              <a:gd name="connsiteY18" fmla="*/ 6379 h 10000"/>
              <a:gd name="connsiteX19" fmla="*/ 709 w 10000"/>
              <a:gd name="connsiteY19" fmla="*/ 6539 h 10000"/>
              <a:gd name="connsiteX20" fmla="*/ 530 w 10000"/>
              <a:gd name="connsiteY20" fmla="*/ 6654 h 10000"/>
              <a:gd name="connsiteX21" fmla="*/ 560 w 10000"/>
              <a:gd name="connsiteY21" fmla="*/ 6865 h 10000"/>
              <a:gd name="connsiteX22" fmla="*/ 489 w 10000"/>
              <a:gd name="connsiteY22" fmla="*/ 7034 h 10000"/>
              <a:gd name="connsiteX23" fmla="*/ 703 w 10000"/>
              <a:gd name="connsiteY23" fmla="*/ 7050 h 10000"/>
              <a:gd name="connsiteX24" fmla="*/ 909 w 10000"/>
              <a:gd name="connsiteY24" fmla="*/ 7690 h 10000"/>
              <a:gd name="connsiteX25" fmla="*/ 1150 w 10000"/>
              <a:gd name="connsiteY25" fmla="*/ 7848 h 10000"/>
              <a:gd name="connsiteX26" fmla="*/ 1255 w 10000"/>
              <a:gd name="connsiteY26" fmla="*/ 8022 h 10000"/>
              <a:gd name="connsiteX27" fmla="*/ 1514 w 10000"/>
              <a:gd name="connsiteY27" fmla="*/ 8146 h 10000"/>
              <a:gd name="connsiteX28" fmla="*/ 1684 w 10000"/>
              <a:gd name="connsiteY28" fmla="*/ 8308 h 10000"/>
              <a:gd name="connsiteX29" fmla="*/ 1661 w 10000"/>
              <a:gd name="connsiteY29" fmla="*/ 8424 h 10000"/>
              <a:gd name="connsiteX30" fmla="*/ 1496 w 10000"/>
              <a:gd name="connsiteY30" fmla="*/ 8466 h 10000"/>
              <a:gd name="connsiteX31" fmla="*/ 1316 w 10000"/>
              <a:gd name="connsiteY31" fmla="*/ 8438 h 10000"/>
              <a:gd name="connsiteX32" fmla="*/ 1260 w 10000"/>
              <a:gd name="connsiteY32" fmla="*/ 8484 h 10000"/>
              <a:gd name="connsiteX33" fmla="*/ 1397 w 10000"/>
              <a:gd name="connsiteY33" fmla="*/ 8732 h 10000"/>
              <a:gd name="connsiteX34" fmla="*/ 1205 w 10000"/>
              <a:gd name="connsiteY34" fmla="*/ 8711 h 10000"/>
              <a:gd name="connsiteX35" fmla="*/ 1040 w 10000"/>
              <a:gd name="connsiteY35" fmla="*/ 8651 h 10000"/>
              <a:gd name="connsiteX36" fmla="*/ 1012 w 10000"/>
              <a:gd name="connsiteY36" fmla="*/ 8743 h 10000"/>
              <a:gd name="connsiteX37" fmla="*/ 1557 w 10000"/>
              <a:gd name="connsiteY37" fmla="*/ 9595 h 10000"/>
              <a:gd name="connsiteX38" fmla="*/ 1469 w 10000"/>
              <a:gd name="connsiteY38" fmla="*/ 9674 h 10000"/>
              <a:gd name="connsiteX39" fmla="*/ 1408 w 10000"/>
              <a:gd name="connsiteY39" fmla="*/ 9838 h 10000"/>
              <a:gd name="connsiteX40" fmla="*/ 1329 w 10000"/>
              <a:gd name="connsiteY40" fmla="*/ 9850 h 10000"/>
              <a:gd name="connsiteX41" fmla="*/ 1281 w 10000"/>
              <a:gd name="connsiteY41" fmla="*/ 9923 h 10000"/>
              <a:gd name="connsiteX42" fmla="*/ 1609 w 10000"/>
              <a:gd name="connsiteY42" fmla="*/ 9929 h 10000"/>
              <a:gd name="connsiteX43" fmla="*/ 1900 w 10000"/>
              <a:gd name="connsiteY43" fmla="*/ 10000 h 10000"/>
              <a:gd name="connsiteX44" fmla="*/ 6419 w 10000"/>
              <a:gd name="connsiteY44" fmla="*/ 8209 h 10000"/>
              <a:gd name="connsiteX45" fmla="*/ 6586 w 10000"/>
              <a:gd name="connsiteY45" fmla="*/ 7526 h 10000"/>
              <a:gd name="connsiteX46" fmla="*/ 6855 w 10000"/>
              <a:gd name="connsiteY46" fmla="*/ 7224 h 10000"/>
              <a:gd name="connsiteX47" fmla="*/ 6855 w 10000"/>
              <a:gd name="connsiteY47" fmla="*/ 7063 h 10000"/>
              <a:gd name="connsiteX48" fmla="*/ 6757 w 10000"/>
              <a:gd name="connsiteY48" fmla="*/ 6976 h 10000"/>
              <a:gd name="connsiteX49" fmla="*/ 6915 w 10000"/>
              <a:gd name="connsiteY49" fmla="*/ 6830 h 10000"/>
              <a:gd name="connsiteX50" fmla="*/ 6887 w 10000"/>
              <a:gd name="connsiteY50" fmla="*/ 6712 h 10000"/>
              <a:gd name="connsiteX51" fmla="*/ 6779 w 10000"/>
              <a:gd name="connsiteY51" fmla="*/ 6611 h 10000"/>
              <a:gd name="connsiteX52" fmla="*/ 6757 w 10000"/>
              <a:gd name="connsiteY52" fmla="*/ 6532 h 10000"/>
              <a:gd name="connsiteX53" fmla="*/ 6785 w 10000"/>
              <a:gd name="connsiteY53" fmla="*/ 6475 h 10000"/>
              <a:gd name="connsiteX54" fmla="*/ 6931 w 10000"/>
              <a:gd name="connsiteY54" fmla="*/ 6521 h 10000"/>
              <a:gd name="connsiteX55" fmla="*/ 7045 w 10000"/>
              <a:gd name="connsiteY55" fmla="*/ 6518 h 10000"/>
              <a:gd name="connsiteX56" fmla="*/ 6983 w 10000"/>
              <a:gd name="connsiteY56" fmla="*/ 6422 h 10000"/>
              <a:gd name="connsiteX57" fmla="*/ 7003 w 10000"/>
              <a:gd name="connsiteY57" fmla="*/ 6364 h 10000"/>
              <a:gd name="connsiteX58" fmla="*/ 7089 w 10000"/>
              <a:gd name="connsiteY58" fmla="*/ 6283 h 10000"/>
              <a:gd name="connsiteX59" fmla="*/ 7074 w 10000"/>
              <a:gd name="connsiteY59" fmla="*/ 6215 h 10000"/>
              <a:gd name="connsiteX60" fmla="*/ 7152 w 10000"/>
              <a:gd name="connsiteY60" fmla="*/ 5988 h 10000"/>
              <a:gd name="connsiteX61" fmla="*/ 7130 w 10000"/>
              <a:gd name="connsiteY61" fmla="*/ 5919 h 10000"/>
              <a:gd name="connsiteX62" fmla="*/ 6729 w 10000"/>
              <a:gd name="connsiteY62" fmla="*/ 5745 h 10000"/>
              <a:gd name="connsiteX63" fmla="*/ 6785 w 10000"/>
              <a:gd name="connsiteY63" fmla="*/ 5739 h 10000"/>
              <a:gd name="connsiteX64" fmla="*/ 6998 w 10000"/>
              <a:gd name="connsiteY64" fmla="*/ 5784 h 10000"/>
              <a:gd name="connsiteX65" fmla="*/ 7230 w 10000"/>
              <a:gd name="connsiteY65" fmla="*/ 5767 h 10000"/>
              <a:gd name="connsiteX66" fmla="*/ 7295 w 10000"/>
              <a:gd name="connsiteY66" fmla="*/ 5705 h 10000"/>
              <a:gd name="connsiteX67" fmla="*/ 7074 w 10000"/>
              <a:gd name="connsiteY67" fmla="*/ 5587 h 10000"/>
              <a:gd name="connsiteX68" fmla="*/ 6414 w 10000"/>
              <a:gd name="connsiteY68" fmla="*/ 5510 h 10000"/>
              <a:gd name="connsiteX69" fmla="*/ 6458 w 10000"/>
              <a:gd name="connsiteY69" fmla="*/ 5474 h 10000"/>
              <a:gd name="connsiteX70" fmla="*/ 6998 w 10000"/>
              <a:gd name="connsiteY70" fmla="*/ 5449 h 10000"/>
              <a:gd name="connsiteX71" fmla="*/ 7295 w 10000"/>
              <a:gd name="connsiteY71" fmla="*/ 5521 h 10000"/>
              <a:gd name="connsiteX72" fmla="*/ 7466 w 10000"/>
              <a:gd name="connsiteY72" fmla="*/ 5474 h 10000"/>
              <a:gd name="connsiteX73" fmla="*/ 7529 w 10000"/>
              <a:gd name="connsiteY73" fmla="*/ 5352 h 10000"/>
              <a:gd name="connsiteX74" fmla="*/ 7840 w 10000"/>
              <a:gd name="connsiteY74" fmla="*/ 5352 h 10000"/>
              <a:gd name="connsiteX75" fmla="*/ 8261 w 10000"/>
              <a:gd name="connsiteY75" fmla="*/ 5107 h 10000"/>
              <a:gd name="connsiteX76" fmla="*/ 8275 w 10000"/>
              <a:gd name="connsiteY76" fmla="*/ 4942 h 10000"/>
              <a:gd name="connsiteX77" fmla="*/ 8453 w 10000"/>
              <a:gd name="connsiteY77" fmla="*/ 4979 h 10000"/>
              <a:gd name="connsiteX78" fmla="*/ 8446 w 10000"/>
              <a:gd name="connsiteY78" fmla="*/ 5144 h 10000"/>
              <a:gd name="connsiteX79" fmla="*/ 8727 w 10000"/>
              <a:gd name="connsiteY79" fmla="*/ 5132 h 10000"/>
              <a:gd name="connsiteX80" fmla="*/ 8913 w 10000"/>
              <a:gd name="connsiteY80" fmla="*/ 4962 h 10000"/>
              <a:gd name="connsiteX81" fmla="*/ 9258 w 10000"/>
              <a:gd name="connsiteY81" fmla="*/ 4808 h 10000"/>
              <a:gd name="connsiteX82" fmla="*/ 9203 w 10000"/>
              <a:gd name="connsiteY82" fmla="*/ 4634 h 10000"/>
              <a:gd name="connsiteX83" fmla="*/ 9306 w 10000"/>
              <a:gd name="connsiteY83" fmla="*/ 4703 h 10000"/>
              <a:gd name="connsiteX84" fmla="*/ 9464 w 10000"/>
              <a:gd name="connsiteY84" fmla="*/ 4703 h 10000"/>
              <a:gd name="connsiteX85" fmla="*/ 9464 w 10000"/>
              <a:gd name="connsiteY85" fmla="*/ 4622 h 10000"/>
              <a:gd name="connsiteX86" fmla="*/ 9611 w 10000"/>
              <a:gd name="connsiteY86" fmla="*/ 4563 h 10000"/>
              <a:gd name="connsiteX87" fmla="*/ 9592 w 10000"/>
              <a:gd name="connsiteY87" fmla="*/ 4500 h 10000"/>
              <a:gd name="connsiteX88" fmla="*/ 8350 w 10000"/>
              <a:gd name="connsiteY88" fmla="*/ 4624 h 10000"/>
              <a:gd name="connsiteX89" fmla="*/ 8058 w 10000"/>
              <a:gd name="connsiteY89" fmla="*/ 4589 h 10000"/>
              <a:gd name="connsiteX90" fmla="*/ 7942 w 10000"/>
              <a:gd name="connsiteY90" fmla="*/ 4634 h 10000"/>
              <a:gd name="connsiteX91" fmla="*/ 7903 w 10000"/>
              <a:gd name="connsiteY91" fmla="*/ 4545 h 10000"/>
              <a:gd name="connsiteX92" fmla="*/ 7765 w 10000"/>
              <a:gd name="connsiteY92" fmla="*/ 4469 h 10000"/>
              <a:gd name="connsiteX93" fmla="*/ 7213 w 10000"/>
              <a:gd name="connsiteY93" fmla="*/ 4309 h 10000"/>
              <a:gd name="connsiteX94" fmla="*/ 6887 w 10000"/>
              <a:gd name="connsiteY94" fmla="*/ 4336 h 10000"/>
              <a:gd name="connsiteX95" fmla="*/ 6757 w 10000"/>
              <a:gd name="connsiteY95" fmla="*/ 4290 h 10000"/>
              <a:gd name="connsiteX96" fmla="*/ 6894 w 10000"/>
              <a:gd name="connsiteY96" fmla="*/ 4252 h 10000"/>
              <a:gd name="connsiteX97" fmla="*/ 6998 w 10000"/>
              <a:gd name="connsiteY97" fmla="*/ 4168 h 10000"/>
              <a:gd name="connsiteX98" fmla="*/ 7152 w 10000"/>
              <a:gd name="connsiteY98" fmla="*/ 4194 h 10000"/>
              <a:gd name="connsiteX99" fmla="*/ 7335 w 10000"/>
              <a:gd name="connsiteY99" fmla="*/ 4173 h 10000"/>
              <a:gd name="connsiteX100" fmla="*/ 7611 w 10000"/>
              <a:gd name="connsiteY100" fmla="*/ 4200 h 10000"/>
              <a:gd name="connsiteX101" fmla="*/ 7645 w 10000"/>
              <a:gd name="connsiteY101" fmla="*/ 4189 h 10000"/>
              <a:gd name="connsiteX102" fmla="*/ 7859 w 10000"/>
              <a:gd name="connsiteY102" fmla="*/ 4317 h 10000"/>
              <a:gd name="connsiteX103" fmla="*/ 8017 w 10000"/>
              <a:gd name="connsiteY103" fmla="*/ 4269 h 10000"/>
              <a:gd name="connsiteX104" fmla="*/ 8032 w 10000"/>
              <a:gd name="connsiteY104" fmla="*/ 4226 h 10000"/>
              <a:gd name="connsiteX105" fmla="*/ 8176 w 10000"/>
              <a:gd name="connsiteY105" fmla="*/ 4302 h 10000"/>
              <a:gd name="connsiteX106" fmla="*/ 8369 w 10000"/>
              <a:gd name="connsiteY106" fmla="*/ 4343 h 10000"/>
              <a:gd name="connsiteX107" fmla="*/ 8446 w 10000"/>
              <a:gd name="connsiteY107" fmla="*/ 4267 h 10000"/>
              <a:gd name="connsiteX108" fmla="*/ 8507 w 10000"/>
              <a:gd name="connsiteY108" fmla="*/ 4309 h 10000"/>
              <a:gd name="connsiteX109" fmla="*/ 8596 w 10000"/>
              <a:gd name="connsiteY109" fmla="*/ 4458 h 10000"/>
              <a:gd name="connsiteX110" fmla="*/ 8782 w 10000"/>
              <a:gd name="connsiteY110" fmla="*/ 4491 h 10000"/>
              <a:gd name="connsiteX111" fmla="*/ 9542 w 10000"/>
              <a:gd name="connsiteY111" fmla="*/ 4274 h 10000"/>
              <a:gd name="connsiteX112" fmla="*/ 9914 w 10000"/>
              <a:gd name="connsiteY112" fmla="*/ 3973 h 10000"/>
              <a:gd name="connsiteX113" fmla="*/ 10000 w 10000"/>
              <a:gd name="connsiteY113" fmla="*/ 3755 h 10000"/>
              <a:gd name="connsiteX114" fmla="*/ 9866 w 10000"/>
              <a:gd name="connsiteY114" fmla="*/ 3556 h 10000"/>
              <a:gd name="connsiteX115" fmla="*/ 9582 w 10000"/>
              <a:gd name="connsiteY115" fmla="*/ 3438 h 10000"/>
              <a:gd name="connsiteX116" fmla="*/ 9382 w 10000"/>
              <a:gd name="connsiteY116" fmla="*/ 3242 h 10000"/>
              <a:gd name="connsiteX117" fmla="*/ 9569 w 10000"/>
              <a:gd name="connsiteY117" fmla="*/ 3236 h 10000"/>
              <a:gd name="connsiteX118" fmla="*/ 9555 w 10000"/>
              <a:gd name="connsiteY118" fmla="*/ 3189 h 10000"/>
              <a:gd name="connsiteX119" fmla="*/ 9068 w 10000"/>
              <a:gd name="connsiteY119" fmla="*/ 3054 h 10000"/>
              <a:gd name="connsiteX120" fmla="*/ 9047 w 10000"/>
              <a:gd name="connsiteY120" fmla="*/ 2928 h 10000"/>
              <a:gd name="connsiteX121" fmla="*/ 8953 w 10000"/>
              <a:gd name="connsiteY121" fmla="*/ 2797 h 10000"/>
              <a:gd name="connsiteX122" fmla="*/ 8569 w 10000"/>
              <a:gd name="connsiteY122" fmla="*/ 2821 h 10000"/>
              <a:gd name="connsiteX123" fmla="*/ 8431 w 10000"/>
              <a:gd name="connsiteY123" fmla="*/ 2681 h 10000"/>
              <a:gd name="connsiteX124" fmla="*/ 8350 w 10000"/>
              <a:gd name="connsiteY124" fmla="*/ 2672 h 10000"/>
              <a:gd name="connsiteX125" fmla="*/ 8350 w 10000"/>
              <a:gd name="connsiteY125" fmla="*/ 2734 h 10000"/>
              <a:gd name="connsiteX126" fmla="*/ 8176 w 10000"/>
              <a:gd name="connsiteY126" fmla="*/ 2967 h 10000"/>
              <a:gd name="connsiteX127" fmla="*/ 7990 w 10000"/>
              <a:gd name="connsiteY127" fmla="*/ 3105 h 10000"/>
              <a:gd name="connsiteX128" fmla="*/ 7401 w 10000"/>
              <a:gd name="connsiteY128" fmla="*/ 3338 h 10000"/>
              <a:gd name="connsiteX129" fmla="*/ 7198 w 10000"/>
              <a:gd name="connsiteY129" fmla="*/ 3331 h 10000"/>
              <a:gd name="connsiteX130" fmla="*/ 6915 w 10000"/>
              <a:gd name="connsiteY130" fmla="*/ 3368 h 10000"/>
              <a:gd name="connsiteX131" fmla="*/ 6757 w 10000"/>
              <a:gd name="connsiteY131" fmla="*/ 3331 h 10000"/>
              <a:gd name="connsiteX132" fmla="*/ 6965 w 10000"/>
              <a:gd name="connsiteY132" fmla="*/ 3264 h 10000"/>
              <a:gd name="connsiteX133" fmla="*/ 7235 w 10000"/>
              <a:gd name="connsiteY133" fmla="*/ 3236 h 10000"/>
              <a:gd name="connsiteX134" fmla="*/ 7455 w 10000"/>
              <a:gd name="connsiteY134" fmla="*/ 3127 h 10000"/>
              <a:gd name="connsiteX135" fmla="*/ 7674 w 10000"/>
              <a:gd name="connsiteY135" fmla="*/ 3075 h 10000"/>
              <a:gd name="connsiteX136" fmla="*/ 8082 w 10000"/>
              <a:gd name="connsiteY136" fmla="*/ 2882 h 10000"/>
              <a:gd name="connsiteX137" fmla="*/ 8157 w 10000"/>
              <a:gd name="connsiteY137" fmla="*/ 2758 h 10000"/>
              <a:gd name="connsiteX138" fmla="*/ 8165 w 10000"/>
              <a:gd name="connsiteY138" fmla="*/ 2596 h 10000"/>
              <a:gd name="connsiteX139" fmla="*/ 7978 w 10000"/>
              <a:gd name="connsiteY139" fmla="*/ 2569 h 10000"/>
              <a:gd name="connsiteX140" fmla="*/ 8058 w 10000"/>
              <a:gd name="connsiteY140" fmla="*/ 2470 h 10000"/>
              <a:gd name="connsiteX141" fmla="*/ 8087 w 10000"/>
              <a:gd name="connsiteY141" fmla="*/ 2345 h 10000"/>
              <a:gd name="connsiteX142" fmla="*/ 8007 w 10000"/>
              <a:gd name="connsiteY142" fmla="*/ 2228 h 10000"/>
              <a:gd name="connsiteX143" fmla="*/ 7450 w 10000"/>
              <a:gd name="connsiteY143" fmla="*/ 2389 h 10000"/>
              <a:gd name="connsiteX144" fmla="*/ 6694 w 10000"/>
              <a:gd name="connsiteY144" fmla="*/ 2317 h 10000"/>
              <a:gd name="connsiteX145" fmla="*/ 6304 w 10000"/>
              <a:gd name="connsiteY145" fmla="*/ 1869 h 10000"/>
              <a:gd name="connsiteX146" fmla="*/ 5294 w 10000"/>
              <a:gd name="connsiteY146" fmla="*/ 1784 h 10000"/>
              <a:gd name="connsiteX147" fmla="*/ 4505 w 10000"/>
              <a:gd name="connsiteY147" fmla="*/ 1411 h 10000"/>
              <a:gd name="connsiteX148" fmla="*/ 3730 w 10000"/>
              <a:gd name="connsiteY148" fmla="*/ 965 h 10000"/>
              <a:gd name="connsiteX149" fmla="*/ 3154 w 10000"/>
              <a:gd name="connsiteY149" fmla="*/ 143 h 10000"/>
              <a:gd name="connsiteX150" fmla="*/ 2375 w 10000"/>
              <a:gd name="connsiteY150" fmla="*/ 0 h 10000"/>
              <a:gd name="connsiteX151" fmla="*/ 2226 w 10000"/>
              <a:gd name="connsiteY151" fmla="*/ 774 h 10000"/>
              <a:gd name="connsiteX152" fmla="*/ 2375 w 10000"/>
              <a:gd name="connsiteY152" fmla="*/ 970 h 10000"/>
              <a:gd name="connsiteX153" fmla="*/ 2791 w 10000"/>
              <a:gd name="connsiteY153" fmla="*/ 1188 h 10000"/>
              <a:gd name="connsiteX154" fmla="*/ 2808 w 10000"/>
              <a:gd name="connsiteY154" fmla="*/ 1450 h 10000"/>
              <a:gd name="connsiteX155" fmla="*/ 2632 w 10000"/>
              <a:gd name="connsiteY155" fmla="*/ 1670 h 10000"/>
              <a:gd name="connsiteX156" fmla="*/ 2375 w 10000"/>
              <a:gd name="connsiteY156" fmla="*/ 1803 h 10000"/>
              <a:gd name="connsiteX157" fmla="*/ 2039 w 10000"/>
              <a:gd name="connsiteY157" fmla="*/ 1856 h 10000"/>
              <a:gd name="connsiteX158" fmla="*/ 1950 w 10000"/>
              <a:gd name="connsiteY158" fmla="*/ 1934 h 10000"/>
              <a:gd name="connsiteX159" fmla="*/ 2148 w 10000"/>
              <a:gd name="connsiteY159" fmla="*/ 2116 h 10000"/>
              <a:gd name="connsiteX160" fmla="*/ 2261 w 10000"/>
              <a:gd name="connsiteY160" fmla="*/ 2548 h 10000"/>
              <a:gd name="connsiteX161" fmla="*/ 2005 w 10000"/>
              <a:gd name="connsiteY161" fmla="*/ 2918 h 10000"/>
              <a:gd name="connsiteX162" fmla="*/ 2094 w 10000"/>
              <a:gd name="connsiteY162" fmla="*/ 3030 h 10000"/>
              <a:gd name="connsiteX163" fmla="*/ 2012 w 10000"/>
              <a:gd name="connsiteY163" fmla="*/ 3223 h 10000"/>
              <a:gd name="connsiteX164" fmla="*/ 1850 w 10000"/>
              <a:gd name="connsiteY164" fmla="*/ 3358 h 10000"/>
              <a:gd name="connsiteX165" fmla="*/ 1199 w 10000"/>
              <a:gd name="connsiteY165" fmla="*/ 3460 h 10000"/>
              <a:gd name="connsiteX166" fmla="*/ 1158 w 10000"/>
              <a:gd name="connsiteY166" fmla="*/ 3639 h 10000"/>
              <a:gd name="connsiteX167" fmla="*/ 808 w 10000"/>
              <a:gd name="connsiteY167" fmla="*/ 3904 h 10000"/>
              <a:gd name="connsiteX168" fmla="*/ 854 w 10000"/>
              <a:gd name="connsiteY168" fmla="*/ 4288 h 10000"/>
              <a:gd name="connsiteX169" fmla="*/ 560 w 10000"/>
              <a:gd name="connsiteY169" fmla="*/ 4779 h 10000"/>
              <a:gd name="connsiteX170" fmla="*/ 358 w 10000"/>
              <a:gd name="connsiteY170" fmla="*/ 4836 h 10000"/>
              <a:gd name="connsiteX171" fmla="*/ 275 w 10000"/>
              <a:gd name="connsiteY171" fmla="*/ 4719 h 10000"/>
              <a:gd name="connsiteX172" fmla="*/ 174 w 10000"/>
              <a:gd name="connsiteY172" fmla="*/ 4896 h 10000"/>
              <a:gd name="connsiteX173" fmla="*/ 239 w 10000"/>
              <a:gd name="connsiteY173" fmla="*/ 4591 h 10000"/>
              <a:gd name="connsiteX174" fmla="*/ 197 w 10000"/>
              <a:gd name="connsiteY174" fmla="*/ 4534 h 10000"/>
              <a:gd name="connsiteX0" fmla="*/ 197 w 10000"/>
              <a:gd name="connsiteY0" fmla="*/ 4534 h 9929"/>
              <a:gd name="connsiteX1" fmla="*/ 0 w 10000"/>
              <a:gd name="connsiteY1" fmla="*/ 4692 h 9929"/>
              <a:gd name="connsiteX2" fmla="*/ 0 w 10000"/>
              <a:gd name="connsiteY2" fmla="*/ 5474 h 9929"/>
              <a:gd name="connsiteX3" fmla="*/ 109 w 10000"/>
              <a:gd name="connsiteY3" fmla="*/ 5495 h 9929"/>
              <a:gd name="connsiteX4" fmla="*/ 134 w 10000"/>
              <a:gd name="connsiteY4" fmla="*/ 5556 h 9929"/>
              <a:gd name="connsiteX5" fmla="*/ 130 w 10000"/>
              <a:gd name="connsiteY5" fmla="*/ 5663 h 9929"/>
              <a:gd name="connsiteX6" fmla="*/ 89 w 10000"/>
              <a:gd name="connsiteY6" fmla="*/ 5709 h 9929"/>
              <a:gd name="connsiteX7" fmla="*/ 255 w 10000"/>
              <a:gd name="connsiteY7" fmla="*/ 5618 h 9929"/>
              <a:gd name="connsiteX8" fmla="*/ 325 w 10000"/>
              <a:gd name="connsiteY8" fmla="*/ 5530 h 9929"/>
              <a:gd name="connsiteX9" fmla="*/ 413 w 10000"/>
              <a:gd name="connsiteY9" fmla="*/ 5590 h 9929"/>
              <a:gd name="connsiteX10" fmla="*/ 316 w 10000"/>
              <a:gd name="connsiteY10" fmla="*/ 5719 h 9929"/>
              <a:gd name="connsiteX11" fmla="*/ 419 w 10000"/>
              <a:gd name="connsiteY11" fmla="*/ 5722 h 9929"/>
              <a:gd name="connsiteX12" fmla="*/ 469 w 10000"/>
              <a:gd name="connsiteY12" fmla="*/ 5754 h 9929"/>
              <a:gd name="connsiteX13" fmla="*/ 337 w 10000"/>
              <a:gd name="connsiteY13" fmla="*/ 5795 h 9929"/>
              <a:gd name="connsiteX14" fmla="*/ 130 w 10000"/>
              <a:gd name="connsiteY14" fmla="*/ 5926 h 9929"/>
              <a:gd name="connsiteX15" fmla="*/ 497 w 10000"/>
              <a:gd name="connsiteY15" fmla="*/ 6030 h 9929"/>
              <a:gd name="connsiteX16" fmla="*/ 545 w 10000"/>
              <a:gd name="connsiteY16" fmla="*/ 6176 h 9929"/>
              <a:gd name="connsiteX17" fmla="*/ 419 w 10000"/>
              <a:gd name="connsiteY17" fmla="*/ 6391 h 9929"/>
              <a:gd name="connsiteX18" fmla="*/ 688 w 10000"/>
              <a:gd name="connsiteY18" fmla="*/ 6379 h 9929"/>
              <a:gd name="connsiteX19" fmla="*/ 709 w 10000"/>
              <a:gd name="connsiteY19" fmla="*/ 6539 h 9929"/>
              <a:gd name="connsiteX20" fmla="*/ 530 w 10000"/>
              <a:gd name="connsiteY20" fmla="*/ 6654 h 9929"/>
              <a:gd name="connsiteX21" fmla="*/ 560 w 10000"/>
              <a:gd name="connsiteY21" fmla="*/ 6865 h 9929"/>
              <a:gd name="connsiteX22" fmla="*/ 489 w 10000"/>
              <a:gd name="connsiteY22" fmla="*/ 7034 h 9929"/>
              <a:gd name="connsiteX23" fmla="*/ 703 w 10000"/>
              <a:gd name="connsiteY23" fmla="*/ 7050 h 9929"/>
              <a:gd name="connsiteX24" fmla="*/ 909 w 10000"/>
              <a:gd name="connsiteY24" fmla="*/ 7690 h 9929"/>
              <a:gd name="connsiteX25" fmla="*/ 1150 w 10000"/>
              <a:gd name="connsiteY25" fmla="*/ 7848 h 9929"/>
              <a:gd name="connsiteX26" fmla="*/ 1255 w 10000"/>
              <a:gd name="connsiteY26" fmla="*/ 8022 h 9929"/>
              <a:gd name="connsiteX27" fmla="*/ 1514 w 10000"/>
              <a:gd name="connsiteY27" fmla="*/ 8146 h 9929"/>
              <a:gd name="connsiteX28" fmla="*/ 1684 w 10000"/>
              <a:gd name="connsiteY28" fmla="*/ 8308 h 9929"/>
              <a:gd name="connsiteX29" fmla="*/ 1661 w 10000"/>
              <a:gd name="connsiteY29" fmla="*/ 8424 h 9929"/>
              <a:gd name="connsiteX30" fmla="*/ 1496 w 10000"/>
              <a:gd name="connsiteY30" fmla="*/ 8466 h 9929"/>
              <a:gd name="connsiteX31" fmla="*/ 1316 w 10000"/>
              <a:gd name="connsiteY31" fmla="*/ 8438 h 9929"/>
              <a:gd name="connsiteX32" fmla="*/ 1260 w 10000"/>
              <a:gd name="connsiteY32" fmla="*/ 8484 h 9929"/>
              <a:gd name="connsiteX33" fmla="*/ 1397 w 10000"/>
              <a:gd name="connsiteY33" fmla="*/ 8732 h 9929"/>
              <a:gd name="connsiteX34" fmla="*/ 1205 w 10000"/>
              <a:gd name="connsiteY34" fmla="*/ 8711 h 9929"/>
              <a:gd name="connsiteX35" fmla="*/ 1040 w 10000"/>
              <a:gd name="connsiteY35" fmla="*/ 8651 h 9929"/>
              <a:gd name="connsiteX36" fmla="*/ 1012 w 10000"/>
              <a:gd name="connsiteY36" fmla="*/ 8743 h 9929"/>
              <a:gd name="connsiteX37" fmla="*/ 1557 w 10000"/>
              <a:gd name="connsiteY37" fmla="*/ 9595 h 9929"/>
              <a:gd name="connsiteX38" fmla="*/ 1469 w 10000"/>
              <a:gd name="connsiteY38" fmla="*/ 9674 h 9929"/>
              <a:gd name="connsiteX39" fmla="*/ 1408 w 10000"/>
              <a:gd name="connsiteY39" fmla="*/ 9838 h 9929"/>
              <a:gd name="connsiteX40" fmla="*/ 1329 w 10000"/>
              <a:gd name="connsiteY40" fmla="*/ 9850 h 9929"/>
              <a:gd name="connsiteX41" fmla="*/ 1281 w 10000"/>
              <a:gd name="connsiteY41" fmla="*/ 9923 h 9929"/>
              <a:gd name="connsiteX42" fmla="*/ 1609 w 10000"/>
              <a:gd name="connsiteY42" fmla="*/ 9929 h 9929"/>
              <a:gd name="connsiteX43" fmla="*/ 6419 w 10000"/>
              <a:gd name="connsiteY43" fmla="*/ 8209 h 9929"/>
              <a:gd name="connsiteX44" fmla="*/ 6586 w 10000"/>
              <a:gd name="connsiteY44" fmla="*/ 7526 h 9929"/>
              <a:gd name="connsiteX45" fmla="*/ 6855 w 10000"/>
              <a:gd name="connsiteY45" fmla="*/ 7224 h 9929"/>
              <a:gd name="connsiteX46" fmla="*/ 6855 w 10000"/>
              <a:gd name="connsiteY46" fmla="*/ 7063 h 9929"/>
              <a:gd name="connsiteX47" fmla="*/ 6757 w 10000"/>
              <a:gd name="connsiteY47" fmla="*/ 6976 h 9929"/>
              <a:gd name="connsiteX48" fmla="*/ 6915 w 10000"/>
              <a:gd name="connsiteY48" fmla="*/ 6830 h 9929"/>
              <a:gd name="connsiteX49" fmla="*/ 6887 w 10000"/>
              <a:gd name="connsiteY49" fmla="*/ 6712 h 9929"/>
              <a:gd name="connsiteX50" fmla="*/ 6779 w 10000"/>
              <a:gd name="connsiteY50" fmla="*/ 6611 h 9929"/>
              <a:gd name="connsiteX51" fmla="*/ 6757 w 10000"/>
              <a:gd name="connsiteY51" fmla="*/ 6532 h 9929"/>
              <a:gd name="connsiteX52" fmla="*/ 6785 w 10000"/>
              <a:gd name="connsiteY52" fmla="*/ 6475 h 9929"/>
              <a:gd name="connsiteX53" fmla="*/ 6931 w 10000"/>
              <a:gd name="connsiteY53" fmla="*/ 6521 h 9929"/>
              <a:gd name="connsiteX54" fmla="*/ 7045 w 10000"/>
              <a:gd name="connsiteY54" fmla="*/ 6518 h 9929"/>
              <a:gd name="connsiteX55" fmla="*/ 6983 w 10000"/>
              <a:gd name="connsiteY55" fmla="*/ 6422 h 9929"/>
              <a:gd name="connsiteX56" fmla="*/ 7003 w 10000"/>
              <a:gd name="connsiteY56" fmla="*/ 6364 h 9929"/>
              <a:gd name="connsiteX57" fmla="*/ 7089 w 10000"/>
              <a:gd name="connsiteY57" fmla="*/ 6283 h 9929"/>
              <a:gd name="connsiteX58" fmla="*/ 7074 w 10000"/>
              <a:gd name="connsiteY58" fmla="*/ 6215 h 9929"/>
              <a:gd name="connsiteX59" fmla="*/ 7152 w 10000"/>
              <a:gd name="connsiteY59" fmla="*/ 5988 h 9929"/>
              <a:gd name="connsiteX60" fmla="*/ 7130 w 10000"/>
              <a:gd name="connsiteY60" fmla="*/ 5919 h 9929"/>
              <a:gd name="connsiteX61" fmla="*/ 6729 w 10000"/>
              <a:gd name="connsiteY61" fmla="*/ 5745 h 9929"/>
              <a:gd name="connsiteX62" fmla="*/ 6785 w 10000"/>
              <a:gd name="connsiteY62" fmla="*/ 5739 h 9929"/>
              <a:gd name="connsiteX63" fmla="*/ 6998 w 10000"/>
              <a:gd name="connsiteY63" fmla="*/ 5784 h 9929"/>
              <a:gd name="connsiteX64" fmla="*/ 7230 w 10000"/>
              <a:gd name="connsiteY64" fmla="*/ 5767 h 9929"/>
              <a:gd name="connsiteX65" fmla="*/ 7295 w 10000"/>
              <a:gd name="connsiteY65" fmla="*/ 5705 h 9929"/>
              <a:gd name="connsiteX66" fmla="*/ 7074 w 10000"/>
              <a:gd name="connsiteY66" fmla="*/ 5587 h 9929"/>
              <a:gd name="connsiteX67" fmla="*/ 6414 w 10000"/>
              <a:gd name="connsiteY67" fmla="*/ 5510 h 9929"/>
              <a:gd name="connsiteX68" fmla="*/ 6458 w 10000"/>
              <a:gd name="connsiteY68" fmla="*/ 5474 h 9929"/>
              <a:gd name="connsiteX69" fmla="*/ 6998 w 10000"/>
              <a:gd name="connsiteY69" fmla="*/ 5449 h 9929"/>
              <a:gd name="connsiteX70" fmla="*/ 7295 w 10000"/>
              <a:gd name="connsiteY70" fmla="*/ 5521 h 9929"/>
              <a:gd name="connsiteX71" fmla="*/ 7466 w 10000"/>
              <a:gd name="connsiteY71" fmla="*/ 5474 h 9929"/>
              <a:gd name="connsiteX72" fmla="*/ 7529 w 10000"/>
              <a:gd name="connsiteY72" fmla="*/ 5352 h 9929"/>
              <a:gd name="connsiteX73" fmla="*/ 7840 w 10000"/>
              <a:gd name="connsiteY73" fmla="*/ 5352 h 9929"/>
              <a:gd name="connsiteX74" fmla="*/ 8261 w 10000"/>
              <a:gd name="connsiteY74" fmla="*/ 5107 h 9929"/>
              <a:gd name="connsiteX75" fmla="*/ 8275 w 10000"/>
              <a:gd name="connsiteY75" fmla="*/ 4942 h 9929"/>
              <a:gd name="connsiteX76" fmla="*/ 8453 w 10000"/>
              <a:gd name="connsiteY76" fmla="*/ 4979 h 9929"/>
              <a:gd name="connsiteX77" fmla="*/ 8446 w 10000"/>
              <a:gd name="connsiteY77" fmla="*/ 5144 h 9929"/>
              <a:gd name="connsiteX78" fmla="*/ 8727 w 10000"/>
              <a:gd name="connsiteY78" fmla="*/ 5132 h 9929"/>
              <a:gd name="connsiteX79" fmla="*/ 8913 w 10000"/>
              <a:gd name="connsiteY79" fmla="*/ 4962 h 9929"/>
              <a:gd name="connsiteX80" fmla="*/ 9258 w 10000"/>
              <a:gd name="connsiteY80" fmla="*/ 4808 h 9929"/>
              <a:gd name="connsiteX81" fmla="*/ 9203 w 10000"/>
              <a:gd name="connsiteY81" fmla="*/ 4634 h 9929"/>
              <a:gd name="connsiteX82" fmla="*/ 9306 w 10000"/>
              <a:gd name="connsiteY82" fmla="*/ 4703 h 9929"/>
              <a:gd name="connsiteX83" fmla="*/ 9464 w 10000"/>
              <a:gd name="connsiteY83" fmla="*/ 4703 h 9929"/>
              <a:gd name="connsiteX84" fmla="*/ 9464 w 10000"/>
              <a:gd name="connsiteY84" fmla="*/ 4622 h 9929"/>
              <a:gd name="connsiteX85" fmla="*/ 9611 w 10000"/>
              <a:gd name="connsiteY85" fmla="*/ 4563 h 9929"/>
              <a:gd name="connsiteX86" fmla="*/ 9592 w 10000"/>
              <a:gd name="connsiteY86" fmla="*/ 4500 h 9929"/>
              <a:gd name="connsiteX87" fmla="*/ 8350 w 10000"/>
              <a:gd name="connsiteY87" fmla="*/ 4624 h 9929"/>
              <a:gd name="connsiteX88" fmla="*/ 8058 w 10000"/>
              <a:gd name="connsiteY88" fmla="*/ 4589 h 9929"/>
              <a:gd name="connsiteX89" fmla="*/ 7942 w 10000"/>
              <a:gd name="connsiteY89" fmla="*/ 4634 h 9929"/>
              <a:gd name="connsiteX90" fmla="*/ 7903 w 10000"/>
              <a:gd name="connsiteY90" fmla="*/ 4545 h 9929"/>
              <a:gd name="connsiteX91" fmla="*/ 7765 w 10000"/>
              <a:gd name="connsiteY91" fmla="*/ 4469 h 9929"/>
              <a:gd name="connsiteX92" fmla="*/ 7213 w 10000"/>
              <a:gd name="connsiteY92" fmla="*/ 4309 h 9929"/>
              <a:gd name="connsiteX93" fmla="*/ 6887 w 10000"/>
              <a:gd name="connsiteY93" fmla="*/ 4336 h 9929"/>
              <a:gd name="connsiteX94" fmla="*/ 6757 w 10000"/>
              <a:gd name="connsiteY94" fmla="*/ 4290 h 9929"/>
              <a:gd name="connsiteX95" fmla="*/ 6894 w 10000"/>
              <a:gd name="connsiteY95" fmla="*/ 4252 h 9929"/>
              <a:gd name="connsiteX96" fmla="*/ 6998 w 10000"/>
              <a:gd name="connsiteY96" fmla="*/ 4168 h 9929"/>
              <a:gd name="connsiteX97" fmla="*/ 7152 w 10000"/>
              <a:gd name="connsiteY97" fmla="*/ 4194 h 9929"/>
              <a:gd name="connsiteX98" fmla="*/ 7335 w 10000"/>
              <a:gd name="connsiteY98" fmla="*/ 4173 h 9929"/>
              <a:gd name="connsiteX99" fmla="*/ 7611 w 10000"/>
              <a:gd name="connsiteY99" fmla="*/ 4200 h 9929"/>
              <a:gd name="connsiteX100" fmla="*/ 7645 w 10000"/>
              <a:gd name="connsiteY100" fmla="*/ 4189 h 9929"/>
              <a:gd name="connsiteX101" fmla="*/ 7859 w 10000"/>
              <a:gd name="connsiteY101" fmla="*/ 4317 h 9929"/>
              <a:gd name="connsiteX102" fmla="*/ 8017 w 10000"/>
              <a:gd name="connsiteY102" fmla="*/ 4269 h 9929"/>
              <a:gd name="connsiteX103" fmla="*/ 8032 w 10000"/>
              <a:gd name="connsiteY103" fmla="*/ 4226 h 9929"/>
              <a:gd name="connsiteX104" fmla="*/ 8176 w 10000"/>
              <a:gd name="connsiteY104" fmla="*/ 4302 h 9929"/>
              <a:gd name="connsiteX105" fmla="*/ 8369 w 10000"/>
              <a:gd name="connsiteY105" fmla="*/ 4343 h 9929"/>
              <a:gd name="connsiteX106" fmla="*/ 8446 w 10000"/>
              <a:gd name="connsiteY106" fmla="*/ 4267 h 9929"/>
              <a:gd name="connsiteX107" fmla="*/ 8507 w 10000"/>
              <a:gd name="connsiteY107" fmla="*/ 4309 h 9929"/>
              <a:gd name="connsiteX108" fmla="*/ 8596 w 10000"/>
              <a:gd name="connsiteY108" fmla="*/ 4458 h 9929"/>
              <a:gd name="connsiteX109" fmla="*/ 8782 w 10000"/>
              <a:gd name="connsiteY109" fmla="*/ 4491 h 9929"/>
              <a:gd name="connsiteX110" fmla="*/ 9542 w 10000"/>
              <a:gd name="connsiteY110" fmla="*/ 4274 h 9929"/>
              <a:gd name="connsiteX111" fmla="*/ 9914 w 10000"/>
              <a:gd name="connsiteY111" fmla="*/ 3973 h 9929"/>
              <a:gd name="connsiteX112" fmla="*/ 10000 w 10000"/>
              <a:gd name="connsiteY112" fmla="*/ 3755 h 9929"/>
              <a:gd name="connsiteX113" fmla="*/ 9866 w 10000"/>
              <a:gd name="connsiteY113" fmla="*/ 3556 h 9929"/>
              <a:gd name="connsiteX114" fmla="*/ 9582 w 10000"/>
              <a:gd name="connsiteY114" fmla="*/ 3438 h 9929"/>
              <a:gd name="connsiteX115" fmla="*/ 9382 w 10000"/>
              <a:gd name="connsiteY115" fmla="*/ 3242 h 9929"/>
              <a:gd name="connsiteX116" fmla="*/ 9569 w 10000"/>
              <a:gd name="connsiteY116" fmla="*/ 3236 h 9929"/>
              <a:gd name="connsiteX117" fmla="*/ 9555 w 10000"/>
              <a:gd name="connsiteY117" fmla="*/ 3189 h 9929"/>
              <a:gd name="connsiteX118" fmla="*/ 9068 w 10000"/>
              <a:gd name="connsiteY118" fmla="*/ 3054 h 9929"/>
              <a:gd name="connsiteX119" fmla="*/ 9047 w 10000"/>
              <a:gd name="connsiteY119" fmla="*/ 2928 h 9929"/>
              <a:gd name="connsiteX120" fmla="*/ 8953 w 10000"/>
              <a:gd name="connsiteY120" fmla="*/ 2797 h 9929"/>
              <a:gd name="connsiteX121" fmla="*/ 8569 w 10000"/>
              <a:gd name="connsiteY121" fmla="*/ 2821 h 9929"/>
              <a:gd name="connsiteX122" fmla="*/ 8431 w 10000"/>
              <a:gd name="connsiteY122" fmla="*/ 2681 h 9929"/>
              <a:gd name="connsiteX123" fmla="*/ 8350 w 10000"/>
              <a:gd name="connsiteY123" fmla="*/ 2672 h 9929"/>
              <a:gd name="connsiteX124" fmla="*/ 8350 w 10000"/>
              <a:gd name="connsiteY124" fmla="*/ 2734 h 9929"/>
              <a:gd name="connsiteX125" fmla="*/ 8176 w 10000"/>
              <a:gd name="connsiteY125" fmla="*/ 2967 h 9929"/>
              <a:gd name="connsiteX126" fmla="*/ 7990 w 10000"/>
              <a:gd name="connsiteY126" fmla="*/ 3105 h 9929"/>
              <a:gd name="connsiteX127" fmla="*/ 7401 w 10000"/>
              <a:gd name="connsiteY127" fmla="*/ 3338 h 9929"/>
              <a:gd name="connsiteX128" fmla="*/ 7198 w 10000"/>
              <a:gd name="connsiteY128" fmla="*/ 3331 h 9929"/>
              <a:gd name="connsiteX129" fmla="*/ 6915 w 10000"/>
              <a:gd name="connsiteY129" fmla="*/ 3368 h 9929"/>
              <a:gd name="connsiteX130" fmla="*/ 6757 w 10000"/>
              <a:gd name="connsiteY130" fmla="*/ 3331 h 9929"/>
              <a:gd name="connsiteX131" fmla="*/ 6965 w 10000"/>
              <a:gd name="connsiteY131" fmla="*/ 3264 h 9929"/>
              <a:gd name="connsiteX132" fmla="*/ 7235 w 10000"/>
              <a:gd name="connsiteY132" fmla="*/ 3236 h 9929"/>
              <a:gd name="connsiteX133" fmla="*/ 7455 w 10000"/>
              <a:gd name="connsiteY133" fmla="*/ 3127 h 9929"/>
              <a:gd name="connsiteX134" fmla="*/ 7674 w 10000"/>
              <a:gd name="connsiteY134" fmla="*/ 3075 h 9929"/>
              <a:gd name="connsiteX135" fmla="*/ 8082 w 10000"/>
              <a:gd name="connsiteY135" fmla="*/ 2882 h 9929"/>
              <a:gd name="connsiteX136" fmla="*/ 8157 w 10000"/>
              <a:gd name="connsiteY136" fmla="*/ 2758 h 9929"/>
              <a:gd name="connsiteX137" fmla="*/ 8165 w 10000"/>
              <a:gd name="connsiteY137" fmla="*/ 2596 h 9929"/>
              <a:gd name="connsiteX138" fmla="*/ 7978 w 10000"/>
              <a:gd name="connsiteY138" fmla="*/ 2569 h 9929"/>
              <a:gd name="connsiteX139" fmla="*/ 8058 w 10000"/>
              <a:gd name="connsiteY139" fmla="*/ 2470 h 9929"/>
              <a:gd name="connsiteX140" fmla="*/ 8087 w 10000"/>
              <a:gd name="connsiteY140" fmla="*/ 2345 h 9929"/>
              <a:gd name="connsiteX141" fmla="*/ 8007 w 10000"/>
              <a:gd name="connsiteY141" fmla="*/ 2228 h 9929"/>
              <a:gd name="connsiteX142" fmla="*/ 7450 w 10000"/>
              <a:gd name="connsiteY142" fmla="*/ 2389 h 9929"/>
              <a:gd name="connsiteX143" fmla="*/ 6694 w 10000"/>
              <a:gd name="connsiteY143" fmla="*/ 2317 h 9929"/>
              <a:gd name="connsiteX144" fmla="*/ 6304 w 10000"/>
              <a:gd name="connsiteY144" fmla="*/ 1869 h 9929"/>
              <a:gd name="connsiteX145" fmla="*/ 5294 w 10000"/>
              <a:gd name="connsiteY145" fmla="*/ 1784 h 9929"/>
              <a:gd name="connsiteX146" fmla="*/ 4505 w 10000"/>
              <a:gd name="connsiteY146" fmla="*/ 1411 h 9929"/>
              <a:gd name="connsiteX147" fmla="*/ 3730 w 10000"/>
              <a:gd name="connsiteY147" fmla="*/ 965 h 9929"/>
              <a:gd name="connsiteX148" fmla="*/ 3154 w 10000"/>
              <a:gd name="connsiteY148" fmla="*/ 143 h 9929"/>
              <a:gd name="connsiteX149" fmla="*/ 2375 w 10000"/>
              <a:gd name="connsiteY149" fmla="*/ 0 h 9929"/>
              <a:gd name="connsiteX150" fmla="*/ 2226 w 10000"/>
              <a:gd name="connsiteY150" fmla="*/ 774 h 9929"/>
              <a:gd name="connsiteX151" fmla="*/ 2375 w 10000"/>
              <a:gd name="connsiteY151" fmla="*/ 970 h 9929"/>
              <a:gd name="connsiteX152" fmla="*/ 2791 w 10000"/>
              <a:gd name="connsiteY152" fmla="*/ 1188 h 9929"/>
              <a:gd name="connsiteX153" fmla="*/ 2808 w 10000"/>
              <a:gd name="connsiteY153" fmla="*/ 1450 h 9929"/>
              <a:gd name="connsiteX154" fmla="*/ 2632 w 10000"/>
              <a:gd name="connsiteY154" fmla="*/ 1670 h 9929"/>
              <a:gd name="connsiteX155" fmla="*/ 2375 w 10000"/>
              <a:gd name="connsiteY155" fmla="*/ 1803 h 9929"/>
              <a:gd name="connsiteX156" fmla="*/ 2039 w 10000"/>
              <a:gd name="connsiteY156" fmla="*/ 1856 h 9929"/>
              <a:gd name="connsiteX157" fmla="*/ 1950 w 10000"/>
              <a:gd name="connsiteY157" fmla="*/ 1934 h 9929"/>
              <a:gd name="connsiteX158" fmla="*/ 2148 w 10000"/>
              <a:gd name="connsiteY158" fmla="*/ 2116 h 9929"/>
              <a:gd name="connsiteX159" fmla="*/ 2261 w 10000"/>
              <a:gd name="connsiteY159" fmla="*/ 2548 h 9929"/>
              <a:gd name="connsiteX160" fmla="*/ 2005 w 10000"/>
              <a:gd name="connsiteY160" fmla="*/ 2918 h 9929"/>
              <a:gd name="connsiteX161" fmla="*/ 2094 w 10000"/>
              <a:gd name="connsiteY161" fmla="*/ 3030 h 9929"/>
              <a:gd name="connsiteX162" fmla="*/ 2012 w 10000"/>
              <a:gd name="connsiteY162" fmla="*/ 3223 h 9929"/>
              <a:gd name="connsiteX163" fmla="*/ 1850 w 10000"/>
              <a:gd name="connsiteY163" fmla="*/ 3358 h 9929"/>
              <a:gd name="connsiteX164" fmla="*/ 1199 w 10000"/>
              <a:gd name="connsiteY164" fmla="*/ 3460 h 9929"/>
              <a:gd name="connsiteX165" fmla="*/ 1158 w 10000"/>
              <a:gd name="connsiteY165" fmla="*/ 3639 h 9929"/>
              <a:gd name="connsiteX166" fmla="*/ 808 w 10000"/>
              <a:gd name="connsiteY166" fmla="*/ 3904 h 9929"/>
              <a:gd name="connsiteX167" fmla="*/ 854 w 10000"/>
              <a:gd name="connsiteY167" fmla="*/ 4288 h 9929"/>
              <a:gd name="connsiteX168" fmla="*/ 560 w 10000"/>
              <a:gd name="connsiteY168" fmla="*/ 4779 h 9929"/>
              <a:gd name="connsiteX169" fmla="*/ 358 w 10000"/>
              <a:gd name="connsiteY169" fmla="*/ 4836 h 9929"/>
              <a:gd name="connsiteX170" fmla="*/ 275 w 10000"/>
              <a:gd name="connsiteY170" fmla="*/ 4719 h 9929"/>
              <a:gd name="connsiteX171" fmla="*/ 174 w 10000"/>
              <a:gd name="connsiteY171" fmla="*/ 4896 h 9929"/>
              <a:gd name="connsiteX172" fmla="*/ 239 w 10000"/>
              <a:gd name="connsiteY172" fmla="*/ 4591 h 9929"/>
              <a:gd name="connsiteX173" fmla="*/ 197 w 10000"/>
              <a:gd name="connsiteY173" fmla="*/ 4534 h 9929"/>
              <a:gd name="connsiteX0" fmla="*/ 197 w 10000"/>
              <a:gd name="connsiteY0" fmla="*/ 4566 h 9994"/>
              <a:gd name="connsiteX1" fmla="*/ 0 w 10000"/>
              <a:gd name="connsiteY1" fmla="*/ 4726 h 9994"/>
              <a:gd name="connsiteX2" fmla="*/ 0 w 10000"/>
              <a:gd name="connsiteY2" fmla="*/ 5513 h 9994"/>
              <a:gd name="connsiteX3" fmla="*/ 109 w 10000"/>
              <a:gd name="connsiteY3" fmla="*/ 5534 h 9994"/>
              <a:gd name="connsiteX4" fmla="*/ 134 w 10000"/>
              <a:gd name="connsiteY4" fmla="*/ 5596 h 9994"/>
              <a:gd name="connsiteX5" fmla="*/ 130 w 10000"/>
              <a:gd name="connsiteY5" fmla="*/ 5703 h 9994"/>
              <a:gd name="connsiteX6" fmla="*/ 89 w 10000"/>
              <a:gd name="connsiteY6" fmla="*/ 5750 h 9994"/>
              <a:gd name="connsiteX7" fmla="*/ 255 w 10000"/>
              <a:gd name="connsiteY7" fmla="*/ 5658 h 9994"/>
              <a:gd name="connsiteX8" fmla="*/ 325 w 10000"/>
              <a:gd name="connsiteY8" fmla="*/ 5570 h 9994"/>
              <a:gd name="connsiteX9" fmla="*/ 413 w 10000"/>
              <a:gd name="connsiteY9" fmla="*/ 5630 h 9994"/>
              <a:gd name="connsiteX10" fmla="*/ 316 w 10000"/>
              <a:gd name="connsiteY10" fmla="*/ 5760 h 9994"/>
              <a:gd name="connsiteX11" fmla="*/ 419 w 10000"/>
              <a:gd name="connsiteY11" fmla="*/ 5763 h 9994"/>
              <a:gd name="connsiteX12" fmla="*/ 469 w 10000"/>
              <a:gd name="connsiteY12" fmla="*/ 5795 h 9994"/>
              <a:gd name="connsiteX13" fmla="*/ 337 w 10000"/>
              <a:gd name="connsiteY13" fmla="*/ 5836 h 9994"/>
              <a:gd name="connsiteX14" fmla="*/ 130 w 10000"/>
              <a:gd name="connsiteY14" fmla="*/ 5968 h 9994"/>
              <a:gd name="connsiteX15" fmla="*/ 497 w 10000"/>
              <a:gd name="connsiteY15" fmla="*/ 6073 h 9994"/>
              <a:gd name="connsiteX16" fmla="*/ 545 w 10000"/>
              <a:gd name="connsiteY16" fmla="*/ 6220 h 9994"/>
              <a:gd name="connsiteX17" fmla="*/ 419 w 10000"/>
              <a:gd name="connsiteY17" fmla="*/ 6437 h 9994"/>
              <a:gd name="connsiteX18" fmla="*/ 688 w 10000"/>
              <a:gd name="connsiteY18" fmla="*/ 6425 h 9994"/>
              <a:gd name="connsiteX19" fmla="*/ 709 w 10000"/>
              <a:gd name="connsiteY19" fmla="*/ 6586 h 9994"/>
              <a:gd name="connsiteX20" fmla="*/ 530 w 10000"/>
              <a:gd name="connsiteY20" fmla="*/ 6702 h 9994"/>
              <a:gd name="connsiteX21" fmla="*/ 560 w 10000"/>
              <a:gd name="connsiteY21" fmla="*/ 6914 h 9994"/>
              <a:gd name="connsiteX22" fmla="*/ 489 w 10000"/>
              <a:gd name="connsiteY22" fmla="*/ 7084 h 9994"/>
              <a:gd name="connsiteX23" fmla="*/ 703 w 10000"/>
              <a:gd name="connsiteY23" fmla="*/ 7100 h 9994"/>
              <a:gd name="connsiteX24" fmla="*/ 909 w 10000"/>
              <a:gd name="connsiteY24" fmla="*/ 7745 h 9994"/>
              <a:gd name="connsiteX25" fmla="*/ 1150 w 10000"/>
              <a:gd name="connsiteY25" fmla="*/ 7904 h 9994"/>
              <a:gd name="connsiteX26" fmla="*/ 1255 w 10000"/>
              <a:gd name="connsiteY26" fmla="*/ 8079 h 9994"/>
              <a:gd name="connsiteX27" fmla="*/ 1514 w 10000"/>
              <a:gd name="connsiteY27" fmla="*/ 8204 h 9994"/>
              <a:gd name="connsiteX28" fmla="*/ 1684 w 10000"/>
              <a:gd name="connsiteY28" fmla="*/ 8367 h 9994"/>
              <a:gd name="connsiteX29" fmla="*/ 1661 w 10000"/>
              <a:gd name="connsiteY29" fmla="*/ 8484 h 9994"/>
              <a:gd name="connsiteX30" fmla="*/ 1496 w 10000"/>
              <a:gd name="connsiteY30" fmla="*/ 8527 h 9994"/>
              <a:gd name="connsiteX31" fmla="*/ 1316 w 10000"/>
              <a:gd name="connsiteY31" fmla="*/ 8498 h 9994"/>
              <a:gd name="connsiteX32" fmla="*/ 1260 w 10000"/>
              <a:gd name="connsiteY32" fmla="*/ 8545 h 9994"/>
              <a:gd name="connsiteX33" fmla="*/ 1397 w 10000"/>
              <a:gd name="connsiteY33" fmla="*/ 8794 h 9994"/>
              <a:gd name="connsiteX34" fmla="*/ 1205 w 10000"/>
              <a:gd name="connsiteY34" fmla="*/ 8773 h 9994"/>
              <a:gd name="connsiteX35" fmla="*/ 1040 w 10000"/>
              <a:gd name="connsiteY35" fmla="*/ 8713 h 9994"/>
              <a:gd name="connsiteX36" fmla="*/ 1012 w 10000"/>
              <a:gd name="connsiteY36" fmla="*/ 8806 h 9994"/>
              <a:gd name="connsiteX37" fmla="*/ 1557 w 10000"/>
              <a:gd name="connsiteY37" fmla="*/ 9664 h 9994"/>
              <a:gd name="connsiteX38" fmla="*/ 1469 w 10000"/>
              <a:gd name="connsiteY38" fmla="*/ 9743 h 9994"/>
              <a:gd name="connsiteX39" fmla="*/ 1408 w 10000"/>
              <a:gd name="connsiteY39" fmla="*/ 9908 h 9994"/>
              <a:gd name="connsiteX40" fmla="*/ 1329 w 10000"/>
              <a:gd name="connsiteY40" fmla="*/ 9920 h 9994"/>
              <a:gd name="connsiteX41" fmla="*/ 1281 w 10000"/>
              <a:gd name="connsiteY41" fmla="*/ 9994 h 9994"/>
              <a:gd name="connsiteX42" fmla="*/ 6419 w 10000"/>
              <a:gd name="connsiteY42" fmla="*/ 8268 h 9994"/>
              <a:gd name="connsiteX43" fmla="*/ 6586 w 10000"/>
              <a:gd name="connsiteY43" fmla="*/ 7580 h 9994"/>
              <a:gd name="connsiteX44" fmla="*/ 6855 w 10000"/>
              <a:gd name="connsiteY44" fmla="*/ 7276 h 9994"/>
              <a:gd name="connsiteX45" fmla="*/ 6855 w 10000"/>
              <a:gd name="connsiteY45" fmla="*/ 7114 h 9994"/>
              <a:gd name="connsiteX46" fmla="*/ 6757 w 10000"/>
              <a:gd name="connsiteY46" fmla="*/ 7026 h 9994"/>
              <a:gd name="connsiteX47" fmla="*/ 6915 w 10000"/>
              <a:gd name="connsiteY47" fmla="*/ 6879 h 9994"/>
              <a:gd name="connsiteX48" fmla="*/ 6887 w 10000"/>
              <a:gd name="connsiteY48" fmla="*/ 6760 h 9994"/>
              <a:gd name="connsiteX49" fmla="*/ 6779 w 10000"/>
              <a:gd name="connsiteY49" fmla="*/ 6658 h 9994"/>
              <a:gd name="connsiteX50" fmla="*/ 6757 w 10000"/>
              <a:gd name="connsiteY50" fmla="*/ 6579 h 9994"/>
              <a:gd name="connsiteX51" fmla="*/ 6785 w 10000"/>
              <a:gd name="connsiteY51" fmla="*/ 6521 h 9994"/>
              <a:gd name="connsiteX52" fmla="*/ 6931 w 10000"/>
              <a:gd name="connsiteY52" fmla="*/ 6568 h 9994"/>
              <a:gd name="connsiteX53" fmla="*/ 7045 w 10000"/>
              <a:gd name="connsiteY53" fmla="*/ 6565 h 9994"/>
              <a:gd name="connsiteX54" fmla="*/ 6983 w 10000"/>
              <a:gd name="connsiteY54" fmla="*/ 6468 h 9994"/>
              <a:gd name="connsiteX55" fmla="*/ 7003 w 10000"/>
              <a:gd name="connsiteY55" fmla="*/ 6410 h 9994"/>
              <a:gd name="connsiteX56" fmla="*/ 7089 w 10000"/>
              <a:gd name="connsiteY56" fmla="*/ 6328 h 9994"/>
              <a:gd name="connsiteX57" fmla="*/ 7074 w 10000"/>
              <a:gd name="connsiteY57" fmla="*/ 6259 h 9994"/>
              <a:gd name="connsiteX58" fmla="*/ 7152 w 10000"/>
              <a:gd name="connsiteY58" fmla="*/ 6031 h 9994"/>
              <a:gd name="connsiteX59" fmla="*/ 7130 w 10000"/>
              <a:gd name="connsiteY59" fmla="*/ 5961 h 9994"/>
              <a:gd name="connsiteX60" fmla="*/ 6729 w 10000"/>
              <a:gd name="connsiteY60" fmla="*/ 5786 h 9994"/>
              <a:gd name="connsiteX61" fmla="*/ 6785 w 10000"/>
              <a:gd name="connsiteY61" fmla="*/ 5780 h 9994"/>
              <a:gd name="connsiteX62" fmla="*/ 6998 w 10000"/>
              <a:gd name="connsiteY62" fmla="*/ 5825 h 9994"/>
              <a:gd name="connsiteX63" fmla="*/ 7230 w 10000"/>
              <a:gd name="connsiteY63" fmla="*/ 5808 h 9994"/>
              <a:gd name="connsiteX64" fmla="*/ 7295 w 10000"/>
              <a:gd name="connsiteY64" fmla="*/ 5746 h 9994"/>
              <a:gd name="connsiteX65" fmla="*/ 7074 w 10000"/>
              <a:gd name="connsiteY65" fmla="*/ 5627 h 9994"/>
              <a:gd name="connsiteX66" fmla="*/ 6414 w 10000"/>
              <a:gd name="connsiteY66" fmla="*/ 5549 h 9994"/>
              <a:gd name="connsiteX67" fmla="*/ 6458 w 10000"/>
              <a:gd name="connsiteY67" fmla="*/ 5513 h 9994"/>
              <a:gd name="connsiteX68" fmla="*/ 6998 w 10000"/>
              <a:gd name="connsiteY68" fmla="*/ 5488 h 9994"/>
              <a:gd name="connsiteX69" fmla="*/ 7295 w 10000"/>
              <a:gd name="connsiteY69" fmla="*/ 5560 h 9994"/>
              <a:gd name="connsiteX70" fmla="*/ 7466 w 10000"/>
              <a:gd name="connsiteY70" fmla="*/ 5513 h 9994"/>
              <a:gd name="connsiteX71" fmla="*/ 7529 w 10000"/>
              <a:gd name="connsiteY71" fmla="*/ 5390 h 9994"/>
              <a:gd name="connsiteX72" fmla="*/ 7840 w 10000"/>
              <a:gd name="connsiteY72" fmla="*/ 5390 h 9994"/>
              <a:gd name="connsiteX73" fmla="*/ 8261 w 10000"/>
              <a:gd name="connsiteY73" fmla="*/ 5144 h 9994"/>
              <a:gd name="connsiteX74" fmla="*/ 8275 w 10000"/>
              <a:gd name="connsiteY74" fmla="*/ 4977 h 9994"/>
              <a:gd name="connsiteX75" fmla="*/ 8453 w 10000"/>
              <a:gd name="connsiteY75" fmla="*/ 5015 h 9994"/>
              <a:gd name="connsiteX76" fmla="*/ 8446 w 10000"/>
              <a:gd name="connsiteY76" fmla="*/ 5181 h 9994"/>
              <a:gd name="connsiteX77" fmla="*/ 8727 w 10000"/>
              <a:gd name="connsiteY77" fmla="*/ 5169 h 9994"/>
              <a:gd name="connsiteX78" fmla="*/ 8913 w 10000"/>
              <a:gd name="connsiteY78" fmla="*/ 4997 h 9994"/>
              <a:gd name="connsiteX79" fmla="*/ 9258 w 10000"/>
              <a:gd name="connsiteY79" fmla="*/ 4842 h 9994"/>
              <a:gd name="connsiteX80" fmla="*/ 9203 w 10000"/>
              <a:gd name="connsiteY80" fmla="*/ 4667 h 9994"/>
              <a:gd name="connsiteX81" fmla="*/ 9306 w 10000"/>
              <a:gd name="connsiteY81" fmla="*/ 4737 h 9994"/>
              <a:gd name="connsiteX82" fmla="*/ 9464 w 10000"/>
              <a:gd name="connsiteY82" fmla="*/ 4737 h 9994"/>
              <a:gd name="connsiteX83" fmla="*/ 9464 w 10000"/>
              <a:gd name="connsiteY83" fmla="*/ 4655 h 9994"/>
              <a:gd name="connsiteX84" fmla="*/ 9611 w 10000"/>
              <a:gd name="connsiteY84" fmla="*/ 4596 h 9994"/>
              <a:gd name="connsiteX85" fmla="*/ 9592 w 10000"/>
              <a:gd name="connsiteY85" fmla="*/ 4532 h 9994"/>
              <a:gd name="connsiteX86" fmla="*/ 8350 w 10000"/>
              <a:gd name="connsiteY86" fmla="*/ 4657 h 9994"/>
              <a:gd name="connsiteX87" fmla="*/ 8058 w 10000"/>
              <a:gd name="connsiteY87" fmla="*/ 4622 h 9994"/>
              <a:gd name="connsiteX88" fmla="*/ 7942 w 10000"/>
              <a:gd name="connsiteY88" fmla="*/ 4667 h 9994"/>
              <a:gd name="connsiteX89" fmla="*/ 7903 w 10000"/>
              <a:gd name="connsiteY89" fmla="*/ 4578 h 9994"/>
              <a:gd name="connsiteX90" fmla="*/ 7765 w 10000"/>
              <a:gd name="connsiteY90" fmla="*/ 4501 h 9994"/>
              <a:gd name="connsiteX91" fmla="*/ 7213 w 10000"/>
              <a:gd name="connsiteY91" fmla="*/ 4340 h 9994"/>
              <a:gd name="connsiteX92" fmla="*/ 6887 w 10000"/>
              <a:gd name="connsiteY92" fmla="*/ 4367 h 9994"/>
              <a:gd name="connsiteX93" fmla="*/ 6757 w 10000"/>
              <a:gd name="connsiteY93" fmla="*/ 4321 h 9994"/>
              <a:gd name="connsiteX94" fmla="*/ 6894 w 10000"/>
              <a:gd name="connsiteY94" fmla="*/ 4282 h 9994"/>
              <a:gd name="connsiteX95" fmla="*/ 6998 w 10000"/>
              <a:gd name="connsiteY95" fmla="*/ 4198 h 9994"/>
              <a:gd name="connsiteX96" fmla="*/ 7152 w 10000"/>
              <a:gd name="connsiteY96" fmla="*/ 4224 h 9994"/>
              <a:gd name="connsiteX97" fmla="*/ 7335 w 10000"/>
              <a:gd name="connsiteY97" fmla="*/ 4203 h 9994"/>
              <a:gd name="connsiteX98" fmla="*/ 7611 w 10000"/>
              <a:gd name="connsiteY98" fmla="*/ 4230 h 9994"/>
              <a:gd name="connsiteX99" fmla="*/ 7645 w 10000"/>
              <a:gd name="connsiteY99" fmla="*/ 4219 h 9994"/>
              <a:gd name="connsiteX100" fmla="*/ 7859 w 10000"/>
              <a:gd name="connsiteY100" fmla="*/ 4348 h 9994"/>
              <a:gd name="connsiteX101" fmla="*/ 8017 w 10000"/>
              <a:gd name="connsiteY101" fmla="*/ 4300 h 9994"/>
              <a:gd name="connsiteX102" fmla="*/ 8032 w 10000"/>
              <a:gd name="connsiteY102" fmla="*/ 4256 h 9994"/>
              <a:gd name="connsiteX103" fmla="*/ 8176 w 10000"/>
              <a:gd name="connsiteY103" fmla="*/ 4333 h 9994"/>
              <a:gd name="connsiteX104" fmla="*/ 8369 w 10000"/>
              <a:gd name="connsiteY104" fmla="*/ 4374 h 9994"/>
              <a:gd name="connsiteX105" fmla="*/ 8446 w 10000"/>
              <a:gd name="connsiteY105" fmla="*/ 4298 h 9994"/>
              <a:gd name="connsiteX106" fmla="*/ 8507 w 10000"/>
              <a:gd name="connsiteY106" fmla="*/ 4340 h 9994"/>
              <a:gd name="connsiteX107" fmla="*/ 8596 w 10000"/>
              <a:gd name="connsiteY107" fmla="*/ 4490 h 9994"/>
              <a:gd name="connsiteX108" fmla="*/ 8782 w 10000"/>
              <a:gd name="connsiteY108" fmla="*/ 4523 h 9994"/>
              <a:gd name="connsiteX109" fmla="*/ 9542 w 10000"/>
              <a:gd name="connsiteY109" fmla="*/ 4305 h 9994"/>
              <a:gd name="connsiteX110" fmla="*/ 9914 w 10000"/>
              <a:gd name="connsiteY110" fmla="*/ 4001 h 9994"/>
              <a:gd name="connsiteX111" fmla="*/ 10000 w 10000"/>
              <a:gd name="connsiteY111" fmla="*/ 3782 h 9994"/>
              <a:gd name="connsiteX112" fmla="*/ 9866 w 10000"/>
              <a:gd name="connsiteY112" fmla="*/ 3581 h 9994"/>
              <a:gd name="connsiteX113" fmla="*/ 9582 w 10000"/>
              <a:gd name="connsiteY113" fmla="*/ 3463 h 9994"/>
              <a:gd name="connsiteX114" fmla="*/ 9382 w 10000"/>
              <a:gd name="connsiteY114" fmla="*/ 3265 h 9994"/>
              <a:gd name="connsiteX115" fmla="*/ 9569 w 10000"/>
              <a:gd name="connsiteY115" fmla="*/ 3259 h 9994"/>
              <a:gd name="connsiteX116" fmla="*/ 9555 w 10000"/>
              <a:gd name="connsiteY116" fmla="*/ 3212 h 9994"/>
              <a:gd name="connsiteX117" fmla="*/ 9068 w 10000"/>
              <a:gd name="connsiteY117" fmla="*/ 3076 h 9994"/>
              <a:gd name="connsiteX118" fmla="*/ 9047 w 10000"/>
              <a:gd name="connsiteY118" fmla="*/ 2949 h 9994"/>
              <a:gd name="connsiteX119" fmla="*/ 8953 w 10000"/>
              <a:gd name="connsiteY119" fmla="*/ 2817 h 9994"/>
              <a:gd name="connsiteX120" fmla="*/ 8569 w 10000"/>
              <a:gd name="connsiteY120" fmla="*/ 2841 h 9994"/>
              <a:gd name="connsiteX121" fmla="*/ 8431 w 10000"/>
              <a:gd name="connsiteY121" fmla="*/ 2700 h 9994"/>
              <a:gd name="connsiteX122" fmla="*/ 8350 w 10000"/>
              <a:gd name="connsiteY122" fmla="*/ 2691 h 9994"/>
              <a:gd name="connsiteX123" fmla="*/ 8350 w 10000"/>
              <a:gd name="connsiteY123" fmla="*/ 2754 h 9994"/>
              <a:gd name="connsiteX124" fmla="*/ 8176 w 10000"/>
              <a:gd name="connsiteY124" fmla="*/ 2988 h 9994"/>
              <a:gd name="connsiteX125" fmla="*/ 7990 w 10000"/>
              <a:gd name="connsiteY125" fmla="*/ 3127 h 9994"/>
              <a:gd name="connsiteX126" fmla="*/ 7401 w 10000"/>
              <a:gd name="connsiteY126" fmla="*/ 3362 h 9994"/>
              <a:gd name="connsiteX127" fmla="*/ 7198 w 10000"/>
              <a:gd name="connsiteY127" fmla="*/ 3355 h 9994"/>
              <a:gd name="connsiteX128" fmla="*/ 6915 w 10000"/>
              <a:gd name="connsiteY128" fmla="*/ 3392 h 9994"/>
              <a:gd name="connsiteX129" fmla="*/ 6757 w 10000"/>
              <a:gd name="connsiteY129" fmla="*/ 3355 h 9994"/>
              <a:gd name="connsiteX130" fmla="*/ 6965 w 10000"/>
              <a:gd name="connsiteY130" fmla="*/ 3287 h 9994"/>
              <a:gd name="connsiteX131" fmla="*/ 7235 w 10000"/>
              <a:gd name="connsiteY131" fmla="*/ 3259 h 9994"/>
              <a:gd name="connsiteX132" fmla="*/ 7455 w 10000"/>
              <a:gd name="connsiteY132" fmla="*/ 3149 h 9994"/>
              <a:gd name="connsiteX133" fmla="*/ 7674 w 10000"/>
              <a:gd name="connsiteY133" fmla="*/ 3097 h 9994"/>
              <a:gd name="connsiteX134" fmla="*/ 8082 w 10000"/>
              <a:gd name="connsiteY134" fmla="*/ 2903 h 9994"/>
              <a:gd name="connsiteX135" fmla="*/ 8157 w 10000"/>
              <a:gd name="connsiteY135" fmla="*/ 2778 h 9994"/>
              <a:gd name="connsiteX136" fmla="*/ 8165 w 10000"/>
              <a:gd name="connsiteY136" fmla="*/ 2615 h 9994"/>
              <a:gd name="connsiteX137" fmla="*/ 7978 w 10000"/>
              <a:gd name="connsiteY137" fmla="*/ 2587 h 9994"/>
              <a:gd name="connsiteX138" fmla="*/ 8058 w 10000"/>
              <a:gd name="connsiteY138" fmla="*/ 2488 h 9994"/>
              <a:gd name="connsiteX139" fmla="*/ 8087 w 10000"/>
              <a:gd name="connsiteY139" fmla="*/ 2362 h 9994"/>
              <a:gd name="connsiteX140" fmla="*/ 8007 w 10000"/>
              <a:gd name="connsiteY140" fmla="*/ 2244 h 9994"/>
              <a:gd name="connsiteX141" fmla="*/ 7450 w 10000"/>
              <a:gd name="connsiteY141" fmla="*/ 2406 h 9994"/>
              <a:gd name="connsiteX142" fmla="*/ 6694 w 10000"/>
              <a:gd name="connsiteY142" fmla="*/ 2334 h 9994"/>
              <a:gd name="connsiteX143" fmla="*/ 6304 w 10000"/>
              <a:gd name="connsiteY143" fmla="*/ 1882 h 9994"/>
              <a:gd name="connsiteX144" fmla="*/ 5294 w 10000"/>
              <a:gd name="connsiteY144" fmla="*/ 1797 h 9994"/>
              <a:gd name="connsiteX145" fmla="*/ 4505 w 10000"/>
              <a:gd name="connsiteY145" fmla="*/ 1421 h 9994"/>
              <a:gd name="connsiteX146" fmla="*/ 3730 w 10000"/>
              <a:gd name="connsiteY146" fmla="*/ 972 h 9994"/>
              <a:gd name="connsiteX147" fmla="*/ 3154 w 10000"/>
              <a:gd name="connsiteY147" fmla="*/ 144 h 9994"/>
              <a:gd name="connsiteX148" fmla="*/ 2375 w 10000"/>
              <a:gd name="connsiteY148" fmla="*/ 0 h 9994"/>
              <a:gd name="connsiteX149" fmla="*/ 2226 w 10000"/>
              <a:gd name="connsiteY149" fmla="*/ 780 h 9994"/>
              <a:gd name="connsiteX150" fmla="*/ 2375 w 10000"/>
              <a:gd name="connsiteY150" fmla="*/ 977 h 9994"/>
              <a:gd name="connsiteX151" fmla="*/ 2791 w 10000"/>
              <a:gd name="connsiteY151" fmla="*/ 1196 h 9994"/>
              <a:gd name="connsiteX152" fmla="*/ 2808 w 10000"/>
              <a:gd name="connsiteY152" fmla="*/ 1460 h 9994"/>
              <a:gd name="connsiteX153" fmla="*/ 2632 w 10000"/>
              <a:gd name="connsiteY153" fmla="*/ 1682 h 9994"/>
              <a:gd name="connsiteX154" fmla="*/ 2375 w 10000"/>
              <a:gd name="connsiteY154" fmla="*/ 1816 h 9994"/>
              <a:gd name="connsiteX155" fmla="*/ 2039 w 10000"/>
              <a:gd name="connsiteY155" fmla="*/ 1869 h 9994"/>
              <a:gd name="connsiteX156" fmla="*/ 1950 w 10000"/>
              <a:gd name="connsiteY156" fmla="*/ 1948 h 9994"/>
              <a:gd name="connsiteX157" fmla="*/ 2148 w 10000"/>
              <a:gd name="connsiteY157" fmla="*/ 2131 h 9994"/>
              <a:gd name="connsiteX158" fmla="*/ 2261 w 10000"/>
              <a:gd name="connsiteY158" fmla="*/ 2566 h 9994"/>
              <a:gd name="connsiteX159" fmla="*/ 2005 w 10000"/>
              <a:gd name="connsiteY159" fmla="*/ 2939 h 9994"/>
              <a:gd name="connsiteX160" fmla="*/ 2094 w 10000"/>
              <a:gd name="connsiteY160" fmla="*/ 3052 h 9994"/>
              <a:gd name="connsiteX161" fmla="*/ 2012 w 10000"/>
              <a:gd name="connsiteY161" fmla="*/ 3246 h 9994"/>
              <a:gd name="connsiteX162" fmla="*/ 1850 w 10000"/>
              <a:gd name="connsiteY162" fmla="*/ 3382 h 9994"/>
              <a:gd name="connsiteX163" fmla="*/ 1199 w 10000"/>
              <a:gd name="connsiteY163" fmla="*/ 3485 h 9994"/>
              <a:gd name="connsiteX164" fmla="*/ 1158 w 10000"/>
              <a:gd name="connsiteY164" fmla="*/ 3665 h 9994"/>
              <a:gd name="connsiteX165" fmla="*/ 808 w 10000"/>
              <a:gd name="connsiteY165" fmla="*/ 3932 h 9994"/>
              <a:gd name="connsiteX166" fmla="*/ 854 w 10000"/>
              <a:gd name="connsiteY166" fmla="*/ 4319 h 9994"/>
              <a:gd name="connsiteX167" fmla="*/ 560 w 10000"/>
              <a:gd name="connsiteY167" fmla="*/ 4813 h 9994"/>
              <a:gd name="connsiteX168" fmla="*/ 358 w 10000"/>
              <a:gd name="connsiteY168" fmla="*/ 4871 h 9994"/>
              <a:gd name="connsiteX169" fmla="*/ 275 w 10000"/>
              <a:gd name="connsiteY169" fmla="*/ 4753 h 9994"/>
              <a:gd name="connsiteX170" fmla="*/ 174 w 10000"/>
              <a:gd name="connsiteY170" fmla="*/ 4931 h 9994"/>
              <a:gd name="connsiteX171" fmla="*/ 239 w 10000"/>
              <a:gd name="connsiteY171" fmla="*/ 4624 h 9994"/>
              <a:gd name="connsiteX172" fmla="*/ 197 w 10000"/>
              <a:gd name="connsiteY172" fmla="*/ 4566 h 9994"/>
              <a:gd name="connsiteX0" fmla="*/ 197 w 10000"/>
              <a:gd name="connsiteY0" fmla="*/ 4569 h 9926"/>
              <a:gd name="connsiteX1" fmla="*/ 0 w 10000"/>
              <a:gd name="connsiteY1" fmla="*/ 4729 h 9926"/>
              <a:gd name="connsiteX2" fmla="*/ 0 w 10000"/>
              <a:gd name="connsiteY2" fmla="*/ 5516 h 9926"/>
              <a:gd name="connsiteX3" fmla="*/ 109 w 10000"/>
              <a:gd name="connsiteY3" fmla="*/ 5537 h 9926"/>
              <a:gd name="connsiteX4" fmla="*/ 134 w 10000"/>
              <a:gd name="connsiteY4" fmla="*/ 5599 h 9926"/>
              <a:gd name="connsiteX5" fmla="*/ 130 w 10000"/>
              <a:gd name="connsiteY5" fmla="*/ 5706 h 9926"/>
              <a:gd name="connsiteX6" fmla="*/ 89 w 10000"/>
              <a:gd name="connsiteY6" fmla="*/ 5753 h 9926"/>
              <a:gd name="connsiteX7" fmla="*/ 255 w 10000"/>
              <a:gd name="connsiteY7" fmla="*/ 5661 h 9926"/>
              <a:gd name="connsiteX8" fmla="*/ 325 w 10000"/>
              <a:gd name="connsiteY8" fmla="*/ 5573 h 9926"/>
              <a:gd name="connsiteX9" fmla="*/ 413 w 10000"/>
              <a:gd name="connsiteY9" fmla="*/ 5633 h 9926"/>
              <a:gd name="connsiteX10" fmla="*/ 316 w 10000"/>
              <a:gd name="connsiteY10" fmla="*/ 5763 h 9926"/>
              <a:gd name="connsiteX11" fmla="*/ 419 w 10000"/>
              <a:gd name="connsiteY11" fmla="*/ 5766 h 9926"/>
              <a:gd name="connsiteX12" fmla="*/ 469 w 10000"/>
              <a:gd name="connsiteY12" fmla="*/ 5798 h 9926"/>
              <a:gd name="connsiteX13" fmla="*/ 337 w 10000"/>
              <a:gd name="connsiteY13" fmla="*/ 5840 h 9926"/>
              <a:gd name="connsiteX14" fmla="*/ 130 w 10000"/>
              <a:gd name="connsiteY14" fmla="*/ 5972 h 9926"/>
              <a:gd name="connsiteX15" fmla="*/ 497 w 10000"/>
              <a:gd name="connsiteY15" fmla="*/ 6077 h 9926"/>
              <a:gd name="connsiteX16" fmla="*/ 545 w 10000"/>
              <a:gd name="connsiteY16" fmla="*/ 6224 h 9926"/>
              <a:gd name="connsiteX17" fmla="*/ 419 w 10000"/>
              <a:gd name="connsiteY17" fmla="*/ 6441 h 9926"/>
              <a:gd name="connsiteX18" fmla="*/ 688 w 10000"/>
              <a:gd name="connsiteY18" fmla="*/ 6429 h 9926"/>
              <a:gd name="connsiteX19" fmla="*/ 709 w 10000"/>
              <a:gd name="connsiteY19" fmla="*/ 6590 h 9926"/>
              <a:gd name="connsiteX20" fmla="*/ 530 w 10000"/>
              <a:gd name="connsiteY20" fmla="*/ 6706 h 9926"/>
              <a:gd name="connsiteX21" fmla="*/ 560 w 10000"/>
              <a:gd name="connsiteY21" fmla="*/ 6918 h 9926"/>
              <a:gd name="connsiteX22" fmla="*/ 489 w 10000"/>
              <a:gd name="connsiteY22" fmla="*/ 7088 h 9926"/>
              <a:gd name="connsiteX23" fmla="*/ 703 w 10000"/>
              <a:gd name="connsiteY23" fmla="*/ 7104 h 9926"/>
              <a:gd name="connsiteX24" fmla="*/ 909 w 10000"/>
              <a:gd name="connsiteY24" fmla="*/ 7750 h 9926"/>
              <a:gd name="connsiteX25" fmla="*/ 1150 w 10000"/>
              <a:gd name="connsiteY25" fmla="*/ 7909 h 9926"/>
              <a:gd name="connsiteX26" fmla="*/ 1255 w 10000"/>
              <a:gd name="connsiteY26" fmla="*/ 8084 h 9926"/>
              <a:gd name="connsiteX27" fmla="*/ 1514 w 10000"/>
              <a:gd name="connsiteY27" fmla="*/ 8209 h 9926"/>
              <a:gd name="connsiteX28" fmla="*/ 1684 w 10000"/>
              <a:gd name="connsiteY28" fmla="*/ 8372 h 9926"/>
              <a:gd name="connsiteX29" fmla="*/ 1661 w 10000"/>
              <a:gd name="connsiteY29" fmla="*/ 8489 h 9926"/>
              <a:gd name="connsiteX30" fmla="*/ 1496 w 10000"/>
              <a:gd name="connsiteY30" fmla="*/ 8532 h 9926"/>
              <a:gd name="connsiteX31" fmla="*/ 1316 w 10000"/>
              <a:gd name="connsiteY31" fmla="*/ 8503 h 9926"/>
              <a:gd name="connsiteX32" fmla="*/ 1260 w 10000"/>
              <a:gd name="connsiteY32" fmla="*/ 8550 h 9926"/>
              <a:gd name="connsiteX33" fmla="*/ 1397 w 10000"/>
              <a:gd name="connsiteY33" fmla="*/ 8799 h 9926"/>
              <a:gd name="connsiteX34" fmla="*/ 1205 w 10000"/>
              <a:gd name="connsiteY34" fmla="*/ 8778 h 9926"/>
              <a:gd name="connsiteX35" fmla="*/ 1040 w 10000"/>
              <a:gd name="connsiteY35" fmla="*/ 8718 h 9926"/>
              <a:gd name="connsiteX36" fmla="*/ 1012 w 10000"/>
              <a:gd name="connsiteY36" fmla="*/ 8811 h 9926"/>
              <a:gd name="connsiteX37" fmla="*/ 1557 w 10000"/>
              <a:gd name="connsiteY37" fmla="*/ 9670 h 9926"/>
              <a:gd name="connsiteX38" fmla="*/ 1469 w 10000"/>
              <a:gd name="connsiteY38" fmla="*/ 9749 h 9926"/>
              <a:gd name="connsiteX39" fmla="*/ 1408 w 10000"/>
              <a:gd name="connsiteY39" fmla="*/ 9914 h 9926"/>
              <a:gd name="connsiteX40" fmla="*/ 1329 w 10000"/>
              <a:gd name="connsiteY40" fmla="*/ 9926 h 9926"/>
              <a:gd name="connsiteX41" fmla="*/ 6419 w 10000"/>
              <a:gd name="connsiteY41" fmla="*/ 8273 h 9926"/>
              <a:gd name="connsiteX42" fmla="*/ 6586 w 10000"/>
              <a:gd name="connsiteY42" fmla="*/ 7585 h 9926"/>
              <a:gd name="connsiteX43" fmla="*/ 6855 w 10000"/>
              <a:gd name="connsiteY43" fmla="*/ 7280 h 9926"/>
              <a:gd name="connsiteX44" fmla="*/ 6855 w 10000"/>
              <a:gd name="connsiteY44" fmla="*/ 7118 h 9926"/>
              <a:gd name="connsiteX45" fmla="*/ 6757 w 10000"/>
              <a:gd name="connsiteY45" fmla="*/ 7030 h 9926"/>
              <a:gd name="connsiteX46" fmla="*/ 6915 w 10000"/>
              <a:gd name="connsiteY46" fmla="*/ 6883 h 9926"/>
              <a:gd name="connsiteX47" fmla="*/ 6887 w 10000"/>
              <a:gd name="connsiteY47" fmla="*/ 6764 h 9926"/>
              <a:gd name="connsiteX48" fmla="*/ 6779 w 10000"/>
              <a:gd name="connsiteY48" fmla="*/ 6662 h 9926"/>
              <a:gd name="connsiteX49" fmla="*/ 6757 w 10000"/>
              <a:gd name="connsiteY49" fmla="*/ 6583 h 9926"/>
              <a:gd name="connsiteX50" fmla="*/ 6785 w 10000"/>
              <a:gd name="connsiteY50" fmla="*/ 6525 h 9926"/>
              <a:gd name="connsiteX51" fmla="*/ 6931 w 10000"/>
              <a:gd name="connsiteY51" fmla="*/ 6572 h 9926"/>
              <a:gd name="connsiteX52" fmla="*/ 7045 w 10000"/>
              <a:gd name="connsiteY52" fmla="*/ 6569 h 9926"/>
              <a:gd name="connsiteX53" fmla="*/ 6983 w 10000"/>
              <a:gd name="connsiteY53" fmla="*/ 6472 h 9926"/>
              <a:gd name="connsiteX54" fmla="*/ 7003 w 10000"/>
              <a:gd name="connsiteY54" fmla="*/ 6414 h 9926"/>
              <a:gd name="connsiteX55" fmla="*/ 7089 w 10000"/>
              <a:gd name="connsiteY55" fmla="*/ 6332 h 9926"/>
              <a:gd name="connsiteX56" fmla="*/ 7074 w 10000"/>
              <a:gd name="connsiteY56" fmla="*/ 6263 h 9926"/>
              <a:gd name="connsiteX57" fmla="*/ 7152 w 10000"/>
              <a:gd name="connsiteY57" fmla="*/ 6035 h 9926"/>
              <a:gd name="connsiteX58" fmla="*/ 7130 w 10000"/>
              <a:gd name="connsiteY58" fmla="*/ 5965 h 9926"/>
              <a:gd name="connsiteX59" fmla="*/ 6729 w 10000"/>
              <a:gd name="connsiteY59" fmla="*/ 5789 h 9926"/>
              <a:gd name="connsiteX60" fmla="*/ 6785 w 10000"/>
              <a:gd name="connsiteY60" fmla="*/ 5783 h 9926"/>
              <a:gd name="connsiteX61" fmla="*/ 6998 w 10000"/>
              <a:gd name="connsiteY61" fmla="*/ 5828 h 9926"/>
              <a:gd name="connsiteX62" fmla="*/ 7230 w 10000"/>
              <a:gd name="connsiteY62" fmla="*/ 5811 h 9926"/>
              <a:gd name="connsiteX63" fmla="*/ 7295 w 10000"/>
              <a:gd name="connsiteY63" fmla="*/ 5749 h 9926"/>
              <a:gd name="connsiteX64" fmla="*/ 7074 w 10000"/>
              <a:gd name="connsiteY64" fmla="*/ 5630 h 9926"/>
              <a:gd name="connsiteX65" fmla="*/ 6414 w 10000"/>
              <a:gd name="connsiteY65" fmla="*/ 5552 h 9926"/>
              <a:gd name="connsiteX66" fmla="*/ 6458 w 10000"/>
              <a:gd name="connsiteY66" fmla="*/ 5516 h 9926"/>
              <a:gd name="connsiteX67" fmla="*/ 6998 w 10000"/>
              <a:gd name="connsiteY67" fmla="*/ 5491 h 9926"/>
              <a:gd name="connsiteX68" fmla="*/ 7295 w 10000"/>
              <a:gd name="connsiteY68" fmla="*/ 5563 h 9926"/>
              <a:gd name="connsiteX69" fmla="*/ 7466 w 10000"/>
              <a:gd name="connsiteY69" fmla="*/ 5516 h 9926"/>
              <a:gd name="connsiteX70" fmla="*/ 7529 w 10000"/>
              <a:gd name="connsiteY70" fmla="*/ 5393 h 9926"/>
              <a:gd name="connsiteX71" fmla="*/ 7840 w 10000"/>
              <a:gd name="connsiteY71" fmla="*/ 5393 h 9926"/>
              <a:gd name="connsiteX72" fmla="*/ 8261 w 10000"/>
              <a:gd name="connsiteY72" fmla="*/ 5147 h 9926"/>
              <a:gd name="connsiteX73" fmla="*/ 8275 w 10000"/>
              <a:gd name="connsiteY73" fmla="*/ 4980 h 9926"/>
              <a:gd name="connsiteX74" fmla="*/ 8453 w 10000"/>
              <a:gd name="connsiteY74" fmla="*/ 5018 h 9926"/>
              <a:gd name="connsiteX75" fmla="*/ 8446 w 10000"/>
              <a:gd name="connsiteY75" fmla="*/ 5184 h 9926"/>
              <a:gd name="connsiteX76" fmla="*/ 8727 w 10000"/>
              <a:gd name="connsiteY76" fmla="*/ 5172 h 9926"/>
              <a:gd name="connsiteX77" fmla="*/ 8913 w 10000"/>
              <a:gd name="connsiteY77" fmla="*/ 5000 h 9926"/>
              <a:gd name="connsiteX78" fmla="*/ 9258 w 10000"/>
              <a:gd name="connsiteY78" fmla="*/ 4845 h 9926"/>
              <a:gd name="connsiteX79" fmla="*/ 9203 w 10000"/>
              <a:gd name="connsiteY79" fmla="*/ 4670 h 9926"/>
              <a:gd name="connsiteX80" fmla="*/ 9306 w 10000"/>
              <a:gd name="connsiteY80" fmla="*/ 4740 h 9926"/>
              <a:gd name="connsiteX81" fmla="*/ 9464 w 10000"/>
              <a:gd name="connsiteY81" fmla="*/ 4740 h 9926"/>
              <a:gd name="connsiteX82" fmla="*/ 9464 w 10000"/>
              <a:gd name="connsiteY82" fmla="*/ 4658 h 9926"/>
              <a:gd name="connsiteX83" fmla="*/ 9611 w 10000"/>
              <a:gd name="connsiteY83" fmla="*/ 4599 h 9926"/>
              <a:gd name="connsiteX84" fmla="*/ 9592 w 10000"/>
              <a:gd name="connsiteY84" fmla="*/ 4535 h 9926"/>
              <a:gd name="connsiteX85" fmla="*/ 8350 w 10000"/>
              <a:gd name="connsiteY85" fmla="*/ 4660 h 9926"/>
              <a:gd name="connsiteX86" fmla="*/ 8058 w 10000"/>
              <a:gd name="connsiteY86" fmla="*/ 4625 h 9926"/>
              <a:gd name="connsiteX87" fmla="*/ 7942 w 10000"/>
              <a:gd name="connsiteY87" fmla="*/ 4670 h 9926"/>
              <a:gd name="connsiteX88" fmla="*/ 7903 w 10000"/>
              <a:gd name="connsiteY88" fmla="*/ 4581 h 9926"/>
              <a:gd name="connsiteX89" fmla="*/ 7765 w 10000"/>
              <a:gd name="connsiteY89" fmla="*/ 4504 h 9926"/>
              <a:gd name="connsiteX90" fmla="*/ 7213 w 10000"/>
              <a:gd name="connsiteY90" fmla="*/ 4343 h 9926"/>
              <a:gd name="connsiteX91" fmla="*/ 6887 w 10000"/>
              <a:gd name="connsiteY91" fmla="*/ 4370 h 9926"/>
              <a:gd name="connsiteX92" fmla="*/ 6757 w 10000"/>
              <a:gd name="connsiteY92" fmla="*/ 4324 h 9926"/>
              <a:gd name="connsiteX93" fmla="*/ 6894 w 10000"/>
              <a:gd name="connsiteY93" fmla="*/ 4285 h 9926"/>
              <a:gd name="connsiteX94" fmla="*/ 6998 w 10000"/>
              <a:gd name="connsiteY94" fmla="*/ 4201 h 9926"/>
              <a:gd name="connsiteX95" fmla="*/ 7152 w 10000"/>
              <a:gd name="connsiteY95" fmla="*/ 4227 h 9926"/>
              <a:gd name="connsiteX96" fmla="*/ 7335 w 10000"/>
              <a:gd name="connsiteY96" fmla="*/ 4206 h 9926"/>
              <a:gd name="connsiteX97" fmla="*/ 7611 w 10000"/>
              <a:gd name="connsiteY97" fmla="*/ 4233 h 9926"/>
              <a:gd name="connsiteX98" fmla="*/ 7645 w 10000"/>
              <a:gd name="connsiteY98" fmla="*/ 4222 h 9926"/>
              <a:gd name="connsiteX99" fmla="*/ 7859 w 10000"/>
              <a:gd name="connsiteY99" fmla="*/ 4351 h 9926"/>
              <a:gd name="connsiteX100" fmla="*/ 8017 w 10000"/>
              <a:gd name="connsiteY100" fmla="*/ 4303 h 9926"/>
              <a:gd name="connsiteX101" fmla="*/ 8032 w 10000"/>
              <a:gd name="connsiteY101" fmla="*/ 4259 h 9926"/>
              <a:gd name="connsiteX102" fmla="*/ 8176 w 10000"/>
              <a:gd name="connsiteY102" fmla="*/ 4336 h 9926"/>
              <a:gd name="connsiteX103" fmla="*/ 8369 w 10000"/>
              <a:gd name="connsiteY103" fmla="*/ 4377 h 9926"/>
              <a:gd name="connsiteX104" fmla="*/ 8446 w 10000"/>
              <a:gd name="connsiteY104" fmla="*/ 4301 h 9926"/>
              <a:gd name="connsiteX105" fmla="*/ 8507 w 10000"/>
              <a:gd name="connsiteY105" fmla="*/ 4343 h 9926"/>
              <a:gd name="connsiteX106" fmla="*/ 8596 w 10000"/>
              <a:gd name="connsiteY106" fmla="*/ 4493 h 9926"/>
              <a:gd name="connsiteX107" fmla="*/ 8782 w 10000"/>
              <a:gd name="connsiteY107" fmla="*/ 4526 h 9926"/>
              <a:gd name="connsiteX108" fmla="*/ 9542 w 10000"/>
              <a:gd name="connsiteY108" fmla="*/ 4308 h 9926"/>
              <a:gd name="connsiteX109" fmla="*/ 9914 w 10000"/>
              <a:gd name="connsiteY109" fmla="*/ 4003 h 9926"/>
              <a:gd name="connsiteX110" fmla="*/ 10000 w 10000"/>
              <a:gd name="connsiteY110" fmla="*/ 3784 h 9926"/>
              <a:gd name="connsiteX111" fmla="*/ 9866 w 10000"/>
              <a:gd name="connsiteY111" fmla="*/ 3583 h 9926"/>
              <a:gd name="connsiteX112" fmla="*/ 9582 w 10000"/>
              <a:gd name="connsiteY112" fmla="*/ 3465 h 9926"/>
              <a:gd name="connsiteX113" fmla="*/ 9382 w 10000"/>
              <a:gd name="connsiteY113" fmla="*/ 3267 h 9926"/>
              <a:gd name="connsiteX114" fmla="*/ 9569 w 10000"/>
              <a:gd name="connsiteY114" fmla="*/ 3261 h 9926"/>
              <a:gd name="connsiteX115" fmla="*/ 9555 w 10000"/>
              <a:gd name="connsiteY115" fmla="*/ 3214 h 9926"/>
              <a:gd name="connsiteX116" fmla="*/ 9068 w 10000"/>
              <a:gd name="connsiteY116" fmla="*/ 3078 h 9926"/>
              <a:gd name="connsiteX117" fmla="*/ 9047 w 10000"/>
              <a:gd name="connsiteY117" fmla="*/ 2951 h 9926"/>
              <a:gd name="connsiteX118" fmla="*/ 8953 w 10000"/>
              <a:gd name="connsiteY118" fmla="*/ 2819 h 9926"/>
              <a:gd name="connsiteX119" fmla="*/ 8569 w 10000"/>
              <a:gd name="connsiteY119" fmla="*/ 2843 h 9926"/>
              <a:gd name="connsiteX120" fmla="*/ 8431 w 10000"/>
              <a:gd name="connsiteY120" fmla="*/ 2702 h 9926"/>
              <a:gd name="connsiteX121" fmla="*/ 8350 w 10000"/>
              <a:gd name="connsiteY121" fmla="*/ 2693 h 9926"/>
              <a:gd name="connsiteX122" fmla="*/ 8350 w 10000"/>
              <a:gd name="connsiteY122" fmla="*/ 2756 h 9926"/>
              <a:gd name="connsiteX123" fmla="*/ 8176 w 10000"/>
              <a:gd name="connsiteY123" fmla="*/ 2990 h 9926"/>
              <a:gd name="connsiteX124" fmla="*/ 7990 w 10000"/>
              <a:gd name="connsiteY124" fmla="*/ 3129 h 9926"/>
              <a:gd name="connsiteX125" fmla="*/ 7401 w 10000"/>
              <a:gd name="connsiteY125" fmla="*/ 3364 h 9926"/>
              <a:gd name="connsiteX126" fmla="*/ 7198 w 10000"/>
              <a:gd name="connsiteY126" fmla="*/ 3357 h 9926"/>
              <a:gd name="connsiteX127" fmla="*/ 6915 w 10000"/>
              <a:gd name="connsiteY127" fmla="*/ 3394 h 9926"/>
              <a:gd name="connsiteX128" fmla="*/ 6757 w 10000"/>
              <a:gd name="connsiteY128" fmla="*/ 3357 h 9926"/>
              <a:gd name="connsiteX129" fmla="*/ 6965 w 10000"/>
              <a:gd name="connsiteY129" fmla="*/ 3289 h 9926"/>
              <a:gd name="connsiteX130" fmla="*/ 7235 w 10000"/>
              <a:gd name="connsiteY130" fmla="*/ 3261 h 9926"/>
              <a:gd name="connsiteX131" fmla="*/ 7455 w 10000"/>
              <a:gd name="connsiteY131" fmla="*/ 3151 h 9926"/>
              <a:gd name="connsiteX132" fmla="*/ 7674 w 10000"/>
              <a:gd name="connsiteY132" fmla="*/ 3099 h 9926"/>
              <a:gd name="connsiteX133" fmla="*/ 8082 w 10000"/>
              <a:gd name="connsiteY133" fmla="*/ 2905 h 9926"/>
              <a:gd name="connsiteX134" fmla="*/ 8157 w 10000"/>
              <a:gd name="connsiteY134" fmla="*/ 2780 h 9926"/>
              <a:gd name="connsiteX135" fmla="*/ 8165 w 10000"/>
              <a:gd name="connsiteY135" fmla="*/ 2617 h 9926"/>
              <a:gd name="connsiteX136" fmla="*/ 7978 w 10000"/>
              <a:gd name="connsiteY136" fmla="*/ 2589 h 9926"/>
              <a:gd name="connsiteX137" fmla="*/ 8058 w 10000"/>
              <a:gd name="connsiteY137" fmla="*/ 2489 h 9926"/>
              <a:gd name="connsiteX138" fmla="*/ 8087 w 10000"/>
              <a:gd name="connsiteY138" fmla="*/ 2363 h 9926"/>
              <a:gd name="connsiteX139" fmla="*/ 8007 w 10000"/>
              <a:gd name="connsiteY139" fmla="*/ 2245 h 9926"/>
              <a:gd name="connsiteX140" fmla="*/ 7450 w 10000"/>
              <a:gd name="connsiteY140" fmla="*/ 2407 h 9926"/>
              <a:gd name="connsiteX141" fmla="*/ 6694 w 10000"/>
              <a:gd name="connsiteY141" fmla="*/ 2335 h 9926"/>
              <a:gd name="connsiteX142" fmla="*/ 6304 w 10000"/>
              <a:gd name="connsiteY142" fmla="*/ 1883 h 9926"/>
              <a:gd name="connsiteX143" fmla="*/ 5294 w 10000"/>
              <a:gd name="connsiteY143" fmla="*/ 1798 h 9926"/>
              <a:gd name="connsiteX144" fmla="*/ 4505 w 10000"/>
              <a:gd name="connsiteY144" fmla="*/ 1422 h 9926"/>
              <a:gd name="connsiteX145" fmla="*/ 3730 w 10000"/>
              <a:gd name="connsiteY145" fmla="*/ 973 h 9926"/>
              <a:gd name="connsiteX146" fmla="*/ 3154 w 10000"/>
              <a:gd name="connsiteY146" fmla="*/ 144 h 9926"/>
              <a:gd name="connsiteX147" fmla="*/ 2375 w 10000"/>
              <a:gd name="connsiteY147" fmla="*/ 0 h 9926"/>
              <a:gd name="connsiteX148" fmla="*/ 2226 w 10000"/>
              <a:gd name="connsiteY148" fmla="*/ 780 h 9926"/>
              <a:gd name="connsiteX149" fmla="*/ 2375 w 10000"/>
              <a:gd name="connsiteY149" fmla="*/ 978 h 9926"/>
              <a:gd name="connsiteX150" fmla="*/ 2791 w 10000"/>
              <a:gd name="connsiteY150" fmla="*/ 1197 h 9926"/>
              <a:gd name="connsiteX151" fmla="*/ 2808 w 10000"/>
              <a:gd name="connsiteY151" fmla="*/ 1461 h 9926"/>
              <a:gd name="connsiteX152" fmla="*/ 2632 w 10000"/>
              <a:gd name="connsiteY152" fmla="*/ 1683 h 9926"/>
              <a:gd name="connsiteX153" fmla="*/ 2375 w 10000"/>
              <a:gd name="connsiteY153" fmla="*/ 1817 h 9926"/>
              <a:gd name="connsiteX154" fmla="*/ 2039 w 10000"/>
              <a:gd name="connsiteY154" fmla="*/ 1870 h 9926"/>
              <a:gd name="connsiteX155" fmla="*/ 1950 w 10000"/>
              <a:gd name="connsiteY155" fmla="*/ 1949 h 9926"/>
              <a:gd name="connsiteX156" fmla="*/ 2148 w 10000"/>
              <a:gd name="connsiteY156" fmla="*/ 2132 h 9926"/>
              <a:gd name="connsiteX157" fmla="*/ 2261 w 10000"/>
              <a:gd name="connsiteY157" fmla="*/ 2568 h 9926"/>
              <a:gd name="connsiteX158" fmla="*/ 2005 w 10000"/>
              <a:gd name="connsiteY158" fmla="*/ 2941 h 9926"/>
              <a:gd name="connsiteX159" fmla="*/ 2094 w 10000"/>
              <a:gd name="connsiteY159" fmla="*/ 3054 h 9926"/>
              <a:gd name="connsiteX160" fmla="*/ 2012 w 10000"/>
              <a:gd name="connsiteY160" fmla="*/ 3248 h 9926"/>
              <a:gd name="connsiteX161" fmla="*/ 1850 w 10000"/>
              <a:gd name="connsiteY161" fmla="*/ 3384 h 9926"/>
              <a:gd name="connsiteX162" fmla="*/ 1199 w 10000"/>
              <a:gd name="connsiteY162" fmla="*/ 3487 h 9926"/>
              <a:gd name="connsiteX163" fmla="*/ 1158 w 10000"/>
              <a:gd name="connsiteY163" fmla="*/ 3667 h 9926"/>
              <a:gd name="connsiteX164" fmla="*/ 808 w 10000"/>
              <a:gd name="connsiteY164" fmla="*/ 3934 h 9926"/>
              <a:gd name="connsiteX165" fmla="*/ 854 w 10000"/>
              <a:gd name="connsiteY165" fmla="*/ 4322 h 9926"/>
              <a:gd name="connsiteX166" fmla="*/ 560 w 10000"/>
              <a:gd name="connsiteY166" fmla="*/ 4816 h 9926"/>
              <a:gd name="connsiteX167" fmla="*/ 358 w 10000"/>
              <a:gd name="connsiteY167" fmla="*/ 4874 h 9926"/>
              <a:gd name="connsiteX168" fmla="*/ 275 w 10000"/>
              <a:gd name="connsiteY168" fmla="*/ 4756 h 9926"/>
              <a:gd name="connsiteX169" fmla="*/ 174 w 10000"/>
              <a:gd name="connsiteY169" fmla="*/ 4934 h 9926"/>
              <a:gd name="connsiteX170" fmla="*/ 239 w 10000"/>
              <a:gd name="connsiteY170" fmla="*/ 4627 h 9926"/>
              <a:gd name="connsiteX171" fmla="*/ 197 w 10000"/>
              <a:gd name="connsiteY171" fmla="*/ 4569 h 9926"/>
              <a:gd name="connsiteX0" fmla="*/ 197 w 10000"/>
              <a:gd name="connsiteY0" fmla="*/ 4603 h 9988"/>
              <a:gd name="connsiteX1" fmla="*/ 0 w 10000"/>
              <a:gd name="connsiteY1" fmla="*/ 4764 h 9988"/>
              <a:gd name="connsiteX2" fmla="*/ 0 w 10000"/>
              <a:gd name="connsiteY2" fmla="*/ 5557 h 9988"/>
              <a:gd name="connsiteX3" fmla="*/ 109 w 10000"/>
              <a:gd name="connsiteY3" fmla="*/ 5578 h 9988"/>
              <a:gd name="connsiteX4" fmla="*/ 134 w 10000"/>
              <a:gd name="connsiteY4" fmla="*/ 5641 h 9988"/>
              <a:gd name="connsiteX5" fmla="*/ 130 w 10000"/>
              <a:gd name="connsiteY5" fmla="*/ 5749 h 9988"/>
              <a:gd name="connsiteX6" fmla="*/ 89 w 10000"/>
              <a:gd name="connsiteY6" fmla="*/ 5796 h 9988"/>
              <a:gd name="connsiteX7" fmla="*/ 255 w 10000"/>
              <a:gd name="connsiteY7" fmla="*/ 5703 h 9988"/>
              <a:gd name="connsiteX8" fmla="*/ 325 w 10000"/>
              <a:gd name="connsiteY8" fmla="*/ 5615 h 9988"/>
              <a:gd name="connsiteX9" fmla="*/ 413 w 10000"/>
              <a:gd name="connsiteY9" fmla="*/ 5675 h 9988"/>
              <a:gd name="connsiteX10" fmla="*/ 316 w 10000"/>
              <a:gd name="connsiteY10" fmla="*/ 5806 h 9988"/>
              <a:gd name="connsiteX11" fmla="*/ 419 w 10000"/>
              <a:gd name="connsiteY11" fmla="*/ 5809 h 9988"/>
              <a:gd name="connsiteX12" fmla="*/ 469 w 10000"/>
              <a:gd name="connsiteY12" fmla="*/ 5841 h 9988"/>
              <a:gd name="connsiteX13" fmla="*/ 337 w 10000"/>
              <a:gd name="connsiteY13" fmla="*/ 5884 h 9988"/>
              <a:gd name="connsiteX14" fmla="*/ 130 w 10000"/>
              <a:gd name="connsiteY14" fmla="*/ 6017 h 9988"/>
              <a:gd name="connsiteX15" fmla="*/ 497 w 10000"/>
              <a:gd name="connsiteY15" fmla="*/ 6122 h 9988"/>
              <a:gd name="connsiteX16" fmla="*/ 545 w 10000"/>
              <a:gd name="connsiteY16" fmla="*/ 6270 h 9988"/>
              <a:gd name="connsiteX17" fmla="*/ 419 w 10000"/>
              <a:gd name="connsiteY17" fmla="*/ 6489 h 9988"/>
              <a:gd name="connsiteX18" fmla="*/ 688 w 10000"/>
              <a:gd name="connsiteY18" fmla="*/ 6477 h 9988"/>
              <a:gd name="connsiteX19" fmla="*/ 709 w 10000"/>
              <a:gd name="connsiteY19" fmla="*/ 6639 h 9988"/>
              <a:gd name="connsiteX20" fmla="*/ 530 w 10000"/>
              <a:gd name="connsiteY20" fmla="*/ 6756 h 9988"/>
              <a:gd name="connsiteX21" fmla="*/ 560 w 10000"/>
              <a:gd name="connsiteY21" fmla="*/ 6970 h 9988"/>
              <a:gd name="connsiteX22" fmla="*/ 489 w 10000"/>
              <a:gd name="connsiteY22" fmla="*/ 7141 h 9988"/>
              <a:gd name="connsiteX23" fmla="*/ 703 w 10000"/>
              <a:gd name="connsiteY23" fmla="*/ 7157 h 9988"/>
              <a:gd name="connsiteX24" fmla="*/ 909 w 10000"/>
              <a:gd name="connsiteY24" fmla="*/ 7808 h 9988"/>
              <a:gd name="connsiteX25" fmla="*/ 1150 w 10000"/>
              <a:gd name="connsiteY25" fmla="*/ 7968 h 9988"/>
              <a:gd name="connsiteX26" fmla="*/ 1255 w 10000"/>
              <a:gd name="connsiteY26" fmla="*/ 8144 h 9988"/>
              <a:gd name="connsiteX27" fmla="*/ 1514 w 10000"/>
              <a:gd name="connsiteY27" fmla="*/ 8270 h 9988"/>
              <a:gd name="connsiteX28" fmla="*/ 1684 w 10000"/>
              <a:gd name="connsiteY28" fmla="*/ 8434 h 9988"/>
              <a:gd name="connsiteX29" fmla="*/ 1661 w 10000"/>
              <a:gd name="connsiteY29" fmla="*/ 8552 h 9988"/>
              <a:gd name="connsiteX30" fmla="*/ 1496 w 10000"/>
              <a:gd name="connsiteY30" fmla="*/ 8596 h 9988"/>
              <a:gd name="connsiteX31" fmla="*/ 1316 w 10000"/>
              <a:gd name="connsiteY31" fmla="*/ 8566 h 9988"/>
              <a:gd name="connsiteX32" fmla="*/ 1260 w 10000"/>
              <a:gd name="connsiteY32" fmla="*/ 8614 h 9988"/>
              <a:gd name="connsiteX33" fmla="*/ 1397 w 10000"/>
              <a:gd name="connsiteY33" fmla="*/ 8865 h 9988"/>
              <a:gd name="connsiteX34" fmla="*/ 1205 w 10000"/>
              <a:gd name="connsiteY34" fmla="*/ 8843 h 9988"/>
              <a:gd name="connsiteX35" fmla="*/ 1040 w 10000"/>
              <a:gd name="connsiteY35" fmla="*/ 8783 h 9988"/>
              <a:gd name="connsiteX36" fmla="*/ 1012 w 10000"/>
              <a:gd name="connsiteY36" fmla="*/ 8877 h 9988"/>
              <a:gd name="connsiteX37" fmla="*/ 1557 w 10000"/>
              <a:gd name="connsiteY37" fmla="*/ 9742 h 9988"/>
              <a:gd name="connsiteX38" fmla="*/ 1469 w 10000"/>
              <a:gd name="connsiteY38" fmla="*/ 9822 h 9988"/>
              <a:gd name="connsiteX39" fmla="*/ 1408 w 10000"/>
              <a:gd name="connsiteY39" fmla="*/ 9988 h 9988"/>
              <a:gd name="connsiteX40" fmla="*/ 6419 w 10000"/>
              <a:gd name="connsiteY40" fmla="*/ 8335 h 9988"/>
              <a:gd name="connsiteX41" fmla="*/ 6586 w 10000"/>
              <a:gd name="connsiteY41" fmla="*/ 7642 h 9988"/>
              <a:gd name="connsiteX42" fmla="*/ 6855 w 10000"/>
              <a:gd name="connsiteY42" fmla="*/ 7334 h 9988"/>
              <a:gd name="connsiteX43" fmla="*/ 6855 w 10000"/>
              <a:gd name="connsiteY43" fmla="*/ 7171 h 9988"/>
              <a:gd name="connsiteX44" fmla="*/ 6757 w 10000"/>
              <a:gd name="connsiteY44" fmla="*/ 7082 h 9988"/>
              <a:gd name="connsiteX45" fmla="*/ 6915 w 10000"/>
              <a:gd name="connsiteY45" fmla="*/ 6934 h 9988"/>
              <a:gd name="connsiteX46" fmla="*/ 6887 w 10000"/>
              <a:gd name="connsiteY46" fmla="*/ 6814 h 9988"/>
              <a:gd name="connsiteX47" fmla="*/ 6779 w 10000"/>
              <a:gd name="connsiteY47" fmla="*/ 6712 h 9988"/>
              <a:gd name="connsiteX48" fmla="*/ 6757 w 10000"/>
              <a:gd name="connsiteY48" fmla="*/ 6632 h 9988"/>
              <a:gd name="connsiteX49" fmla="*/ 6785 w 10000"/>
              <a:gd name="connsiteY49" fmla="*/ 6574 h 9988"/>
              <a:gd name="connsiteX50" fmla="*/ 6931 w 10000"/>
              <a:gd name="connsiteY50" fmla="*/ 6621 h 9988"/>
              <a:gd name="connsiteX51" fmla="*/ 7045 w 10000"/>
              <a:gd name="connsiteY51" fmla="*/ 6618 h 9988"/>
              <a:gd name="connsiteX52" fmla="*/ 6983 w 10000"/>
              <a:gd name="connsiteY52" fmla="*/ 6520 h 9988"/>
              <a:gd name="connsiteX53" fmla="*/ 7003 w 10000"/>
              <a:gd name="connsiteY53" fmla="*/ 6462 h 9988"/>
              <a:gd name="connsiteX54" fmla="*/ 7089 w 10000"/>
              <a:gd name="connsiteY54" fmla="*/ 6379 h 9988"/>
              <a:gd name="connsiteX55" fmla="*/ 7074 w 10000"/>
              <a:gd name="connsiteY55" fmla="*/ 6310 h 9988"/>
              <a:gd name="connsiteX56" fmla="*/ 7152 w 10000"/>
              <a:gd name="connsiteY56" fmla="*/ 6080 h 9988"/>
              <a:gd name="connsiteX57" fmla="*/ 7130 w 10000"/>
              <a:gd name="connsiteY57" fmla="*/ 6009 h 9988"/>
              <a:gd name="connsiteX58" fmla="*/ 6729 w 10000"/>
              <a:gd name="connsiteY58" fmla="*/ 5832 h 9988"/>
              <a:gd name="connsiteX59" fmla="*/ 6785 w 10000"/>
              <a:gd name="connsiteY59" fmla="*/ 5826 h 9988"/>
              <a:gd name="connsiteX60" fmla="*/ 6998 w 10000"/>
              <a:gd name="connsiteY60" fmla="*/ 5871 h 9988"/>
              <a:gd name="connsiteX61" fmla="*/ 7230 w 10000"/>
              <a:gd name="connsiteY61" fmla="*/ 5854 h 9988"/>
              <a:gd name="connsiteX62" fmla="*/ 7295 w 10000"/>
              <a:gd name="connsiteY62" fmla="*/ 5792 h 9988"/>
              <a:gd name="connsiteX63" fmla="*/ 7074 w 10000"/>
              <a:gd name="connsiteY63" fmla="*/ 5672 h 9988"/>
              <a:gd name="connsiteX64" fmla="*/ 6414 w 10000"/>
              <a:gd name="connsiteY64" fmla="*/ 5593 h 9988"/>
              <a:gd name="connsiteX65" fmla="*/ 6458 w 10000"/>
              <a:gd name="connsiteY65" fmla="*/ 5557 h 9988"/>
              <a:gd name="connsiteX66" fmla="*/ 6998 w 10000"/>
              <a:gd name="connsiteY66" fmla="*/ 5532 h 9988"/>
              <a:gd name="connsiteX67" fmla="*/ 7295 w 10000"/>
              <a:gd name="connsiteY67" fmla="*/ 5604 h 9988"/>
              <a:gd name="connsiteX68" fmla="*/ 7466 w 10000"/>
              <a:gd name="connsiteY68" fmla="*/ 5557 h 9988"/>
              <a:gd name="connsiteX69" fmla="*/ 7529 w 10000"/>
              <a:gd name="connsiteY69" fmla="*/ 5433 h 9988"/>
              <a:gd name="connsiteX70" fmla="*/ 7840 w 10000"/>
              <a:gd name="connsiteY70" fmla="*/ 5433 h 9988"/>
              <a:gd name="connsiteX71" fmla="*/ 8261 w 10000"/>
              <a:gd name="connsiteY71" fmla="*/ 5185 h 9988"/>
              <a:gd name="connsiteX72" fmla="*/ 8275 w 10000"/>
              <a:gd name="connsiteY72" fmla="*/ 5017 h 9988"/>
              <a:gd name="connsiteX73" fmla="*/ 8453 w 10000"/>
              <a:gd name="connsiteY73" fmla="*/ 5055 h 9988"/>
              <a:gd name="connsiteX74" fmla="*/ 8446 w 10000"/>
              <a:gd name="connsiteY74" fmla="*/ 5223 h 9988"/>
              <a:gd name="connsiteX75" fmla="*/ 8727 w 10000"/>
              <a:gd name="connsiteY75" fmla="*/ 5211 h 9988"/>
              <a:gd name="connsiteX76" fmla="*/ 8913 w 10000"/>
              <a:gd name="connsiteY76" fmla="*/ 5037 h 9988"/>
              <a:gd name="connsiteX77" fmla="*/ 9258 w 10000"/>
              <a:gd name="connsiteY77" fmla="*/ 4881 h 9988"/>
              <a:gd name="connsiteX78" fmla="*/ 9203 w 10000"/>
              <a:gd name="connsiteY78" fmla="*/ 4705 h 9988"/>
              <a:gd name="connsiteX79" fmla="*/ 9306 w 10000"/>
              <a:gd name="connsiteY79" fmla="*/ 4775 h 9988"/>
              <a:gd name="connsiteX80" fmla="*/ 9464 w 10000"/>
              <a:gd name="connsiteY80" fmla="*/ 4775 h 9988"/>
              <a:gd name="connsiteX81" fmla="*/ 9464 w 10000"/>
              <a:gd name="connsiteY81" fmla="*/ 4693 h 9988"/>
              <a:gd name="connsiteX82" fmla="*/ 9611 w 10000"/>
              <a:gd name="connsiteY82" fmla="*/ 4633 h 9988"/>
              <a:gd name="connsiteX83" fmla="*/ 9592 w 10000"/>
              <a:gd name="connsiteY83" fmla="*/ 4569 h 9988"/>
              <a:gd name="connsiteX84" fmla="*/ 8350 w 10000"/>
              <a:gd name="connsiteY84" fmla="*/ 4695 h 9988"/>
              <a:gd name="connsiteX85" fmla="*/ 8058 w 10000"/>
              <a:gd name="connsiteY85" fmla="*/ 4659 h 9988"/>
              <a:gd name="connsiteX86" fmla="*/ 7942 w 10000"/>
              <a:gd name="connsiteY86" fmla="*/ 4705 h 9988"/>
              <a:gd name="connsiteX87" fmla="*/ 7903 w 10000"/>
              <a:gd name="connsiteY87" fmla="*/ 4615 h 9988"/>
              <a:gd name="connsiteX88" fmla="*/ 7765 w 10000"/>
              <a:gd name="connsiteY88" fmla="*/ 4538 h 9988"/>
              <a:gd name="connsiteX89" fmla="*/ 7213 w 10000"/>
              <a:gd name="connsiteY89" fmla="*/ 4375 h 9988"/>
              <a:gd name="connsiteX90" fmla="*/ 6887 w 10000"/>
              <a:gd name="connsiteY90" fmla="*/ 4403 h 9988"/>
              <a:gd name="connsiteX91" fmla="*/ 6757 w 10000"/>
              <a:gd name="connsiteY91" fmla="*/ 4356 h 9988"/>
              <a:gd name="connsiteX92" fmla="*/ 6894 w 10000"/>
              <a:gd name="connsiteY92" fmla="*/ 4317 h 9988"/>
              <a:gd name="connsiteX93" fmla="*/ 6998 w 10000"/>
              <a:gd name="connsiteY93" fmla="*/ 4232 h 9988"/>
              <a:gd name="connsiteX94" fmla="*/ 7152 w 10000"/>
              <a:gd name="connsiteY94" fmla="*/ 4259 h 9988"/>
              <a:gd name="connsiteX95" fmla="*/ 7335 w 10000"/>
              <a:gd name="connsiteY95" fmla="*/ 4237 h 9988"/>
              <a:gd name="connsiteX96" fmla="*/ 7611 w 10000"/>
              <a:gd name="connsiteY96" fmla="*/ 4265 h 9988"/>
              <a:gd name="connsiteX97" fmla="*/ 7645 w 10000"/>
              <a:gd name="connsiteY97" fmla="*/ 4253 h 9988"/>
              <a:gd name="connsiteX98" fmla="*/ 7859 w 10000"/>
              <a:gd name="connsiteY98" fmla="*/ 4383 h 9988"/>
              <a:gd name="connsiteX99" fmla="*/ 8017 w 10000"/>
              <a:gd name="connsiteY99" fmla="*/ 4335 h 9988"/>
              <a:gd name="connsiteX100" fmla="*/ 8032 w 10000"/>
              <a:gd name="connsiteY100" fmla="*/ 4291 h 9988"/>
              <a:gd name="connsiteX101" fmla="*/ 8176 w 10000"/>
              <a:gd name="connsiteY101" fmla="*/ 4368 h 9988"/>
              <a:gd name="connsiteX102" fmla="*/ 8369 w 10000"/>
              <a:gd name="connsiteY102" fmla="*/ 4410 h 9988"/>
              <a:gd name="connsiteX103" fmla="*/ 8446 w 10000"/>
              <a:gd name="connsiteY103" fmla="*/ 4333 h 9988"/>
              <a:gd name="connsiteX104" fmla="*/ 8507 w 10000"/>
              <a:gd name="connsiteY104" fmla="*/ 4375 h 9988"/>
              <a:gd name="connsiteX105" fmla="*/ 8596 w 10000"/>
              <a:gd name="connsiteY105" fmla="*/ 4526 h 9988"/>
              <a:gd name="connsiteX106" fmla="*/ 8782 w 10000"/>
              <a:gd name="connsiteY106" fmla="*/ 4560 h 9988"/>
              <a:gd name="connsiteX107" fmla="*/ 9542 w 10000"/>
              <a:gd name="connsiteY107" fmla="*/ 4340 h 9988"/>
              <a:gd name="connsiteX108" fmla="*/ 9914 w 10000"/>
              <a:gd name="connsiteY108" fmla="*/ 4033 h 9988"/>
              <a:gd name="connsiteX109" fmla="*/ 10000 w 10000"/>
              <a:gd name="connsiteY109" fmla="*/ 3812 h 9988"/>
              <a:gd name="connsiteX110" fmla="*/ 9866 w 10000"/>
              <a:gd name="connsiteY110" fmla="*/ 3610 h 9988"/>
              <a:gd name="connsiteX111" fmla="*/ 9582 w 10000"/>
              <a:gd name="connsiteY111" fmla="*/ 3491 h 9988"/>
              <a:gd name="connsiteX112" fmla="*/ 9382 w 10000"/>
              <a:gd name="connsiteY112" fmla="*/ 3291 h 9988"/>
              <a:gd name="connsiteX113" fmla="*/ 9569 w 10000"/>
              <a:gd name="connsiteY113" fmla="*/ 3285 h 9988"/>
              <a:gd name="connsiteX114" fmla="*/ 9555 w 10000"/>
              <a:gd name="connsiteY114" fmla="*/ 3238 h 9988"/>
              <a:gd name="connsiteX115" fmla="*/ 9068 w 10000"/>
              <a:gd name="connsiteY115" fmla="*/ 3101 h 9988"/>
              <a:gd name="connsiteX116" fmla="*/ 9047 w 10000"/>
              <a:gd name="connsiteY116" fmla="*/ 2973 h 9988"/>
              <a:gd name="connsiteX117" fmla="*/ 8953 w 10000"/>
              <a:gd name="connsiteY117" fmla="*/ 2840 h 9988"/>
              <a:gd name="connsiteX118" fmla="*/ 8569 w 10000"/>
              <a:gd name="connsiteY118" fmla="*/ 2864 h 9988"/>
              <a:gd name="connsiteX119" fmla="*/ 8431 w 10000"/>
              <a:gd name="connsiteY119" fmla="*/ 2722 h 9988"/>
              <a:gd name="connsiteX120" fmla="*/ 8350 w 10000"/>
              <a:gd name="connsiteY120" fmla="*/ 2713 h 9988"/>
              <a:gd name="connsiteX121" fmla="*/ 8350 w 10000"/>
              <a:gd name="connsiteY121" fmla="*/ 2777 h 9988"/>
              <a:gd name="connsiteX122" fmla="*/ 8176 w 10000"/>
              <a:gd name="connsiteY122" fmla="*/ 3012 h 9988"/>
              <a:gd name="connsiteX123" fmla="*/ 7990 w 10000"/>
              <a:gd name="connsiteY123" fmla="*/ 3152 h 9988"/>
              <a:gd name="connsiteX124" fmla="*/ 7401 w 10000"/>
              <a:gd name="connsiteY124" fmla="*/ 3389 h 9988"/>
              <a:gd name="connsiteX125" fmla="*/ 7198 w 10000"/>
              <a:gd name="connsiteY125" fmla="*/ 3382 h 9988"/>
              <a:gd name="connsiteX126" fmla="*/ 6915 w 10000"/>
              <a:gd name="connsiteY126" fmla="*/ 3419 h 9988"/>
              <a:gd name="connsiteX127" fmla="*/ 6757 w 10000"/>
              <a:gd name="connsiteY127" fmla="*/ 3382 h 9988"/>
              <a:gd name="connsiteX128" fmla="*/ 6965 w 10000"/>
              <a:gd name="connsiteY128" fmla="*/ 3314 h 9988"/>
              <a:gd name="connsiteX129" fmla="*/ 7235 w 10000"/>
              <a:gd name="connsiteY129" fmla="*/ 3285 h 9988"/>
              <a:gd name="connsiteX130" fmla="*/ 7455 w 10000"/>
              <a:gd name="connsiteY130" fmla="*/ 3174 h 9988"/>
              <a:gd name="connsiteX131" fmla="*/ 7674 w 10000"/>
              <a:gd name="connsiteY131" fmla="*/ 3122 h 9988"/>
              <a:gd name="connsiteX132" fmla="*/ 8082 w 10000"/>
              <a:gd name="connsiteY132" fmla="*/ 2927 h 9988"/>
              <a:gd name="connsiteX133" fmla="*/ 8157 w 10000"/>
              <a:gd name="connsiteY133" fmla="*/ 2801 h 9988"/>
              <a:gd name="connsiteX134" fmla="*/ 8165 w 10000"/>
              <a:gd name="connsiteY134" fmla="*/ 2637 h 9988"/>
              <a:gd name="connsiteX135" fmla="*/ 7978 w 10000"/>
              <a:gd name="connsiteY135" fmla="*/ 2608 h 9988"/>
              <a:gd name="connsiteX136" fmla="*/ 8058 w 10000"/>
              <a:gd name="connsiteY136" fmla="*/ 2508 h 9988"/>
              <a:gd name="connsiteX137" fmla="*/ 8087 w 10000"/>
              <a:gd name="connsiteY137" fmla="*/ 2381 h 9988"/>
              <a:gd name="connsiteX138" fmla="*/ 8007 w 10000"/>
              <a:gd name="connsiteY138" fmla="*/ 2262 h 9988"/>
              <a:gd name="connsiteX139" fmla="*/ 7450 w 10000"/>
              <a:gd name="connsiteY139" fmla="*/ 2425 h 9988"/>
              <a:gd name="connsiteX140" fmla="*/ 6694 w 10000"/>
              <a:gd name="connsiteY140" fmla="*/ 2352 h 9988"/>
              <a:gd name="connsiteX141" fmla="*/ 6304 w 10000"/>
              <a:gd name="connsiteY141" fmla="*/ 1897 h 9988"/>
              <a:gd name="connsiteX142" fmla="*/ 5294 w 10000"/>
              <a:gd name="connsiteY142" fmla="*/ 1811 h 9988"/>
              <a:gd name="connsiteX143" fmla="*/ 4505 w 10000"/>
              <a:gd name="connsiteY143" fmla="*/ 1433 h 9988"/>
              <a:gd name="connsiteX144" fmla="*/ 3730 w 10000"/>
              <a:gd name="connsiteY144" fmla="*/ 980 h 9988"/>
              <a:gd name="connsiteX145" fmla="*/ 3154 w 10000"/>
              <a:gd name="connsiteY145" fmla="*/ 145 h 9988"/>
              <a:gd name="connsiteX146" fmla="*/ 2375 w 10000"/>
              <a:gd name="connsiteY146" fmla="*/ 0 h 9988"/>
              <a:gd name="connsiteX147" fmla="*/ 2226 w 10000"/>
              <a:gd name="connsiteY147" fmla="*/ 786 h 9988"/>
              <a:gd name="connsiteX148" fmla="*/ 2375 w 10000"/>
              <a:gd name="connsiteY148" fmla="*/ 985 h 9988"/>
              <a:gd name="connsiteX149" fmla="*/ 2791 w 10000"/>
              <a:gd name="connsiteY149" fmla="*/ 1206 h 9988"/>
              <a:gd name="connsiteX150" fmla="*/ 2808 w 10000"/>
              <a:gd name="connsiteY150" fmla="*/ 1472 h 9988"/>
              <a:gd name="connsiteX151" fmla="*/ 2632 w 10000"/>
              <a:gd name="connsiteY151" fmla="*/ 1696 h 9988"/>
              <a:gd name="connsiteX152" fmla="*/ 2375 w 10000"/>
              <a:gd name="connsiteY152" fmla="*/ 1831 h 9988"/>
              <a:gd name="connsiteX153" fmla="*/ 2039 w 10000"/>
              <a:gd name="connsiteY153" fmla="*/ 1884 h 9988"/>
              <a:gd name="connsiteX154" fmla="*/ 1950 w 10000"/>
              <a:gd name="connsiteY154" fmla="*/ 1964 h 9988"/>
              <a:gd name="connsiteX155" fmla="*/ 2148 w 10000"/>
              <a:gd name="connsiteY155" fmla="*/ 2148 h 9988"/>
              <a:gd name="connsiteX156" fmla="*/ 2261 w 10000"/>
              <a:gd name="connsiteY156" fmla="*/ 2587 h 9988"/>
              <a:gd name="connsiteX157" fmla="*/ 2005 w 10000"/>
              <a:gd name="connsiteY157" fmla="*/ 2963 h 9988"/>
              <a:gd name="connsiteX158" fmla="*/ 2094 w 10000"/>
              <a:gd name="connsiteY158" fmla="*/ 3077 h 9988"/>
              <a:gd name="connsiteX159" fmla="*/ 2012 w 10000"/>
              <a:gd name="connsiteY159" fmla="*/ 3272 h 9988"/>
              <a:gd name="connsiteX160" fmla="*/ 1850 w 10000"/>
              <a:gd name="connsiteY160" fmla="*/ 3409 h 9988"/>
              <a:gd name="connsiteX161" fmla="*/ 1199 w 10000"/>
              <a:gd name="connsiteY161" fmla="*/ 3513 h 9988"/>
              <a:gd name="connsiteX162" fmla="*/ 1158 w 10000"/>
              <a:gd name="connsiteY162" fmla="*/ 3694 h 9988"/>
              <a:gd name="connsiteX163" fmla="*/ 808 w 10000"/>
              <a:gd name="connsiteY163" fmla="*/ 3963 h 9988"/>
              <a:gd name="connsiteX164" fmla="*/ 854 w 10000"/>
              <a:gd name="connsiteY164" fmla="*/ 4354 h 9988"/>
              <a:gd name="connsiteX165" fmla="*/ 560 w 10000"/>
              <a:gd name="connsiteY165" fmla="*/ 4852 h 9988"/>
              <a:gd name="connsiteX166" fmla="*/ 358 w 10000"/>
              <a:gd name="connsiteY166" fmla="*/ 4910 h 9988"/>
              <a:gd name="connsiteX167" fmla="*/ 275 w 10000"/>
              <a:gd name="connsiteY167" fmla="*/ 4791 h 9988"/>
              <a:gd name="connsiteX168" fmla="*/ 174 w 10000"/>
              <a:gd name="connsiteY168" fmla="*/ 4971 h 9988"/>
              <a:gd name="connsiteX169" fmla="*/ 239 w 10000"/>
              <a:gd name="connsiteY169" fmla="*/ 4661 h 9988"/>
              <a:gd name="connsiteX170" fmla="*/ 197 w 10000"/>
              <a:gd name="connsiteY170" fmla="*/ 4603 h 9988"/>
              <a:gd name="connsiteX0" fmla="*/ 197 w 10000"/>
              <a:gd name="connsiteY0" fmla="*/ 4609 h 10086"/>
              <a:gd name="connsiteX1" fmla="*/ 0 w 10000"/>
              <a:gd name="connsiteY1" fmla="*/ 4770 h 10086"/>
              <a:gd name="connsiteX2" fmla="*/ 0 w 10000"/>
              <a:gd name="connsiteY2" fmla="*/ 5564 h 10086"/>
              <a:gd name="connsiteX3" fmla="*/ 109 w 10000"/>
              <a:gd name="connsiteY3" fmla="*/ 5585 h 10086"/>
              <a:gd name="connsiteX4" fmla="*/ 134 w 10000"/>
              <a:gd name="connsiteY4" fmla="*/ 5648 h 10086"/>
              <a:gd name="connsiteX5" fmla="*/ 130 w 10000"/>
              <a:gd name="connsiteY5" fmla="*/ 5756 h 10086"/>
              <a:gd name="connsiteX6" fmla="*/ 89 w 10000"/>
              <a:gd name="connsiteY6" fmla="*/ 5803 h 10086"/>
              <a:gd name="connsiteX7" fmla="*/ 255 w 10000"/>
              <a:gd name="connsiteY7" fmla="*/ 5710 h 10086"/>
              <a:gd name="connsiteX8" fmla="*/ 325 w 10000"/>
              <a:gd name="connsiteY8" fmla="*/ 5622 h 10086"/>
              <a:gd name="connsiteX9" fmla="*/ 413 w 10000"/>
              <a:gd name="connsiteY9" fmla="*/ 5682 h 10086"/>
              <a:gd name="connsiteX10" fmla="*/ 316 w 10000"/>
              <a:gd name="connsiteY10" fmla="*/ 5813 h 10086"/>
              <a:gd name="connsiteX11" fmla="*/ 419 w 10000"/>
              <a:gd name="connsiteY11" fmla="*/ 5816 h 10086"/>
              <a:gd name="connsiteX12" fmla="*/ 469 w 10000"/>
              <a:gd name="connsiteY12" fmla="*/ 5848 h 10086"/>
              <a:gd name="connsiteX13" fmla="*/ 337 w 10000"/>
              <a:gd name="connsiteY13" fmla="*/ 5891 h 10086"/>
              <a:gd name="connsiteX14" fmla="*/ 130 w 10000"/>
              <a:gd name="connsiteY14" fmla="*/ 6024 h 10086"/>
              <a:gd name="connsiteX15" fmla="*/ 497 w 10000"/>
              <a:gd name="connsiteY15" fmla="*/ 6129 h 10086"/>
              <a:gd name="connsiteX16" fmla="*/ 545 w 10000"/>
              <a:gd name="connsiteY16" fmla="*/ 6278 h 10086"/>
              <a:gd name="connsiteX17" fmla="*/ 419 w 10000"/>
              <a:gd name="connsiteY17" fmla="*/ 6497 h 10086"/>
              <a:gd name="connsiteX18" fmla="*/ 688 w 10000"/>
              <a:gd name="connsiteY18" fmla="*/ 6485 h 10086"/>
              <a:gd name="connsiteX19" fmla="*/ 709 w 10000"/>
              <a:gd name="connsiteY19" fmla="*/ 6647 h 10086"/>
              <a:gd name="connsiteX20" fmla="*/ 530 w 10000"/>
              <a:gd name="connsiteY20" fmla="*/ 6764 h 10086"/>
              <a:gd name="connsiteX21" fmla="*/ 560 w 10000"/>
              <a:gd name="connsiteY21" fmla="*/ 6978 h 10086"/>
              <a:gd name="connsiteX22" fmla="*/ 489 w 10000"/>
              <a:gd name="connsiteY22" fmla="*/ 7150 h 10086"/>
              <a:gd name="connsiteX23" fmla="*/ 703 w 10000"/>
              <a:gd name="connsiteY23" fmla="*/ 7166 h 10086"/>
              <a:gd name="connsiteX24" fmla="*/ 909 w 10000"/>
              <a:gd name="connsiteY24" fmla="*/ 7817 h 10086"/>
              <a:gd name="connsiteX25" fmla="*/ 1150 w 10000"/>
              <a:gd name="connsiteY25" fmla="*/ 7978 h 10086"/>
              <a:gd name="connsiteX26" fmla="*/ 1255 w 10000"/>
              <a:gd name="connsiteY26" fmla="*/ 8154 h 10086"/>
              <a:gd name="connsiteX27" fmla="*/ 1514 w 10000"/>
              <a:gd name="connsiteY27" fmla="*/ 8280 h 10086"/>
              <a:gd name="connsiteX28" fmla="*/ 1684 w 10000"/>
              <a:gd name="connsiteY28" fmla="*/ 8444 h 10086"/>
              <a:gd name="connsiteX29" fmla="*/ 1661 w 10000"/>
              <a:gd name="connsiteY29" fmla="*/ 8562 h 10086"/>
              <a:gd name="connsiteX30" fmla="*/ 1496 w 10000"/>
              <a:gd name="connsiteY30" fmla="*/ 8606 h 10086"/>
              <a:gd name="connsiteX31" fmla="*/ 1316 w 10000"/>
              <a:gd name="connsiteY31" fmla="*/ 8576 h 10086"/>
              <a:gd name="connsiteX32" fmla="*/ 1260 w 10000"/>
              <a:gd name="connsiteY32" fmla="*/ 8624 h 10086"/>
              <a:gd name="connsiteX33" fmla="*/ 1397 w 10000"/>
              <a:gd name="connsiteY33" fmla="*/ 8876 h 10086"/>
              <a:gd name="connsiteX34" fmla="*/ 1205 w 10000"/>
              <a:gd name="connsiteY34" fmla="*/ 8854 h 10086"/>
              <a:gd name="connsiteX35" fmla="*/ 1040 w 10000"/>
              <a:gd name="connsiteY35" fmla="*/ 8794 h 10086"/>
              <a:gd name="connsiteX36" fmla="*/ 1012 w 10000"/>
              <a:gd name="connsiteY36" fmla="*/ 8888 h 10086"/>
              <a:gd name="connsiteX37" fmla="*/ 1557 w 10000"/>
              <a:gd name="connsiteY37" fmla="*/ 9754 h 10086"/>
              <a:gd name="connsiteX38" fmla="*/ 1408 w 10000"/>
              <a:gd name="connsiteY38" fmla="*/ 10000 h 10086"/>
              <a:gd name="connsiteX39" fmla="*/ 6419 w 10000"/>
              <a:gd name="connsiteY39" fmla="*/ 8345 h 10086"/>
              <a:gd name="connsiteX40" fmla="*/ 6586 w 10000"/>
              <a:gd name="connsiteY40" fmla="*/ 7651 h 10086"/>
              <a:gd name="connsiteX41" fmla="*/ 6855 w 10000"/>
              <a:gd name="connsiteY41" fmla="*/ 7343 h 10086"/>
              <a:gd name="connsiteX42" fmla="*/ 6855 w 10000"/>
              <a:gd name="connsiteY42" fmla="*/ 7180 h 10086"/>
              <a:gd name="connsiteX43" fmla="*/ 6757 w 10000"/>
              <a:gd name="connsiteY43" fmla="*/ 7091 h 10086"/>
              <a:gd name="connsiteX44" fmla="*/ 6915 w 10000"/>
              <a:gd name="connsiteY44" fmla="*/ 6942 h 10086"/>
              <a:gd name="connsiteX45" fmla="*/ 6887 w 10000"/>
              <a:gd name="connsiteY45" fmla="*/ 6822 h 10086"/>
              <a:gd name="connsiteX46" fmla="*/ 6779 w 10000"/>
              <a:gd name="connsiteY46" fmla="*/ 6720 h 10086"/>
              <a:gd name="connsiteX47" fmla="*/ 6757 w 10000"/>
              <a:gd name="connsiteY47" fmla="*/ 6640 h 10086"/>
              <a:gd name="connsiteX48" fmla="*/ 6785 w 10000"/>
              <a:gd name="connsiteY48" fmla="*/ 6582 h 10086"/>
              <a:gd name="connsiteX49" fmla="*/ 6931 w 10000"/>
              <a:gd name="connsiteY49" fmla="*/ 6629 h 10086"/>
              <a:gd name="connsiteX50" fmla="*/ 7045 w 10000"/>
              <a:gd name="connsiteY50" fmla="*/ 6626 h 10086"/>
              <a:gd name="connsiteX51" fmla="*/ 6983 w 10000"/>
              <a:gd name="connsiteY51" fmla="*/ 6528 h 10086"/>
              <a:gd name="connsiteX52" fmla="*/ 7003 w 10000"/>
              <a:gd name="connsiteY52" fmla="*/ 6470 h 10086"/>
              <a:gd name="connsiteX53" fmla="*/ 7089 w 10000"/>
              <a:gd name="connsiteY53" fmla="*/ 6387 h 10086"/>
              <a:gd name="connsiteX54" fmla="*/ 7074 w 10000"/>
              <a:gd name="connsiteY54" fmla="*/ 6318 h 10086"/>
              <a:gd name="connsiteX55" fmla="*/ 7152 w 10000"/>
              <a:gd name="connsiteY55" fmla="*/ 6087 h 10086"/>
              <a:gd name="connsiteX56" fmla="*/ 7130 w 10000"/>
              <a:gd name="connsiteY56" fmla="*/ 6016 h 10086"/>
              <a:gd name="connsiteX57" fmla="*/ 6729 w 10000"/>
              <a:gd name="connsiteY57" fmla="*/ 5839 h 10086"/>
              <a:gd name="connsiteX58" fmla="*/ 6785 w 10000"/>
              <a:gd name="connsiteY58" fmla="*/ 5833 h 10086"/>
              <a:gd name="connsiteX59" fmla="*/ 6998 w 10000"/>
              <a:gd name="connsiteY59" fmla="*/ 5878 h 10086"/>
              <a:gd name="connsiteX60" fmla="*/ 7230 w 10000"/>
              <a:gd name="connsiteY60" fmla="*/ 5861 h 10086"/>
              <a:gd name="connsiteX61" fmla="*/ 7295 w 10000"/>
              <a:gd name="connsiteY61" fmla="*/ 5799 h 10086"/>
              <a:gd name="connsiteX62" fmla="*/ 7074 w 10000"/>
              <a:gd name="connsiteY62" fmla="*/ 5679 h 10086"/>
              <a:gd name="connsiteX63" fmla="*/ 6414 w 10000"/>
              <a:gd name="connsiteY63" fmla="*/ 5600 h 10086"/>
              <a:gd name="connsiteX64" fmla="*/ 6458 w 10000"/>
              <a:gd name="connsiteY64" fmla="*/ 5564 h 10086"/>
              <a:gd name="connsiteX65" fmla="*/ 6998 w 10000"/>
              <a:gd name="connsiteY65" fmla="*/ 5539 h 10086"/>
              <a:gd name="connsiteX66" fmla="*/ 7295 w 10000"/>
              <a:gd name="connsiteY66" fmla="*/ 5611 h 10086"/>
              <a:gd name="connsiteX67" fmla="*/ 7466 w 10000"/>
              <a:gd name="connsiteY67" fmla="*/ 5564 h 10086"/>
              <a:gd name="connsiteX68" fmla="*/ 7529 w 10000"/>
              <a:gd name="connsiteY68" fmla="*/ 5440 h 10086"/>
              <a:gd name="connsiteX69" fmla="*/ 7840 w 10000"/>
              <a:gd name="connsiteY69" fmla="*/ 5440 h 10086"/>
              <a:gd name="connsiteX70" fmla="*/ 8261 w 10000"/>
              <a:gd name="connsiteY70" fmla="*/ 5191 h 10086"/>
              <a:gd name="connsiteX71" fmla="*/ 8275 w 10000"/>
              <a:gd name="connsiteY71" fmla="*/ 5023 h 10086"/>
              <a:gd name="connsiteX72" fmla="*/ 8453 w 10000"/>
              <a:gd name="connsiteY72" fmla="*/ 5061 h 10086"/>
              <a:gd name="connsiteX73" fmla="*/ 8446 w 10000"/>
              <a:gd name="connsiteY73" fmla="*/ 5229 h 10086"/>
              <a:gd name="connsiteX74" fmla="*/ 8727 w 10000"/>
              <a:gd name="connsiteY74" fmla="*/ 5217 h 10086"/>
              <a:gd name="connsiteX75" fmla="*/ 8913 w 10000"/>
              <a:gd name="connsiteY75" fmla="*/ 5043 h 10086"/>
              <a:gd name="connsiteX76" fmla="*/ 9258 w 10000"/>
              <a:gd name="connsiteY76" fmla="*/ 4887 h 10086"/>
              <a:gd name="connsiteX77" fmla="*/ 9203 w 10000"/>
              <a:gd name="connsiteY77" fmla="*/ 4711 h 10086"/>
              <a:gd name="connsiteX78" fmla="*/ 9306 w 10000"/>
              <a:gd name="connsiteY78" fmla="*/ 4781 h 10086"/>
              <a:gd name="connsiteX79" fmla="*/ 9464 w 10000"/>
              <a:gd name="connsiteY79" fmla="*/ 4781 h 10086"/>
              <a:gd name="connsiteX80" fmla="*/ 9464 w 10000"/>
              <a:gd name="connsiteY80" fmla="*/ 4699 h 10086"/>
              <a:gd name="connsiteX81" fmla="*/ 9611 w 10000"/>
              <a:gd name="connsiteY81" fmla="*/ 4639 h 10086"/>
              <a:gd name="connsiteX82" fmla="*/ 9592 w 10000"/>
              <a:gd name="connsiteY82" fmla="*/ 4574 h 10086"/>
              <a:gd name="connsiteX83" fmla="*/ 8350 w 10000"/>
              <a:gd name="connsiteY83" fmla="*/ 4701 h 10086"/>
              <a:gd name="connsiteX84" fmla="*/ 8058 w 10000"/>
              <a:gd name="connsiteY84" fmla="*/ 4665 h 10086"/>
              <a:gd name="connsiteX85" fmla="*/ 7942 w 10000"/>
              <a:gd name="connsiteY85" fmla="*/ 4711 h 10086"/>
              <a:gd name="connsiteX86" fmla="*/ 7903 w 10000"/>
              <a:gd name="connsiteY86" fmla="*/ 4621 h 10086"/>
              <a:gd name="connsiteX87" fmla="*/ 7765 w 10000"/>
              <a:gd name="connsiteY87" fmla="*/ 4543 h 10086"/>
              <a:gd name="connsiteX88" fmla="*/ 7213 w 10000"/>
              <a:gd name="connsiteY88" fmla="*/ 4380 h 10086"/>
              <a:gd name="connsiteX89" fmla="*/ 6887 w 10000"/>
              <a:gd name="connsiteY89" fmla="*/ 4408 h 10086"/>
              <a:gd name="connsiteX90" fmla="*/ 6757 w 10000"/>
              <a:gd name="connsiteY90" fmla="*/ 4361 h 10086"/>
              <a:gd name="connsiteX91" fmla="*/ 6894 w 10000"/>
              <a:gd name="connsiteY91" fmla="*/ 4322 h 10086"/>
              <a:gd name="connsiteX92" fmla="*/ 6998 w 10000"/>
              <a:gd name="connsiteY92" fmla="*/ 4237 h 10086"/>
              <a:gd name="connsiteX93" fmla="*/ 7152 w 10000"/>
              <a:gd name="connsiteY93" fmla="*/ 4264 h 10086"/>
              <a:gd name="connsiteX94" fmla="*/ 7335 w 10000"/>
              <a:gd name="connsiteY94" fmla="*/ 4242 h 10086"/>
              <a:gd name="connsiteX95" fmla="*/ 7611 w 10000"/>
              <a:gd name="connsiteY95" fmla="*/ 4270 h 10086"/>
              <a:gd name="connsiteX96" fmla="*/ 7645 w 10000"/>
              <a:gd name="connsiteY96" fmla="*/ 4258 h 10086"/>
              <a:gd name="connsiteX97" fmla="*/ 7859 w 10000"/>
              <a:gd name="connsiteY97" fmla="*/ 4388 h 10086"/>
              <a:gd name="connsiteX98" fmla="*/ 8017 w 10000"/>
              <a:gd name="connsiteY98" fmla="*/ 4340 h 10086"/>
              <a:gd name="connsiteX99" fmla="*/ 8032 w 10000"/>
              <a:gd name="connsiteY99" fmla="*/ 4296 h 10086"/>
              <a:gd name="connsiteX100" fmla="*/ 8176 w 10000"/>
              <a:gd name="connsiteY100" fmla="*/ 4373 h 10086"/>
              <a:gd name="connsiteX101" fmla="*/ 8369 w 10000"/>
              <a:gd name="connsiteY101" fmla="*/ 4415 h 10086"/>
              <a:gd name="connsiteX102" fmla="*/ 8446 w 10000"/>
              <a:gd name="connsiteY102" fmla="*/ 4338 h 10086"/>
              <a:gd name="connsiteX103" fmla="*/ 8507 w 10000"/>
              <a:gd name="connsiteY103" fmla="*/ 4380 h 10086"/>
              <a:gd name="connsiteX104" fmla="*/ 8596 w 10000"/>
              <a:gd name="connsiteY104" fmla="*/ 4531 h 10086"/>
              <a:gd name="connsiteX105" fmla="*/ 8782 w 10000"/>
              <a:gd name="connsiteY105" fmla="*/ 4565 h 10086"/>
              <a:gd name="connsiteX106" fmla="*/ 9542 w 10000"/>
              <a:gd name="connsiteY106" fmla="*/ 4345 h 10086"/>
              <a:gd name="connsiteX107" fmla="*/ 9914 w 10000"/>
              <a:gd name="connsiteY107" fmla="*/ 4038 h 10086"/>
              <a:gd name="connsiteX108" fmla="*/ 10000 w 10000"/>
              <a:gd name="connsiteY108" fmla="*/ 3817 h 10086"/>
              <a:gd name="connsiteX109" fmla="*/ 9866 w 10000"/>
              <a:gd name="connsiteY109" fmla="*/ 3614 h 10086"/>
              <a:gd name="connsiteX110" fmla="*/ 9582 w 10000"/>
              <a:gd name="connsiteY110" fmla="*/ 3495 h 10086"/>
              <a:gd name="connsiteX111" fmla="*/ 9382 w 10000"/>
              <a:gd name="connsiteY111" fmla="*/ 3295 h 10086"/>
              <a:gd name="connsiteX112" fmla="*/ 9569 w 10000"/>
              <a:gd name="connsiteY112" fmla="*/ 3289 h 10086"/>
              <a:gd name="connsiteX113" fmla="*/ 9555 w 10000"/>
              <a:gd name="connsiteY113" fmla="*/ 3242 h 10086"/>
              <a:gd name="connsiteX114" fmla="*/ 9068 w 10000"/>
              <a:gd name="connsiteY114" fmla="*/ 3105 h 10086"/>
              <a:gd name="connsiteX115" fmla="*/ 9047 w 10000"/>
              <a:gd name="connsiteY115" fmla="*/ 2977 h 10086"/>
              <a:gd name="connsiteX116" fmla="*/ 8953 w 10000"/>
              <a:gd name="connsiteY116" fmla="*/ 2843 h 10086"/>
              <a:gd name="connsiteX117" fmla="*/ 8569 w 10000"/>
              <a:gd name="connsiteY117" fmla="*/ 2867 h 10086"/>
              <a:gd name="connsiteX118" fmla="*/ 8431 w 10000"/>
              <a:gd name="connsiteY118" fmla="*/ 2725 h 10086"/>
              <a:gd name="connsiteX119" fmla="*/ 8350 w 10000"/>
              <a:gd name="connsiteY119" fmla="*/ 2716 h 10086"/>
              <a:gd name="connsiteX120" fmla="*/ 8350 w 10000"/>
              <a:gd name="connsiteY120" fmla="*/ 2780 h 10086"/>
              <a:gd name="connsiteX121" fmla="*/ 8176 w 10000"/>
              <a:gd name="connsiteY121" fmla="*/ 3016 h 10086"/>
              <a:gd name="connsiteX122" fmla="*/ 7990 w 10000"/>
              <a:gd name="connsiteY122" fmla="*/ 3156 h 10086"/>
              <a:gd name="connsiteX123" fmla="*/ 7401 w 10000"/>
              <a:gd name="connsiteY123" fmla="*/ 3393 h 10086"/>
              <a:gd name="connsiteX124" fmla="*/ 7198 w 10000"/>
              <a:gd name="connsiteY124" fmla="*/ 3386 h 10086"/>
              <a:gd name="connsiteX125" fmla="*/ 6915 w 10000"/>
              <a:gd name="connsiteY125" fmla="*/ 3423 h 10086"/>
              <a:gd name="connsiteX126" fmla="*/ 6757 w 10000"/>
              <a:gd name="connsiteY126" fmla="*/ 3386 h 10086"/>
              <a:gd name="connsiteX127" fmla="*/ 6965 w 10000"/>
              <a:gd name="connsiteY127" fmla="*/ 3318 h 10086"/>
              <a:gd name="connsiteX128" fmla="*/ 7235 w 10000"/>
              <a:gd name="connsiteY128" fmla="*/ 3289 h 10086"/>
              <a:gd name="connsiteX129" fmla="*/ 7455 w 10000"/>
              <a:gd name="connsiteY129" fmla="*/ 3178 h 10086"/>
              <a:gd name="connsiteX130" fmla="*/ 7674 w 10000"/>
              <a:gd name="connsiteY130" fmla="*/ 3126 h 10086"/>
              <a:gd name="connsiteX131" fmla="*/ 8082 w 10000"/>
              <a:gd name="connsiteY131" fmla="*/ 2931 h 10086"/>
              <a:gd name="connsiteX132" fmla="*/ 8157 w 10000"/>
              <a:gd name="connsiteY132" fmla="*/ 2804 h 10086"/>
              <a:gd name="connsiteX133" fmla="*/ 8165 w 10000"/>
              <a:gd name="connsiteY133" fmla="*/ 2640 h 10086"/>
              <a:gd name="connsiteX134" fmla="*/ 7978 w 10000"/>
              <a:gd name="connsiteY134" fmla="*/ 2611 h 10086"/>
              <a:gd name="connsiteX135" fmla="*/ 8058 w 10000"/>
              <a:gd name="connsiteY135" fmla="*/ 2511 h 10086"/>
              <a:gd name="connsiteX136" fmla="*/ 8087 w 10000"/>
              <a:gd name="connsiteY136" fmla="*/ 2384 h 10086"/>
              <a:gd name="connsiteX137" fmla="*/ 8007 w 10000"/>
              <a:gd name="connsiteY137" fmla="*/ 2265 h 10086"/>
              <a:gd name="connsiteX138" fmla="*/ 7450 w 10000"/>
              <a:gd name="connsiteY138" fmla="*/ 2428 h 10086"/>
              <a:gd name="connsiteX139" fmla="*/ 6694 w 10000"/>
              <a:gd name="connsiteY139" fmla="*/ 2355 h 10086"/>
              <a:gd name="connsiteX140" fmla="*/ 6304 w 10000"/>
              <a:gd name="connsiteY140" fmla="*/ 1899 h 10086"/>
              <a:gd name="connsiteX141" fmla="*/ 5294 w 10000"/>
              <a:gd name="connsiteY141" fmla="*/ 1813 h 10086"/>
              <a:gd name="connsiteX142" fmla="*/ 4505 w 10000"/>
              <a:gd name="connsiteY142" fmla="*/ 1435 h 10086"/>
              <a:gd name="connsiteX143" fmla="*/ 3730 w 10000"/>
              <a:gd name="connsiteY143" fmla="*/ 981 h 10086"/>
              <a:gd name="connsiteX144" fmla="*/ 3154 w 10000"/>
              <a:gd name="connsiteY144" fmla="*/ 145 h 10086"/>
              <a:gd name="connsiteX145" fmla="*/ 2375 w 10000"/>
              <a:gd name="connsiteY145" fmla="*/ 0 h 10086"/>
              <a:gd name="connsiteX146" fmla="*/ 2226 w 10000"/>
              <a:gd name="connsiteY146" fmla="*/ 787 h 10086"/>
              <a:gd name="connsiteX147" fmla="*/ 2375 w 10000"/>
              <a:gd name="connsiteY147" fmla="*/ 986 h 10086"/>
              <a:gd name="connsiteX148" fmla="*/ 2791 w 10000"/>
              <a:gd name="connsiteY148" fmla="*/ 1207 h 10086"/>
              <a:gd name="connsiteX149" fmla="*/ 2808 w 10000"/>
              <a:gd name="connsiteY149" fmla="*/ 1474 h 10086"/>
              <a:gd name="connsiteX150" fmla="*/ 2632 w 10000"/>
              <a:gd name="connsiteY150" fmla="*/ 1698 h 10086"/>
              <a:gd name="connsiteX151" fmla="*/ 2375 w 10000"/>
              <a:gd name="connsiteY151" fmla="*/ 1833 h 10086"/>
              <a:gd name="connsiteX152" fmla="*/ 2039 w 10000"/>
              <a:gd name="connsiteY152" fmla="*/ 1886 h 10086"/>
              <a:gd name="connsiteX153" fmla="*/ 1950 w 10000"/>
              <a:gd name="connsiteY153" fmla="*/ 1966 h 10086"/>
              <a:gd name="connsiteX154" fmla="*/ 2148 w 10000"/>
              <a:gd name="connsiteY154" fmla="*/ 2151 h 10086"/>
              <a:gd name="connsiteX155" fmla="*/ 2261 w 10000"/>
              <a:gd name="connsiteY155" fmla="*/ 2590 h 10086"/>
              <a:gd name="connsiteX156" fmla="*/ 2005 w 10000"/>
              <a:gd name="connsiteY156" fmla="*/ 2967 h 10086"/>
              <a:gd name="connsiteX157" fmla="*/ 2094 w 10000"/>
              <a:gd name="connsiteY157" fmla="*/ 3081 h 10086"/>
              <a:gd name="connsiteX158" fmla="*/ 2012 w 10000"/>
              <a:gd name="connsiteY158" fmla="*/ 3276 h 10086"/>
              <a:gd name="connsiteX159" fmla="*/ 1850 w 10000"/>
              <a:gd name="connsiteY159" fmla="*/ 3413 h 10086"/>
              <a:gd name="connsiteX160" fmla="*/ 1199 w 10000"/>
              <a:gd name="connsiteY160" fmla="*/ 3517 h 10086"/>
              <a:gd name="connsiteX161" fmla="*/ 1158 w 10000"/>
              <a:gd name="connsiteY161" fmla="*/ 3698 h 10086"/>
              <a:gd name="connsiteX162" fmla="*/ 808 w 10000"/>
              <a:gd name="connsiteY162" fmla="*/ 3968 h 10086"/>
              <a:gd name="connsiteX163" fmla="*/ 854 w 10000"/>
              <a:gd name="connsiteY163" fmla="*/ 4359 h 10086"/>
              <a:gd name="connsiteX164" fmla="*/ 560 w 10000"/>
              <a:gd name="connsiteY164" fmla="*/ 4858 h 10086"/>
              <a:gd name="connsiteX165" fmla="*/ 358 w 10000"/>
              <a:gd name="connsiteY165" fmla="*/ 4916 h 10086"/>
              <a:gd name="connsiteX166" fmla="*/ 275 w 10000"/>
              <a:gd name="connsiteY166" fmla="*/ 4797 h 10086"/>
              <a:gd name="connsiteX167" fmla="*/ 174 w 10000"/>
              <a:gd name="connsiteY167" fmla="*/ 4977 h 10086"/>
              <a:gd name="connsiteX168" fmla="*/ 239 w 10000"/>
              <a:gd name="connsiteY168" fmla="*/ 4667 h 10086"/>
              <a:gd name="connsiteX169" fmla="*/ 197 w 10000"/>
              <a:gd name="connsiteY169" fmla="*/ 4609 h 10086"/>
              <a:gd name="connsiteX0" fmla="*/ 197 w 10000"/>
              <a:gd name="connsiteY0" fmla="*/ 4609 h 10000"/>
              <a:gd name="connsiteX1" fmla="*/ 0 w 10000"/>
              <a:gd name="connsiteY1" fmla="*/ 4770 h 10000"/>
              <a:gd name="connsiteX2" fmla="*/ 0 w 10000"/>
              <a:gd name="connsiteY2" fmla="*/ 5564 h 10000"/>
              <a:gd name="connsiteX3" fmla="*/ 109 w 10000"/>
              <a:gd name="connsiteY3" fmla="*/ 5585 h 10000"/>
              <a:gd name="connsiteX4" fmla="*/ 134 w 10000"/>
              <a:gd name="connsiteY4" fmla="*/ 5648 h 10000"/>
              <a:gd name="connsiteX5" fmla="*/ 130 w 10000"/>
              <a:gd name="connsiteY5" fmla="*/ 5756 h 10000"/>
              <a:gd name="connsiteX6" fmla="*/ 89 w 10000"/>
              <a:gd name="connsiteY6" fmla="*/ 5803 h 10000"/>
              <a:gd name="connsiteX7" fmla="*/ 255 w 10000"/>
              <a:gd name="connsiteY7" fmla="*/ 5710 h 10000"/>
              <a:gd name="connsiteX8" fmla="*/ 325 w 10000"/>
              <a:gd name="connsiteY8" fmla="*/ 5622 h 10000"/>
              <a:gd name="connsiteX9" fmla="*/ 413 w 10000"/>
              <a:gd name="connsiteY9" fmla="*/ 5682 h 10000"/>
              <a:gd name="connsiteX10" fmla="*/ 316 w 10000"/>
              <a:gd name="connsiteY10" fmla="*/ 5813 h 10000"/>
              <a:gd name="connsiteX11" fmla="*/ 419 w 10000"/>
              <a:gd name="connsiteY11" fmla="*/ 5816 h 10000"/>
              <a:gd name="connsiteX12" fmla="*/ 469 w 10000"/>
              <a:gd name="connsiteY12" fmla="*/ 5848 h 10000"/>
              <a:gd name="connsiteX13" fmla="*/ 337 w 10000"/>
              <a:gd name="connsiteY13" fmla="*/ 5891 h 10000"/>
              <a:gd name="connsiteX14" fmla="*/ 130 w 10000"/>
              <a:gd name="connsiteY14" fmla="*/ 6024 h 10000"/>
              <a:gd name="connsiteX15" fmla="*/ 497 w 10000"/>
              <a:gd name="connsiteY15" fmla="*/ 6129 h 10000"/>
              <a:gd name="connsiteX16" fmla="*/ 545 w 10000"/>
              <a:gd name="connsiteY16" fmla="*/ 6278 h 10000"/>
              <a:gd name="connsiteX17" fmla="*/ 419 w 10000"/>
              <a:gd name="connsiteY17" fmla="*/ 6497 h 10000"/>
              <a:gd name="connsiteX18" fmla="*/ 688 w 10000"/>
              <a:gd name="connsiteY18" fmla="*/ 6485 h 10000"/>
              <a:gd name="connsiteX19" fmla="*/ 709 w 10000"/>
              <a:gd name="connsiteY19" fmla="*/ 6647 h 10000"/>
              <a:gd name="connsiteX20" fmla="*/ 530 w 10000"/>
              <a:gd name="connsiteY20" fmla="*/ 6764 h 10000"/>
              <a:gd name="connsiteX21" fmla="*/ 560 w 10000"/>
              <a:gd name="connsiteY21" fmla="*/ 6978 h 10000"/>
              <a:gd name="connsiteX22" fmla="*/ 489 w 10000"/>
              <a:gd name="connsiteY22" fmla="*/ 7150 h 10000"/>
              <a:gd name="connsiteX23" fmla="*/ 703 w 10000"/>
              <a:gd name="connsiteY23" fmla="*/ 7166 h 10000"/>
              <a:gd name="connsiteX24" fmla="*/ 909 w 10000"/>
              <a:gd name="connsiteY24" fmla="*/ 7817 h 10000"/>
              <a:gd name="connsiteX25" fmla="*/ 1150 w 10000"/>
              <a:gd name="connsiteY25" fmla="*/ 7978 h 10000"/>
              <a:gd name="connsiteX26" fmla="*/ 1255 w 10000"/>
              <a:gd name="connsiteY26" fmla="*/ 8154 h 10000"/>
              <a:gd name="connsiteX27" fmla="*/ 1514 w 10000"/>
              <a:gd name="connsiteY27" fmla="*/ 8280 h 10000"/>
              <a:gd name="connsiteX28" fmla="*/ 1684 w 10000"/>
              <a:gd name="connsiteY28" fmla="*/ 8444 h 10000"/>
              <a:gd name="connsiteX29" fmla="*/ 1661 w 10000"/>
              <a:gd name="connsiteY29" fmla="*/ 8562 h 10000"/>
              <a:gd name="connsiteX30" fmla="*/ 1496 w 10000"/>
              <a:gd name="connsiteY30" fmla="*/ 8606 h 10000"/>
              <a:gd name="connsiteX31" fmla="*/ 1316 w 10000"/>
              <a:gd name="connsiteY31" fmla="*/ 8576 h 10000"/>
              <a:gd name="connsiteX32" fmla="*/ 1260 w 10000"/>
              <a:gd name="connsiteY32" fmla="*/ 8624 h 10000"/>
              <a:gd name="connsiteX33" fmla="*/ 1397 w 10000"/>
              <a:gd name="connsiteY33" fmla="*/ 8876 h 10000"/>
              <a:gd name="connsiteX34" fmla="*/ 1205 w 10000"/>
              <a:gd name="connsiteY34" fmla="*/ 8854 h 10000"/>
              <a:gd name="connsiteX35" fmla="*/ 1040 w 10000"/>
              <a:gd name="connsiteY35" fmla="*/ 8794 h 10000"/>
              <a:gd name="connsiteX36" fmla="*/ 1012 w 10000"/>
              <a:gd name="connsiteY36" fmla="*/ 8888 h 10000"/>
              <a:gd name="connsiteX37" fmla="*/ 1408 w 10000"/>
              <a:gd name="connsiteY37" fmla="*/ 10000 h 10000"/>
              <a:gd name="connsiteX38" fmla="*/ 6419 w 10000"/>
              <a:gd name="connsiteY38" fmla="*/ 8345 h 10000"/>
              <a:gd name="connsiteX39" fmla="*/ 6586 w 10000"/>
              <a:gd name="connsiteY39" fmla="*/ 7651 h 10000"/>
              <a:gd name="connsiteX40" fmla="*/ 6855 w 10000"/>
              <a:gd name="connsiteY40" fmla="*/ 7343 h 10000"/>
              <a:gd name="connsiteX41" fmla="*/ 6855 w 10000"/>
              <a:gd name="connsiteY41" fmla="*/ 7180 h 10000"/>
              <a:gd name="connsiteX42" fmla="*/ 6757 w 10000"/>
              <a:gd name="connsiteY42" fmla="*/ 7091 h 10000"/>
              <a:gd name="connsiteX43" fmla="*/ 6915 w 10000"/>
              <a:gd name="connsiteY43" fmla="*/ 6942 h 10000"/>
              <a:gd name="connsiteX44" fmla="*/ 6887 w 10000"/>
              <a:gd name="connsiteY44" fmla="*/ 6822 h 10000"/>
              <a:gd name="connsiteX45" fmla="*/ 6779 w 10000"/>
              <a:gd name="connsiteY45" fmla="*/ 6720 h 10000"/>
              <a:gd name="connsiteX46" fmla="*/ 6757 w 10000"/>
              <a:gd name="connsiteY46" fmla="*/ 6640 h 10000"/>
              <a:gd name="connsiteX47" fmla="*/ 6785 w 10000"/>
              <a:gd name="connsiteY47" fmla="*/ 6582 h 10000"/>
              <a:gd name="connsiteX48" fmla="*/ 6931 w 10000"/>
              <a:gd name="connsiteY48" fmla="*/ 6629 h 10000"/>
              <a:gd name="connsiteX49" fmla="*/ 7045 w 10000"/>
              <a:gd name="connsiteY49" fmla="*/ 6626 h 10000"/>
              <a:gd name="connsiteX50" fmla="*/ 6983 w 10000"/>
              <a:gd name="connsiteY50" fmla="*/ 6528 h 10000"/>
              <a:gd name="connsiteX51" fmla="*/ 7003 w 10000"/>
              <a:gd name="connsiteY51" fmla="*/ 6470 h 10000"/>
              <a:gd name="connsiteX52" fmla="*/ 7089 w 10000"/>
              <a:gd name="connsiteY52" fmla="*/ 6387 h 10000"/>
              <a:gd name="connsiteX53" fmla="*/ 7074 w 10000"/>
              <a:gd name="connsiteY53" fmla="*/ 6318 h 10000"/>
              <a:gd name="connsiteX54" fmla="*/ 7152 w 10000"/>
              <a:gd name="connsiteY54" fmla="*/ 6087 h 10000"/>
              <a:gd name="connsiteX55" fmla="*/ 7130 w 10000"/>
              <a:gd name="connsiteY55" fmla="*/ 6016 h 10000"/>
              <a:gd name="connsiteX56" fmla="*/ 6729 w 10000"/>
              <a:gd name="connsiteY56" fmla="*/ 5839 h 10000"/>
              <a:gd name="connsiteX57" fmla="*/ 6785 w 10000"/>
              <a:gd name="connsiteY57" fmla="*/ 5833 h 10000"/>
              <a:gd name="connsiteX58" fmla="*/ 6998 w 10000"/>
              <a:gd name="connsiteY58" fmla="*/ 5878 h 10000"/>
              <a:gd name="connsiteX59" fmla="*/ 7230 w 10000"/>
              <a:gd name="connsiteY59" fmla="*/ 5861 h 10000"/>
              <a:gd name="connsiteX60" fmla="*/ 7295 w 10000"/>
              <a:gd name="connsiteY60" fmla="*/ 5799 h 10000"/>
              <a:gd name="connsiteX61" fmla="*/ 7074 w 10000"/>
              <a:gd name="connsiteY61" fmla="*/ 5679 h 10000"/>
              <a:gd name="connsiteX62" fmla="*/ 6414 w 10000"/>
              <a:gd name="connsiteY62" fmla="*/ 5600 h 10000"/>
              <a:gd name="connsiteX63" fmla="*/ 6458 w 10000"/>
              <a:gd name="connsiteY63" fmla="*/ 5564 h 10000"/>
              <a:gd name="connsiteX64" fmla="*/ 6998 w 10000"/>
              <a:gd name="connsiteY64" fmla="*/ 5539 h 10000"/>
              <a:gd name="connsiteX65" fmla="*/ 7295 w 10000"/>
              <a:gd name="connsiteY65" fmla="*/ 5611 h 10000"/>
              <a:gd name="connsiteX66" fmla="*/ 7466 w 10000"/>
              <a:gd name="connsiteY66" fmla="*/ 5564 h 10000"/>
              <a:gd name="connsiteX67" fmla="*/ 7529 w 10000"/>
              <a:gd name="connsiteY67" fmla="*/ 5440 h 10000"/>
              <a:gd name="connsiteX68" fmla="*/ 7840 w 10000"/>
              <a:gd name="connsiteY68" fmla="*/ 5440 h 10000"/>
              <a:gd name="connsiteX69" fmla="*/ 8261 w 10000"/>
              <a:gd name="connsiteY69" fmla="*/ 5191 h 10000"/>
              <a:gd name="connsiteX70" fmla="*/ 8275 w 10000"/>
              <a:gd name="connsiteY70" fmla="*/ 5023 h 10000"/>
              <a:gd name="connsiteX71" fmla="*/ 8453 w 10000"/>
              <a:gd name="connsiteY71" fmla="*/ 5061 h 10000"/>
              <a:gd name="connsiteX72" fmla="*/ 8446 w 10000"/>
              <a:gd name="connsiteY72" fmla="*/ 5229 h 10000"/>
              <a:gd name="connsiteX73" fmla="*/ 8727 w 10000"/>
              <a:gd name="connsiteY73" fmla="*/ 5217 h 10000"/>
              <a:gd name="connsiteX74" fmla="*/ 8913 w 10000"/>
              <a:gd name="connsiteY74" fmla="*/ 5043 h 10000"/>
              <a:gd name="connsiteX75" fmla="*/ 9258 w 10000"/>
              <a:gd name="connsiteY75" fmla="*/ 4887 h 10000"/>
              <a:gd name="connsiteX76" fmla="*/ 9203 w 10000"/>
              <a:gd name="connsiteY76" fmla="*/ 4711 h 10000"/>
              <a:gd name="connsiteX77" fmla="*/ 9306 w 10000"/>
              <a:gd name="connsiteY77" fmla="*/ 4781 h 10000"/>
              <a:gd name="connsiteX78" fmla="*/ 9464 w 10000"/>
              <a:gd name="connsiteY78" fmla="*/ 4781 h 10000"/>
              <a:gd name="connsiteX79" fmla="*/ 9464 w 10000"/>
              <a:gd name="connsiteY79" fmla="*/ 4699 h 10000"/>
              <a:gd name="connsiteX80" fmla="*/ 9611 w 10000"/>
              <a:gd name="connsiteY80" fmla="*/ 4639 h 10000"/>
              <a:gd name="connsiteX81" fmla="*/ 9592 w 10000"/>
              <a:gd name="connsiteY81" fmla="*/ 4574 h 10000"/>
              <a:gd name="connsiteX82" fmla="*/ 8350 w 10000"/>
              <a:gd name="connsiteY82" fmla="*/ 4701 h 10000"/>
              <a:gd name="connsiteX83" fmla="*/ 8058 w 10000"/>
              <a:gd name="connsiteY83" fmla="*/ 4665 h 10000"/>
              <a:gd name="connsiteX84" fmla="*/ 7942 w 10000"/>
              <a:gd name="connsiteY84" fmla="*/ 4711 h 10000"/>
              <a:gd name="connsiteX85" fmla="*/ 7903 w 10000"/>
              <a:gd name="connsiteY85" fmla="*/ 4621 h 10000"/>
              <a:gd name="connsiteX86" fmla="*/ 7765 w 10000"/>
              <a:gd name="connsiteY86" fmla="*/ 4543 h 10000"/>
              <a:gd name="connsiteX87" fmla="*/ 7213 w 10000"/>
              <a:gd name="connsiteY87" fmla="*/ 4380 h 10000"/>
              <a:gd name="connsiteX88" fmla="*/ 6887 w 10000"/>
              <a:gd name="connsiteY88" fmla="*/ 4408 h 10000"/>
              <a:gd name="connsiteX89" fmla="*/ 6757 w 10000"/>
              <a:gd name="connsiteY89" fmla="*/ 4361 h 10000"/>
              <a:gd name="connsiteX90" fmla="*/ 6894 w 10000"/>
              <a:gd name="connsiteY90" fmla="*/ 4322 h 10000"/>
              <a:gd name="connsiteX91" fmla="*/ 6998 w 10000"/>
              <a:gd name="connsiteY91" fmla="*/ 4237 h 10000"/>
              <a:gd name="connsiteX92" fmla="*/ 7152 w 10000"/>
              <a:gd name="connsiteY92" fmla="*/ 4264 h 10000"/>
              <a:gd name="connsiteX93" fmla="*/ 7335 w 10000"/>
              <a:gd name="connsiteY93" fmla="*/ 4242 h 10000"/>
              <a:gd name="connsiteX94" fmla="*/ 7611 w 10000"/>
              <a:gd name="connsiteY94" fmla="*/ 4270 h 10000"/>
              <a:gd name="connsiteX95" fmla="*/ 7645 w 10000"/>
              <a:gd name="connsiteY95" fmla="*/ 4258 h 10000"/>
              <a:gd name="connsiteX96" fmla="*/ 7859 w 10000"/>
              <a:gd name="connsiteY96" fmla="*/ 4388 h 10000"/>
              <a:gd name="connsiteX97" fmla="*/ 8017 w 10000"/>
              <a:gd name="connsiteY97" fmla="*/ 4340 h 10000"/>
              <a:gd name="connsiteX98" fmla="*/ 8032 w 10000"/>
              <a:gd name="connsiteY98" fmla="*/ 4296 h 10000"/>
              <a:gd name="connsiteX99" fmla="*/ 8176 w 10000"/>
              <a:gd name="connsiteY99" fmla="*/ 4373 h 10000"/>
              <a:gd name="connsiteX100" fmla="*/ 8369 w 10000"/>
              <a:gd name="connsiteY100" fmla="*/ 4415 h 10000"/>
              <a:gd name="connsiteX101" fmla="*/ 8446 w 10000"/>
              <a:gd name="connsiteY101" fmla="*/ 4338 h 10000"/>
              <a:gd name="connsiteX102" fmla="*/ 8507 w 10000"/>
              <a:gd name="connsiteY102" fmla="*/ 4380 h 10000"/>
              <a:gd name="connsiteX103" fmla="*/ 8596 w 10000"/>
              <a:gd name="connsiteY103" fmla="*/ 4531 h 10000"/>
              <a:gd name="connsiteX104" fmla="*/ 8782 w 10000"/>
              <a:gd name="connsiteY104" fmla="*/ 4565 h 10000"/>
              <a:gd name="connsiteX105" fmla="*/ 9542 w 10000"/>
              <a:gd name="connsiteY105" fmla="*/ 4345 h 10000"/>
              <a:gd name="connsiteX106" fmla="*/ 9914 w 10000"/>
              <a:gd name="connsiteY106" fmla="*/ 4038 h 10000"/>
              <a:gd name="connsiteX107" fmla="*/ 10000 w 10000"/>
              <a:gd name="connsiteY107" fmla="*/ 3817 h 10000"/>
              <a:gd name="connsiteX108" fmla="*/ 9866 w 10000"/>
              <a:gd name="connsiteY108" fmla="*/ 3614 h 10000"/>
              <a:gd name="connsiteX109" fmla="*/ 9582 w 10000"/>
              <a:gd name="connsiteY109" fmla="*/ 3495 h 10000"/>
              <a:gd name="connsiteX110" fmla="*/ 9382 w 10000"/>
              <a:gd name="connsiteY110" fmla="*/ 3295 h 10000"/>
              <a:gd name="connsiteX111" fmla="*/ 9569 w 10000"/>
              <a:gd name="connsiteY111" fmla="*/ 3289 h 10000"/>
              <a:gd name="connsiteX112" fmla="*/ 9555 w 10000"/>
              <a:gd name="connsiteY112" fmla="*/ 3242 h 10000"/>
              <a:gd name="connsiteX113" fmla="*/ 9068 w 10000"/>
              <a:gd name="connsiteY113" fmla="*/ 3105 h 10000"/>
              <a:gd name="connsiteX114" fmla="*/ 9047 w 10000"/>
              <a:gd name="connsiteY114" fmla="*/ 2977 h 10000"/>
              <a:gd name="connsiteX115" fmla="*/ 8953 w 10000"/>
              <a:gd name="connsiteY115" fmla="*/ 2843 h 10000"/>
              <a:gd name="connsiteX116" fmla="*/ 8569 w 10000"/>
              <a:gd name="connsiteY116" fmla="*/ 2867 h 10000"/>
              <a:gd name="connsiteX117" fmla="*/ 8431 w 10000"/>
              <a:gd name="connsiteY117" fmla="*/ 2725 h 10000"/>
              <a:gd name="connsiteX118" fmla="*/ 8350 w 10000"/>
              <a:gd name="connsiteY118" fmla="*/ 2716 h 10000"/>
              <a:gd name="connsiteX119" fmla="*/ 8350 w 10000"/>
              <a:gd name="connsiteY119" fmla="*/ 2780 h 10000"/>
              <a:gd name="connsiteX120" fmla="*/ 8176 w 10000"/>
              <a:gd name="connsiteY120" fmla="*/ 3016 h 10000"/>
              <a:gd name="connsiteX121" fmla="*/ 7990 w 10000"/>
              <a:gd name="connsiteY121" fmla="*/ 3156 h 10000"/>
              <a:gd name="connsiteX122" fmla="*/ 7401 w 10000"/>
              <a:gd name="connsiteY122" fmla="*/ 3393 h 10000"/>
              <a:gd name="connsiteX123" fmla="*/ 7198 w 10000"/>
              <a:gd name="connsiteY123" fmla="*/ 3386 h 10000"/>
              <a:gd name="connsiteX124" fmla="*/ 6915 w 10000"/>
              <a:gd name="connsiteY124" fmla="*/ 3423 h 10000"/>
              <a:gd name="connsiteX125" fmla="*/ 6757 w 10000"/>
              <a:gd name="connsiteY125" fmla="*/ 3386 h 10000"/>
              <a:gd name="connsiteX126" fmla="*/ 6965 w 10000"/>
              <a:gd name="connsiteY126" fmla="*/ 3318 h 10000"/>
              <a:gd name="connsiteX127" fmla="*/ 7235 w 10000"/>
              <a:gd name="connsiteY127" fmla="*/ 3289 h 10000"/>
              <a:gd name="connsiteX128" fmla="*/ 7455 w 10000"/>
              <a:gd name="connsiteY128" fmla="*/ 3178 h 10000"/>
              <a:gd name="connsiteX129" fmla="*/ 7674 w 10000"/>
              <a:gd name="connsiteY129" fmla="*/ 3126 h 10000"/>
              <a:gd name="connsiteX130" fmla="*/ 8082 w 10000"/>
              <a:gd name="connsiteY130" fmla="*/ 2931 h 10000"/>
              <a:gd name="connsiteX131" fmla="*/ 8157 w 10000"/>
              <a:gd name="connsiteY131" fmla="*/ 2804 h 10000"/>
              <a:gd name="connsiteX132" fmla="*/ 8165 w 10000"/>
              <a:gd name="connsiteY132" fmla="*/ 2640 h 10000"/>
              <a:gd name="connsiteX133" fmla="*/ 7978 w 10000"/>
              <a:gd name="connsiteY133" fmla="*/ 2611 h 10000"/>
              <a:gd name="connsiteX134" fmla="*/ 8058 w 10000"/>
              <a:gd name="connsiteY134" fmla="*/ 2511 h 10000"/>
              <a:gd name="connsiteX135" fmla="*/ 8087 w 10000"/>
              <a:gd name="connsiteY135" fmla="*/ 2384 h 10000"/>
              <a:gd name="connsiteX136" fmla="*/ 8007 w 10000"/>
              <a:gd name="connsiteY136" fmla="*/ 2265 h 10000"/>
              <a:gd name="connsiteX137" fmla="*/ 7450 w 10000"/>
              <a:gd name="connsiteY137" fmla="*/ 2428 h 10000"/>
              <a:gd name="connsiteX138" fmla="*/ 6694 w 10000"/>
              <a:gd name="connsiteY138" fmla="*/ 2355 h 10000"/>
              <a:gd name="connsiteX139" fmla="*/ 6304 w 10000"/>
              <a:gd name="connsiteY139" fmla="*/ 1899 h 10000"/>
              <a:gd name="connsiteX140" fmla="*/ 5294 w 10000"/>
              <a:gd name="connsiteY140" fmla="*/ 1813 h 10000"/>
              <a:gd name="connsiteX141" fmla="*/ 4505 w 10000"/>
              <a:gd name="connsiteY141" fmla="*/ 1435 h 10000"/>
              <a:gd name="connsiteX142" fmla="*/ 3730 w 10000"/>
              <a:gd name="connsiteY142" fmla="*/ 981 h 10000"/>
              <a:gd name="connsiteX143" fmla="*/ 3154 w 10000"/>
              <a:gd name="connsiteY143" fmla="*/ 145 h 10000"/>
              <a:gd name="connsiteX144" fmla="*/ 2375 w 10000"/>
              <a:gd name="connsiteY144" fmla="*/ 0 h 10000"/>
              <a:gd name="connsiteX145" fmla="*/ 2226 w 10000"/>
              <a:gd name="connsiteY145" fmla="*/ 787 h 10000"/>
              <a:gd name="connsiteX146" fmla="*/ 2375 w 10000"/>
              <a:gd name="connsiteY146" fmla="*/ 986 h 10000"/>
              <a:gd name="connsiteX147" fmla="*/ 2791 w 10000"/>
              <a:gd name="connsiteY147" fmla="*/ 1207 h 10000"/>
              <a:gd name="connsiteX148" fmla="*/ 2808 w 10000"/>
              <a:gd name="connsiteY148" fmla="*/ 1474 h 10000"/>
              <a:gd name="connsiteX149" fmla="*/ 2632 w 10000"/>
              <a:gd name="connsiteY149" fmla="*/ 1698 h 10000"/>
              <a:gd name="connsiteX150" fmla="*/ 2375 w 10000"/>
              <a:gd name="connsiteY150" fmla="*/ 1833 h 10000"/>
              <a:gd name="connsiteX151" fmla="*/ 2039 w 10000"/>
              <a:gd name="connsiteY151" fmla="*/ 1886 h 10000"/>
              <a:gd name="connsiteX152" fmla="*/ 1950 w 10000"/>
              <a:gd name="connsiteY152" fmla="*/ 1966 h 10000"/>
              <a:gd name="connsiteX153" fmla="*/ 2148 w 10000"/>
              <a:gd name="connsiteY153" fmla="*/ 2151 h 10000"/>
              <a:gd name="connsiteX154" fmla="*/ 2261 w 10000"/>
              <a:gd name="connsiteY154" fmla="*/ 2590 h 10000"/>
              <a:gd name="connsiteX155" fmla="*/ 2005 w 10000"/>
              <a:gd name="connsiteY155" fmla="*/ 2967 h 10000"/>
              <a:gd name="connsiteX156" fmla="*/ 2094 w 10000"/>
              <a:gd name="connsiteY156" fmla="*/ 3081 h 10000"/>
              <a:gd name="connsiteX157" fmla="*/ 2012 w 10000"/>
              <a:gd name="connsiteY157" fmla="*/ 3276 h 10000"/>
              <a:gd name="connsiteX158" fmla="*/ 1850 w 10000"/>
              <a:gd name="connsiteY158" fmla="*/ 3413 h 10000"/>
              <a:gd name="connsiteX159" fmla="*/ 1199 w 10000"/>
              <a:gd name="connsiteY159" fmla="*/ 3517 h 10000"/>
              <a:gd name="connsiteX160" fmla="*/ 1158 w 10000"/>
              <a:gd name="connsiteY160" fmla="*/ 3698 h 10000"/>
              <a:gd name="connsiteX161" fmla="*/ 808 w 10000"/>
              <a:gd name="connsiteY161" fmla="*/ 3968 h 10000"/>
              <a:gd name="connsiteX162" fmla="*/ 854 w 10000"/>
              <a:gd name="connsiteY162" fmla="*/ 4359 h 10000"/>
              <a:gd name="connsiteX163" fmla="*/ 560 w 10000"/>
              <a:gd name="connsiteY163" fmla="*/ 4858 h 10000"/>
              <a:gd name="connsiteX164" fmla="*/ 358 w 10000"/>
              <a:gd name="connsiteY164" fmla="*/ 4916 h 10000"/>
              <a:gd name="connsiteX165" fmla="*/ 275 w 10000"/>
              <a:gd name="connsiteY165" fmla="*/ 4797 h 10000"/>
              <a:gd name="connsiteX166" fmla="*/ 174 w 10000"/>
              <a:gd name="connsiteY166" fmla="*/ 4977 h 10000"/>
              <a:gd name="connsiteX167" fmla="*/ 239 w 10000"/>
              <a:gd name="connsiteY167" fmla="*/ 4667 h 10000"/>
              <a:gd name="connsiteX168" fmla="*/ 197 w 10000"/>
              <a:gd name="connsiteY168" fmla="*/ 4609 h 10000"/>
              <a:gd name="connsiteX0" fmla="*/ 197 w 10000"/>
              <a:gd name="connsiteY0" fmla="*/ 4609 h 8888"/>
              <a:gd name="connsiteX1" fmla="*/ 0 w 10000"/>
              <a:gd name="connsiteY1" fmla="*/ 4770 h 8888"/>
              <a:gd name="connsiteX2" fmla="*/ 0 w 10000"/>
              <a:gd name="connsiteY2" fmla="*/ 5564 h 8888"/>
              <a:gd name="connsiteX3" fmla="*/ 109 w 10000"/>
              <a:gd name="connsiteY3" fmla="*/ 5585 h 8888"/>
              <a:gd name="connsiteX4" fmla="*/ 134 w 10000"/>
              <a:gd name="connsiteY4" fmla="*/ 5648 h 8888"/>
              <a:gd name="connsiteX5" fmla="*/ 130 w 10000"/>
              <a:gd name="connsiteY5" fmla="*/ 5756 h 8888"/>
              <a:gd name="connsiteX6" fmla="*/ 89 w 10000"/>
              <a:gd name="connsiteY6" fmla="*/ 5803 h 8888"/>
              <a:gd name="connsiteX7" fmla="*/ 255 w 10000"/>
              <a:gd name="connsiteY7" fmla="*/ 5710 h 8888"/>
              <a:gd name="connsiteX8" fmla="*/ 325 w 10000"/>
              <a:gd name="connsiteY8" fmla="*/ 5622 h 8888"/>
              <a:gd name="connsiteX9" fmla="*/ 413 w 10000"/>
              <a:gd name="connsiteY9" fmla="*/ 5682 h 8888"/>
              <a:gd name="connsiteX10" fmla="*/ 316 w 10000"/>
              <a:gd name="connsiteY10" fmla="*/ 5813 h 8888"/>
              <a:gd name="connsiteX11" fmla="*/ 419 w 10000"/>
              <a:gd name="connsiteY11" fmla="*/ 5816 h 8888"/>
              <a:gd name="connsiteX12" fmla="*/ 469 w 10000"/>
              <a:gd name="connsiteY12" fmla="*/ 5848 h 8888"/>
              <a:gd name="connsiteX13" fmla="*/ 337 w 10000"/>
              <a:gd name="connsiteY13" fmla="*/ 5891 h 8888"/>
              <a:gd name="connsiteX14" fmla="*/ 130 w 10000"/>
              <a:gd name="connsiteY14" fmla="*/ 6024 h 8888"/>
              <a:gd name="connsiteX15" fmla="*/ 497 w 10000"/>
              <a:gd name="connsiteY15" fmla="*/ 6129 h 8888"/>
              <a:gd name="connsiteX16" fmla="*/ 545 w 10000"/>
              <a:gd name="connsiteY16" fmla="*/ 6278 h 8888"/>
              <a:gd name="connsiteX17" fmla="*/ 419 w 10000"/>
              <a:gd name="connsiteY17" fmla="*/ 6497 h 8888"/>
              <a:gd name="connsiteX18" fmla="*/ 688 w 10000"/>
              <a:gd name="connsiteY18" fmla="*/ 6485 h 8888"/>
              <a:gd name="connsiteX19" fmla="*/ 709 w 10000"/>
              <a:gd name="connsiteY19" fmla="*/ 6647 h 8888"/>
              <a:gd name="connsiteX20" fmla="*/ 530 w 10000"/>
              <a:gd name="connsiteY20" fmla="*/ 6764 h 8888"/>
              <a:gd name="connsiteX21" fmla="*/ 560 w 10000"/>
              <a:gd name="connsiteY21" fmla="*/ 6978 h 8888"/>
              <a:gd name="connsiteX22" fmla="*/ 489 w 10000"/>
              <a:gd name="connsiteY22" fmla="*/ 7150 h 8888"/>
              <a:gd name="connsiteX23" fmla="*/ 703 w 10000"/>
              <a:gd name="connsiteY23" fmla="*/ 7166 h 8888"/>
              <a:gd name="connsiteX24" fmla="*/ 909 w 10000"/>
              <a:gd name="connsiteY24" fmla="*/ 7817 h 8888"/>
              <a:gd name="connsiteX25" fmla="*/ 1150 w 10000"/>
              <a:gd name="connsiteY25" fmla="*/ 7978 h 8888"/>
              <a:gd name="connsiteX26" fmla="*/ 1255 w 10000"/>
              <a:gd name="connsiteY26" fmla="*/ 8154 h 8888"/>
              <a:gd name="connsiteX27" fmla="*/ 1514 w 10000"/>
              <a:gd name="connsiteY27" fmla="*/ 8280 h 8888"/>
              <a:gd name="connsiteX28" fmla="*/ 1684 w 10000"/>
              <a:gd name="connsiteY28" fmla="*/ 8444 h 8888"/>
              <a:gd name="connsiteX29" fmla="*/ 1661 w 10000"/>
              <a:gd name="connsiteY29" fmla="*/ 8562 h 8888"/>
              <a:gd name="connsiteX30" fmla="*/ 1496 w 10000"/>
              <a:gd name="connsiteY30" fmla="*/ 8606 h 8888"/>
              <a:gd name="connsiteX31" fmla="*/ 1316 w 10000"/>
              <a:gd name="connsiteY31" fmla="*/ 8576 h 8888"/>
              <a:gd name="connsiteX32" fmla="*/ 1260 w 10000"/>
              <a:gd name="connsiteY32" fmla="*/ 8624 h 8888"/>
              <a:gd name="connsiteX33" fmla="*/ 1397 w 10000"/>
              <a:gd name="connsiteY33" fmla="*/ 8876 h 8888"/>
              <a:gd name="connsiteX34" fmla="*/ 1205 w 10000"/>
              <a:gd name="connsiteY34" fmla="*/ 8854 h 8888"/>
              <a:gd name="connsiteX35" fmla="*/ 1040 w 10000"/>
              <a:gd name="connsiteY35" fmla="*/ 8794 h 8888"/>
              <a:gd name="connsiteX36" fmla="*/ 1012 w 10000"/>
              <a:gd name="connsiteY36" fmla="*/ 8888 h 8888"/>
              <a:gd name="connsiteX37" fmla="*/ 6419 w 10000"/>
              <a:gd name="connsiteY37" fmla="*/ 8345 h 8888"/>
              <a:gd name="connsiteX38" fmla="*/ 6586 w 10000"/>
              <a:gd name="connsiteY38" fmla="*/ 7651 h 8888"/>
              <a:gd name="connsiteX39" fmla="*/ 6855 w 10000"/>
              <a:gd name="connsiteY39" fmla="*/ 7343 h 8888"/>
              <a:gd name="connsiteX40" fmla="*/ 6855 w 10000"/>
              <a:gd name="connsiteY40" fmla="*/ 7180 h 8888"/>
              <a:gd name="connsiteX41" fmla="*/ 6757 w 10000"/>
              <a:gd name="connsiteY41" fmla="*/ 7091 h 8888"/>
              <a:gd name="connsiteX42" fmla="*/ 6915 w 10000"/>
              <a:gd name="connsiteY42" fmla="*/ 6942 h 8888"/>
              <a:gd name="connsiteX43" fmla="*/ 6887 w 10000"/>
              <a:gd name="connsiteY43" fmla="*/ 6822 h 8888"/>
              <a:gd name="connsiteX44" fmla="*/ 6779 w 10000"/>
              <a:gd name="connsiteY44" fmla="*/ 6720 h 8888"/>
              <a:gd name="connsiteX45" fmla="*/ 6757 w 10000"/>
              <a:gd name="connsiteY45" fmla="*/ 6640 h 8888"/>
              <a:gd name="connsiteX46" fmla="*/ 6785 w 10000"/>
              <a:gd name="connsiteY46" fmla="*/ 6582 h 8888"/>
              <a:gd name="connsiteX47" fmla="*/ 6931 w 10000"/>
              <a:gd name="connsiteY47" fmla="*/ 6629 h 8888"/>
              <a:gd name="connsiteX48" fmla="*/ 7045 w 10000"/>
              <a:gd name="connsiteY48" fmla="*/ 6626 h 8888"/>
              <a:gd name="connsiteX49" fmla="*/ 6983 w 10000"/>
              <a:gd name="connsiteY49" fmla="*/ 6528 h 8888"/>
              <a:gd name="connsiteX50" fmla="*/ 7003 w 10000"/>
              <a:gd name="connsiteY50" fmla="*/ 6470 h 8888"/>
              <a:gd name="connsiteX51" fmla="*/ 7089 w 10000"/>
              <a:gd name="connsiteY51" fmla="*/ 6387 h 8888"/>
              <a:gd name="connsiteX52" fmla="*/ 7074 w 10000"/>
              <a:gd name="connsiteY52" fmla="*/ 6318 h 8888"/>
              <a:gd name="connsiteX53" fmla="*/ 7152 w 10000"/>
              <a:gd name="connsiteY53" fmla="*/ 6087 h 8888"/>
              <a:gd name="connsiteX54" fmla="*/ 7130 w 10000"/>
              <a:gd name="connsiteY54" fmla="*/ 6016 h 8888"/>
              <a:gd name="connsiteX55" fmla="*/ 6729 w 10000"/>
              <a:gd name="connsiteY55" fmla="*/ 5839 h 8888"/>
              <a:gd name="connsiteX56" fmla="*/ 6785 w 10000"/>
              <a:gd name="connsiteY56" fmla="*/ 5833 h 8888"/>
              <a:gd name="connsiteX57" fmla="*/ 6998 w 10000"/>
              <a:gd name="connsiteY57" fmla="*/ 5878 h 8888"/>
              <a:gd name="connsiteX58" fmla="*/ 7230 w 10000"/>
              <a:gd name="connsiteY58" fmla="*/ 5861 h 8888"/>
              <a:gd name="connsiteX59" fmla="*/ 7295 w 10000"/>
              <a:gd name="connsiteY59" fmla="*/ 5799 h 8888"/>
              <a:gd name="connsiteX60" fmla="*/ 7074 w 10000"/>
              <a:gd name="connsiteY60" fmla="*/ 5679 h 8888"/>
              <a:gd name="connsiteX61" fmla="*/ 6414 w 10000"/>
              <a:gd name="connsiteY61" fmla="*/ 5600 h 8888"/>
              <a:gd name="connsiteX62" fmla="*/ 6458 w 10000"/>
              <a:gd name="connsiteY62" fmla="*/ 5564 h 8888"/>
              <a:gd name="connsiteX63" fmla="*/ 6998 w 10000"/>
              <a:gd name="connsiteY63" fmla="*/ 5539 h 8888"/>
              <a:gd name="connsiteX64" fmla="*/ 7295 w 10000"/>
              <a:gd name="connsiteY64" fmla="*/ 5611 h 8888"/>
              <a:gd name="connsiteX65" fmla="*/ 7466 w 10000"/>
              <a:gd name="connsiteY65" fmla="*/ 5564 h 8888"/>
              <a:gd name="connsiteX66" fmla="*/ 7529 w 10000"/>
              <a:gd name="connsiteY66" fmla="*/ 5440 h 8888"/>
              <a:gd name="connsiteX67" fmla="*/ 7840 w 10000"/>
              <a:gd name="connsiteY67" fmla="*/ 5440 h 8888"/>
              <a:gd name="connsiteX68" fmla="*/ 8261 w 10000"/>
              <a:gd name="connsiteY68" fmla="*/ 5191 h 8888"/>
              <a:gd name="connsiteX69" fmla="*/ 8275 w 10000"/>
              <a:gd name="connsiteY69" fmla="*/ 5023 h 8888"/>
              <a:gd name="connsiteX70" fmla="*/ 8453 w 10000"/>
              <a:gd name="connsiteY70" fmla="*/ 5061 h 8888"/>
              <a:gd name="connsiteX71" fmla="*/ 8446 w 10000"/>
              <a:gd name="connsiteY71" fmla="*/ 5229 h 8888"/>
              <a:gd name="connsiteX72" fmla="*/ 8727 w 10000"/>
              <a:gd name="connsiteY72" fmla="*/ 5217 h 8888"/>
              <a:gd name="connsiteX73" fmla="*/ 8913 w 10000"/>
              <a:gd name="connsiteY73" fmla="*/ 5043 h 8888"/>
              <a:gd name="connsiteX74" fmla="*/ 9258 w 10000"/>
              <a:gd name="connsiteY74" fmla="*/ 4887 h 8888"/>
              <a:gd name="connsiteX75" fmla="*/ 9203 w 10000"/>
              <a:gd name="connsiteY75" fmla="*/ 4711 h 8888"/>
              <a:gd name="connsiteX76" fmla="*/ 9306 w 10000"/>
              <a:gd name="connsiteY76" fmla="*/ 4781 h 8888"/>
              <a:gd name="connsiteX77" fmla="*/ 9464 w 10000"/>
              <a:gd name="connsiteY77" fmla="*/ 4781 h 8888"/>
              <a:gd name="connsiteX78" fmla="*/ 9464 w 10000"/>
              <a:gd name="connsiteY78" fmla="*/ 4699 h 8888"/>
              <a:gd name="connsiteX79" fmla="*/ 9611 w 10000"/>
              <a:gd name="connsiteY79" fmla="*/ 4639 h 8888"/>
              <a:gd name="connsiteX80" fmla="*/ 9592 w 10000"/>
              <a:gd name="connsiteY80" fmla="*/ 4574 h 8888"/>
              <a:gd name="connsiteX81" fmla="*/ 8350 w 10000"/>
              <a:gd name="connsiteY81" fmla="*/ 4701 h 8888"/>
              <a:gd name="connsiteX82" fmla="*/ 8058 w 10000"/>
              <a:gd name="connsiteY82" fmla="*/ 4665 h 8888"/>
              <a:gd name="connsiteX83" fmla="*/ 7942 w 10000"/>
              <a:gd name="connsiteY83" fmla="*/ 4711 h 8888"/>
              <a:gd name="connsiteX84" fmla="*/ 7903 w 10000"/>
              <a:gd name="connsiteY84" fmla="*/ 4621 h 8888"/>
              <a:gd name="connsiteX85" fmla="*/ 7765 w 10000"/>
              <a:gd name="connsiteY85" fmla="*/ 4543 h 8888"/>
              <a:gd name="connsiteX86" fmla="*/ 7213 w 10000"/>
              <a:gd name="connsiteY86" fmla="*/ 4380 h 8888"/>
              <a:gd name="connsiteX87" fmla="*/ 6887 w 10000"/>
              <a:gd name="connsiteY87" fmla="*/ 4408 h 8888"/>
              <a:gd name="connsiteX88" fmla="*/ 6757 w 10000"/>
              <a:gd name="connsiteY88" fmla="*/ 4361 h 8888"/>
              <a:gd name="connsiteX89" fmla="*/ 6894 w 10000"/>
              <a:gd name="connsiteY89" fmla="*/ 4322 h 8888"/>
              <a:gd name="connsiteX90" fmla="*/ 6998 w 10000"/>
              <a:gd name="connsiteY90" fmla="*/ 4237 h 8888"/>
              <a:gd name="connsiteX91" fmla="*/ 7152 w 10000"/>
              <a:gd name="connsiteY91" fmla="*/ 4264 h 8888"/>
              <a:gd name="connsiteX92" fmla="*/ 7335 w 10000"/>
              <a:gd name="connsiteY92" fmla="*/ 4242 h 8888"/>
              <a:gd name="connsiteX93" fmla="*/ 7611 w 10000"/>
              <a:gd name="connsiteY93" fmla="*/ 4270 h 8888"/>
              <a:gd name="connsiteX94" fmla="*/ 7645 w 10000"/>
              <a:gd name="connsiteY94" fmla="*/ 4258 h 8888"/>
              <a:gd name="connsiteX95" fmla="*/ 7859 w 10000"/>
              <a:gd name="connsiteY95" fmla="*/ 4388 h 8888"/>
              <a:gd name="connsiteX96" fmla="*/ 8017 w 10000"/>
              <a:gd name="connsiteY96" fmla="*/ 4340 h 8888"/>
              <a:gd name="connsiteX97" fmla="*/ 8032 w 10000"/>
              <a:gd name="connsiteY97" fmla="*/ 4296 h 8888"/>
              <a:gd name="connsiteX98" fmla="*/ 8176 w 10000"/>
              <a:gd name="connsiteY98" fmla="*/ 4373 h 8888"/>
              <a:gd name="connsiteX99" fmla="*/ 8369 w 10000"/>
              <a:gd name="connsiteY99" fmla="*/ 4415 h 8888"/>
              <a:gd name="connsiteX100" fmla="*/ 8446 w 10000"/>
              <a:gd name="connsiteY100" fmla="*/ 4338 h 8888"/>
              <a:gd name="connsiteX101" fmla="*/ 8507 w 10000"/>
              <a:gd name="connsiteY101" fmla="*/ 4380 h 8888"/>
              <a:gd name="connsiteX102" fmla="*/ 8596 w 10000"/>
              <a:gd name="connsiteY102" fmla="*/ 4531 h 8888"/>
              <a:gd name="connsiteX103" fmla="*/ 8782 w 10000"/>
              <a:gd name="connsiteY103" fmla="*/ 4565 h 8888"/>
              <a:gd name="connsiteX104" fmla="*/ 9542 w 10000"/>
              <a:gd name="connsiteY104" fmla="*/ 4345 h 8888"/>
              <a:gd name="connsiteX105" fmla="*/ 9914 w 10000"/>
              <a:gd name="connsiteY105" fmla="*/ 4038 h 8888"/>
              <a:gd name="connsiteX106" fmla="*/ 10000 w 10000"/>
              <a:gd name="connsiteY106" fmla="*/ 3817 h 8888"/>
              <a:gd name="connsiteX107" fmla="*/ 9866 w 10000"/>
              <a:gd name="connsiteY107" fmla="*/ 3614 h 8888"/>
              <a:gd name="connsiteX108" fmla="*/ 9582 w 10000"/>
              <a:gd name="connsiteY108" fmla="*/ 3495 h 8888"/>
              <a:gd name="connsiteX109" fmla="*/ 9382 w 10000"/>
              <a:gd name="connsiteY109" fmla="*/ 3295 h 8888"/>
              <a:gd name="connsiteX110" fmla="*/ 9569 w 10000"/>
              <a:gd name="connsiteY110" fmla="*/ 3289 h 8888"/>
              <a:gd name="connsiteX111" fmla="*/ 9555 w 10000"/>
              <a:gd name="connsiteY111" fmla="*/ 3242 h 8888"/>
              <a:gd name="connsiteX112" fmla="*/ 9068 w 10000"/>
              <a:gd name="connsiteY112" fmla="*/ 3105 h 8888"/>
              <a:gd name="connsiteX113" fmla="*/ 9047 w 10000"/>
              <a:gd name="connsiteY113" fmla="*/ 2977 h 8888"/>
              <a:gd name="connsiteX114" fmla="*/ 8953 w 10000"/>
              <a:gd name="connsiteY114" fmla="*/ 2843 h 8888"/>
              <a:gd name="connsiteX115" fmla="*/ 8569 w 10000"/>
              <a:gd name="connsiteY115" fmla="*/ 2867 h 8888"/>
              <a:gd name="connsiteX116" fmla="*/ 8431 w 10000"/>
              <a:gd name="connsiteY116" fmla="*/ 2725 h 8888"/>
              <a:gd name="connsiteX117" fmla="*/ 8350 w 10000"/>
              <a:gd name="connsiteY117" fmla="*/ 2716 h 8888"/>
              <a:gd name="connsiteX118" fmla="*/ 8350 w 10000"/>
              <a:gd name="connsiteY118" fmla="*/ 2780 h 8888"/>
              <a:gd name="connsiteX119" fmla="*/ 8176 w 10000"/>
              <a:gd name="connsiteY119" fmla="*/ 3016 h 8888"/>
              <a:gd name="connsiteX120" fmla="*/ 7990 w 10000"/>
              <a:gd name="connsiteY120" fmla="*/ 3156 h 8888"/>
              <a:gd name="connsiteX121" fmla="*/ 7401 w 10000"/>
              <a:gd name="connsiteY121" fmla="*/ 3393 h 8888"/>
              <a:gd name="connsiteX122" fmla="*/ 7198 w 10000"/>
              <a:gd name="connsiteY122" fmla="*/ 3386 h 8888"/>
              <a:gd name="connsiteX123" fmla="*/ 6915 w 10000"/>
              <a:gd name="connsiteY123" fmla="*/ 3423 h 8888"/>
              <a:gd name="connsiteX124" fmla="*/ 6757 w 10000"/>
              <a:gd name="connsiteY124" fmla="*/ 3386 h 8888"/>
              <a:gd name="connsiteX125" fmla="*/ 6965 w 10000"/>
              <a:gd name="connsiteY125" fmla="*/ 3318 h 8888"/>
              <a:gd name="connsiteX126" fmla="*/ 7235 w 10000"/>
              <a:gd name="connsiteY126" fmla="*/ 3289 h 8888"/>
              <a:gd name="connsiteX127" fmla="*/ 7455 w 10000"/>
              <a:gd name="connsiteY127" fmla="*/ 3178 h 8888"/>
              <a:gd name="connsiteX128" fmla="*/ 7674 w 10000"/>
              <a:gd name="connsiteY128" fmla="*/ 3126 h 8888"/>
              <a:gd name="connsiteX129" fmla="*/ 8082 w 10000"/>
              <a:gd name="connsiteY129" fmla="*/ 2931 h 8888"/>
              <a:gd name="connsiteX130" fmla="*/ 8157 w 10000"/>
              <a:gd name="connsiteY130" fmla="*/ 2804 h 8888"/>
              <a:gd name="connsiteX131" fmla="*/ 8165 w 10000"/>
              <a:gd name="connsiteY131" fmla="*/ 2640 h 8888"/>
              <a:gd name="connsiteX132" fmla="*/ 7978 w 10000"/>
              <a:gd name="connsiteY132" fmla="*/ 2611 h 8888"/>
              <a:gd name="connsiteX133" fmla="*/ 8058 w 10000"/>
              <a:gd name="connsiteY133" fmla="*/ 2511 h 8888"/>
              <a:gd name="connsiteX134" fmla="*/ 8087 w 10000"/>
              <a:gd name="connsiteY134" fmla="*/ 2384 h 8888"/>
              <a:gd name="connsiteX135" fmla="*/ 8007 w 10000"/>
              <a:gd name="connsiteY135" fmla="*/ 2265 h 8888"/>
              <a:gd name="connsiteX136" fmla="*/ 7450 w 10000"/>
              <a:gd name="connsiteY136" fmla="*/ 2428 h 8888"/>
              <a:gd name="connsiteX137" fmla="*/ 6694 w 10000"/>
              <a:gd name="connsiteY137" fmla="*/ 2355 h 8888"/>
              <a:gd name="connsiteX138" fmla="*/ 6304 w 10000"/>
              <a:gd name="connsiteY138" fmla="*/ 1899 h 8888"/>
              <a:gd name="connsiteX139" fmla="*/ 5294 w 10000"/>
              <a:gd name="connsiteY139" fmla="*/ 1813 h 8888"/>
              <a:gd name="connsiteX140" fmla="*/ 4505 w 10000"/>
              <a:gd name="connsiteY140" fmla="*/ 1435 h 8888"/>
              <a:gd name="connsiteX141" fmla="*/ 3730 w 10000"/>
              <a:gd name="connsiteY141" fmla="*/ 981 h 8888"/>
              <a:gd name="connsiteX142" fmla="*/ 3154 w 10000"/>
              <a:gd name="connsiteY142" fmla="*/ 145 h 8888"/>
              <a:gd name="connsiteX143" fmla="*/ 2375 w 10000"/>
              <a:gd name="connsiteY143" fmla="*/ 0 h 8888"/>
              <a:gd name="connsiteX144" fmla="*/ 2226 w 10000"/>
              <a:gd name="connsiteY144" fmla="*/ 787 h 8888"/>
              <a:gd name="connsiteX145" fmla="*/ 2375 w 10000"/>
              <a:gd name="connsiteY145" fmla="*/ 986 h 8888"/>
              <a:gd name="connsiteX146" fmla="*/ 2791 w 10000"/>
              <a:gd name="connsiteY146" fmla="*/ 1207 h 8888"/>
              <a:gd name="connsiteX147" fmla="*/ 2808 w 10000"/>
              <a:gd name="connsiteY147" fmla="*/ 1474 h 8888"/>
              <a:gd name="connsiteX148" fmla="*/ 2632 w 10000"/>
              <a:gd name="connsiteY148" fmla="*/ 1698 h 8888"/>
              <a:gd name="connsiteX149" fmla="*/ 2375 w 10000"/>
              <a:gd name="connsiteY149" fmla="*/ 1833 h 8888"/>
              <a:gd name="connsiteX150" fmla="*/ 2039 w 10000"/>
              <a:gd name="connsiteY150" fmla="*/ 1886 h 8888"/>
              <a:gd name="connsiteX151" fmla="*/ 1950 w 10000"/>
              <a:gd name="connsiteY151" fmla="*/ 1966 h 8888"/>
              <a:gd name="connsiteX152" fmla="*/ 2148 w 10000"/>
              <a:gd name="connsiteY152" fmla="*/ 2151 h 8888"/>
              <a:gd name="connsiteX153" fmla="*/ 2261 w 10000"/>
              <a:gd name="connsiteY153" fmla="*/ 2590 h 8888"/>
              <a:gd name="connsiteX154" fmla="*/ 2005 w 10000"/>
              <a:gd name="connsiteY154" fmla="*/ 2967 h 8888"/>
              <a:gd name="connsiteX155" fmla="*/ 2094 w 10000"/>
              <a:gd name="connsiteY155" fmla="*/ 3081 h 8888"/>
              <a:gd name="connsiteX156" fmla="*/ 2012 w 10000"/>
              <a:gd name="connsiteY156" fmla="*/ 3276 h 8888"/>
              <a:gd name="connsiteX157" fmla="*/ 1850 w 10000"/>
              <a:gd name="connsiteY157" fmla="*/ 3413 h 8888"/>
              <a:gd name="connsiteX158" fmla="*/ 1199 w 10000"/>
              <a:gd name="connsiteY158" fmla="*/ 3517 h 8888"/>
              <a:gd name="connsiteX159" fmla="*/ 1158 w 10000"/>
              <a:gd name="connsiteY159" fmla="*/ 3698 h 8888"/>
              <a:gd name="connsiteX160" fmla="*/ 808 w 10000"/>
              <a:gd name="connsiteY160" fmla="*/ 3968 h 8888"/>
              <a:gd name="connsiteX161" fmla="*/ 854 w 10000"/>
              <a:gd name="connsiteY161" fmla="*/ 4359 h 8888"/>
              <a:gd name="connsiteX162" fmla="*/ 560 w 10000"/>
              <a:gd name="connsiteY162" fmla="*/ 4858 h 8888"/>
              <a:gd name="connsiteX163" fmla="*/ 358 w 10000"/>
              <a:gd name="connsiteY163" fmla="*/ 4916 h 8888"/>
              <a:gd name="connsiteX164" fmla="*/ 275 w 10000"/>
              <a:gd name="connsiteY164" fmla="*/ 4797 h 8888"/>
              <a:gd name="connsiteX165" fmla="*/ 174 w 10000"/>
              <a:gd name="connsiteY165" fmla="*/ 4977 h 8888"/>
              <a:gd name="connsiteX166" fmla="*/ 239 w 10000"/>
              <a:gd name="connsiteY166" fmla="*/ 4667 h 8888"/>
              <a:gd name="connsiteX167" fmla="*/ 197 w 10000"/>
              <a:gd name="connsiteY167" fmla="*/ 4609 h 8888"/>
              <a:gd name="connsiteX0" fmla="*/ 197 w 10000"/>
              <a:gd name="connsiteY0" fmla="*/ 5186 h 10000"/>
              <a:gd name="connsiteX1" fmla="*/ 0 w 10000"/>
              <a:gd name="connsiteY1" fmla="*/ 5367 h 10000"/>
              <a:gd name="connsiteX2" fmla="*/ 0 w 10000"/>
              <a:gd name="connsiteY2" fmla="*/ 6260 h 10000"/>
              <a:gd name="connsiteX3" fmla="*/ 109 w 10000"/>
              <a:gd name="connsiteY3" fmla="*/ 6284 h 10000"/>
              <a:gd name="connsiteX4" fmla="*/ 134 w 10000"/>
              <a:gd name="connsiteY4" fmla="*/ 6355 h 10000"/>
              <a:gd name="connsiteX5" fmla="*/ 130 w 10000"/>
              <a:gd name="connsiteY5" fmla="*/ 6476 h 10000"/>
              <a:gd name="connsiteX6" fmla="*/ 89 w 10000"/>
              <a:gd name="connsiteY6" fmla="*/ 6529 h 10000"/>
              <a:gd name="connsiteX7" fmla="*/ 255 w 10000"/>
              <a:gd name="connsiteY7" fmla="*/ 6424 h 10000"/>
              <a:gd name="connsiteX8" fmla="*/ 325 w 10000"/>
              <a:gd name="connsiteY8" fmla="*/ 6325 h 10000"/>
              <a:gd name="connsiteX9" fmla="*/ 413 w 10000"/>
              <a:gd name="connsiteY9" fmla="*/ 6393 h 10000"/>
              <a:gd name="connsiteX10" fmla="*/ 316 w 10000"/>
              <a:gd name="connsiteY10" fmla="*/ 6540 h 10000"/>
              <a:gd name="connsiteX11" fmla="*/ 419 w 10000"/>
              <a:gd name="connsiteY11" fmla="*/ 6544 h 10000"/>
              <a:gd name="connsiteX12" fmla="*/ 469 w 10000"/>
              <a:gd name="connsiteY12" fmla="*/ 6580 h 10000"/>
              <a:gd name="connsiteX13" fmla="*/ 337 w 10000"/>
              <a:gd name="connsiteY13" fmla="*/ 6628 h 10000"/>
              <a:gd name="connsiteX14" fmla="*/ 130 w 10000"/>
              <a:gd name="connsiteY14" fmla="*/ 6778 h 10000"/>
              <a:gd name="connsiteX15" fmla="*/ 497 w 10000"/>
              <a:gd name="connsiteY15" fmla="*/ 6896 h 10000"/>
              <a:gd name="connsiteX16" fmla="*/ 545 w 10000"/>
              <a:gd name="connsiteY16" fmla="*/ 7063 h 10000"/>
              <a:gd name="connsiteX17" fmla="*/ 419 w 10000"/>
              <a:gd name="connsiteY17" fmla="*/ 7310 h 10000"/>
              <a:gd name="connsiteX18" fmla="*/ 688 w 10000"/>
              <a:gd name="connsiteY18" fmla="*/ 7296 h 10000"/>
              <a:gd name="connsiteX19" fmla="*/ 709 w 10000"/>
              <a:gd name="connsiteY19" fmla="*/ 7479 h 10000"/>
              <a:gd name="connsiteX20" fmla="*/ 530 w 10000"/>
              <a:gd name="connsiteY20" fmla="*/ 7610 h 10000"/>
              <a:gd name="connsiteX21" fmla="*/ 560 w 10000"/>
              <a:gd name="connsiteY21" fmla="*/ 7851 h 10000"/>
              <a:gd name="connsiteX22" fmla="*/ 489 w 10000"/>
              <a:gd name="connsiteY22" fmla="*/ 8045 h 10000"/>
              <a:gd name="connsiteX23" fmla="*/ 703 w 10000"/>
              <a:gd name="connsiteY23" fmla="*/ 8063 h 10000"/>
              <a:gd name="connsiteX24" fmla="*/ 909 w 10000"/>
              <a:gd name="connsiteY24" fmla="*/ 8795 h 10000"/>
              <a:gd name="connsiteX25" fmla="*/ 1150 w 10000"/>
              <a:gd name="connsiteY25" fmla="*/ 8976 h 10000"/>
              <a:gd name="connsiteX26" fmla="*/ 1255 w 10000"/>
              <a:gd name="connsiteY26" fmla="*/ 9174 h 10000"/>
              <a:gd name="connsiteX27" fmla="*/ 1514 w 10000"/>
              <a:gd name="connsiteY27" fmla="*/ 9316 h 10000"/>
              <a:gd name="connsiteX28" fmla="*/ 1684 w 10000"/>
              <a:gd name="connsiteY28" fmla="*/ 9500 h 10000"/>
              <a:gd name="connsiteX29" fmla="*/ 1661 w 10000"/>
              <a:gd name="connsiteY29" fmla="*/ 9633 h 10000"/>
              <a:gd name="connsiteX30" fmla="*/ 1496 w 10000"/>
              <a:gd name="connsiteY30" fmla="*/ 9683 h 10000"/>
              <a:gd name="connsiteX31" fmla="*/ 1316 w 10000"/>
              <a:gd name="connsiteY31" fmla="*/ 9649 h 10000"/>
              <a:gd name="connsiteX32" fmla="*/ 1260 w 10000"/>
              <a:gd name="connsiteY32" fmla="*/ 9703 h 10000"/>
              <a:gd name="connsiteX33" fmla="*/ 1397 w 10000"/>
              <a:gd name="connsiteY33" fmla="*/ 9986 h 10000"/>
              <a:gd name="connsiteX34" fmla="*/ 1040 w 10000"/>
              <a:gd name="connsiteY34" fmla="*/ 9894 h 10000"/>
              <a:gd name="connsiteX35" fmla="*/ 1012 w 10000"/>
              <a:gd name="connsiteY35" fmla="*/ 10000 h 10000"/>
              <a:gd name="connsiteX36" fmla="*/ 6419 w 10000"/>
              <a:gd name="connsiteY36" fmla="*/ 9389 h 10000"/>
              <a:gd name="connsiteX37" fmla="*/ 6586 w 10000"/>
              <a:gd name="connsiteY37" fmla="*/ 8608 h 10000"/>
              <a:gd name="connsiteX38" fmla="*/ 6855 w 10000"/>
              <a:gd name="connsiteY38" fmla="*/ 8262 h 10000"/>
              <a:gd name="connsiteX39" fmla="*/ 6855 w 10000"/>
              <a:gd name="connsiteY39" fmla="*/ 8078 h 10000"/>
              <a:gd name="connsiteX40" fmla="*/ 6757 w 10000"/>
              <a:gd name="connsiteY40" fmla="*/ 7978 h 10000"/>
              <a:gd name="connsiteX41" fmla="*/ 6915 w 10000"/>
              <a:gd name="connsiteY41" fmla="*/ 7811 h 10000"/>
              <a:gd name="connsiteX42" fmla="*/ 6887 w 10000"/>
              <a:gd name="connsiteY42" fmla="*/ 7676 h 10000"/>
              <a:gd name="connsiteX43" fmla="*/ 6779 w 10000"/>
              <a:gd name="connsiteY43" fmla="*/ 7561 h 10000"/>
              <a:gd name="connsiteX44" fmla="*/ 6757 w 10000"/>
              <a:gd name="connsiteY44" fmla="*/ 7471 h 10000"/>
              <a:gd name="connsiteX45" fmla="*/ 6785 w 10000"/>
              <a:gd name="connsiteY45" fmla="*/ 7405 h 10000"/>
              <a:gd name="connsiteX46" fmla="*/ 6931 w 10000"/>
              <a:gd name="connsiteY46" fmla="*/ 7458 h 10000"/>
              <a:gd name="connsiteX47" fmla="*/ 7045 w 10000"/>
              <a:gd name="connsiteY47" fmla="*/ 7455 h 10000"/>
              <a:gd name="connsiteX48" fmla="*/ 6983 w 10000"/>
              <a:gd name="connsiteY48" fmla="*/ 7345 h 10000"/>
              <a:gd name="connsiteX49" fmla="*/ 7003 w 10000"/>
              <a:gd name="connsiteY49" fmla="*/ 7279 h 10000"/>
              <a:gd name="connsiteX50" fmla="*/ 7089 w 10000"/>
              <a:gd name="connsiteY50" fmla="*/ 7186 h 10000"/>
              <a:gd name="connsiteX51" fmla="*/ 7074 w 10000"/>
              <a:gd name="connsiteY51" fmla="*/ 7108 h 10000"/>
              <a:gd name="connsiteX52" fmla="*/ 7152 w 10000"/>
              <a:gd name="connsiteY52" fmla="*/ 6849 h 10000"/>
              <a:gd name="connsiteX53" fmla="*/ 7130 w 10000"/>
              <a:gd name="connsiteY53" fmla="*/ 6769 h 10000"/>
              <a:gd name="connsiteX54" fmla="*/ 6729 w 10000"/>
              <a:gd name="connsiteY54" fmla="*/ 6570 h 10000"/>
              <a:gd name="connsiteX55" fmla="*/ 6785 w 10000"/>
              <a:gd name="connsiteY55" fmla="*/ 6563 h 10000"/>
              <a:gd name="connsiteX56" fmla="*/ 6998 w 10000"/>
              <a:gd name="connsiteY56" fmla="*/ 6613 h 10000"/>
              <a:gd name="connsiteX57" fmla="*/ 7230 w 10000"/>
              <a:gd name="connsiteY57" fmla="*/ 6594 h 10000"/>
              <a:gd name="connsiteX58" fmla="*/ 7295 w 10000"/>
              <a:gd name="connsiteY58" fmla="*/ 6525 h 10000"/>
              <a:gd name="connsiteX59" fmla="*/ 7074 w 10000"/>
              <a:gd name="connsiteY59" fmla="*/ 6390 h 10000"/>
              <a:gd name="connsiteX60" fmla="*/ 6414 w 10000"/>
              <a:gd name="connsiteY60" fmla="*/ 6301 h 10000"/>
              <a:gd name="connsiteX61" fmla="*/ 6458 w 10000"/>
              <a:gd name="connsiteY61" fmla="*/ 6260 h 10000"/>
              <a:gd name="connsiteX62" fmla="*/ 6998 w 10000"/>
              <a:gd name="connsiteY62" fmla="*/ 6232 h 10000"/>
              <a:gd name="connsiteX63" fmla="*/ 7295 w 10000"/>
              <a:gd name="connsiteY63" fmla="*/ 6313 h 10000"/>
              <a:gd name="connsiteX64" fmla="*/ 7466 w 10000"/>
              <a:gd name="connsiteY64" fmla="*/ 6260 h 10000"/>
              <a:gd name="connsiteX65" fmla="*/ 7529 w 10000"/>
              <a:gd name="connsiteY65" fmla="*/ 6121 h 10000"/>
              <a:gd name="connsiteX66" fmla="*/ 7840 w 10000"/>
              <a:gd name="connsiteY66" fmla="*/ 6121 h 10000"/>
              <a:gd name="connsiteX67" fmla="*/ 8261 w 10000"/>
              <a:gd name="connsiteY67" fmla="*/ 5840 h 10000"/>
              <a:gd name="connsiteX68" fmla="*/ 8275 w 10000"/>
              <a:gd name="connsiteY68" fmla="*/ 5651 h 10000"/>
              <a:gd name="connsiteX69" fmla="*/ 8453 w 10000"/>
              <a:gd name="connsiteY69" fmla="*/ 5694 h 10000"/>
              <a:gd name="connsiteX70" fmla="*/ 8446 w 10000"/>
              <a:gd name="connsiteY70" fmla="*/ 5883 h 10000"/>
              <a:gd name="connsiteX71" fmla="*/ 8727 w 10000"/>
              <a:gd name="connsiteY71" fmla="*/ 5870 h 10000"/>
              <a:gd name="connsiteX72" fmla="*/ 8913 w 10000"/>
              <a:gd name="connsiteY72" fmla="*/ 5674 h 10000"/>
              <a:gd name="connsiteX73" fmla="*/ 9258 w 10000"/>
              <a:gd name="connsiteY73" fmla="*/ 5498 h 10000"/>
              <a:gd name="connsiteX74" fmla="*/ 9203 w 10000"/>
              <a:gd name="connsiteY74" fmla="*/ 5300 h 10000"/>
              <a:gd name="connsiteX75" fmla="*/ 9306 w 10000"/>
              <a:gd name="connsiteY75" fmla="*/ 5379 h 10000"/>
              <a:gd name="connsiteX76" fmla="*/ 9464 w 10000"/>
              <a:gd name="connsiteY76" fmla="*/ 5379 h 10000"/>
              <a:gd name="connsiteX77" fmla="*/ 9464 w 10000"/>
              <a:gd name="connsiteY77" fmla="*/ 5287 h 10000"/>
              <a:gd name="connsiteX78" fmla="*/ 9611 w 10000"/>
              <a:gd name="connsiteY78" fmla="*/ 5219 h 10000"/>
              <a:gd name="connsiteX79" fmla="*/ 9592 w 10000"/>
              <a:gd name="connsiteY79" fmla="*/ 5146 h 10000"/>
              <a:gd name="connsiteX80" fmla="*/ 8350 w 10000"/>
              <a:gd name="connsiteY80" fmla="*/ 5289 h 10000"/>
              <a:gd name="connsiteX81" fmla="*/ 8058 w 10000"/>
              <a:gd name="connsiteY81" fmla="*/ 5249 h 10000"/>
              <a:gd name="connsiteX82" fmla="*/ 7942 w 10000"/>
              <a:gd name="connsiteY82" fmla="*/ 5300 h 10000"/>
              <a:gd name="connsiteX83" fmla="*/ 7903 w 10000"/>
              <a:gd name="connsiteY83" fmla="*/ 5199 h 10000"/>
              <a:gd name="connsiteX84" fmla="*/ 7765 w 10000"/>
              <a:gd name="connsiteY84" fmla="*/ 5111 h 10000"/>
              <a:gd name="connsiteX85" fmla="*/ 7213 w 10000"/>
              <a:gd name="connsiteY85" fmla="*/ 4928 h 10000"/>
              <a:gd name="connsiteX86" fmla="*/ 6887 w 10000"/>
              <a:gd name="connsiteY86" fmla="*/ 4959 h 10000"/>
              <a:gd name="connsiteX87" fmla="*/ 6757 w 10000"/>
              <a:gd name="connsiteY87" fmla="*/ 4907 h 10000"/>
              <a:gd name="connsiteX88" fmla="*/ 6894 w 10000"/>
              <a:gd name="connsiteY88" fmla="*/ 4863 h 10000"/>
              <a:gd name="connsiteX89" fmla="*/ 6998 w 10000"/>
              <a:gd name="connsiteY89" fmla="*/ 4767 h 10000"/>
              <a:gd name="connsiteX90" fmla="*/ 7152 w 10000"/>
              <a:gd name="connsiteY90" fmla="*/ 4797 h 10000"/>
              <a:gd name="connsiteX91" fmla="*/ 7335 w 10000"/>
              <a:gd name="connsiteY91" fmla="*/ 4773 h 10000"/>
              <a:gd name="connsiteX92" fmla="*/ 7611 w 10000"/>
              <a:gd name="connsiteY92" fmla="*/ 4804 h 10000"/>
              <a:gd name="connsiteX93" fmla="*/ 7645 w 10000"/>
              <a:gd name="connsiteY93" fmla="*/ 4791 h 10000"/>
              <a:gd name="connsiteX94" fmla="*/ 7859 w 10000"/>
              <a:gd name="connsiteY94" fmla="*/ 4937 h 10000"/>
              <a:gd name="connsiteX95" fmla="*/ 8017 w 10000"/>
              <a:gd name="connsiteY95" fmla="*/ 4883 h 10000"/>
              <a:gd name="connsiteX96" fmla="*/ 8032 w 10000"/>
              <a:gd name="connsiteY96" fmla="*/ 4833 h 10000"/>
              <a:gd name="connsiteX97" fmla="*/ 8176 w 10000"/>
              <a:gd name="connsiteY97" fmla="*/ 4920 h 10000"/>
              <a:gd name="connsiteX98" fmla="*/ 8369 w 10000"/>
              <a:gd name="connsiteY98" fmla="*/ 4967 h 10000"/>
              <a:gd name="connsiteX99" fmla="*/ 8446 w 10000"/>
              <a:gd name="connsiteY99" fmla="*/ 4881 h 10000"/>
              <a:gd name="connsiteX100" fmla="*/ 8507 w 10000"/>
              <a:gd name="connsiteY100" fmla="*/ 4928 h 10000"/>
              <a:gd name="connsiteX101" fmla="*/ 8596 w 10000"/>
              <a:gd name="connsiteY101" fmla="*/ 5098 h 10000"/>
              <a:gd name="connsiteX102" fmla="*/ 8782 w 10000"/>
              <a:gd name="connsiteY102" fmla="*/ 5136 h 10000"/>
              <a:gd name="connsiteX103" fmla="*/ 9542 w 10000"/>
              <a:gd name="connsiteY103" fmla="*/ 4889 h 10000"/>
              <a:gd name="connsiteX104" fmla="*/ 9914 w 10000"/>
              <a:gd name="connsiteY104" fmla="*/ 4543 h 10000"/>
              <a:gd name="connsiteX105" fmla="*/ 10000 w 10000"/>
              <a:gd name="connsiteY105" fmla="*/ 4295 h 10000"/>
              <a:gd name="connsiteX106" fmla="*/ 9866 w 10000"/>
              <a:gd name="connsiteY106" fmla="*/ 4066 h 10000"/>
              <a:gd name="connsiteX107" fmla="*/ 9582 w 10000"/>
              <a:gd name="connsiteY107" fmla="*/ 3932 h 10000"/>
              <a:gd name="connsiteX108" fmla="*/ 9382 w 10000"/>
              <a:gd name="connsiteY108" fmla="*/ 3707 h 10000"/>
              <a:gd name="connsiteX109" fmla="*/ 9569 w 10000"/>
              <a:gd name="connsiteY109" fmla="*/ 3700 h 10000"/>
              <a:gd name="connsiteX110" fmla="*/ 9555 w 10000"/>
              <a:gd name="connsiteY110" fmla="*/ 3648 h 10000"/>
              <a:gd name="connsiteX111" fmla="*/ 9068 w 10000"/>
              <a:gd name="connsiteY111" fmla="*/ 3493 h 10000"/>
              <a:gd name="connsiteX112" fmla="*/ 9047 w 10000"/>
              <a:gd name="connsiteY112" fmla="*/ 3349 h 10000"/>
              <a:gd name="connsiteX113" fmla="*/ 8953 w 10000"/>
              <a:gd name="connsiteY113" fmla="*/ 3199 h 10000"/>
              <a:gd name="connsiteX114" fmla="*/ 8569 w 10000"/>
              <a:gd name="connsiteY114" fmla="*/ 3226 h 10000"/>
              <a:gd name="connsiteX115" fmla="*/ 8431 w 10000"/>
              <a:gd name="connsiteY115" fmla="*/ 3066 h 10000"/>
              <a:gd name="connsiteX116" fmla="*/ 8350 w 10000"/>
              <a:gd name="connsiteY116" fmla="*/ 3056 h 10000"/>
              <a:gd name="connsiteX117" fmla="*/ 8350 w 10000"/>
              <a:gd name="connsiteY117" fmla="*/ 3128 h 10000"/>
              <a:gd name="connsiteX118" fmla="*/ 8176 w 10000"/>
              <a:gd name="connsiteY118" fmla="*/ 3393 h 10000"/>
              <a:gd name="connsiteX119" fmla="*/ 7990 w 10000"/>
              <a:gd name="connsiteY119" fmla="*/ 3551 h 10000"/>
              <a:gd name="connsiteX120" fmla="*/ 7401 w 10000"/>
              <a:gd name="connsiteY120" fmla="*/ 3818 h 10000"/>
              <a:gd name="connsiteX121" fmla="*/ 7198 w 10000"/>
              <a:gd name="connsiteY121" fmla="*/ 3810 h 10000"/>
              <a:gd name="connsiteX122" fmla="*/ 6915 w 10000"/>
              <a:gd name="connsiteY122" fmla="*/ 3851 h 10000"/>
              <a:gd name="connsiteX123" fmla="*/ 6757 w 10000"/>
              <a:gd name="connsiteY123" fmla="*/ 3810 h 10000"/>
              <a:gd name="connsiteX124" fmla="*/ 6965 w 10000"/>
              <a:gd name="connsiteY124" fmla="*/ 3733 h 10000"/>
              <a:gd name="connsiteX125" fmla="*/ 7235 w 10000"/>
              <a:gd name="connsiteY125" fmla="*/ 3700 h 10000"/>
              <a:gd name="connsiteX126" fmla="*/ 7455 w 10000"/>
              <a:gd name="connsiteY126" fmla="*/ 3576 h 10000"/>
              <a:gd name="connsiteX127" fmla="*/ 7674 w 10000"/>
              <a:gd name="connsiteY127" fmla="*/ 3517 h 10000"/>
              <a:gd name="connsiteX128" fmla="*/ 8082 w 10000"/>
              <a:gd name="connsiteY128" fmla="*/ 3298 h 10000"/>
              <a:gd name="connsiteX129" fmla="*/ 8157 w 10000"/>
              <a:gd name="connsiteY129" fmla="*/ 3155 h 10000"/>
              <a:gd name="connsiteX130" fmla="*/ 8165 w 10000"/>
              <a:gd name="connsiteY130" fmla="*/ 2970 h 10000"/>
              <a:gd name="connsiteX131" fmla="*/ 7978 w 10000"/>
              <a:gd name="connsiteY131" fmla="*/ 2938 h 10000"/>
              <a:gd name="connsiteX132" fmla="*/ 8058 w 10000"/>
              <a:gd name="connsiteY132" fmla="*/ 2825 h 10000"/>
              <a:gd name="connsiteX133" fmla="*/ 8087 w 10000"/>
              <a:gd name="connsiteY133" fmla="*/ 2682 h 10000"/>
              <a:gd name="connsiteX134" fmla="*/ 8007 w 10000"/>
              <a:gd name="connsiteY134" fmla="*/ 2548 h 10000"/>
              <a:gd name="connsiteX135" fmla="*/ 7450 w 10000"/>
              <a:gd name="connsiteY135" fmla="*/ 2732 h 10000"/>
              <a:gd name="connsiteX136" fmla="*/ 6694 w 10000"/>
              <a:gd name="connsiteY136" fmla="*/ 2650 h 10000"/>
              <a:gd name="connsiteX137" fmla="*/ 6304 w 10000"/>
              <a:gd name="connsiteY137" fmla="*/ 2137 h 10000"/>
              <a:gd name="connsiteX138" fmla="*/ 5294 w 10000"/>
              <a:gd name="connsiteY138" fmla="*/ 2040 h 10000"/>
              <a:gd name="connsiteX139" fmla="*/ 4505 w 10000"/>
              <a:gd name="connsiteY139" fmla="*/ 1615 h 10000"/>
              <a:gd name="connsiteX140" fmla="*/ 3730 w 10000"/>
              <a:gd name="connsiteY140" fmla="*/ 1104 h 10000"/>
              <a:gd name="connsiteX141" fmla="*/ 3154 w 10000"/>
              <a:gd name="connsiteY141" fmla="*/ 163 h 10000"/>
              <a:gd name="connsiteX142" fmla="*/ 2375 w 10000"/>
              <a:gd name="connsiteY142" fmla="*/ 0 h 10000"/>
              <a:gd name="connsiteX143" fmla="*/ 2226 w 10000"/>
              <a:gd name="connsiteY143" fmla="*/ 885 h 10000"/>
              <a:gd name="connsiteX144" fmla="*/ 2375 w 10000"/>
              <a:gd name="connsiteY144" fmla="*/ 1109 h 10000"/>
              <a:gd name="connsiteX145" fmla="*/ 2791 w 10000"/>
              <a:gd name="connsiteY145" fmla="*/ 1358 h 10000"/>
              <a:gd name="connsiteX146" fmla="*/ 2808 w 10000"/>
              <a:gd name="connsiteY146" fmla="*/ 1658 h 10000"/>
              <a:gd name="connsiteX147" fmla="*/ 2632 w 10000"/>
              <a:gd name="connsiteY147" fmla="*/ 1910 h 10000"/>
              <a:gd name="connsiteX148" fmla="*/ 2375 w 10000"/>
              <a:gd name="connsiteY148" fmla="*/ 2062 h 10000"/>
              <a:gd name="connsiteX149" fmla="*/ 2039 w 10000"/>
              <a:gd name="connsiteY149" fmla="*/ 2122 h 10000"/>
              <a:gd name="connsiteX150" fmla="*/ 1950 w 10000"/>
              <a:gd name="connsiteY150" fmla="*/ 2212 h 10000"/>
              <a:gd name="connsiteX151" fmla="*/ 2148 w 10000"/>
              <a:gd name="connsiteY151" fmla="*/ 2420 h 10000"/>
              <a:gd name="connsiteX152" fmla="*/ 2261 w 10000"/>
              <a:gd name="connsiteY152" fmla="*/ 2914 h 10000"/>
              <a:gd name="connsiteX153" fmla="*/ 2005 w 10000"/>
              <a:gd name="connsiteY153" fmla="*/ 3338 h 10000"/>
              <a:gd name="connsiteX154" fmla="*/ 2094 w 10000"/>
              <a:gd name="connsiteY154" fmla="*/ 3466 h 10000"/>
              <a:gd name="connsiteX155" fmla="*/ 2012 w 10000"/>
              <a:gd name="connsiteY155" fmla="*/ 3686 h 10000"/>
              <a:gd name="connsiteX156" fmla="*/ 1850 w 10000"/>
              <a:gd name="connsiteY156" fmla="*/ 3840 h 10000"/>
              <a:gd name="connsiteX157" fmla="*/ 1199 w 10000"/>
              <a:gd name="connsiteY157" fmla="*/ 3957 h 10000"/>
              <a:gd name="connsiteX158" fmla="*/ 1158 w 10000"/>
              <a:gd name="connsiteY158" fmla="*/ 4161 h 10000"/>
              <a:gd name="connsiteX159" fmla="*/ 808 w 10000"/>
              <a:gd name="connsiteY159" fmla="*/ 4464 h 10000"/>
              <a:gd name="connsiteX160" fmla="*/ 854 w 10000"/>
              <a:gd name="connsiteY160" fmla="*/ 4904 h 10000"/>
              <a:gd name="connsiteX161" fmla="*/ 560 w 10000"/>
              <a:gd name="connsiteY161" fmla="*/ 5466 h 10000"/>
              <a:gd name="connsiteX162" fmla="*/ 358 w 10000"/>
              <a:gd name="connsiteY162" fmla="*/ 5531 h 10000"/>
              <a:gd name="connsiteX163" fmla="*/ 275 w 10000"/>
              <a:gd name="connsiteY163" fmla="*/ 5397 h 10000"/>
              <a:gd name="connsiteX164" fmla="*/ 174 w 10000"/>
              <a:gd name="connsiteY164" fmla="*/ 5600 h 10000"/>
              <a:gd name="connsiteX165" fmla="*/ 239 w 10000"/>
              <a:gd name="connsiteY165" fmla="*/ 5251 h 10000"/>
              <a:gd name="connsiteX166" fmla="*/ 197 w 10000"/>
              <a:gd name="connsiteY166" fmla="*/ 5186 h 10000"/>
              <a:gd name="connsiteX0" fmla="*/ 197 w 10000"/>
              <a:gd name="connsiteY0" fmla="*/ 5186 h 9986"/>
              <a:gd name="connsiteX1" fmla="*/ 0 w 10000"/>
              <a:gd name="connsiteY1" fmla="*/ 5367 h 9986"/>
              <a:gd name="connsiteX2" fmla="*/ 0 w 10000"/>
              <a:gd name="connsiteY2" fmla="*/ 6260 h 9986"/>
              <a:gd name="connsiteX3" fmla="*/ 109 w 10000"/>
              <a:gd name="connsiteY3" fmla="*/ 6284 h 9986"/>
              <a:gd name="connsiteX4" fmla="*/ 134 w 10000"/>
              <a:gd name="connsiteY4" fmla="*/ 6355 h 9986"/>
              <a:gd name="connsiteX5" fmla="*/ 130 w 10000"/>
              <a:gd name="connsiteY5" fmla="*/ 6476 h 9986"/>
              <a:gd name="connsiteX6" fmla="*/ 89 w 10000"/>
              <a:gd name="connsiteY6" fmla="*/ 6529 h 9986"/>
              <a:gd name="connsiteX7" fmla="*/ 255 w 10000"/>
              <a:gd name="connsiteY7" fmla="*/ 6424 h 9986"/>
              <a:gd name="connsiteX8" fmla="*/ 325 w 10000"/>
              <a:gd name="connsiteY8" fmla="*/ 6325 h 9986"/>
              <a:gd name="connsiteX9" fmla="*/ 413 w 10000"/>
              <a:gd name="connsiteY9" fmla="*/ 6393 h 9986"/>
              <a:gd name="connsiteX10" fmla="*/ 316 w 10000"/>
              <a:gd name="connsiteY10" fmla="*/ 6540 h 9986"/>
              <a:gd name="connsiteX11" fmla="*/ 419 w 10000"/>
              <a:gd name="connsiteY11" fmla="*/ 6544 h 9986"/>
              <a:gd name="connsiteX12" fmla="*/ 469 w 10000"/>
              <a:gd name="connsiteY12" fmla="*/ 6580 h 9986"/>
              <a:gd name="connsiteX13" fmla="*/ 337 w 10000"/>
              <a:gd name="connsiteY13" fmla="*/ 6628 h 9986"/>
              <a:gd name="connsiteX14" fmla="*/ 130 w 10000"/>
              <a:gd name="connsiteY14" fmla="*/ 6778 h 9986"/>
              <a:gd name="connsiteX15" fmla="*/ 497 w 10000"/>
              <a:gd name="connsiteY15" fmla="*/ 6896 h 9986"/>
              <a:gd name="connsiteX16" fmla="*/ 545 w 10000"/>
              <a:gd name="connsiteY16" fmla="*/ 7063 h 9986"/>
              <a:gd name="connsiteX17" fmla="*/ 419 w 10000"/>
              <a:gd name="connsiteY17" fmla="*/ 7310 h 9986"/>
              <a:gd name="connsiteX18" fmla="*/ 688 w 10000"/>
              <a:gd name="connsiteY18" fmla="*/ 7296 h 9986"/>
              <a:gd name="connsiteX19" fmla="*/ 709 w 10000"/>
              <a:gd name="connsiteY19" fmla="*/ 7479 h 9986"/>
              <a:gd name="connsiteX20" fmla="*/ 530 w 10000"/>
              <a:gd name="connsiteY20" fmla="*/ 7610 h 9986"/>
              <a:gd name="connsiteX21" fmla="*/ 560 w 10000"/>
              <a:gd name="connsiteY21" fmla="*/ 7851 h 9986"/>
              <a:gd name="connsiteX22" fmla="*/ 489 w 10000"/>
              <a:gd name="connsiteY22" fmla="*/ 8045 h 9986"/>
              <a:gd name="connsiteX23" fmla="*/ 703 w 10000"/>
              <a:gd name="connsiteY23" fmla="*/ 8063 h 9986"/>
              <a:gd name="connsiteX24" fmla="*/ 909 w 10000"/>
              <a:gd name="connsiteY24" fmla="*/ 8795 h 9986"/>
              <a:gd name="connsiteX25" fmla="*/ 1150 w 10000"/>
              <a:gd name="connsiteY25" fmla="*/ 8976 h 9986"/>
              <a:gd name="connsiteX26" fmla="*/ 1255 w 10000"/>
              <a:gd name="connsiteY26" fmla="*/ 9174 h 9986"/>
              <a:gd name="connsiteX27" fmla="*/ 1514 w 10000"/>
              <a:gd name="connsiteY27" fmla="*/ 9316 h 9986"/>
              <a:gd name="connsiteX28" fmla="*/ 1684 w 10000"/>
              <a:gd name="connsiteY28" fmla="*/ 9500 h 9986"/>
              <a:gd name="connsiteX29" fmla="*/ 1661 w 10000"/>
              <a:gd name="connsiteY29" fmla="*/ 9633 h 9986"/>
              <a:gd name="connsiteX30" fmla="*/ 1496 w 10000"/>
              <a:gd name="connsiteY30" fmla="*/ 9683 h 9986"/>
              <a:gd name="connsiteX31" fmla="*/ 1316 w 10000"/>
              <a:gd name="connsiteY31" fmla="*/ 9649 h 9986"/>
              <a:gd name="connsiteX32" fmla="*/ 1260 w 10000"/>
              <a:gd name="connsiteY32" fmla="*/ 9703 h 9986"/>
              <a:gd name="connsiteX33" fmla="*/ 1397 w 10000"/>
              <a:gd name="connsiteY33" fmla="*/ 9986 h 9986"/>
              <a:gd name="connsiteX34" fmla="*/ 1040 w 10000"/>
              <a:gd name="connsiteY34" fmla="*/ 9894 h 9986"/>
              <a:gd name="connsiteX35" fmla="*/ 6419 w 10000"/>
              <a:gd name="connsiteY35" fmla="*/ 9389 h 9986"/>
              <a:gd name="connsiteX36" fmla="*/ 6586 w 10000"/>
              <a:gd name="connsiteY36" fmla="*/ 8608 h 9986"/>
              <a:gd name="connsiteX37" fmla="*/ 6855 w 10000"/>
              <a:gd name="connsiteY37" fmla="*/ 8262 h 9986"/>
              <a:gd name="connsiteX38" fmla="*/ 6855 w 10000"/>
              <a:gd name="connsiteY38" fmla="*/ 8078 h 9986"/>
              <a:gd name="connsiteX39" fmla="*/ 6757 w 10000"/>
              <a:gd name="connsiteY39" fmla="*/ 7978 h 9986"/>
              <a:gd name="connsiteX40" fmla="*/ 6915 w 10000"/>
              <a:gd name="connsiteY40" fmla="*/ 7811 h 9986"/>
              <a:gd name="connsiteX41" fmla="*/ 6887 w 10000"/>
              <a:gd name="connsiteY41" fmla="*/ 7676 h 9986"/>
              <a:gd name="connsiteX42" fmla="*/ 6779 w 10000"/>
              <a:gd name="connsiteY42" fmla="*/ 7561 h 9986"/>
              <a:gd name="connsiteX43" fmla="*/ 6757 w 10000"/>
              <a:gd name="connsiteY43" fmla="*/ 7471 h 9986"/>
              <a:gd name="connsiteX44" fmla="*/ 6785 w 10000"/>
              <a:gd name="connsiteY44" fmla="*/ 7405 h 9986"/>
              <a:gd name="connsiteX45" fmla="*/ 6931 w 10000"/>
              <a:gd name="connsiteY45" fmla="*/ 7458 h 9986"/>
              <a:gd name="connsiteX46" fmla="*/ 7045 w 10000"/>
              <a:gd name="connsiteY46" fmla="*/ 7455 h 9986"/>
              <a:gd name="connsiteX47" fmla="*/ 6983 w 10000"/>
              <a:gd name="connsiteY47" fmla="*/ 7345 h 9986"/>
              <a:gd name="connsiteX48" fmla="*/ 7003 w 10000"/>
              <a:gd name="connsiteY48" fmla="*/ 7279 h 9986"/>
              <a:gd name="connsiteX49" fmla="*/ 7089 w 10000"/>
              <a:gd name="connsiteY49" fmla="*/ 7186 h 9986"/>
              <a:gd name="connsiteX50" fmla="*/ 7074 w 10000"/>
              <a:gd name="connsiteY50" fmla="*/ 7108 h 9986"/>
              <a:gd name="connsiteX51" fmla="*/ 7152 w 10000"/>
              <a:gd name="connsiteY51" fmla="*/ 6849 h 9986"/>
              <a:gd name="connsiteX52" fmla="*/ 7130 w 10000"/>
              <a:gd name="connsiteY52" fmla="*/ 6769 h 9986"/>
              <a:gd name="connsiteX53" fmla="*/ 6729 w 10000"/>
              <a:gd name="connsiteY53" fmla="*/ 6570 h 9986"/>
              <a:gd name="connsiteX54" fmla="*/ 6785 w 10000"/>
              <a:gd name="connsiteY54" fmla="*/ 6563 h 9986"/>
              <a:gd name="connsiteX55" fmla="*/ 6998 w 10000"/>
              <a:gd name="connsiteY55" fmla="*/ 6613 h 9986"/>
              <a:gd name="connsiteX56" fmla="*/ 7230 w 10000"/>
              <a:gd name="connsiteY56" fmla="*/ 6594 h 9986"/>
              <a:gd name="connsiteX57" fmla="*/ 7295 w 10000"/>
              <a:gd name="connsiteY57" fmla="*/ 6525 h 9986"/>
              <a:gd name="connsiteX58" fmla="*/ 7074 w 10000"/>
              <a:gd name="connsiteY58" fmla="*/ 6390 h 9986"/>
              <a:gd name="connsiteX59" fmla="*/ 6414 w 10000"/>
              <a:gd name="connsiteY59" fmla="*/ 6301 h 9986"/>
              <a:gd name="connsiteX60" fmla="*/ 6458 w 10000"/>
              <a:gd name="connsiteY60" fmla="*/ 6260 h 9986"/>
              <a:gd name="connsiteX61" fmla="*/ 6998 w 10000"/>
              <a:gd name="connsiteY61" fmla="*/ 6232 h 9986"/>
              <a:gd name="connsiteX62" fmla="*/ 7295 w 10000"/>
              <a:gd name="connsiteY62" fmla="*/ 6313 h 9986"/>
              <a:gd name="connsiteX63" fmla="*/ 7466 w 10000"/>
              <a:gd name="connsiteY63" fmla="*/ 6260 h 9986"/>
              <a:gd name="connsiteX64" fmla="*/ 7529 w 10000"/>
              <a:gd name="connsiteY64" fmla="*/ 6121 h 9986"/>
              <a:gd name="connsiteX65" fmla="*/ 7840 w 10000"/>
              <a:gd name="connsiteY65" fmla="*/ 6121 h 9986"/>
              <a:gd name="connsiteX66" fmla="*/ 8261 w 10000"/>
              <a:gd name="connsiteY66" fmla="*/ 5840 h 9986"/>
              <a:gd name="connsiteX67" fmla="*/ 8275 w 10000"/>
              <a:gd name="connsiteY67" fmla="*/ 5651 h 9986"/>
              <a:gd name="connsiteX68" fmla="*/ 8453 w 10000"/>
              <a:gd name="connsiteY68" fmla="*/ 5694 h 9986"/>
              <a:gd name="connsiteX69" fmla="*/ 8446 w 10000"/>
              <a:gd name="connsiteY69" fmla="*/ 5883 h 9986"/>
              <a:gd name="connsiteX70" fmla="*/ 8727 w 10000"/>
              <a:gd name="connsiteY70" fmla="*/ 5870 h 9986"/>
              <a:gd name="connsiteX71" fmla="*/ 8913 w 10000"/>
              <a:gd name="connsiteY71" fmla="*/ 5674 h 9986"/>
              <a:gd name="connsiteX72" fmla="*/ 9258 w 10000"/>
              <a:gd name="connsiteY72" fmla="*/ 5498 h 9986"/>
              <a:gd name="connsiteX73" fmla="*/ 9203 w 10000"/>
              <a:gd name="connsiteY73" fmla="*/ 5300 h 9986"/>
              <a:gd name="connsiteX74" fmla="*/ 9306 w 10000"/>
              <a:gd name="connsiteY74" fmla="*/ 5379 h 9986"/>
              <a:gd name="connsiteX75" fmla="*/ 9464 w 10000"/>
              <a:gd name="connsiteY75" fmla="*/ 5379 h 9986"/>
              <a:gd name="connsiteX76" fmla="*/ 9464 w 10000"/>
              <a:gd name="connsiteY76" fmla="*/ 5287 h 9986"/>
              <a:gd name="connsiteX77" fmla="*/ 9611 w 10000"/>
              <a:gd name="connsiteY77" fmla="*/ 5219 h 9986"/>
              <a:gd name="connsiteX78" fmla="*/ 9592 w 10000"/>
              <a:gd name="connsiteY78" fmla="*/ 5146 h 9986"/>
              <a:gd name="connsiteX79" fmla="*/ 8350 w 10000"/>
              <a:gd name="connsiteY79" fmla="*/ 5289 h 9986"/>
              <a:gd name="connsiteX80" fmla="*/ 8058 w 10000"/>
              <a:gd name="connsiteY80" fmla="*/ 5249 h 9986"/>
              <a:gd name="connsiteX81" fmla="*/ 7942 w 10000"/>
              <a:gd name="connsiteY81" fmla="*/ 5300 h 9986"/>
              <a:gd name="connsiteX82" fmla="*/ 7903 w 10000"/>
              <a:gd name="connsiteY82" fmla="*/ 5199 h 9986"/>
              <a:gd name="connsiteX83" fmla="*/ 7765 w 10000"/>
              <a:gd name="connsiteY83" fmla="*/ 5111 h 9986"/>
              <a:gd name="connsiteX84" fmla="*/ 7213 w 10000"/>
              <a:gd name="connsiteY84" fmla="*/ 4928 h 9986"/>
              <a:gd name="connsiteX85" fmla="*/ 6887 w 10000"/>
              <a:gd name="connsiteY85" fmla="*/ 4959 h 9986"/>
              <a:gd name="connsiteX86" fmla="*/ 6757 w 10000"/>
              <a:gd name="connsiteY86" fmla="*/ 4907 h 9986"/>
              <a:gd name="connsiteX87" fmla="*/ 6894 w 10000"/>
              <a:gd name="connsiteY87" fmla="*/ 4863 h 9986"/>
              <a:gd name="connsiteX88" fmla="*/ 6998 w 10000"/>
              <a:gd name="connsiteY88" fmla="*/ 4767 h 9986"/>
              <a:gd name="connsiteX89" fmla="*/ 7152 w 10000"/>
              <a:gd name="connsiteY89" fmla="*/ 4797 h 9986"/>
              <a:gd name="connsiteX90" fmla="*/ 7335 w 10000"/>
              <a:gd name="connsiteY90" fmla="*/ 4773 h 9986"/>
              <a:gd name="connsiteX91" fmla="*/ 7611 w 10000"/>
              <a:gd name="connsiteY91" fmla="*/ 4804 h 9986"/>
              <a:gd name="connsiteX92" fmla="*/ 7645 w 10000"/>
              <a:gd name="connsiteY92" fmla="*/ 4791 h 9986"/>
              <a:gd name="connsiteX93" fmla="*/ 7859 w 10000"/>
              <a:gd name="connsiteY93" fmla="*/ 4937 h 9986"/>
              <a:gd name="connsiteX94" fmla="*/ 8017 w 10000"/>
              <a:gd name="connsiteY94" fmla="*/ 4883 h 9986"/>
              <a:gd name="connsiteX95" fmla="*/ 8032 w 10000"/>
              <a:gd name="connsiteY95" fmla="*/ 4833 h 9986"/>
              <a:gd name="connsiteX96" fmla="*/ 8176 w 10000"/>
              <a:gd name="connsiteY96" fmla="*/ 4920 h 9986"/>
              <a:gd name="connsiteX97" fmla="*/ 8369 w 10000"/>
              <a:gd name="connsiteY97" fmla="*/ 4967 h 9986"/>
              <a:gd name="connsiteX98" fmla="*/ 8446 w 10000"/>
              <a:gd name="connsiteY98" fmla="*/ 4881 h 9986"/>
              <a:gd name="connsiteX99" fmla="*/ 8507 w 10000"/>
              <a:gd name="connsiteY99" fmla="*/ 4928 h 9986"/>
              <a:gd name="connsiteX100" fmla="*/ 8596 w 10000"/>
              <a:gd name="connsiteY100" fmla="*/ 5098 h 9986"/>
              <a:gd name="connsiteX101" fmla="*/ 8782 w 10000"/>
              <a:gd name="connsiteY101" fmla="*/ 5136 h 9986"/>
              <a:gd name="connsiteX102" fmla="*/ 9542 w 10000"/>
              <a:gd name="connsiteY102" fmla="*/ 4889 h 9986"/>
              <a:gd name="connsiteX103" fmla="*/ 9914 w 10000"/>
              <a:gd name="connsiteY103" fmla="*/ 4543 h 9986"/>
              <a:gd name="connsiteX104" fmla="*/ 10000 w 10000"/>
              <a:gd name="connsiteY104" fmla="*/ 4295 h 9986"/>
              <a:gd name="connsiteX105" fmla="*/ 9866 w 10000"/>
              <a:gd name="connsiteY105" fmla="*/ 4066 h 9986"/>
              <a:gd name="connsiteX106" fmla="*/ 9582 w 10000"/>
              <a:gd name="connsiteY106" fmla="*/ 3932 h 9986"/>
              <a:gd name="connsiteX107" fmla="*/ 9382 w 10000"/>
              <a:gd name="connsiteY107" fmla="*/ 3707 h 9986"/>
              <a:gd name="connsiteX108" fmla="*/ 9569 w 10000"/>
              <a:gd name="connsiteY108" fmla="*/ 3700 h 9986"/>
              <a:gd name="connsiteX109" fmla="*/ 9555 w 10000"/>
              <a:gd name="connsiteY109" fmla="*/ 3648 h 9986"/>
              <a:gd name="connsiteX110" fmla="*/ 9068 w 10000"/>
              <a:gd name="connsiteY110" fmla="*/ 3493 h 9986"/>
              <a:gd name="connsiteX111" fmla="*/ 9047 w 10000"/>
              <a:gd name="connsiteY111" fmla="*/ 3349 h 9986"/>
              <a:gd name="connsiteX112" fmla="*/ 8953 w 10000"/>
              <a:gd name="connsiteY112" fmla="*/ 3199 h 9986"/>
              <a:gd name="connsiteX113" fmla="*/ 8569 w 10000"/>
              <a:gd name="connsiteY113" fmla="*/ 3226 h 9986"/>
              <a:gd name="connsiteX114" fmla="*/ 8431 w 10000"/>
              <a:gd name="connsiteY114" fmla="*/ 3066 h 9986"/>
              <a:gd name="connsiteX115" fmla="*/ 8350 w 10000"/>
              <a:gd name="connsiteY115" fmla="*/ 3056 h 9986"/>
              <a:gd name="connsiteX116" fmla="*/ 8350 w 10000"/>
              <a:gd name="connsiteY116" fmla="*/ 3128 h 9986"/>
              <a:gd name="connsiteX117" fmla="*/ 8176 w 10000"/>
              <a:gd name="connsiteY117" fmla="*/ 3393 h 9986"/>
              <a:gd name="connsiteX118" fmla="*/ 7990 w 10000"/>
              <a:gd name="connsiteY118" fmla="*/ 3551 h 9986"/>
              <a:gd name="connsiteX119" fmla="*/ 7401 w 10000"/>
              <a:gd name="connsiteY119" fmla="*/ 3818 h 9986"/>
              <a:gd name="connsiteX120" fmla="*/ 7198 w 10000"/>
              <a:gd name="connsiteY120" fmla="*/ 3810 h 9986"/>
              <a:gd name="connsiteX121" fmla="*/ 6915 w 10000"/>
              <a:gd name="connsiteY121" fmla="*/ 3851 h 9986"/>
              <a:gd name="connsiteX122" fmla="*/ 6757 w 10000"/>
              <a:gd name="connsiteY122" fmla="*/ 3810 h 9986"/>
              <a:gd name="connsiteX123" fmla="*/ 6965 w 10000"/>
              <a:gd name="connsiteY123" fmla="*/ 3733 h 9986"/>
              <a:gd name="connsiteX124" fmla="*/ 7235 w 10000"/>
              <a:gd name="connsiteY124" fmla="*/ 3700 h 9986"/>
              <a:gd name="connsiteX125" fmla="*/ 7455 w 10000"/>
              <a:gd name="connsiteY125" fmla="*/ 3576 h 9986"/>
              <a:gd name="connsiteX126" fmla="*/ 7674 w 10000"/>
              <a:gd name="connsiteY126" fmla="*/ 3517 h 9986"/>
              <a:gd name="connsiteX127" fmla="*/ 8082 w 10000"/>
              <a:gd name="connsiteY127" fmla="*/ 3298 h 9986"/>
              <a:gd name="connsiteX128" fmla="*/ 8157 w 10000"/>
              <a:gd name="connsiteY128" fmla="*/ 3155 h 9986"/>
              <a:gd name="connsiteX129" fmla="*/ 8165 w 10000"/>
              <a:gd name="connsiteY129" fmla="*/ 2970 h 9986"/>
              <a:gd name="connsiteX130" fmla="*/ 7978 w 10000"/>
              <a:gd name="connsiteY130" fmla="*/ 2938 h 9986"/>
              <a:gd name="connsiteX131" fmla="*/ 8058 w 10000"/>
              <a:gd name="connsiteY131" fmla="*/ 2825 h 9986"/>
              <a:gd name="connsiteX132" fmla="*/ 8087 w 10000"/>
              <a:gd name="connsiteY132" fmla="*/ 2682 h 9986"/>
              <a:gd name="connsiteX133" fmla="*/ 8007 w 10000"/>
              <a:gd name="connsiteY133" fmla="*/ 2548 h 9986"/>
              <a:gd name="connsiteX134" fmla="*/ 7450 w 10000"/>
              <a:gd name="connsiteY134" fmla="*/ 2732 h 9986"/>
              <a:gd name="connsiteX135" fmla="*/ 6694 w 10000"/>
              <a:gd name="connsiteY135" fmla="*/ 2650 h 9986"/>
              <a:gd name="connsiteX136" fmla="*/ 6304 w 10000"/>
              <a:gd name="connsiteY136" fmla="*/ 2137 h 9986"/>
              <a:gd name="connsiteX137" fmla="*/ 5294 w 10000"/>
              <a:gd name="connsiteY137" fmla="*/ 2040 h 9986"/>
              <a:gd name="connsiteX138" fmla="*/ 4505 w 10000"/>
              <a:gd name="connsiteY138" fmla="*/ 1615 h 9986"/>
              <a:gd name="connsiteX139" fmla="*/ 3730 w 10000"/>
              <a:gd name="connsiteY139" fmla="*/ 1104 h 9986"/>
              <a:gd name="connsiteX140" fmla="*/ 3154 w 10000"/>
              <a:gd name="connsiteY140" fmla="*/ 163 h 9986"/>
              <a:gd name="connsiteX141" fmla="*/ 2375 w 10000"/>
              <a:gd name="connsiteY141" fmla="*/ 0 h 9986"/>
              <a:gd name="connsiteX142" fmla="*/ 2226 w 10000"/>
              <a:gd name="connsiteY142" fmla="*/ 885 h 9986"/>
              <a:gd name="connsiteX143" fmla="*/ 2375 w 10000"/>
              <a:gd name="connsiteY143" fmla="*/ 1109 h 9986"/>
              <a:gd name="connsiteX144" fmla="*/ 2791 w 10000"/>
              <a:gd name="connsiteY144" fmla="*/ 1358 h 9986"/>
              <a:gd name="connsiteX145" fmla="*/ 2808 w 10000"/>
              <a:gd name="connsiteY145" fmla="*/ 1658 h 9986"/>
              <a:gd name="connsiteX146" fmla="*/ 2632 w 10000"/>
              <a:gd name="connsiteY146" fmla="*/ 1910 h 9986"/>
              <a:gd name="connsiteX147" fmla="*/ 2375 w 10000"/>
              <a:gd name="connsiteY147" fmla="*/ 2062 h 9986"/>
              <a:gd name="connsiteX148" fmla="*/ 2039 w 10000"/>
              <a:gd name="connsiteY148" fmla="*/ 2122 h 9986"/>
              <a:gd name="connsiteX149" fmla="*/ 1950 w 10000"/>
              <a:gd name="connsiteY149" fmla="*/ 2212 h 9986"/>
              <a:gd name="connsiteX150" fmla="*/ 2148 w 10000"/>
              <a:gd name="connsiteY150" fmla="*/ 2420 h 9986"/>
              <a:gd name="connsiteX151" fmla="*/ 2261 w 10000"/>
              <a:gd name="connsiteY151" fmla="*/ 2914 h 9986"/>
              <a:gd name="connsiteX152" fmla="*/ 2005 w 10000"/>
              <a:gd name="connsiteY152" fmla="*/ 3338 h 9986"/>
              <a:gd name="connsiteX153" fmla="*/ 2094 w 10000"/>
              <a:gd name="connsiteY153" fmla="*/ 3466 h 9986"/>
              <a:gd name="connsiteX154" fmla="*/ 2012 w 10000"/>
              <a:gd name="connsiteY154" fmla="*/ 3686 h 9986"/>
              <a:gd name="connsiteX155" fmla="*/ 1850 w 10000"/>
              <a:gd name="connsiteY155" fmla="*/ 3840 h 9986"/>
              <a:gd name="connsiteX156" fmla="*/ 1199 w 10000"/>
              <a:gd name="connsiteY156" fmla="*/ 3957 h 9986"/>
              <a:gd name="connsiteX157" fmla="*/ 1158 w 10000"/>
              <a:gd name="connsiteY157" fmla="*/ 4161 h 9986"/>
              <a:gd name="connsiteX158" fmla="*/ 808 w 10000"/>
              <a:gd name="connsiteY158" fmla="*/ 4464 h 9986"/>
              <a:gd name="connsiteX159" fmla="*/ 854 w 10000"/>
              <a:gd name="connsiteY159" fmla="*/ 4904 h 9986"/>
              <a:gd name="connsiteX160" fmla="*/ 560 w 10000"/>
              <a:gd name="connsiteY160" fmla="*/ 5466 h 9986"/>
              <a:gd name="connsiteX161" fmla="*/ 358 w 10000"/>
              <a:gd name="connsiteY161" fmla="*/ 5531 h 9986"/>
              <a:gd name="connsiteX162" fmla="*/ 275 w 10000"/>
              <a:gd name="connsiteY162" fmla="*/ 5397 h 9986"/>
              <a:gd name="connsiteX163" fmla="*/ 174 w 10000"/>
              <a:gd name="connsiteY163" fmla="*/ 5600 h 9986"/>
              <a:gd name="connsiteX164" fmla="*/ 239 w 10000"/>
              <a:gd name="connsiteY164" fmla="*/ 5251 h 9986"/>
              <a:gd name="connsiteX165" fmla="*/ 197 w 10000"/>
              <a:gd name="connsiteY165" fmla="*/ 5186 h 9986"/>
              <a:gd name="connsiteX0" fmla="*/ 197 w 10000"/>
              <a:gd name="connsiteY0" fmla="*/ 5193 h 10000"/>
              <a:gd name="connsiteX1" fmla="*/ 0 w 10000"/>
              <a:gd name="connsiteY1" fmla="*/ 5375 h 10000"/>
              <a:gd name="connsiteX2" fmla="*/ 0 w 10000"/>
              <a:gd name="connsiteY2" fmla="*/ 6269 h 10000"/>
              <a:gd name="connsiteX3" fmla="*/ 109 w 10000"/>
              <a:gd name="connsiteY3" fmla="*/ 6293 h 10000"/>
              <a:gd name="connsiteX4" fmla="*/ 134 w 10000"/>
              <a:gd name="connsiteY4" fmla="*/ 6364 h 10000"/>
              <a:gd name="connsiteX5" fmla="*/ 130 w 10000"/>
              <a:gd name="connsiteY5" fmla="*/ 6485 h 10000"/>
              <a:gd name="connsiteX6" fmla="*/ 89 w 10000"/>
              <a:gd name="connsiteY6" fmla="*/ 6538 h 10000"/>
              <a:gd name="connsiteX7" fmla="*/ 255 w 10000"/>
              <a:gd name="connsiteY7" fmla="*/ 6433 h 10000"/>
              <a:gd name="connsiteX8" fmla="*/ 325 w 10000"/>
              <a:gd name="connsiteY8" fmla="*/ 6334 h 10000"/>
              <a:gd name="connsiteX9" fmla="*/ 413 w 10000"/>
              <a:gd name="connsiteY9" fmla="*/ 6402 h 10000"/>
              <a:gd name="connsiteX10" fmla="*/ 316 w 10000"/>
              <a:gd name="connsiteY10" fmla="*/ 6549 h 10000"/>
              <a:gd name="connsiteX11" fmla="*/ 419 w 10000"/>
              <a:gd name="connsiteY11" fmla="*/ 6553 h 10000"/>
              <a:gd name="connsiteX12" fmla="*/ 469 w 10000"/>
              <a:gd name="connsiteY12" fmla="*/ 6589 h 10000"/>
              <a:gd name="connsiteX13" fmla="*/ 337 w 10000"/>
              <a:gd name="connsiteY13" fmla="*/ 6637 h 10000"/>
              <a:gd name="connsiteX14" fmla="*/ 130 w 10000"/>
              <a:gd name="connsiteY14" fmla="*/ 6788 h 10000"/>
              <a:gd name="connsiteX15" fmla="*/ 497 w 10000"/>
              <a:gd name="connsiteY15" fmla="*/ 6906 h 10000"/>
              <a:gd name="connsiteX16" fmla="*/ 545 w 10000"/>
              <a:gd name="connsiteY16" fmla="*/ 7073 h 10000"/>
              <a:gd name="connsiteX17" fmla="*/ 419 w 10000"/>
              <a:gd name="connsiteY17" fmla="*/ 7320 h 10000"/>
              <a:gd name="connsiteX18" fmla="*/ 688 w 10000"/>
              <a:gd name="connsiteY18" fmla="*/ 7306 h 10000"/>
              <a:gd name="connsiteX19" fmla="*/ 709 w 10000"/>
              <a:gd name="connsiteY19" fmla="*/ 7489 h 10000"/>
              <a:gd name="connsiteX20" fmla="*/ 530 w 10000"/>
              <a:gd name="connsiteY20" fmla="*/ 7621 h 10000"/>
              <a:gd name="connsiteX21" fmla="*/ 560 w 10000"/>
              <a:gd name="connsiteY21" fmla="*/ 7862 h 10000"/>
              <a:gd name="connsiteX22" fmla="*/ 489 w 10000"/>
              <a:gd name="connsiteY22" fmla="*/ 8056 h 10000"/>
              <a:gd name="connsiteX23" fmla="*/ 703 w 10000"/>
              <a:gd name="connsiteY23" fmla="*/ 8074 h 10000"/>
              <a:gd name="connsiteX24" fmla="*/ 909 w 10000"/>
              <a:gd name="connsiteY24" fmla="*/ 8807 h 10000"/>
              <a:gd name="connsiteX25" fmla="*/ 1150 w 10000"/>
              <a:gd name="connsiteY25" fmla="*/ 8989 h 10000"/>
              <a:gd name="connsiteX26" fmla="*/ 1255 w 10000"/>
              <a:gd name="connsiteY26" fmla="*/ 9187 h 10000"/>
              <a:gd name="connsiteX27" fmla="*/ 1514 w 10000"/>
              <a:gd name="connsiteY27" fmla="*/ 9329 h 10000"/>
              <a:gd name="connsiteX28" fmla="*/ 1684 w 10000"/>
              <a:gd name="connsiteY28" fmla="*/ 9513 h 10000"/>
              <a:gd name="connsiteX29" fmla="*/ 1661 w 10000"/>
              <a:gd name="connsiteY29" fmla="*/ 9647 h 10000"/>
              <a:gd name="connsiteX30" fmla="*/ 1496 w 10000"/>
              <a:gd name="connsiteY30" fmla="*/ 9697 h 10000"/>
              <a:gd name="connsiteX31" fmla="*/ 1316 w 10000"/>
              <a:gd name="connsiteY31" fmla="*/ 9663 h 10000"/>
              <a:gd name="connsiteX32" fmla="*/ 1260 w 10000"/>
              <a:gd name="connsiteY32" fmla="*/ 9717 h 10000"/>
              <a:gd name="connsiteX33" fmla="*/ 1397 w 10000"/>
              <a:gd name="connsiteY33" fmla="*/ 10000 h 10000"/>
              <a:gd name="connsiteX34" fmla="*/ 6419 w 10000"/>
              <a:gd name="connsiteY34" fmla="*/ 9402 h 10000"/>
              <a:gd name="connsiteX35" fmla="*/ 6586 w 10000"/>
              <a:gd name="connsiteY35" fmla="*/ 8620 h 10000"/>
              <a:gd name="connsiteX36" fmla="*/ 6855 w 10000"/>
              <a:gd name="connsiteY36" fmla="*/ 8274 h 10000"/>
              <a:gd name="connsiteX37" fmla="*/ 6855 w 10000"/>
              <a:gd name="connsiteY37" fmla="*/ 8089 h 10000"/>
              <a:gd name="connsiteX38" fmla="*/ 6757 w 10000"/>
              <a:gd name="connsiteY38" fmla="*/ 7989 h 10000"/>
              <a:gd name="connsiteX39" fmla="*/ 6915 w 10000"/>
              <a:gd name="connsiteY39" fmla="*/ 7822 h 10000"/>
              <a:gd name="connsiteX40" fmla="*/ 6887 w 10000"/>
              <a:gd name="connsiteY40" fmla="*/ 7687 h 10000"/>
              <a:gd name="connsiteX41" fmla="*/ 6779 w 10000"/>
              <a:gd name="connsiteY41" fmla="*/ 7572 h 10000"/>
              <a:gd name="connsiteX42" fmla="*/ 6757 w 10000"/>
              <a:gd name="connsiteY42" fmla="*/ 7481 h 10000"/>
              <a:gd name="connsiteX43" fmla="*/ 6785 w 10000"/>
              <a:gd name="connsiteY43" fmla="*/ 7415 h 10000"/>
              <a:gd name="connsiteX44" fmla="*/ 6931 w 10000"/>
              <a:gd name="connsiteY44" fmla="*/ 7468 h 10000"/>
              <a:gd name="connsiteX45" fmla="*/ 7045 w 10000"/>
              <a:gd name="connsiteY45" fmla="*/ 7465 h 10000"/>
              <a:gd name="connsiteX46" fmla="*/ 6983 w 10000"/>
              <a:gd name="connsiteY46" fmla="*/ 7355 h 10000"/>
              <a:gd name="connsiteX47" fmla="*/ 7003 w 10000"/>
              <a:gd name="connsiteY47" fmla="*/ 7289 h 10000"/>
              <a:gd name="connsiteX48" fmla="*/ 7089 w 10000"/>
              <a:gd name="connsiteY48" fmla="*/ 7196 h 10000"/>
              <a:gd name="connsiteX49" fmla="*/ 7074 w 10000"/>
              <a:gd name="connsiteY49" fmla="*/ 7118 h 10000"/>
              <a:gd name="connsiteX50" fmla="*/ 7152 w 10000"/>
              <a:gd name="connsiteY50" fmla="*/ 6859 h 10000"/>
              <a:gd name="connsiteX51" fmla="*/ 7130 w 10000"/>
              <a:gd name="connsiteY51" fmla="*/ 6778 h 10000"/>
              <a:gd name="connsiteX52" fmla="*/ 6729 w 10000"/>
              <a:gd name="connsiteY52" fmla="*/ 6579 h 10000"/>
              <a:gd name="connsiteX53" fmla="*/ 6785 w 10000"/>
              <a:gd name="connsiteY53" fmla="*/ 6572 h 10000"/>
              <a:gd name="connsiteX54" fmla="*/ 6998 w 10000"/>
              <a:gd name="connsiteY54" fmla="*/ 6622 h 10000"/>
              <a:gd name="connsiteX55" fmla="*/ 7230 w 10000"/>
              <a:gd name="connsiteY55" fmla="*/ 6603 h 10000"/>
              <a:gd name="connsiteX56" fmla="*/ 7295 w 10000"/>
              <a:gd name="connsiteY56" fmla="*/ 6534 h 10000"/>
              <a:gd name="connsiteX57" fmla="*/ 7074 w 10000"/>
              <a:gd name="connsiteY57" fmla="*/ 6399 h 10000"/>
              <a:gd name="connsiteX58" fmla="*/ 6414 w 10000"/>
              <a:gd name="connsiteY58" fmla="*/ 6310 h 10000"/>
              <a:gd name="connsiteX59" fmla="*/ 6458 w 10000"/>
              <a:gd name="connsiteY59" fmla="*/ 6269 h 10000"/>
              <a:gd name="connsiteX60" fmla="*/ 6998 w 10000"/>
              <a:gd name="connsiteY60" fmla="*/ 6241 h 10000"/>
              <a:gd name="connsiteX61" fmla="*/ 7295 w 10000"/>
              <a:gd name="connsiteY61" fmla="*/ 6322 h 10000"/>
              <a:gd name="connsiteX62" fmla="*/ 7466 w 10000"/>
              <a:gd name="connsiteY62" fmla="*/ 6269 h 10000"/>
              <a:gd name="connsiteX63" fmla="*/ 7529 w 10000"/>
              <a:gd name="connsiteY63" fmla="*/ 6130 h 10000"/>
              <a:gd name="connsiteX64" fmla="*/ 7840 w 10000"/>
              <a:gd name="connsiteY64" fmla="*/ 6130 h 10000"/>
              <a:gd name="connsiteX65" fmla="*/ 8261 w 10000"/>
              <a:gd name="connsiteY65" fmla="*/ 5848 h 10000"/>
              <a:gd name="connsiteX66" fmla="*/ 8275 w 10000"/>
              <a:gd name="connsiteY66" fmla="*/ 5659 h 10000"/>
              <a:gd name="connsiteX67" fmla="*/ 8453 w 10000"/>
              <a:gd name="connsiteY67" fmla="*/ 5702 h 10000"/>
              <a:gd name="connsiteX68" fmla="*/ 8446 w 10000"/>
              <a:gd name="connsiteY68" fmla="*/ 5891 h 10000"/>
              <a:gd name="connsiteX69" fmla="*/ 8727 w 10000"/>
              <a:gd name="connsiteY69" fmla="*/ 5878 h 10000"/>
              <a:gd name="connsiteX70" fmla="*/ 8913 w 10000"/>
              <a:gd name="connsiteY70" fmla="*/ 5682 h 10000"/>
              <a:gd name="connsiteX71" fmla="*/ 9258 w 10000"/>
              <a:gd name="connsiteY71" fmla="*/ 5506 h 10000"/>
              <a:gd name="connsiteX72" fmla="*/ 9203 w 10000"/>
              <a:gd name="connsiteY72" fmla="*/ 5307 h 10000"/>
              <a:gd name="connsiteX73" fmla="*/ 9306 w 10000"/>
              <a:gd name="connsiteY73" fmla="*/ 5387 h 10000"/>
              <a:gd name="connsiteX74" fmla="*/ 9464 w 10000"/>
              <a:gd name="connsiteY74" fmla="*/ 5387 h 10000"/>
              <a:gd name="connsiteX75" fmla="*/ 9464 w 10000"/>
              <a:gd name="connsiteY75" fmla="*/ 5294 h 10000"/>
              <a:gd name="connsiteX76" fmla="*/ 9611 w 10000"/>
              <a:gd name="connsiteY76" fmla="*/ 5226 h 10000"/>
              <a:gd name="connsiteX77" fmla="*/ 9592 w 10000"/>
              <a:gd name="connsiteY77" fmla="*/ 5153 h 10000"/>
              <a:gd name="connsiteX78" fmla="*/ 8350 w 10000"/>
              <a:gd name="connsiteY78" fmla="*/ 5296 h 10000"/>
              <a:gd name="connsiteX79" fmla="*/ 8058 w 10000"/>
              <a:gd name="connsiteY79" fmla="*/ 5256 h 10000"/>
              <a:gd name="connsiteX80" fmla="*/ 7942 w 10000"/>
              <a:gd name="connsiteY80" fmla="*/ 5307 h 10000"/>
              <a:gd name="connsiteX81" fmla="*/ 7903 w 10000"/>
              <a:gd name="connsiteY81" fmla="*/ 5206 h 10000"/>
              <a:gd name="connsiteX82" fmla="*/ 7765 w 10000"/>
              <a:gd name="connsiteY82" fmla="*/ 5118 h 10000"/>
              <a:gd name="connsiteX83" fmla="*/ 7213 w 10000"/>
              <a:gd name="connsiteY83" fmla="*/ 4935 h 10000"/>
              <a:gd name="connsiteX84" fmla="*/ 6887 w 10000"/>
              <a:gd name="connsiteY84" fmla="*/ 4966 h 10000"/>
              <a:gd name="connsiteX85" fmla="*/ 6757 w 10000"/>
              <a:gd name="connsiteY85" fmla="*/ 4914 h 10000"/>
              <a:gd name="connsiteX86" fmla="*/ 6894 w 10000"/>
              <a:gd name="connsiteY86" fmla="*/ 4870 h 10000"/>
              <a:gd name="connsiteX87" fmla="*/ 6998 w 10000"/>
              <a:gd name="connsiteY87" fmla="*/ 4774 h 10000"/>
              <a:gd name="connsiteX88" fmla="*/ 7152 w 10000"/>
              <a:gd name="connsiteY88" fmla="*/ 4804 h 10000"/>
              <a:gd name="connsiteX89" fmla="*/ 7335 w 10000"/>
              <a:gd name="connsiteY89" fmla="*/ 4780 h 10000"/>
              <a:gd name="connsiteX90" fmla="*/ 7611 w 10000"/>
              <a:gd name="connsiteY90" fmla="*/ 4811 h 10000"/>
              <a:gd name="connsiteX91" fmla="*/ 7645 w 10000"/>
              <a:gd name="connsiteY91" fmla="*/ 4798 h 10000"/>
              <a:gd name="connsiteX92" fmla="*/ 7859 w 10000"/>
              <a:gd name="connsiteY92" fmla="*/ 4944 h 10000"/>
              <a:gd name="connsiteX93" fmla="*/ 8017 w 10000"/>
              <a:gd name="connsiteY93" fmla="*/ 4890 h 10000"/>
              <a:gd name="connsiteX94" fmla="*/ 8032 w 10000"/>
              <a:gd name="connsiteY94" fmla="*/ 4840 h 10000"/>
              <a:gd name="connsiteX95" fmla="*/ 8176 w 10000"/>
              <a:gd name="connsiteY95" fmla="*/ 4927 h 10000"/>
              <a:gd name="connsiteX96" fmla="*/ 8369 w 10000"/>
              <a:gd name="connsiteY96" fmla="*/ 4974 h 10000"/>
              <a:gd name="connsiteX97" fmla="*/ 8446 w 10000"/>
              <a:gd name="connsiteY97" fmla="*/ 4888 h 10000"/>
              <a:gd name="connsiteX98" fmla="*/ 8507 w 10000"/>
              <a:gd name="connsiteY98" fmla="*/ 4935 h 10000"/>
              <a:gd name="connsiteX99" fmla="*/ 8596 w 10000"/>
              <a:gd name="connsiteY99" fmla="*/ 5105 h 10000"/>
              <a:gd name="connsiteX100" fmla="*/ 8782 w 10000"/>
              <a:gd name="connsiteY100" fmla="*/ 5143 h 10000"/>
              <a:gd name="connsiteX101" fmla="*/ 9542 w 10000"/>
              <a:gd name="connsiteY101" fmla="*/ 4896 h 10000"/>
              <a:gd name="connsiteX102" fmla="*/ 9914 w 10000"/>
              <a:gd name="connsiteY102" fmla="*/ 4549 h 10000"/>
              <a:gd name="connsiteX103" fmla="*/ 10000 w 10000"/>
              <a:gd name="connsiteY103" fmla="*/ 4301 h 10000"/>
              <a:gd name="connsiteX104" fmla="*/ 9866 w 10000"/>
              <a:gd name="connsiteY104" fmla="*/ 4072 h 10000"/>
              <a:gd name="connsiteX105" fmla="*/ 9582 w 10000"/>
              <a:gd name="connsiteY105" fmla="*/ 3938 h 10000"/>
              <a:gd name="connsiteX106" fmla="*/ 9382 w 10000"/>
              <a:gd name="connsiteY106" fmla="*/ 3712 h 10000"/>
              <a:gd name="connsiteX107" fmla="*/ 9569 w 10000"/>
              <a:gd name="connsiteY107" fmla="*/ 3705 h 10000"/>
              <a:gd name="connsiteX108" fmla="*/ 9555 w 10000"/>
              <a:gd name="connsiteY108" fmla="*/ 3653 h 10000"/>
              <a:gd name="connsiteX109" fmla="*/ 9068 w 10000"/>
              <a:gd name="connsiteY109" fmla="*/ 3498 h 10000"/>
              <a:gd name="connsiteX110" fmla="*/ 9047 w 10000"/>
              <a:gd name="connsiteY110" fmla="*/ 3354 h 10000"/>
              <a:gd name="connsiteX111" fmla="*/ 8953 w 10000"/>
              <a:gd name="connsiteY111" fmla="*/ 3203 h 10000"/>
              <a:gd name="connsiteX112" fmla="*/ 8569 w 10000"/>
              <a:gd name="connsiteY112" fmla="*/ 3231 h 10000"/>
              <a:gd name="connsiteX113" fmla="*/ 8431 w 10000"/>
              <a:gd name="connsiteY113" fmla="*/ 3070 h 10000"/>
              <a:gd name="connsiteX114" fmla="*/ 8350 w 10000"/>
              <a:gd name="connsiteY114" fmla="*/ 3060 h 10000"/>
              <a:gd name="connsiteX115" fmla="*/ 8350 w 10000"/>
              <a:gd name="connsiteY115" fmla="*/ 3132 h 10000"/>
              <a:gd name="connsiteX116" fmla="*/ 8176 w 10000"/>
              <a:gd name="connsiteY116" fmla="*/ 3398 h 10000"/>
              <a:gd name="connsiteX117" fmla="*/ 7990 w 10000"/>
              <a:gd name="connsiteY117" fmla="*/ 3556 h 10000"/>
              <a:gd name="connsiteX118" fmla="*/ 7401 w 10000"/>
              <a:gd name="connsiteY118" fmla="*/ 3823 h 10000"/>
              <a:gd name="connsiteX119" fmla="*/ 7198 w 10000"/>
              <a:gd name="connsiteY119" fmla="*/ 3815 h 10000"/>
              <a:gd name="connsiteX120" fmla="*/ 6915 w 10000"/>
              <a:gd name="connsiteY120" fmla="*/ 3856 h 10000"/>
              <a:gd name="connsiteX121" fmla="*/ 6757 w 10000"/>
              <a:gd name="connsiteY121" fmla="*/ 3815 h 10000"/>
              <a:gd name="connsiteX122" fmla="*/ 6965 w 10000"/>
              <a:gd name="connsiteY122" fmla="*/ 3738 h 10000"/>
              <a:gd name="connsiteX123" fmla="*/ 7235 w 10000"/>
              <a:gd name="connsiteY123" fmla="*/ 3705 h 10000"/>
              <a:gd name="connsiteX124" fmla="*/ 7455 w 10000"/>
              <a:gd name="connsiteY124" fmla="*/ 3581 h 10000"/>
              <a:gd name="connsiteX125" fmla="*/ 7674 w 10000"/>
              <a:gd name="connsiteY125" fmla="*/ 3522 h 10000"/>
              <a:gd name="connsiteX126" fmla="*/ 8082 w 10000"/>
              <a:gd name="connsiteY126" fmla="*/ 3303 h 10000"/>
              <a:gd name="connsiteX127" fmla="*/ 8157 w 10000"/>
              <a:gd name="connsiteY127" fmla="*/ 3159 h 10000"/>
              <a:gd name="connsiteX128" fmla="*/ 8165 w 10000"/>
              <a:gd name="connsiteY128" fmla="*/ 2974 h 10000"/>
              <a:gd name="connsiteX129" fmla="*/ 7978 w 10000"/>
              <a:gd name="connsiteY129" fmla="*/ 2942 h 10000"/>
              <a:gd name="connsiteX130" fmla="*/ 8058 w 10000"/>
              <a:gd name="connsiteY130" fmla="*/ 2829 h 10000"/>
              <a:gd name="connsiteX131" fmla="*/ 8087 w 10000"/>
              <a:gd name="connsiteY131" fmla="*/ 2686 h 10000"/>
              <a:gd name="connsiteX132" fmla="*/ 8007 w 10000"/>
              <a:gd name="connsiteY132" fmla="*/ 2552 h 10000"/>
              <a:gd name="connsiteX133" fmla="*/ 7450 w 10000"/>
              <a:gd name="connsiteY133" fmla="*/ 2736 h 10000"/>
              <a:gd name="connsiteX134" fmla="*/ 6694 w 10000"/>
              <a:gd name="connsiteY134" fmla="*/ 2654 h 10000"/>
              <a:gd name="connsiteX135" fmla="*/ 6304 w 10000"/>
              <a:gd name="connsiteY135" fmla="*/ 2140 h 10000"/>
              <a:gd name="connsiteX136" fmla="*/ 5294 w 10000"/>
              <a:gd name="connsiteY136" fmla="*/ 2043 h 10000"/>
              <a:gd name="connsiteX137" fmla="*/ 4505 w 10000"/>
              <a:gd name="connsiteY137" fmla="*/ 1617 h 10000"/>
              <a:gd name="connsiteX138" fmla="*/ 3730 w 10000"/>
              <a:gd name="connsiteY138" fmla="*/ 1106 h 10000"/>
              <a:gd name="connsiteX139" fmla="*/ 3154 w 10000"/>
              <a:gd name="connsiteY139" fmla="*/ 163 h 10000"/>
              <a:gd name="connsiteX140" fmla="*/ 2375 w 10000"/>
              <a:gd name="connsiteY140" fmla="*/ 0 h 10000"/>
              <a:gd name="connsiteX141" fmla="*/ 2226 w 10000"/>
              <a:gd name="connsiteY141" fmla="*/ 886 h 10000"/>
              <a:gd name="connsiteX142" fmla="*/ 2375 w 10000"/>
              <a:gd name="connsiteY142" fmla="*/ 1111 h 10000"/>
              <a:gd name="connsiteX143" fmla="*/ 2791 w 10000"/>
              <a:gd name="connsiteY143" fmla="*/ 1360 h 10000"/>
              <a:gd name="connsiteX144" fmla="*/ 2808 w 10000"/>
              <a:gd name="connsiteY144" fmla="*/ 1660 h 10000"/>
              <a:gd name="connsiteX145" fmla="*/ 2632 w 10000"/>
              <a:gd name="connsiteY145" fmla="*/ 1913 h 10000"/>
              <a:gd name="connsiteX146" fmla="*/ 2375 w 10000"/>
              <a:gd name="connsiteY146" fmla="*/ 2065 h 10000"/>
              <a:gd name="connsiteX147" fmla="*/ 2039 w 10000"/>
              <a:gd name="connsiteY147" fmla="*/ 2125 h 10000"/>
              <a:gd name="connsiteX148" fmla="*/ 1950 w 10000"/>
              <a:gd name="connsiteY148" fmla="*/ 2215 h 10000"/>
              <a:gd name="connsiteX149" fmla="*/ 2148 w 10000"/>
              <a:gd name="connsiteY149" fmla="*/ 2423 h 10000"/>
              <a:gd name="connsiteX150" fmla="*/ 2261 w 10000"/>
              <a:gd name="connsiteY150" fmla="*/ 2918 h 10000"/>
              <a:gd name="connsiteX151" fmla="*/ 2005 w 10000"/>
              <a:gd name="connsiteY151" fmla="*/ 3343 h 10000"/>
              <a:gd name="connsiteX152" fmla="*/ 2094 w 10000"/>
              <a:gd name="connsiteY152" fmla="*/ 3471 h 10000"/>
              <a:gd name="connsiteX153" fmla="*/ 2012 w 10000"/>
              <a:gd name="connsiteY153" fmla="*/ 3691 h 10000"/>
              <a:gd name="connsiteX154" fmla="*/ 1850 w 10000"/>
              <a:gd name="connsiteY154" fmla="*/ 3845 h 10000"/>
              <a:gd name="connsiteX155" fmla="*/ 1199 w 10000"/>
              <a:gd name="connsiteY155" fmla="*/ 3963 h 10000"/>
              <a:gd name="connsiteX156" fmla="*/ 1158 w 10000"/>
              <a:gd name="connsiteY156" fmla="*/ 4167 h 10000"/>
              <a:gd name="connsiteX157" fmla="*/ 808 w 10000"/>
              <a:gd name="connsiteY157" fmla="*/ 4470 h 10000"/>
              <a:gd name="connsiteX158" fmla="*/ 854 w 10000"/>
              <a:gd name="connsiteY158" fmla="*/ 4911 h 10000"/>
              <a:gd name="connsiteX159" fmla="*/ 560 w 10000"/>
              <a:gd name="connsiteY159" fmla="*/ 5474 h 10000"/>
              <a:gd name="connsiteX160" fmla="*/ 358 w 10000"/>
              <a:gd name="connsiteY160" fmla="*/ 5539 h 10000"/>
              <a:gd name="connsiteX161" fmla="*/ 275 w 10000"/>
              <a:gd name="connsiteY161" fmla="*/ 5405 h 10000"/>
              <a:gd name="connsiteX162" fmla="*/ 174 w 10000"/>
              <a:gd name="connsiteY162" fmla="*/ 5608 h 10000"/>
              <a:gd name="connsiteX163" fmla="*/ 239 w 10000"/>
              <a:gd name="connsiteY163" fmla="*/ 5258 h 10000"/>
              <a:gd name="connsiteX164" fmla="*/ 197 w 10000"/>
              <a:gd name="connsiteY164" fmla="*/ 5193 h 10000"/>
              <a:gd name="connsiteX0" fmla="*/ 197 w 10000"/>
              <a:gd name="connsiteY0" fmla="*/ 5193 h 10003"/>
              <a:gd name="connsiteX1" fmla="*/ 0 w 10000"/>
              <a:gd name="connsiteY1" fmla="*/ 5375 h 10003"/>
              <a:gd name="connsiteX2" fmla="*/ 0 w 10000"/>
              <a:gd name="connsiteY2" fmla="*/ 6269 h 10003"/>
              <a:gd name="connsiteX3" fmla="*/ 109 w 10000"/>
              <a:gd name="connsiteY3" fmla="*/ 6293 h 10003"/>
              <a:gd name="connsiteX4" fmla="*/ 134 w 10000"/>
              <a:gd name="connsiteY4" fmla="*/ 6364 h 10003"/>
              <a:gd name="connsiteX5" fmla="*/ 130 w 10000"/>
              <a:gd name="connsiteY5" fmla="*/ 6485 h 10003"/>
              <a:gd name="connsiteX6" fmla="*/ 89 w 10000"/>
              <a:gd name="connsiteY6" fmla="*/ 6538 h 10003"/>
              <a:gd name="connsiteX7" fmla="*/ 255 w 10000"/>
              <a:gd name="connsiteY7" fmla="*/ 6433 h 10003"/>
              <a:gd name="connsiteX8" fmla="*/ 325 w 10000"/>
              <a:gd name="connsiteY8" fmla="*/ 6334 h 10003"/>
              <a:gd name="connsiteX9" fmla="*/ 413 w 10000"/>
              <a:gd name="connsiteY9" fmla="*/ 6402 h 10003"/>
              <a:gd name="connsiteX10" fmla="*/ 316 w 10000"/>
              <a:gd name="connsiteY10" fmla="*/ 6549 h 10003"/>
              <a:gd name="connsiteX11" fmla="*/ 419 w 10000"/>
              <a:gd name="connsiteY11" fmla="*/ 6553 h 10003"/>
              <a:gd name="connsiteX12" fmla="*/ 469 w 10000"/>
              <a:gd name="connsiteY12" fmla="*/ 6589 h 10003"/>
              <a:gd name="connsiteX13" fmla="*/ 337 w 10000"/>
              <a:gd name="connsiteY13" fmla="*/ 6637 h 10003"/>
              <a:gd name="connsiteX14" fmla="*/ 130 w 10000"/>
              <a:gd name="connsiteY14" fmla="*/ 6788 h 10003"/>
              <a:gd name="connsiteX15" fmla="*/ 497 w 10000"/>
              <a:gd name="connsiteY15" fmla="*/ 6906 h 10003"/>
              <a:gd name="connsiteX16" fmla="*/ 545 w 10000"/>
              <a:gd name="connsiteY16" fmla="*/ 7073 h 10003"/>
              <a:gd name="connsiteX17" fmla="*/ 419 w 10000"/>
              <a:gd name="connsiteY17" fmla="*/ 7320 h 10003"/>
              <a:gd name="connsiteX18" fmla="*/ 688 w 10000"/>
              <a:gd name="connsiteY18" fmla="*/ 7306 h 10003"/>
              <a:gd name="connsiteX19" fmla="*/ 709 w 10000"/>
              <a:gd name="connsiteY19" fmla="*/ 7489 h 10003"/>
              <a:gd name="connsiteX20" fmla="*/ 530 w 10000"/>
              <a:gd name="connsiteY20" fmla="*/ 7621 h 10003"/>
              <a:gd name="connsiteX21" fmla="*/ 560 w 10000"/>
              <a:gd name="connsiteY21" fmla="*/ 7862 h 10003"/>
              <a:gd name="connsiteX22" fmla="*/ 489 w 10000"/>
              <a:gd name="connsiteY22" fmla="*/ 8056 h 10003"/>
              <a:gd name="connsiteX23" fmla="*/ 703 w 10000"/>
              <a:gd name="connsiteY23" fmla="*/ 8074 h 10003"/>
              <a:gd name="connsiteX24" fmla="*/ 909 w 10000"/>
              <a:gd name="connsiteY24" fmla="*/ 8807 h 10003"/>
              <a:gd name="connsiteX25" fmla="*/ 1150 w 10000"/>
              <a:gd name="connsiteY25" fmla="*/ 8989 h 10003"/>
              <a:gd name="connsiteX26" fmla="*/ 1255 w 10000"/>
              <a:gd name="connsiteY26" fmla="*/ 9187 h 10003"/>
              <a:gd name="connsiteX27" fmla="*/ 1514 w 10000"/>
              <a:gd name="connsiteY27" fmla="*/ 9329 h 10003"/>
              <a:gd name="connsiteX28" fmla="*/ 1684 w 10000"/>
              <a:gd name="connsiteY28" fmla="*/ 9513 h 10003"/>
              <a:gd name="connsiteX29" fmla="*/ 1661 w 10000"/>
              <a:gd name="connsiteY29" fmla="*/ 9647 h 10003"/>
              <a:gd name="connsiteX30" fmla="*/ 1496 w 10000"/>
              <a:gd name="connsiteY30" fmla="*/ 9697 h 10003"/>
              <a:gd name="connsiteX31" fmla="*/ 1316 w 10000"/>
              <a:gd name="connsiteY31" fmla="*/ 9663 h 10003"/>
              <a:gd name="connsiteX32" fmla="*/ 1397 w 10000"/>
              <a:gd name="connsiteY32" fmla="*/ 10000 h 10003"/>
              <a:gd name="connsiteX33" fmla="*/ 6419 w 10000"/>
              <a:gd name="connsiteY33" fmla="*/ 9402 h 10003"/>
              <a:gd name="connsiteX34" fmla="*/ 6586 w 10000"/>
              <a:gd name="connsiteY34" fmla="*/ 8620 h 10003"/>
              <a:gd name="connsiteX35" fmla="*/ 6855 w 10000"/>
              <a:gd name="connsiteY35" fmla="*/ 8274 h 10003"/>
              <a:gd name="connsiteX36" fmla="*/ 6855 w 10000"/>
              <a:gd name="connsiteY36" fmla="*/ 8089 h 10003"/>
              <a:gd name="connsiteX37" fmla="*/ 6757 w 10000"/>
              <a:gd name="connsiteY37" fmla="*/ 7989 h 10003"/>
              <a:gd name="connsiteX38" fmla="*/ 6915 w 10000"/>
              <a:gd name="connsiteY38" fmla="*/ 7822 h 10003"/>
              <a:gd name="connsiteX39" fmla="*/ 6887 w 10000"/>
              <a:gd name="connsiteY39" fmla="*/ 7687 h 10003"/>
              <a:gd name="connsiteX40" fmla="*/ 6779 w 10000"/>
              <a:gd name="connsiteY40" fmla="*/ 7572 h 10003"/>
              <a:gd name="connsiteX41" fmla="*/ 6757 w 10000"/>
              <a:gd name="connsiteY41" fmla="*/ 7481 h 10003"/>
              <a:gd name="connsiteX42" fmla="*/ 6785 w 10000"/>
              <a:gd name="connsiteY42" fmla="*/ 7415 h 10003"/>
              <a:gd name="connsiteX43" fmla="*/ 6931 w 10000"/>
              <a:gd name="connsiteY43" fmla="*/ 7468 h 10003"/>
              <a:gd name="connsiteX44" fmla="*/ 7045 w 10000"/>
              <a:gd name="connsiteY44" fmla="*/ 7465 h 10003"/>
              <a:gd name="connsiteX45" fmla="*/ 6983 w 10000"/>
              <a:gd name="connsiteY45" fmla="*/ 7355 h 10003"/>
              <a:gd name="connsiteX46" fmla="*/ 7003 w 10000"/>
              <a:gd name="connsiteY46" fmla="*/ 7289 h 10003"/>
              <a:gd name="connsiteX47" fmla="*/ 7089 w 10000"/>
              <a:gd name="connsiteY47" fmla="*/ 7196 h 10003"/>
              <a:gd name="connsiteX48" fmla="*/ 7074 w 10000"/>
              <a:gd name="connsiteY48" fmla="*/ 7118 h 10003"/>
              <a:gd name="connsiteX49" fmla="*/ 7152 w 10000"/>
              <a:gd name="connsiteY49" fmla="*/ 6859 h 10003"/>
              <a:gd name="connsiteX50" fmla="*/ 7130 w 10000"/>
              <a:gd name="connsiteY50" fmla="*/ 6778 h 10003"/>
              <a:gd name="connsiteX51" fmla="*/ 6729 w 10000"/>
              <a:gd name="connsiteY51" fmla="*/ 6579 h 10003"/>
              <a:gd name="connsiteX52" fmla="*/ 6785 w 10000"/>
              <a:gd name="connsiteY52" fmla="*/ 6572 h 10003"/>
              <a:gd name="connsiteX53" fmla="*/ 6998 w 10000"/>
              <a:gd name="connsiteY53" fmla="*/ 6622 h 10003"/>
              <a:gd name="connsiteX54" fmla="*/ 7230 w 10000"/>
              <a:gd name="connsiteY54" fmla="*/ 6603 h 10003"/>
              <a:gd name="connsiteX55" fmla="*/ 7295 w 10000"/>
              <a:gd name="connsiteY55" fmla="*/ 6534 h 10003"/>
              <a:gd name="connsiteX56" fmla="*/ 7074 w 10000"/>
              <a:gd name="connsiteY56" fmla="*/ 6399 h 10003"/>
              <a:gd name="connsiteX57" fmla="*/ 6414 w 10000"/>
              <a:gd name="connsiteY57" fmla="*/ 6310 h 10003"/>
              <a:gd name="connsiteX58" fmla="*/ 6458 w 10000"/>
              <a:gd name="connsiteY58" fmla="*/ 6269 h 10003"/>
              <a:gd name="connsiteX59" fmla="*/ 6998 w 10000"/>
              <a:gd name="connsiteY59" fmla="*/ 6241 h 10003"/>
              <a:gd name="connsiteX60" fmla="*/ 7295 w 10000"/>
              <a:gd name="connsiteY60" fmla="*/ 6322 h 10003"/>
              <a:gd name="connsiteX61" fmla="*/ 7466 w 10000"/>
              <a:gd name="connsiteY61" fmla="*/ 6269 h 10003"/>
              <a:gd name="connsiteX62" fmla="*/ 7529 w 10000"/>
              <a:gd name="connsiteY62" fmla="*/ 6130 h 10003"/>
              <a:gd name="connsiteX63" fmla="*/ 7840 w 10000"/>
              <a:gd name="connsiteY63" fmla="*/ 6130 h 10003"/>
              <a:gd name="connsiteX64" fmla="*/ 8261 w 10000"/>
              <a:gd name="connsiteY64" fmla="*/ 5848 h 10003"/>
              <a:gd name="connsiteX65" fmla="*/ 8275 w 10000"/>
              <a:gd name="connsiteY65" fmla="*/ 5659 h 10003"/>
              <a:gd name="connsiteX66" fmla="*/ 8453 w 10000"/>
              <a:gd name="connsiteY66" fmla="*/ 5702 h 10003"/>
              <a:gd name="connsiteX67" fmla="*/ 8446 w 10000"/>
              <a:gd name="connsiteY67" fmla="*/ 5891 h 10003"/>
              <a:gd name="connsiteX68" fmla="*/ 8727 w 10000"/>
              <a:gd name="connsiteY68" fmla="*/ 5878 h 10003"/>
              <a:gd name="connsiteX69" fmla="*/ 8913 w 10000"/>
              <a:gd name="connsiteY69" fmla="*/ 5682 h 10003"/>
              <a:gd name="connsiteX70" fmla="*/ 9258 w 10000"/>
              <a:gd name="connsiteY70" fmla="*/ 5506 h 10003"/>
              <a:gd name="connsiteX71" fmla="*/ 9203 w 10000"/>
              <a:gd name="connsiteY71" fmla="*/ 5307 h 10003"/>
              <a:gd name="connsiteX72" fmla="*/ 9306 w 10000"/>
              <a:gd name="connsiteY72" fmla="*/ 5387 h 10003"/>
              <a:gd name="connsiteX73" fmla="*/ 9464 w 10000"/>
              <a:gd name="connsiteY73" fmla="*/ 5387 h 10003"/>
              <a:gd name="connsiteX74" fmla="*/ 9464 w 10000"/>
              <a:gd name="connsiteY74" fmla="*/ 5294 h 10003"/>
              <a:gd name="connsiteX75" fmla="*/ 9611 w 10000"/>
              <a:gd name="connsiteY75" fmla="*/ 5226 h 10003"/>
              <a:gd name="connsiteX76" fmla="*/ 9592 w 10000"/>
              <a:gd name="connsiteY76" fmla="*/ 5153 h 10003"/>
              <a:gd name="connsiteX77" fmla="*/ 8350 w 10000"/>
              <a:gd name="connsiteY77" fmla="*/ 5296 h 10003"/>
              <a:gd name="connsiteX78" fmla="*/ 8058 w 10000"/>
              <a:gd name="connsiteY78" fmla="*/ 5256 h 10003"/>
              <a:gd name="connsiteX79" fmla="*/ 7942 w 10000"/>
              <a:gd name="connsiteY79" fmla="*/ 5307 h 10003"/>
              <a:gd name="connsiteX80" fmla="*/ 7903 w 10000"/>
              <a:gd name="connsiteY80" fmla="*/ 5206 h 10003"/>
              <a:gd name="connsiteX81" fmla="*/ 7765 w 10000"/>
              <a:gd name="connsiteY81" fmla="*/ 5118 h 10003"/>
              <a:gd name="connsiteX82" fmla="*/ 7213 w 10000"/>
              <a:gd name="connsiteY82" fmla="*/ 4935 h 10003"/>
              <a:gd name="connsiteX83" fmla="*/ 6887 w 10000"/>
              <a:gd name="connsiteY83" fmla="*/ 4966 h 10003"/>
              <a:gd name="connsiteX84" fmla="*/ 6757 w 10000"/>
              <a:gd name="connsiteY84" fmla="*/ 4914 h 10003"/>
              <a:gd name="connsiteX85" fmla="*/ 6894 w 10000"/>
              <a:gd name="connsiteY85" fmla="*/ 4870 h 10003"/>
              <a:gd name="connsiteX86" fmla="*/ 6998 w 10000"/>
              <a:gd name="connsiteY86" fmla="*/ 4774 h 10003"/>
              <a:gd name="connsiteX87" fmla="*/ 7152 w 10000"/>
              <a:gd name="connsiteY87" fmla="*/ 4804 h 10003"/>
              <a:gd name="connsiteX88" fmla="*/ 7335 w 10000"/>
              <a:gd name="connsiteY88" fmla="*/ 4780 h 10003"/>
              <a:gd name="connsiteX89" fmla="*/ 7611 w 10000"/>
              <a:gd name="connsiteY89" fmla="*/ 4811 h 10003"/>
              <a:gd name="connsiteX90" fmla="*/ 7645 w 10000"/>
              <a:gd name="connsiteY90" fmla="*/ 4798 h 10003"/>
              <a:gd name="connsiteX91" fmla="*/ 7859 w 10000"/>
              <a:gd name="connsiteY91" fmla="*/ 4944 h 10003"/>
              <a:gd name="connsiteX92" fmla="*/ 8017 w 10000"/>
              <a:gd name="connsiteY92" fmla="*/ 4890 h 10003"/>
              <a:gd name="connsiteX93" fmla="*/ 8032 w 10000"/>
              <a:gd name="connsiteY93" fmla="*/ 4840 h 10003"/>
              <a:gd name="connsiteX94" fmla="*/ 8176 w 10000"/>
              <a:gd name="connsiteY94" fmla="*/ 4927 h 10003"/>
              <a:gd name="connsiteX95" fmla="*/ 8369 w 10000"/>
              <a:gd name="connsiteY95" fmla="*/ 4974 h 10003"/>
              <a:gd name="connsiteX96" fmla="*/ 8446 w 10000"/>
              <a:gd name="connsiteY96" fmla="*/ 4888 h 10003"/>
              <a:gd name="connsiteX97" fmla="*/ 8507 w 10000"/>
              <a:gd name="connsiteY97" fmla="*/ 4935 h 10003"/>
              <a:gd name="connsiteX98" fmla="*/ 8596 w 10000"/>
              <a:gd name="connsiteY98" fmla="*/ 5105 h 10003"/>
              <a:gd name="connsiteX99" fmla="*/ 8782 w 10000"/>
              <a:gd name="connsiteY99" fmla="*/ 5143 h 10003"/>
              <a:gd name="connsiteX100" fmla="*/ 9542 w 10000"/>
              <a:gd name="connsiteY100" fmla="*/ 4896 h 10003"/>
              <a:gd name="connsiteX101" fmla="*/ 9914 w 10000"/>
              <a:gd name="connsiteY101" fmla="*/ 4549 h 10003"/>
              <a:gd name="connsiteX102" fmla="*/ 10000 w 10000"/>
              <a:gd name="connsiteY102" fmla="*/ 4301 h 10003"/>
              <a:gd name="connsiteX103" fmla="*/ 9866 w 10000"/>
              <a:gd name="connsiteY103" fmla="*/ 4072 h 10003"/>
              <a:gd name="connsiteX104" fmla="*/ 9582 w 10000"/>
              <a:gd name="connsiteY104" fmla="*/ 3938 h 10003"/>
              <a:gd name="connsiteX105" fmla="*/ 9382 w 10000"/>
              <a:gd name="connsiteY105" fmla="*/ 3712 h 10003"/>
              <a:gd name="connsiteX106" fmla="*/ 9569 w 10000"/>
              <a:gd name="connsiteY106" fmla="*/ 3705 h 10003"/>
              <a:gd name="connsiteX107" fmla="*/ 9555 w 10000"/>
              <a:gd name="connsiteY107" fmla="*/ 3653 h 10003"/>
              <a:gd name="connsiteX108" fmla="*/ 9068 w 10000"/>
              <a:gd name="connsiteY108" fmla="*/ 3498 h 10003"/>
              <a:gd name="connsiteX109" fmla="*/ 9047 w 10000"/>
              <a:gd name="connsiteY109" fmla="*/ 3354 h 10003"/>
              <a:gd name="connsiteX110" fmla="*/ 8953 w 10000"/>
              <a:gd name="connsiteY110" fmla="*/ 3203 h 10003"/>
              <a:gd name="connsiteX111" fmla="*/ 8569 w 10000"/>
              <a:gd name="connsiteY111" fmla="*/ 3231 h 10003"/>
              <a:gd name="connsiteX112" fmla="*/ 8431 w 10000"/>
              <a:gd name="connsiteY112" fmla="*/ 3070 h 10003"/>
              <a:gd name="connsiteX113" fmla="*/ 8350 w 10000"/>
              <a:gd name="connsiteY113" fmla="*/ 3060 h 10003"/>
              <a:gd name="connsiteX114" fmla="*/ 8350 w 10000"/>
              <a:gd name="connsiteY114" fmla="*/ 3132 h 10003"/>
              <a:gd name="connsiteX115" fmla="*/ 8176 w 10000"/>
              <a:gd name="connsiteY115" fmla="*/ 3398 h 10003"/>
              <a:gd name="connsiteX116" fmla="*/ 7990 w 10000"/>
              <a:gd name="connsiteY116" fmla="*/ 3556 h 10003"/>
              <a:gd name="connsiteX117" fmla="*/ 7401 w 10000"/>
              <a:gd name="connsiteY117" fmla="*/ 3823 h 10003"/>
              <a:gd name="connsiteX118" fmla="*/ 7198 w 10000"/>
              <a:gd name="connsiteY118" fmla="*/ 3815 h 10003"/>
              <a:gd name="connsiteX119" fmla="*/ 6915 w 10000"/>
              <a:gd name="connsiteY119" fmla="*/ 3856 h 10003"/>
              <a:gd name="connsiteX120" fmla="*/ 6757 w 10000"/>
              <a:gd name="connsiteY120" fmla="*/ 3815 h 10003"/>
              <a:gd name="connsiteX121" fmla="*/ 6965 w 10000"/>
              <a:gd name="connsiteY121" fmla="*/ 3738 h 10003"/>
              <a:gd name="connsiteX122" fmla="*/ 7235 w 10000"/>
              <a:gd name="connsiteY122" fmla="*/ 3705 h 10003"/>
              <a:gd name="connsiteX123" fmla="*/ 7455 w 10000"/>
              <a:gd name="connsiteY123" fmla="*/ 3581 h 10003"/>
              <a:gd name="connsiteX124" fmla="*/ 7674 w 10000"/>
              <a:gd name="connsiteY124" fmla="*/ 3522 h 10003"/>
              <a:gd name="connsiteX125" fmla="*/ 8082 w 10000"/>
              <a:gd name="connsiteY125" fmla="*/ 3303 h 10003"/>
              <a:gd name="connsiteX126" fmla="*/ 8157 w 10000"/>
              <a:gd name="connsiteY126" fmla="*/ 3159 h 10003"/>
              <a:gd name="connsiteX127" fmla="*/ 8165 w 10000"/>
              <a:gd name="connsiteY127" fmla="*/ 2974 h 10003"/>
              <a:gd name="connsiteX128" fmla="*/ 7978 w 10000"/>
              <a:gd name="connsiteY128" fmla="*/ 2942 h 10003"/>
              <a:gd name="connsiteX129" fmla="*/ 8058 w 10000"/>
              <a:gd name="connsiteY129" fmla="*/ 2829 h 10003"/>
              <a:gd name="connsiteX130" fmla="*/ 8087 w 10000"/>
              <a:gd name="connsiteY130" fmla="*/ 2686 h 10003"/>
              <a:gd name="connsiteX131" fmla="*/ 8007 w 10000"/>
              <a:gd name="connsiteY131" fmla="*/ 2552 h 10003"/>
              <a:gd name="connsiteX132" fmla="*/ 7450 w 10000"/>
              <a:gd name="connsiteY132" fmla="*/ 2736 h 10003"/>
              <a:gd name="connsiteX133" fmla="*/ 6694 w 10000"/>
              <a:gd name="connsiteY133" fmla="*/ 2654 h 10003"/>
              <a:gd name="connsiteX134" fmla="*/ 6304 w 10000"/>
              <a:gd name="connsiteY134" fmla="*/ 2140 h 10003"/>
              <a:gd name="connsiteX135" fmla="*/ 5294 w 10000"/>
              <a:gd name="connsiteY135" fmla="*/ 2043 h 10003"/>
              <a:gd name="connsiteX136" fmla="*/ 4505 w 10000"/>
              <a:gd name="connsiteY136" fmla="*/ 1617 h 10003"/>
              <a:gd name="connsiteX137" fmla="*/ 3730 w 10000"/>
              <a:gd name="connsiteY137" fmla="*/ 1106 h 10003"/>
              <a:gd name="connsiteX138" fmla="*/ 3154 w 10000"/>
              <a:gd name="connsiteY138" fmla="*/ 163 h 10003"/>
              <a:gd name="connsiteX139" fmla="*/ 2375 w 10000"/>
              <a:gd name="connsiteY139" fmla="*/ 0 h 10003"/>
              <a:gd name="connsiteX140" fmla="*/ 2226 w 10000"/>
              <a:gd name="connsiteY140" fmla="*/ 886 h 10003"/>
              <a:gd name="connsiteX141" fmla="*/ 2375 w 10000"/>
              <a:gd name="connsiteY141" fmla="*/ 1111 h 10003"/>
              <a:gd name="connsiteX142" fmla="*/ 2791 w 10000"/>
              <a:gd name="connsiteY142" fmla="*/ 1360 h 10003"/>
              <a:gd name="connsiteX143" fmla="*/ 2808 w 10000"/>
              <a:gd name="connsiteY143" fmla="*/ 1660 h 10003"/>
              <a:gd name="connsiteX144" fmla="*/ 2632 w 10000"/>
              <a:gd name="connsiteY144" fmla="*/ 1913 h 10003"/>
              <a:gd name="connsiteX145" fmla="*/ 2375 w 10000"/>
              <a:gd name="connsiteY145" fmla="*/ 2065 h 10003"/>
              <a:gd name="connsiteX146" fmla="*/ 2039 w 10000"/>
              <a:gd name="connsiteY146" fmla="*/ 2125 h 10003"/>
              <a:gd name="connsiteX147" fmla="*/ 1950 w 10000"/>
              <a:gd name="connsiteY147" fmla="*/ 2215 h 10003"/>
              <a:gd name="connsiteX148" fmla="*/ 2148 w 10000"/>
              <a:gd name="connsiteY148" fmla="*/ 2423 h 10003"/>
              <a:gd name="connsiteX149" fmla="*/ 2261 w 10000"/>
              <a:gd name="connsiteY149" fmla="*/ 2918 h 10003"/>
              <a:gd name="connsiteX150" fmla="*/ 2005 w 10000"/>
              <a:gd name="connsiteY150" fmla="*/ 3343 h 10003"/>
              <a:gd name="connsiteX151" fmla="*/ 2094 w 10000"/>
              <a:gd name="connsiteY151" fmla="*/ 3471 h 10003"/>
              <a:gd name="connsiteX152" fmla="*/ 2012 w 10000"/>
              <a:gd name="connsiteY152" fmla="*/ 3691 h 10003"/>
              <a:gd name="connsiteX153" fmla="*/ 1850 w 10000"/>
              <a:gd name="connsiteY153" fmla="*/ 3845 h 10003"/>
              <a:gd name="connsiteX154" fmla="*/ 1199 w 10000"/>
              <a:gd name="connsiteY154" fmla="*/ 3963 h 10003"/>
              <a:gd name="connsiteX155" fmla="*/ 1158 w 10000"/>
              <a:gd name="connsiteY155" fmla="*/ 4167 h 10003"/>
              <a:gd name="connsiteX156" fmla="*/ 808 w 10000"/>
              <a:gd name="connsiteY156" fmla="*/ 4470 h 10003"/>
              <a:gd name="connsiteX157" fmla="*/ 854 w 10000"/>
              <a:gd name="connsiteY157" fmla="*/ 4911 h 10003"/>
              <a:gd name="connsiteX158" fmla="*/ 560 w 10000"/>
              <a:gd name="connsiteY158" fmla="*/ 5474 h 10003"/>
              <a:gd name="connsiteX159" fmla="*/ 358 w 10000"/>
              <a:gd name="connsiteY159" fmla="*/ 5539 h 10003"/>
              <a:gd name="connsiteX160" fmla="*/ 275 w 10000"/>
              <a:gd name="connsiteY160" fmla="*/ 5405 h 10003"/>
              <a:gd name="connsiteX161" fmla="*/ 174 w 10000"/>
              <a:gd name="connsiteY161" fmla="*/ 5608 h 10003"/>
              <a:gd name="connsiteX162" fmla="*/ 239 w 10000"/>
              <a:gd name="connsiteY162" fmla="*/ 5258 h 10003"/>
              <a:gd name="connsiteX163" fmla="*/ 197 w 10000"/>
              <a:gd name="connsiteY163" fmla="*/ 5193 h 10003"/>
              <a:gd name="connsiteX0" fmla="*/ 197 w 10000"/>
              <a:gd name="connsiteY0" fmla="*/ 5193 h 10003"/>
              <a:gd name="connsiteX1" fmla="*/ 0 w 10000"/>
              <a:gd name="connsiteY1" fmla="*/ 5375 h 10003"/>
              <a:gd name="connsiteX2" fmla="*/ 0 w 10000"/>
              <a:gd name="connsiteY2" fmla="*/ 6269 h 10003"/>
              <a:gd name="connsiteX3" fmla="*/ 109 w 10000"/>
              <a:gd name="connsiteY3" fmla="*/ 6293 h 10003"/>
              <a:gd name="connsiteX4" fmla="*/ 134 w 10000"/>
              <a:gd name="connsiteY4" fmla="*/ 6364 h 10003"/>
              <a:gd name="connsiteX5" fmla="*/ 130 w 10000"/>
              <a:gd name="connsiteY5" fmla="*/ 6485 h 10003"/>
              <a:gd name="connsiteX6" fmla="*/ 89 w 10000"/>
              <a:gd name="connsiteY6" fmla="*/ 6538 h 10003"/>
              <a:gd name="connsiteX7" fmla="*/ 255 w 10000"/>
              <a:gd name="connsiteY7" fmla="*/ 6433 h 10003"/>
              <a:gd name="connsiteX8" fmla="*/ 325 w 10000"/>
              <a:gd name="connsiteY8" fmla="*/ 6334 h 10003"/>
              <a:gd name="connsiteX9" fmla="*/ 413 w 10000"/>
              <a:gd name="connsiteY9" fmla="*/ 6402 h 10003"/>
              <a:gd name="connsiteX10" fmla="*/ 316 w 10000"/>
              <a:gd name="connsiteY10" fmla="*/ 6549 h 10003"/>
              <a:gd name="connsiteX11" fmla="*/ 419 w 10000"/>
              <a:gd name="connsiteY11" fmla="*/ 6553 h 10003"/>
              <a:gd name="connsiteX12" fmla="*/ 469 w 10000"/>
              <a:gd name="connsiteY12" fmla="*/ 6589 h 10003"/>
              <a:gd name="connsiteX13" fmla="*/ 337 w 10000"/>
              <a:gd name="connsiteY13" fmla="*/ 6637 h 10003"/>
              <a:gd name="connsiteX14" fmla="*/ 130 w 10000"/>
              <a:gd name="connsiteY14" fmla="*/ 6788 h 10003"/>
              <a:gd name="connsiteX15" fmla="*/ 497 w 10000"/>
              <a:gd name="connsiteY15" fmla="*/ 6906 h 10003"/>
              <a:gd name="connsiteX16" fmla="*/ 545 w 10000"/>
              <a:gd name="connsiteY16" fmla="*/ 7073 h 10003"/>
              <a:gd name="connsiteX17" fmla="*/ 419 w 10000"/>
              <a:gd name="connsiteY17" fmla="*/ 7320 h 10003"/>
              <a:gd name="connsiteX18" fmla="*/ 688 w 10000"/>
              <a:gd name="connsiteY18" fmla="*/ 7306 h 10003"/>
              <a:gd name="connsiteX19" fmla="*/ 709 w 10000"/>
              <a:gd name="connsiteY19" fmla="*/ 7489 h 10003"/>
              <a:gd name="connsiteX20" fmla="*/ 530 w 10000"/>
              <a:gd name="connsiteY20" fmla="*/ 7621 h 10003"/>
              <a:gd name="connsiteX21" fmla="*/ 560 w 10000"/>
              <a:gd name="connsiteY21" fmla="*/ 7862 h 10003"/>
              <a:gd name="connsiteX22" fmla="*/ 489 w 10000"/>
              <a:gd name="connsiteY22" fmla="*/ 8056 h 10003"/>
              <a:gd name="connsiteX23" fmla="*/ 703 w 10000"/>
              <a:gd name="connsiteY23" fmla="*/ 8074 h 10003"/>
              <a:gd name="connsiteX24" fmla="*/ 909 w 10000"/>
              <a:gd name="connsiteY24" fmla="*/ 8807 h 10003"/>
              <a:gd name="connsiteX25" fmla="*/ 1150 w 10000"/>
              <a:gd name="connsiteY25" fmla="*/ 8989 h 10003"/>
              <a:gd name="connsiteX26" fmla="*/ 1255 w 10000"/>
              <a:gd name="connsiteY26" fmla="*/ 9187 h 10003"/>
              <a:gd name="connsiteX27" fmla="*/ 1514 w 10000"/>
              <a:gd name="connsiteY27" fmla="*/ 9329 h 10003"/>
              <a:gd name="connsiteX28" fmla="*/ 1684 w 10000"/>
              <a:gd name="connsiteY28" fmla="*/ 9513 h 10003"/>
              <a:gd name="connsiteX29" fmla="*/ 1661 w 10000"/>
              <a:gd name="connsiteY29" fmla="*/ 9647 h 10003"/>
              <a:gd name="connsiteX30" fmla="*/ 1316 w 10000"/>
              <a:gd name="connsiteY30" fmla="*/ 9663 h 10003"/>
              <a:gd name="connsiteX31" fmla="*/ 1397 w 10000"/>
              <a:gd name="connsiteY31" fmla="*/ 10000 h 10003"/>
              <a:gd name="connsiteX32" fmla="*/ 6419 w 10000"/>
              <a:gd name="connsiteY32" fmla="*/ 9402 h 10003"/>
              <a:gd name="connsiteX33" fmla="*/ 6586 w 10000"/>
              <a:gd name="connsiteY33" fmla="*/ 8620 h 10003"/>
              <a:gd name="connsiteX34" fmla="*/ 6855 w 10000"/>
              <a:gd name="connsiteY34" fmla="*/ 8274 h 10003"/>
              <a:gd name="connsiteX35" fmla="*/ 6855 w 10000"/>
              <a:gd name="connsiteY35" fmla="*/ 8089 h 10003"/>
              <a:gd name="connsiteX36" fmla="*/ 6757 w 10000"/>
              <a:gd name="connsiteY36" fmla="*/ 7989 h 10003"/>
              <a:gd name="connsiteX37" fmla="*/ 6915 w 10000"/>
              <a:gd name="connsiteY37" fmla="*/ 7822 h 10003"/>
              <a:gd name="connsiteX38" fmla="*/ 6887 w 10000"/>
              <a:gd name="connsiteY38" fmla="*/ 7687 h 10003"/>
              <a:gd name="connsiteX39" fmla="*/ 6779 w 10000"/>
              <a:gd name="connsiteY39" fmla="*/ 7572 h 10003"/>
              <a:gd name="connsiteX40" fmla="*/ 6757 w 10000"/>
              <a:gd name="connsiteY40" fmla="*/ 7481 h 10003"/>
              <a:gd name="connsiteX41" fmla="*/ 6785 w 10000"/>
              <a:gd name="connsiteY41" fmla="*/ 7415 h 10003"/>
              <a:gd name="connsiteX42" fmla="*/ 6931 w 10000"/>
              <a:gd name="connsiteY42" fmla="*/ 7468 h 10003"/>
              <a:gd name="connsiteX43" fmla="*/ 7045 w 10000"/>
              <a:gd name="connsiteY43" fmla="*/ 7465 h 10003"/>
              <a:gd name="connsiteX44" fmla="*/ 6983 w 10000"/>
              <a:gd name="connsiteY44" fmla="*/ 7355 h 10003"/>
              <a:gd name="connsiteX45" fmla="*/ 7003 w 10000"/>
              <a:gd name="connsiteY45" fmla="*/ 7289 h 10003"/>
              <a:gd name="connsiteX46" fmla="*/ 7089 w 10000"/>
              <a:gd name="connsiteY46" fmla="*/ 7196 h 10003"/>
              <a:gd name="connsiteX47" fmla="*/ 7074 w 10000"/>
              <a:gd name="connsiteY47" fmla="*/ 7118 h 10003"/>
              <a:gd name="connsiteX48" fmla="*/ 7152 w 10000"/>
              <a:gd name="connsiteY48" fmla="*/ 6859 h 10003"/>
              <a:gd name="connsiteX49" fmla="*/ 7130 w 10000"/>
              <a:gd name="connsiteY49" fmla="*/ 6778 h 10003"/>
              <a:gd name="connsiteX50" fmla="*/ 6729 w 10000"/>
              <a:gd name="connsiteY50" fmla="*/ 6579 h 10003"/>
              <a:gd name="connsiteX51" fmla="*/ 6785 w 10000"/>
              <a:gd name="connsiteY51" fmla="*/ 6572 h 10003"/>
              <a:gd name="connsiteX52" fmla="*/ 6998 w 10000"/>
              <a:gd name="connsiteY52" fmla="*/ 6622 h 10003"/>
              <a:gd name="connsiteX53" fmla="*/ 7230 w 10000"/>
              <a:gd name="connsiteY53" fmla="*/ 6603 h 10003"/>
              <a:gd name="connsiteX54" fmla="*/ 7295 w 10000"/>
              <a:gd name="connsiteY54" fmla="*/ 6534 h 10003"/>
              <a:gd name="connsiteX55" fmla="*/ 7074 w 10000"/>
              <a:gd name="connsiteY55" fmla="*/ 6399 h 10003"/>
              <a:gd name="connsiteX56" fmla="*/ 6414 w 10000"/>
              <a:gd name="connsiteY56" fmla="*/ 6310 h 10003"/>
              <a:gd name="connsiteX57" fmla="*/ 6458 w 10000"/>
              <a:gd name="connsiteY57" fmla="*/ 6269 h 10003"/>
              <a:gd name="connsiteX58" fmla="*/ 6998 w 10000"/>
              <a:gd name="connsiteY58" fmla="*/ 6241 h 10003"/>
              <a:gd name="connsiteX59" fmla="*/ 7295 w 10000"/>
              <a:gd name="connsiteY59" fmla="*/ 6322 h 10003"/>
              <a:gd name="connsiteX60" fmla="*/ 7466 w 10000"/>
              <a:gd name="connsiteY60" fmla="*/ 6269 h 10003"/>
              <a:gd name="connsiteX61" fmla="*/ 7529 w 10000"/>
              <a:gd name="connsiteY61" fmla="*/ 6130 h 10003"/>
              <a:gd name="connsiteX62" fmla="*/ 7840 w 10000"/>
              <a:gd name="connsiteY62" fmla="*/ 6130 h 10003"/>
              <a:gd name="connsiteX63" fmla="*/ 8261 w 10000"/>
              <a:gd name="connsiteY63" fmla="*/ 5848 h 10003"/>
              <a:gd name="connsiteX64" fmla="*/ 8275 w 10000"/>
              <a:gd name="connsiteY64" fmla="*/ 5659 h 10003"/>
              <a:gd name="connsiteX65" fmla="*/ 8453 w 10000"/>
              <a:gd name="connsiteY65" fmla="*/ 5702 h 10003"/>
              <a:gd name="connsiteX66" fmla="*/ 8446 w 10000"/>
              <a:gd name="connsiteY66" fmla="*/ 5891 h 10003"/>
              <a:gd name="connsiteX67" fmla="*/ 8727 w 10000"/>
              <a:gd name="connsiteY67" fmla="*/ 5878 h 10003"/>
              <a:gd name="connsiteX68" fmla="*/ 8913 w 10000"/>
              <a:gd name="connsiteY68" fmla="*/ 5682 h 10003"/>
              <a:gd name="connsiteX69" fmla="*/ 9258 w 10000"/>
              <a:gd name="connsiteY69" fmla="*/ 5506 h 10003"/>
              <a:gd name="connsiteX70" fmla="*/ 9203 w 10000"/>
              <a:gd name="connsiteY70" fmla="*/ 5307 h 10003"/>
              <a:gd name="connsiteX71" fmla="*/ 9306 w 10000"/>
              <a:gd name="connsiteY71" fmla="*/ 5387 h 10003"/>
              <a:gd name="connsiteX72" fmla="*/ 9464 w 10000"/>
              <a:gd name="connsiteY72" fmla="*/ 5387 h 10003"/>
              <a:gd name="connsiteX73" fmla="*/ 9464 w 10000"/>
              <a:gd name="connsiteY73" fmla="*/ 5294 h 10003"/>
              <a:gd name="connsiteX74" fmla="*/ 9611 w 10000"/>
              <a:gd name="connsiteY74" fmla="*/ 5226 h 10003"/>
              <a:gd name="connsiteX75" fmla="*/ 9592 w 10000"/>
              <a:gd name="connsiteY75" fmla="*/ 5153 h 10003"/>
              <a:gd name="connsiteX76" fmla="*/ 8350 w 10000"/>
              <a:gd name="connsiteY76" fmla="*/ 5296 h 10003"/>
              <a:gd name="connsiteX77" fmla="*/ 8058 w 10000"/>
              <a:gd name="connsiteY77" fmla="*/ 5256 h 10003"/>
              <a:gd name="connsiteX78" fmla="*/ 7942 w 10000"/>
              <a:gd name="connsiteY78" fmla="*/ 5307 h 10003"/>
              <a:gd name="connsiteX79" fmla="*/ 7903 w 10000"/>
              <a:gd name="connsiteY79" fmla="*/ 5206 h 10003"/>
              <a:gd name="connsiteX80" fmla="*/ 7765 w 10000"/>
              <a:gd name="connsiteY80" fmla="*/ 5118 h 10003"/>
              <a:gd name="connsiteX81" fmla="*/ 7213 w 10000"/>
              <a:gd name="connsiteY81" fmla="*/ 4935 h 10003"/>
              <a:gd name="connsiteX82" fmla="*/ 6887 w 10000"/>
              <a:gd name="connsiteY82" fmla="*/ 4966 h 10003"/>
              <a:gd name="connsiteX83" fmla="*/ 6757 w 10000"/>
              <a:gd name="connsiteY83" fmla="*/ 4914 h 10003"/>
              <a:gd name="connsiteX84" fmla="*/ 6894 w 10000"/>
              <a:gd name="connsiteY84" fmla="*/ 4870 h 10003"/>
              <a:gd name="connsiteX85" fmla="*/ 6998 w 10000"/>
              <a:gd name="connsiteY85" fmla="*/ 4774 h 10003"/>
              <a:gd name="connsiteX86" fmla="*/ 7152 w 10000"/>
              <a:gd name="connsiteY86" fmla="*/ 4804 h 10003"/>
              <a:gd name="connsiteX87" fmla="*/ 7335 w 10000"/>
              <a:gd name="connsiteY87" fmla="*/ 4780 h 10003"/>
              <a:gd name="connsiteX88" fmla="*/ 7611 w 10000"/>
              <a:gd name="connsiteY88" fmla="*/ 4811 h 10003"/>
              <a:gd name="connsiteX89" fmla="*/ 7645 w 10000"/>
              <a:gd name="connsiteY89" fmla="*/ 4798 h 10003"/>
              <a:gd name="connsiteX90" fmla="*/ 7859 w 10000"/>
              <a:gd name="connsiteY90" fmla="*/ 4944 h 10003"/>
              <a:gd name="connsiteX91" fmla="*/ 8017 w 10000"/>
              <a:gd name="connsiteY91" fmla="*/ 4890 h 10003"/>
              <a:gd name="connsiteX92" fmla="*/ 8032 w 10000"/>
              <a:gd name="connsiteY92" fmla="*/ 4840 h 10003"/>
              <a:gd name="connsiteX93" fmla="*/ 8176 w 10000"/>
              <a:gd name="connsiteY93" fmla="*/ 4927 h 10003"/>
              <a:gd name="connsiteX94" fmla="*/ 8369 w 10000"/>
              <a:gd name="connsiteY94" fmla="*/ 4974 h 10003"/>
              <a:gd name="connsiteX95" fmla="*/ 8446 w 10000"/>
              <a:gd name="connsiteY95" fmla="*/ 4888 h 10003"/>
              <a:gd name="connsiteX96" fmla="*/ 8507 w 10000"/>
              <a:gd name="connsiteY96" fmla="*/ 4935 h 10003"/>
              <a:gd name="connsiteX97" fmla="*/ 8596 w 10000"/>
              <a:gd name="connsiteY97" fmla="*/ 5105 h 10003"/>
              <a:gd name="connsiteX98" fmla="*/ 8782 w 10000"/>
              <a:gd name="connsiteY98" fmla="*/ 5143 h 10003"/>
              <a:gd name="connsiteX99" fmla="*/ 9542 w 10000"/>
              <a:gd name="connsiteY99" fmla="*/ 4896 h 10003"/>
              <a:gd name="connsiteX100" fmla="*/ 9914 w 10000"/>
              <a:gd name="connsiteY100" fmla="*/ 4549 h 10003"/>
              <a:gd name="connsiteX101" fmla="*/ 10000 w 10000"/>
              <a:gd name="connsiteY101" fmla="*/ 4301 h 10003"/>
              <a:gd name="connsiteX102" fmla="*/ 9866 w 10000"/>
              <a:gd name="connsiteY102" fmla="*/ 4072 h 10003"/>
              <a:gd name="connsiteX103" fmla="*/ 9582 w 10000"/>
              <a:gd name="connsiteY103" fmla="*/ 3938 h 10003"/>
              <a:gd name="connsiteX104" fmla="*/ 9382 w 10000"/>
              <a:gd name="connsiteY104" fmla="*/ 3712 h 10003"/>
              <a:gd name="connsiteX105" fmla="*/ 9569 w 10000"/>
              <a:gd name="connsiteY105" fmla="*/ 3705 h 10003"/>
              <a:gd name="connsiteX106" fmla="*/ 9555 w 10000"/>
              <a:gd name="connsiteY106" fmla="*/ 3653 h 10003"/>
              <a:gd name="connsiteX107" fmla="*/ 9068 w 10000"/>
              <a:gd name="connsiteY107" fmla="*/ 3498 h 10003"/>
              <a:gd name="connsiteX108" fmla="*/ 9047 w 10000"/>
              <a:gd name="connsiteY108" fmla="*/ 3354 h 10003"/>
              <a:gd name="connsiteX109" fmla="*/ 8953 w 10000"/>
              <a:gd name="connsiteY109" fmla="*/ 3203 h 10003"/>
              <a:gd name="connsiteX110" fmla="*/ 8569 w 10000"/>
              <a:gd name="connsiteY110" fmla="*/ 3231 h 10003"/>
              <a:gd name="connsiteX111" fmla="*/ 8431 w 10000"/>
              <a:gd name="connsiteY111" fmla="*/ 3070 h 10003"/>
              <a:gd name="connsiteX112" fmla="*/ 8350 w 10000"/>
              <a:gd name="connsiteY112" fmla="*/ 3060 h 10003"/>
              <a:gd name="connsiteX113" fmla="*/ 8350 w 10000"/>
              <a:gd name="connsiteY113" fmla="*/ 3132 h 10003"/>
              <a:gd name="connsiteX114" fmla="*/ 8176 w 10000"/>
              <a:gd name="connsiteY114" fmla="*/ 3398 h 10003"/>
              <a:gd name="connsiteX115" fmla="*/ 7990 w 10000"/>
              <a:gd name="connsiteY115" fmla="*/ 3556 h 10003"/>
              <a:gd name="connsiteX116" fmla="*/ 7401 w 10000"/>
              <a:gd name="connsiteY116" fmla="*/ 3823 h 10003"/>
              <a:gd name="connsiteX117" fmla="*/ 7198 w 10000"/>
              <a:gd name="connsiteY117" fmla="*/ 3815 h 10003"/>
              <a:gd name="connsiteX118" fmla="*/ 6915 w 10000"/>
              <a:gd name="connsiteY118" fmla="*/ 3856 h 10003"/>
              <a:gd name="connsiteX119" fmla="*/ 6757 w 10000"/>
              <a:gd name="connsiteY119" fmla="*/ 3815 h 10003"/>
              <a:gd name="connsiteX120" fmla="*/ 6965 w 10000"/>
              <a:gd name="connsiteY120" fmla="*/ 3738 h 10003"/>
              <a:gd name="connsiteX121" fmla="*/ 7235 w 10000"/>
              <a:gd name="connsiteY121" fmla="*/ 3705 h 10003"/>
              <a:gd name="connsiteX122" fmla="*/ 7455 w 10000"/>
              <a:gd name="connsiteY122" fmla="*/ 3581 h 10003"/>
              <a:gd name="connsiteX123" fmla="*/ 7674 w 10000"/>
              <a:gd name="connsiteY123" fmla="*/ 3522 h 10003"/>
              <a:gd name="connsiteX124" fmla="*/ 8082 w 10000"/>
              <a:gd name="connsiteY124" fmla="*/ 3303 h 10003"/>
              <a:gd name="connsiteX125" fmla="*/ 8157 w 10000"/>
              <a:gd name="connsiteY125" fmla="*/ 3159 h 10003"/>
              <a:gd name="connsiteX126" fmla="*/ 8165 w 10000"/>
              <a:gd name="connsiteY126" fmla="*/ 2974 h 10003"/>
              <a:gd name="connsiteX127" fmla="*/ 7978 w 10000"/>
              <a:gd name="connsiteY127" fmla="*/ 2942 h 10003"/>
              <a:gd name="connsiteX128" fmla="*/ 8058 w 10000"/>
              <a:gd name="connsiteY128" fmla="*/ 2829 h 10003"/>
              <a:gd name="connsiteX129" fmla="*/ 8087 w 10000"/>
              <a:gd name="connsiteY129" fmla="*/ 2686 h 10003"/>
              <a:gd name="connsiteX130" fmla="*/ 8007 w 10000"/>
              <a:gd name="connsiteY130" fmla="*/ 2552 h 10003"/>
              <a:gd name="connsiteX131" fmla="*/ 7450 w 10000"/>
              <a:gd name="connsiteY131" fmla="*/ 2736 h 10003"/>
              <a:gd name="connsiteX132" fmla="*/ 6694 w 10000"/>
              <a:gd name="connsiteY132" fmla="*/ 2654 h 10003"/>
              <a:gd name="connsiteX133" fmla="*/ 6304 w 10000"/>
              <a:gd name="connsiteY133" fmla="*/ 2140 h 10003"/>
              <a:gd name="connsiteX134" fmla="*/ 5294 w 10000"/>
              <a:gd name="connsiteY134" fmla="*/ 2043 h 10003"/>
              <a:gd name="connsiteX135" fmla="*/ 4505 w 10000"/>
              <a:gd name="connsiteY135" fmla="*/ 1617 h 10003"/>
              <a:gd name="connsiteX136" fmla="*/ 3730 w 10000"/>
              <a:gd name="connsiteY136" fmla="*/ 1106 h 10003"/>
              <a:gd name="connsiteX137" fmla="*/ 3154 w 10000"/>
              <a:gd name="connsiteY137" fmla="*/ 163 h 10003"/>
              <a:gd name="connsiteX138" fmla="*/ 2375 w 10000"/>
              <a:gd name="connsiteY138" fmla="*/ 0 h 10003"/>
              <a:gd name="connsiteX139" fmla="*/ 2226 w 10000"/>
              <a:gd name="connsiteY139" fmla="*/ 886 h 10003"/>
              <a:gd name="connsiteX140" fmla="*/ 2375 w 10000"/>
              <a:gd name="connsiteY140" fmla="*/ 1111 h 10003"/>
              <a:gd name="connsiteX141" fmla="*/ 2791 w 10000"/>
              <a:gd name="connsiteY141" fmla="*/ 1360 h 10003"/>
              <a:gd name="connsiteX142" fmla="*/ 2808 w 10000"/>
              <a:gd name="connsiteY142" fmla="*/ 1660 h 10003"/>
              <a:gd name="connsiteX143" fmla="*/ 2632 w 10000"/>
              <a:gd name="connsiteY143" fmla="*/ 1913 h 10003"/>
              <a:gd name="connsiteX144" fmla="*/ 2375 w 10000"/>
              <a:gd name="connsiteY144" fmla="*/ 2065 h 10003"/>
              <a:gd name="connsiteX145" fmla="*/ 2039 w 10000"/>
              <a:gd name="connsiteY145" fmla="*/ 2125 h 10003"/>
              <a:gd name="connsiteX146" fmla="*/ 1950 w 10000"/>
              <a:gd name="connsiteY146" fmla="*/ 2215 h 10003"/>
              <a:gd name="connsiteX147" fmla="*/ 2148 w 10000"/>
              <a:gd name="connsiteY147" fmla="*/ 2423 h 10003"/>
              <a:gd name="connsiteX148" fmla="*/ 2261 w 10000"/>
              <a:gd name="connsiteY148" fmla="*/ 2918 h 10003"/>
              <a:gd name="connsiteX149" fmla="*/ 2005 w 10000"/>
              <a:gd name="connsiteY149" fmla="*/ 3343 h 10003"/>
              <a:gd name="connsiteX150" fmla="*/ 2094 w 10000"/>
              <a:gd name="connsiteY150" fmla="*/ 3471 h 10003"/>
              <a:gd name="connsiteX151" fmla="*/ 2012 w 10000"/>
              <a:gd name="connsiteY151" fmla="*/ 3691 h 10003"/>
              <a:gd name="connsiteX152" fmla="*/ 1850 w 10000"/>
              <a:gd name="connsiteY152" fmla="*/ 3845 h 10003"/>
              <a:gd name="connsiteX153" fmla="*/ 1199 w 10000"/>
              <a:gd name="connsiteY153" fmla="*/ 3963 h 10003"/>
              <a:gd name="connsiteX154" fmla="*/ 1158 w 10000"/>
              <a:gd name="connsiteY154" fmla="*/ 4167 h 10003"/>
              <a:gd name="connsiteX155" fmla="*/ 808 w 10000"/>
              <a:gd name="connsiteY155" fmla="*/ 4470 h 10003"/>
              <a:gd name="connsiteX156" fmla="*/ 854 w 10000"/>
              <a:gd name="connsiteY156" fmla="*/ 4911 h 10003"/>
              <a:gd name="connsiteX157" fmla="*/ 560 w 10000"/>
              <a:gd name="connsiteY157" fmla="*/ 5474 h 10003"/>
              <a:gd name="connsiteX158" fmla="*/ 358 w 10000"/>
              <a:gd name="connsiteY158" fmla="*/ 5539 h 10003"/>
              <a:gd name="connsiteX159" fmla="*/ 275 w 10000"/>
              <a:gd name="connsiteY159" fmla="*/ 5405 h 10003"/>
              <a:gd name="connsiteX160" fmla="*/ 174 w 10000"/>
              <a:gd name="connsiteY160" fmla="*/ 5608 h 10003"/>
              <a:gd name="connsiteX161" fmla="*/ 239 w 10000"/>
              <a:gd name="connsiteY161" fmla="*/ 5258 h 10003"/>
              <a:gd name="connsiteX162" fmla="*/ 197 w 10000"/>
              <a:gd name="connsiteY162" fmla="*/ 5193 h 10003"/>
              <a:gd name="connsiteX0" fmla="*/ 197 w 10000"/>
              <a:gd name="connsiteY0" fmla="*/ 5193 h 10003"/>
              <a:gd name="connsiteX1" fmla="*/ 0 w 10000"/>
              <a:gd name="connsiteY1" fmla="*/ 5375 h 10003"/>
              <a:gd name="connsiteX2" fmla="*/ 0 w 10000"/>
              <a:gd name="connsiteY2" fmla="*/ 6269 h 10003"/>
              <a:gd name="connsiteX3" fmla="*/ 109 w 10000"/>
              <a:gd name="connsiteY3" fmla="*/ 6293 h 10003"/>
              <a:gd name="connsiteX4" fmla="*/ 134 w 10000"/>
              <a:gd name="connsiteY4" fmla="*/ 6364 h 10003"/>
              <a:gd name="connsiteX5" fmla="*/ 130 w 10000"/>
              <a:gd name="connsiteY5" fmla="*/ 6485 h 10003"/>
              <a:gd name="connsiteX6" fmla="*/ 89 w 10000"/>
              <a:gd name="connsiteY6" fmla="*/ 6538 h 10003"/>
              <a:gd name="connsiteX7" fmla="*/ 255 w 10000"/>
              <a:gd name="connsiteY7" fmla="*/ 6433 h 10003"/>
              <a:gd name="connsiteX8" fmla="*/ 325 w 10000"/>
              <a:gd name="connsiteY8" fmla="*/ 6334 h 10003"/>
              <a:gd name="connsiteX9" fmla="*/ 413 w 10000"/>
              <a:gd name="connsiteY9" fmla="*/ 6402 h 10003"/>
              <a:gd name="connsiteX10" fmla="*/ 316 w 10000"/>
              <a:gd name="connsiteY10" fmla="*/ 6549 h 10003"/>
              <a:gd name="connsiteX11" fmla="*/ 419 w 10000"/>
              <a:gd name="connsiteY11" fmla="*/ 6553 h 10003"/>
              <a:gd name="connsiteX12" fmla="*/ 469 w 10000"/>
              <a:gd name="connsiteY12" fmla="*/ 6589 h 10003"/>
              <a:gd name="connsiteX13" fmla="*/ 337 w 10000"/>
              <a:gd name="connsiteY13" fmla="*/ 6637 h 10003"/>
              <a:gd name="connsiteX14" fmla="*/ 130 w 10000"/>
              <a:gd name="connsiteY14" fmla="*/ 6788 h 10003"/>
              <a:gd name="connsiteX15" fmla="*/ 497 w 10000"/>
              <a:gd name="connsiteY15" fmla="*/ 6906 h 10003"/>
              <a:gd name="connsiteX16" fmla="*/ 545 w 10000"/>
              <a:gd name="connsiteY16" fmla="*/ 7073 h 10003"/>
              <a:gd name="connsiteX17" fmla="*/ 419 w 10000"/>
              <a:gd name="connsiteY17" fmla="*/ 7320 h 10003"/>
              <a:gd name="connsiteX18" fmla="*/ 688 w 10000"/>
              <a:gd name="connsiteY18" fmla="*/ 7306 h 10003"/>
              <a:gd name="connsiteX19" fmla="*/ 709 w 10000"/>
              <a:gd name="connsiteY19" fmla="*/ 7489 h 10003"/>
              <a:gd name="connsiteX20" fmla="*/ 530 w 10000"/>
              <a:gd name="connsiteY20" fmla="*/ 7621 h 10003"/>
              <a:gd name="connsiteX21" fmla="*/ 560 w 10000"/>
              <a:gd name="connsiteY21" fmla="*/ 7862 h 10003"/>
              <a:gd name="connsiteX22" fmla="*/ 489 w 10000"/>
              <a:gd name="connsiteY22" fmla="*/ 8056 h 10003"/>
              <a:gd name="connsiteX23" fmla="*/ 703 w 10000"/>
              <a:gd name="connsiteY23" fmla="*/ 8074 h 10003"/>
              <a:gd name="connsiteX24" fmla="*/ 909 w 10000"/>
              <a:gd name="connsiteY24" fmla="*/ 8807 h 10003"/>
              <a:gd name="connsiteX25" fmla="*/ 1150 w 10000"/>
              <a:gd name="connsiteY25" fmla="*/ 8989 h 10003"/>
              <a:gd name="connsiteX26" fmla="*/ 1255 w 10000"/>
              <a:gd name="connsiteY26" fmla="*/ 9187 h 10003"/>
              <a:gd name="connsiteX27" fmla="*/ 1514 w 10000"/>
              <a:gd name="connsiteY27" fmla="*/ 9329 h 10003"/>
              <a:gd name="connsiteX28" fmla="*/ 1684 w 10000"/>
              <a:gd name="connsiteY28" fmla="*/ 9513 h 10003"/>
              <a:gd name="connsiteX29" fmla="*/ 1316 w 10000"/>
              <a:gd name="connsiteY29" fmla="*/ 9663 h 10003"/>
              <a:gd name="connsiteX30" fmla="*/ 1397 w 10000"/>
              <a:gd name="connsiteY30" fmla="*/ 10000 h 10003"/>
              <a:gd name="connsiteX31" fmla="*/ 6419 w 10000"/>
              <a:gd name="connsiteY31" fmla="*/ 9402 h 10003"/>
              <a:gd name="connsiteX32" fmla="*/ 6586 w 10000"/>
              <a:gd name="connsiteY32" fmla="*/ 8620 h 10003"/>
              <a:gd name="connsiteX33" fmla="*/ 6855 w 10000"/>
              <a:gd name="connsiteY33" fmla="*/ 8274 h 10003"/>
              <a:gd name="connsiteX34" fmla="*/ 6855 w 10000"/>
              <a:gd name="connsiteY34" fmla="*/ 8089 h 10003"/>
              <a:gd name="connsiteX35" fmla="*/ 6757 w 10000"/>
              <a:gd name="connsiteY35" fmla="*/ 7989 h 10003"/>
              <a:gd name="connsiteX36" fmla="*/ 6915 w 10000"/>
              <a:gd name="connsiteY36" fmla="*/ 7822 h 10003"/>
              <a:gd name="connsiteX37" fmla="*/ 6887 w 10000"/>
              <a:gd name="connsiteY37" fmla="*/ 7687 h 10003"/>
              <a:gd name="connsiteX38" fmla="*/ 6779 w 10000"/>
              <a:gd name="connsiteY38" fmla="*/ 7572 h 10003"/>
              <a:gd name="connsiteX39" fmla="*/ 6757 w 10000"/>
              <a:gd name="connsiteY39" fmla="*/ 7481 h 10003"/>
              <a:gd name="connsiteX40" fmla="*/ 6785 w 10000"/>
              <a:gd name="connsiteY40" fmla="*/ 7415 h 10003"/>
              <a:gd name="connsiteX41" fmla="*/ 6931 w 10000"/>
              <a:gd name="connsiteY41" fmla="*/ 7468 h 10003"/>
              <a:gd name="connsiteX42" fmla="*/ 7045 w 10000"/>
              <a:gd name="connsiteY42" fmla="*/ 7465 h 10003"/>
              <a:gd name="connsiteX43" fmla="*/ 6983 w 10000"/>
              <a:gd name="connsiteY43" fmla="*/ 7355 h 10003"/>
              <a:gd name="connsiteX44" fmla="*/ 7003 w 10000"/>
              <a:gd name="connsiteY44" fmla="*/ 7289 h 10003"/>
              <a:gd name="connsiteX45" fmla="*/ 7089 w 10000"/>
              <a:gd name="connsiteY45" fmla="*/ 7196 h 10003"/>
              <a:gd name="connsiteX46" fmla="*/ 7074 w 10000"/>
              <a:gd name="connsiteY46" fmla="*/ 7118 h 10003"/>
              <a:gd name="connsiteX47" fmla="*/ 7152 w 10000"/>
              <a:gd name="connsiteY47" fmla="*/ 6859 h 10003"/>
              <a:gd name="connsiteX48" fmla="*/ 7130 w 10000"/>
              <a:gd name="connsiteY48" fmla="*/ 6778 h 10003"/>
              <a:gd name="connsiteX49" fmla="*/ 6729 w 10000"/>
              <a:gd name="connsiteY49" fmla="*/ 6579 h 10003"/>
              <a:gd name="connsiteX50" fmla="*/ 6785 w 10000"/>
              <a:gd name="connsiteY50" fmla="*/ 6572 h 10003"/>
              <a:gd name="connsiteX51" fmla="*/ 6998 w 10000"/>
              <a:gd name="connsiteY51" fmla="*/ 6622 h 10003"/>
              <a:gd name="connsiteX52" fmla="*/ 7230 w 10000"/>
              <a:gd name="connsiteY52" fmla="*/ 6603 h 10003"/>
              <a:gd name="connsiteX53" fmla="*/ 7295 w 10000"/>
              <a:gd name="connsiteY53" fmla="*/ 6534 h 10003"/>
              <a:gd name="connsiteX54" fmla="*/ 7074 w 10000"/>
              <a:gd name="connsiteY54" fmla="*/ 6399 h 10003"/>
              <a:gd name="connsiteX55" fmla="*/ 6414 w 10000"/>
              <a:gd name="connsiteY55" fmla="*/ 6310 h 10003"/>
              <a:gd name="connsiteX56" fmla="*/ 6458 w 10000"/>
              <a:gd name="connsiteY56" fmla="*/ 6269 h 10003"/>
              <a:gd name="connsiteX57" fmla="*/ 6998 w 10000"/>
              <a:gd name="connsiteY57" fmla="*/ 6241 h 10003"/>
              <a:gd name="connsiteX58" fmla="*/ 7295 w 10000"/>
              <a:gd name="connsiteY58" fmla="*/ 6322 h 10003"/>
              <a:gd name="connsiteX59" fmla="*/ 7466 w 10000"/>
              <a:gd name="connsiteY59" fmla="*/ 6269 h 10003"/>
              <a:gd name="connsiteX60" fmla="*/ 7529 w 10000"/>
              <a:gd name="connsiteY60" fmla="*/ 6130 h 10003"/>
              <a:gd name="connsiteX61" fmla="*/ 7840 w 10000"/>
              <a:gd name="connsiteY61" fmla="*/ 6130 h 10003"/>
              <a:gd name="connsiteX62" fmla="*/ 8261 w 10000"/>
              <a:gd name="connsiteY62" fmla="*/ 5848 h 10003"/>
              <a:gd name="connsiteX63" fmla="*/ 8275 w 10000"/>
              <a:gd name="connsiteY63" fmla="*/ 5659 h 10003"/>
              <a:gd name="connsiteX64" fmla="*/ 8453 w 10000"/>
              <a:gd name="connsiteY64" fmla="*/ 5702 h 10003"/>
              <a:gd name="connsiteX65" fmla="*/ 8446 w 10000"/>
              <a:gd name="connsiteY65" fmla="*/ 5891 h 10003"/>
              <a:gd name="connsiteX66" fmla="*/ 8727 w 10000"/>
              <a:gd name="connsiteY66" fmla="*/ 5878 h 10003"/>
              <a:gd name="connsiteX67" fmla="*/ 8913 w 10000"/>
              <a:gd name="connsiteY67" fmla="*/ 5682 h 10003"/>
              <a:gd name="connsiteX68" fmla="*/ 9258 w 10000"/>
              <a:gd name="connsiteY68" fmla="*/ 5506 h 10003"/>
              <a:gd name="connsiteX69" fmla="*/ 9203 w 10000"/>
              <a:gd name="connsiteY69" fmla="*/ 5307 h 10003"/>
              <a:gd name="connsiteX70" fmla="*/ 9306 w 10000"/>
              <a:gd name="connsiteY70" fmla="*/ 5387 h 10003"/>
              <a:gd name="connsiteX71" fmla="*/ 9464 w 10000"/>
              <a:gd name="connsiteY71" fmla="*/ 5387 h 10003"/>
              <a:gd name="connsiteX72" fmla="*/ 9464 w 10000"/>
              <a:gd name="connsiteY72" fmla="*/ 5294 h 10003"/>
              <a:gd name="connsiteX73" fmla="*/ 9611 w 10000"/>
              <a:gd name="connsiteY73" fmla="*/ 5226 h 10003"/>
              <a:gd name="connsiteX74" fmla="*/ 9592 w 10000"/>
              <a:gd name="connsiteY74" fmla="*/ 5153 h 10003"/>
              <a:gd name="connsiteX75" fmla="*/ 8350 w 10000"/>
              <a:gd name="connsiteY75" fmla="*/ 5296 h 10003"/>
              <a:gd name="connsiteX76" fmla="*/ 8058 w 10000"/>
              <a:gd name="connsiteY76" fmla="*/ 5256 h 10003"/>
              <a:gd name="connsiteX77" fmla="*/ 7942 w 10000"/>
              <a:gd name="connsiteY77" fmla="*/ 5307 h 10003"/>
              <a:gd name="connsiteX78" fmla="*/ 7903 w 10000"/>
              <a:gd name="connsiteY78" fmla="*/ 5206 h 10003"/>
              <a:gd name="connsiteX79" fmla="*/ 7765 w 10000"/>
              <a:gd name="connsiteY79" fmla="*/ 5118 h 10003"/>
              <a:gd name="connsiteX80" fmla="*/ 7213 w 10000"/>
              <a:gd name="connsiteY80" fmla="*/ 4935 h 10003"/>
              <a:gd name="connsiteX81" fmla="*/ 6887 w 10000"/>
              <a:gd name="connsiteY81" fmla="*/ 4966 h 10003"/>
              <a:gd name="connsiteX82" fmla="*/ 6757 w 10000"/>
              <a:gd name="connsiteY82" fmla="*/ 4914 h 10003"/>
              <a:gd name="connsiteX83" fmla="*/ 6894 w 10000"/>
              <a:gd name="connsiteY83" fmla="*/ 4870 h 10003"/>
              <a:gd name="connsiteX84" fmla="*/ 6998 w 10000"/>
              <a:gd name="connsiteY84" fmla="*/ 4774 h 10003"/>
              <a:gd name="connsiteX85" fmla="*/ 7152 w 10000"/>
              <a:gd name="connsiteY85" fmla="*/ 4804 h 10003"/>
              <a:gd name="connsiteX86" fmla="*/ 7335 w 10000"/>
              <a:gd name="connsiteY86" fmla="*/ 4780 h 10003"/>
              <a:gd name="connsiteX87" fmla="*/ 7611 w 10000"/>
              <a:gd name="connsiteY87" fmla="*/ 4811 h 10003"/>
              <a:gd name="connsiteX88" fmla="*/ 7645 w 10000"/>
              <a:gd name="connsiteY88" fmla="*/ 4798 h 10003"/>
              <a:gd name="connsiteX89" fmla="*/ 7859 w 10000"/>
              <a:gd name="connsiteY89" fmla="*/ 4944 h 10003"/>
              <a:gd name="connsiteX90" fmla="*/ 8017 w 10000"/>
              <a:gd name="connsiteY90" fmla="*/ 4890 h 10003"/>
              <a:gd name="connsiteX91" fmla="*/ 8032 w 10000"/>
              <a:gd name="connsiteY91" fmla="*/ 4840 h 10003"/>
              <a:gd name="connsiteX92" fmla="*/ 8176 w 10000"/>
              <a:gd name="connsiteY92" fmla="*/ 4927 h 10003"/>
              <a:gd name="connsiteX93" fmla="*/ 8369 w 10000"/>
              <a:gd name="connsiteY93" fmla="*/ 4974 h 10003"/>
              <a:gd name="connsiteX94" fmla="*/ 8446 w 10000"/>
              <a:gd name="connsiteY94" fmla="*/ 4888 h 10003"/>
              <a:gd name="connsiteX95" fmla="*/ 8507 w 10000"/>
              <a:gd name="connsiteY95" fmla="*/ 4935 h 10003"/>
              <a:gd name="connsiteX96" fmla="*/ 8596 w 10000"/>
              <a:gd name="connsiteY96" fmla="*/ 5105 h 10003"/>
              <a:gd name="connsiteX97" fmla="*/ 8782 w 10000"/>
              <a:gd name="connsiteY97" fmla="*/ 5143 h 10003"/>
              <a:gd name="connsiteX98" fmla="*/ 9542 w 10000"/>
              <a:gd name="connsiteY98" fmla="*/ 4896 h 10003"/>
              <a:gd name="connsiteX99" fmla="*/ 9914 w 10000"/>
              <a:gd name="connsiteY99" fmla="*/ 4549 h 10003"/>
              <a:gd name="connsiteX100" fmla="*/ 10000 w 10000"/>
              <a:gd name="connsiteY100" fmla="*/ 4301 h 10003"/>
              <a:gd name="connsiteX101" fmla="*/ 9866 w 10000"/>
              <a:gd name="connsiteY101" fmla="*/ 4072 h 10003"/>
              <a:gd name="connsiteX102" fmla="*/ 9582 w 10000"/>
              <a:gd name="connsiteY102" fmla="*/ 3938 h 10003"/>
              <a:gd name="connsiteX103" fmla="*/ 9382 w 10000"/>
              <a:gd name="connsiteY103" fmla="*/ 3712 h 10003"/>
              <a:gd name="connsiteX104" fmla="*/ 9569 w 10000"/>
              <a:gd name="connsiteY104" fmla="*/ 3705 h 10003"/>
              <a:gd name="connsiteX105" fmla="*/ 9555 w 10000"/>
              <a:gd name="connsiteY105" fmla="*/ 3653 h 10003"/>
              <a:gd name="connsiteX106" fmla="*/ 9068 w 10000"/>
              <a:gd name="connsiteY106" fmla="*/ 3498 h 10003"/>
              <a:gd name="connsiteX107" fmla="*/ 9047 w 10000"/>
              <a:gd name="connsiteY107" fmla="*/ 3354 h 10003"/>
              <a:gd name="connsiteX108" fmla="*/ 8953 w 10000"/>
              <a:gd name="connsiteY108" fmla="*/ 3203 h 10003"/>
              <a:gd name="connsiteX109" fmla="*/ 8569 w 10000"/>
              <a:gd name="connsiteY109" fmla="*/ 3231 h 10003"/>
              <a:gd name="connsiteX110" fmla="*/ 8431 w 10000"/>
              <a:gd name="connsiteY110" fmla="*/ 3070 h 10003"/>
              <a:gd name="connsiteX111" fmla="*/ 8350 w 10000"/>
              <a:gd name="connsiteY111" fmla="*/ 3060 h 10003"/>
              <a:gd name="connsiteX112" fmla="*/ 8350 w 10000"/>
              <a:gd name="connsiteY112" fmla="*/ 3132 h 10003"/>
              <a:gd name="connsiteX113" fmla="*/ 8176 w 10000"/>
              <a:gd name="connsiteY113" fmla="*/ 3398 h 10003"/>
              <a:gd name="connsiteX114" fmla="*/ 7990 w 10000"/>
              <a:gd name="connsiteY114" fmla="*/ 3556 h 10003"/>
              <a:gd name="connsiteX115" fmla="*/ 7401 w 10000"/>
              <a:gd name="connsiteY115" fmla="*/ 3823 h 10003"/>
              <a:gd name="connsiteX116" fmla="*/ 7198 w 10000"/>
              <a:gd name="connsiteY116" fmla="*/ 3815 h 10003"/>
              <a:gd name="connsiteX117" fmla="*/ 6915 w 10000"/>
              <a:gd name="connsiteY117" fmla="*/ 3856 h 10003"/>
              <a:gd name="connsiteX118" fmla="*/ 6757 w 10000"/>
              <a:gd name="connsiteY118" fmla="*/ 3815 h 10003"/>
              <a:gd name="connsiteX119" fmla="*/ 6965 w 10000"/>
              <a:gd name="connsiteY119" fmla="*/ 3738 h 10003"/>
              <a:gd name="connsiteX120" fmla="*/ 7235 w 10000"/>
              <a:gd name="connsiteY120" fmla="*/ 3705 h 10003"/>
              <a:gd name="connsiteX121" fmla="*/ 7455 w 10000"/>
              <a:gd name="connsiteY121" fmla="*/ 3581 h 10003"/>
              <a:gd name="connsiteX122" fmla="*/ 7674 w 10000"/>
              <a:gd name="connsiteY122" fmla="*/ 3522 h 10003"/>
              <a:gd name="connsiteX123" fmla="*/ 8082 w 10000"/>
              <a:gd name="connsiteY123" fmla="*/ 3303 h 10003"/>
              <a:gd name="connsiteX124" fmla="*/ 8157 w 10000"/>
              <a:gd name="connsiteY124" fmla="*/ 3159 h 10003"/>
              <a:gd name="connsiteX125" fmla="*/ 8165 w 10000"/>
              <a:gd name="connsiteY125" fmla="*/ 2974 h 10003"/>
              <a:gd name="connsiteX126" fmla="*/ 7978 w 10000"/>
              <a:gd name="connsiteY126" fmla="*/ 2942 h 10003"/>
              <a:gd name="connsiteX127" fmla="*/ 8058 w 10000"/>
              <a:gd name="connsiteY127" fmla="*/ 2829 h 10003"/>
              <a:gd name="connsiteX128" fmla="*/ 8087 w 10000"/>
              <a:gd name="connsiteY128" fmla="*/ 2686 h 10003"/>
              <a:gd name="connsiteX129" fmla="*/ 8007 w 10000"/>
              <a:gd name="connsiteY129" fmla="*/ 2552 h 10003"/>
              <a:gd name="connsiteX130" fmla="*/ 7450 w 10000"/>
              <a:gd name="connsiteY130" fmla="*/ 2736 h 10003"/>
              <a:gd name="connsiteX131" fmla="*/ 6694 w 10000"/>
              <a:gd name="connsiteY131" fmla="*/ 2654 h 10003"/>
              <a:gd name="connsiteX132" fmla="*/ 6304 w 10000"/>
              <a:gd name="connsiteY132" fmla="*/ 2140 h 10003"/>
              <a:gd name="connsiteX133" fmla="*/ 5294 w 10000"/>
              <a:gd name="connsiteY133" fmla="*/ 2043 h 10003"/>
              <a:gd name="connsiteX134" fmla="*/ 4505 w 10000"/>
              <a:gd name="connsiteY134" fmla="*/ 1617 h 10003"/>
              <a:gd name="connsiteX135" fmla="*/ 3730 w 10000"/>
              <a:gd name="connsiteY135" fmla="*/ 1106 h 10003"/>
              <a:gd name="connsiteX136" fmla="*/ 3154 w 10000"/>
              <a:gd name="connsiteY136" fmla="*/ 163 h 10003"/>
              <a:gd name="connsiteX137" fmla="*/ 2375 w 10000"/>
              <a:gd name="connsiteY137" fmla="*/ 0 h 10003"/>
              <a:gd name="connsiteX138" fmla="*/ 2226 w 10000"/>
              <a:gd name="connsiteY138" fmla="*/ 886 h 10003"/>
              <a:gd name="connsiteX139" fmla="*/ 2375 w 10000"/>
              <a:gd name="connsiteY139" fmla="*/ 1111 h 10003"/>
              <a:gd name="connsiteX140" fmla="*/ 2791 w 10000"/>
              <a:gd name="connsiteY140" fmla="*/ 1360 h 10003"/>
              <a:gd name="connsiteX141" fmla="*/ 2808 w 10000"/>
              <a:gd name="connsiteY141" fmla="*/ 1660 h 10003"/>
              <a:gd name="connsiteX142" fmla="*/ 2632 w 10000"/>
              <a:gd name="connsiteY142" fmla="*/ 1913 h 10003"/>
              <a:gd name="connsiteX143" fmla="*/ 2375 w 10000"/>
              <a:gd name="connsiteY143" fmla="*/ 2065 h 10003"/>
              <a:gd name="connsiteX144" fmla="*/ 2039 w 10000"/>
              <a:gd name="connsiteY144" fmla="*/ 2125 h 10003"/>
              <a:gd name="connsiteX145" fmla="*/ 1950 w 10000"/>
              <a:gd name="connsiteY145" fmla="*/ 2215 h 10003"/>
              <a:gd name="connsiteX146" fmla="*/ 2148 w 10000"/>
              <a:gd name="connsiteY146" fmla="*/ 2423 h 10003"/>
              <a:gd name="connsiteX147" fmla="*/ 2261 w 10000"/>
              <a:gd name="connsiteY147" fmla="*/ 2918 h 10003"/>
              <a:gd name="connsiteX148" fmla="*/ 2005 w 10000"/>
              <a:gd name="connsiteY148" fmla="*/ 3343 h 10003"/>
              <a:gd name="connsiteX149" fmla="*/ 2094 w 10000"/>
              <a:gd name="connsiteY149" fmla="*/ 3471 h 10003"/>
              <a:gd name="connsiteX150" fmla="*/ 2012 w 10000"/>
              <a:gd name="connsiteY150" fmla="*/ 3691 h 10003"/>
              <a:gd name="connsiteX151" fmla="*/ 1850 w 10000"/>
              <a:gd name="connsiteY151" fmla="*/ 3845 h 10003"/>
              <a:gd name="connsiteX152" fmla="*/ 1199 w 10000"/>
              <a:gd name="connsiteY152" fmla="*/ 3963 h 10003"/>
              <a:gd name="connsiteX153" fmla="*/ 1158 w 10000"/>
              <a:gd name="connsiteY153" fmla="*/ 4167 h 10003"/>
              <a:gd name="connsiteX154" fmla="*/ 808 w 10000"/>
              <a:gd name="connsiteY154" fmla="*/ 4470 h 10003"/>
              <a:gd name="connsiteX155" fmla="*/ 854 w 10000"/>
              <a:gd name="connsiteY155" fmla="*/ 4911 h 10003"/>
              <a:gd name="connsiteX156" fmla="*/ 560 w 10000"/>
              <a:gd name="connsiteY156" fmla="*/ 5474 h 10003"/>
              <a:gd name="connsiteX157" fmla="*/ 358 w 10000"/>
              <a:gd name="connsiteY157" fmla="*/ 5539 h 10003"/>
              <a:gd name="connsiteX158" fmla="*/ 275 w 10000"/>
              <a:gd name="connsiteY158" fmla="*/ 5405 h 10003"/>
              <a:gd name="connsiteX159" fmla="*/ 174 w 10000"/>
              <a:gd name="connsiteY159" fmla="*/ 5608 h 10003"/>
              <a:gd name="connsiteX160" fmla="*/ 239 w 10000"/>
              <a:gd name="connsiteY160" fmla="*/ 5258 h 10003"/>
              <a:gd name="connsiteX161" fmla="*/ 197 w 10000"/>
              <a:gd name="connsiteY161" fmla="*/ 5193 h 10003"/>
              <a:gd name="connsiteX0" fmla="*/ 197 w 10000"/>
              <a:gd name="connsiteY0" fmla="*/ 5193 h 10000"/>
              <a:gd name="connsiteX1" fmla="*/ 0 w 10000"/>
              <a:gd name="connsiteY1" fmla="*/ 5375 h 10000"/>
              <a:gd name="connsiteX2" fmla="*/ 0 w 10000"/>
              <a:gd name="connsiteY2" fmla="*/ 6269 h 10000"/>
              <a:gd name="connsiteX3" fmla="*/ 109 w 10000"/>
              <a:gd name="connsiteY3" fmla="*/ 6293 h 10000"/>
              <a:gd name="connsiteX4" fmla="*/ 134 w 10000"/>
              <a:gd name="connsiteY4" fmla="*/ 6364 h 10000"/>
              <a:gd name="connsiteX5" fmla="*/ 130 w 10000"/>
              <a:gd name="connsiteY5" fmla="*/ 6485 h 10000"/>
              <a:gd name="connsiteX6" fmla="*/ 89 w 10000"/>
              <a:gd name="connsiteY6" fmla="*/ 6538 h 10000"/>
              <a:gd name="connsiteX7" fmla="*/ 255 w 10000"/>
              <a:gd name="connsiteY7" fmla="*/ 6433 h 10000"/>
              <a:gd name="connsiteX8" fmla="*/ 325 w 10000"/>
              <a:gd name="connsiteY8" fmla="*/ 6334 h 10000"/>
              <a:gd name="connsiteX9" fmla="*/ 413 w 10000"/>
              <a:gd name="connsiteY9" fmla="*/ 6402 h 10000"/>
              <a:gd name="connsiteX10" fmla="*/ 316 w 10000"/>
              <a:gd name="connsiteY10" fmla="*/ 6549 h 10000"/>
              <a:gd name="connsiteX11" fmla="*/ 419 w 10000"/>
              <a:gd name="connsiteY11" fmla="*/ 6553 h 10000"/>
              <a:gd name="connsiteX12" fmla="*/ 469 w 10000"/>
              <a:gd name="connsiteY12" fmla="*/ 6589 h 10000"/>
              <a:gd name="connsiteX13" fmla="*/ 337 w 10000"/>
              <a:gd name="connsiteY13" fmla="*/ 6637 h 10000"/>
              <a:gd name="connsiteX14" fmla="*/ 130 w 10000"/>
              <a:gd name="connsiteY14" fmla="*/ 6788 h 10000"/>
              <a:gd name="connsiteX15" fmla="*/ 497 w 10000"/>
              <a:gd name="connsiteY15" fmla="*/ 6906 h 10000"/>
              <a:gd name="connsiteX16" fmla="*/ 545 w 10000"/>
              <a:gd name="connsiteY16" fmla="*/ 7073 h 10000"/>
              <a:gd name="connsiteX17" fmla="*/ 419 w 10000"/>
              <a:gd name="connsiteY17" fmla="*/ 7320 h 10000"/>
              <a:gd name="connsiteX18" fmla="*/ 688 w 10000"/>
              <a:gd name="connsiteY18" fmla="*/ 7306 h 10000"/>
              <a:gd name="connsiteX19" fmla="*/ 709 w 10000"/>
              <a:gd name="connsiteY19" fmla="*/ 7489 h 10000"/>
              <a:gd name="connsiteX20" fmla="*/ 530 w 10000"/>
              <a:gd name="connsiteY20" fmla="*/ 7621 h 10000"/>
              <a:gd name="connsiteX21" fmla="*/ 560 w 10000"/>
              <a:gd name="connsiteY21" fmla="*/ 7862 h 10000"/>
              <a:gd name="connsiteX22" fmla="*/ 489 w 10000"/>
              <a:gd name="connsiteY22" fmla="*/ 8056 h 10000"/>
              <a:gd name="connsiteX23" fmla="*/ 703 w 10000"/>
              <a:gd name="connsiteY23" fmla="*/ 8074 h 10000"/>
              <a:gd name="connsiteX24" fmla="*/ 909 w 10000"/>
              <a:gd name="connsiteY24" fmla="*/ 8807 h 10000"/>
              <a:gd name="connsiteX25" fmla="*/ 1150 w 10000"/>
              <a:gd name="connsiteY25" fmla="*/ 8989 h 10000"/>
              <a:gd name="connsiteX26" fmla="*/ 1255 w 10000"/>
              <a:gd name="connsiteY26" fmla="*/ 9187 h 10000"/>
              <a:gd name="connsiteX27" fmla="*/ 1514 w 10000"/>
              <a:gd name="connsiteY27" fmla="*/ 9329 h 10000"/>
              <a:gd name="connsiteX28" fmla="*/ 1684 w 10000"/>
              <a:gd name="connsiteY28" fmla="*/ 9513 h 10000"/>
              <a:gd name="connsiteX29" fmla="*/ 1397 w 10000"/>
              <a:gd name="connsiteY29" fmla="*/ 10000 h 10000"/>
              <a:gd name="connsiteX30" fmla="*/ 6419 w 10000"/>
              <a:gd name="connsiteY30" fmla="*/ 9402 h 10000"/>
              <a:gd name="connsiteX31" fmla="*/ 6586 w 10000"/>
              <a:gd name="connsiteY31" fmla="*/ 8620 h 10000"/>
              <a:gd name="connsiteX32" fmla="*/ 6855 w 10000"/>
              <a:gd name="connsiteY32" fmla="*/ 8274 h 10000"/>
              <a:gd name="connsiteX33" fmla="*/ 6855 w 10000"/>
              <a:gd name="connsiteY33" fmla="*/ 8089 h 10000"/>
              <a:gd name="connsiteX34" fmla="*/ 6757 w 10000"/>
              <a:gd name="connsiteY34" fmla="*/ 7989 h 10000"/>
              <a:gd name="connsiteX35" fmla="*/ 6915 w 10000"/>
              <a:gd name="connsiteY35" fmla="*/ 7822 h 10000"/>
              <a:gd name="connsiteX36" fmla="*/ 6887 w 10000"/>
              <a:gd name="connsiteY36" fmla="*/ 7687 h 10000"/>
              <a:gd name="connsiteX37" fmla="*/ 6779 w 10000"/>
              <a:gd name="connsiteY37" fmla="*/ 7572 h 10000"/>
              <a:gd name="connsiteX38" fmla="*/ 6757 w 10000"/>
              <a:gd name="connsiteY38" fmla="*/ 7481 h 10000"/>
              <a:gd name="connsiteX39" fmla="*/ 6785 w 10000"/>
              <a:gd name="connsiteY39" fmla="*/ 7415 h 10000"/>
              <a:gd name="connsiteX40" fmla="*/ 6931 w 10000"/>
              <a:gd name="connsiteY40" fmla="*/ 7468 h 10000"/>
              <a:gd name="connsiteX41" fmla="*/ 7045 w 10000"/>
              <a:gd name="connsiteY41" fmla="*/ 7465 h 10000"/>
              <a:gd name="connsiteX42" fmla="*/ 6983 w 10000"/>
              <a:gd name="connsiteY42" fmla="*/ 7355 h 10000"/>
              <a:gd name="connsiteX43" fmla="*/ 7003 w 10000"/>
              <a:gd name="connsiteY43" fmla="*/ 7289 h 10000"/>
              <a:gd name="connsiteX44" fmla="*/ 7089 w 10000"/>
              <a:gd name="connsiteY44" fmla="*/ 7196 h 10000"/>
              <a:gd name="connsiteX45" fmla="*/ 7074 w 10000"/>
              <a:gd name="connsiteY45" fmla="*/ 7118 h 10000"/>
              <a:gd name="connsiteX46" fmla="*/ 7152 w 10000"/>
              <a:gd name="connsiteY46" fmla="*/ 6859 h 10000"/>
              <a:gd name="connsiteX47" fmla="*/ 7130 w 10000"/>
              <a:gd name="connsiteY47" fmla="*/ 6778 h 10000"/>
              <a:gd name="connsiteX48" fmla="*/ 6729 w 10000"/>
              <a:gd name="connsiteY48" fmla="*/ 6579 h 10000"/>
              <a:gd name="connsiteX49" fmla="*/ 6785 w 10000"/>
              <a:gd name="connsiteY49" fmla="*/ 6572 h 10000"/>
              <a:gd name="connsiteX50" fmla="*/ 6998 w 10000"/>
              <a:gd name="connsiteY50" fmla="*/ 6622 h 10000"/>
              <a:gd name="connsiteX51" fmla="*/ 7230 w 10000"/>
              <a:gd name="connsiteY51" fmla="*/ 6603 h 10000"/>
              <a:gd name="connsiteX52" fmla="*/ 7295 w 10000"/>
              <a:gd name="connsiteY52" fmla="*/ 6534 h 10000"/>
              <a:gd name="connsiteX53" fmla="*/ 7074 w 10000"/>
              <a:gd name="connsiteY53" fmla="*/ 6399 h 10000"/>
              <a:gd name="connsiteX54" fmla="*/ 6414 w 10000"/>
              <a:gd name="connsiteY54" fmla="*/ 6310 h 10000"/>
              <a:gd name="connsiteX55" fmla="*/ 6458 w 10000"/>
              <a:gd name="connsiteY55" fmla="*/ 6269 h 10000"/>
              <a:gd name="connsiteX56" fmla="*/ 6998 w 10000"/>
              <a:gd name="connsiteY56" fmla="*/ 6241 h 10000"/>
              <a:gd name="connsiteX57" fmla="*/ 7295 w 10000"/>
              <a:gd name="connsiteY57" fmla="*/ 6322 h 10000"/>
              <a:gd name="connsiteX58" fmla="*/ 7466 w 10000"/>
              <a:gd name="connsiteY58" fmla="*/ 6269 h 10000"/>
              <a:gd name="connsiteX59" fmla="*/ 7529 w 10000"/>
              <a:gd name="connsiteY59" fmla="*/ 6130 h 10000"/>
              <a:gd name="connsiteX60" fmla="*/ 7840 w 10000"/>
              <a:gd name="connsiteY60" fmla="*/ 6130 h 10000"/>
              <a:gd name="connsiteX61" fmla="*/ 8261 w 10000"/>
              <a:gd name="connsiteY61" fmla="*/ 5848 h 10000"/>
              <a:gd name="connsiteX62" fmla="*/ 8275 w 10000"/>
              <a:gd name="connsiteY62" fmla="*/ 5659 h 10000"/>
              <a:gd name="connsiteX63" fmla="*/ 8453 w 10000"/>
              <a:gd name="connsiteY63" fmla="*/ 5702 h 10000"/>
              <a:gd name="connsiteX64" fmla="*/ 8446 w 10000"/>
              <a:gd name="connsiteY64" fmla="*/ 5891 h 10000"/>
              <a:gd name="connsiteX65" fmla="*/ 8727 w 10000"/>
              <a:gd name="connsiteY65" fmla="*/ 5878 h 10000"/>
              <a:gd name="connsiteX66" fmla="*/ 8913 w 10000"/>
              <a:gd name="connsiteY66" fmla="*/ 5682 h 10000"/>
              <a:gd name="connsiteX67" fmla="*/ 9258 w 10000"/>
              <a:gd name="connsiteY67" fmla="*/ 5506 h 10000"/>
              <a:gd name="connsiteX68" fmla="*/ 9203 w 10000"/>
              <a:gd name="connsiteY68" fmla="*/ 5307 h 10000"/>
              <a:gd name="connsiteX69" fmla="*/ 9306 w 10000"/>
              <a:gd name="connsiteY69" fmla="*/ 5387 h 10000"/>
              <a:gd name="connsiteX70" fmla="*/ 9464 w 10000"/>
              <a:gd name="connsiteY70" fmla="*/ 5387 h 10000"/>
              <a:gd name="connsiteX71" fmla="*/ 9464 w 10000"/>
              <a:gd name="connsiteY71" fmla="*/ 5294 h 10000"/>
              <a:gd name="connsiteX72" fmla="*/ 9611 w 10000"/>
              <a:gd name="connsiteY72" fmla="*/ 5226 h 10000"/>
              <a:gd name="connsiteX73" fmla="*/ 9592 w 10000"/>
              <a:gd name="connsiteY73" fmla="*/ 5153 h 10000"/>
              <a:gd name="connsiteX74" fmla="*/ 8350 w 10000"/>
              <a:gd name="connsiteY74" fmla="*/ 5296 h 10000"/>
              <a:gd name="connsiteX75" fmla="*/ 8058 w 10000"/>
              <a:gd name="connsiteY75" fmla="*/ 5256 h 10000"/>
              <a:gd name="connsiteX76" fmla="*/ 7942 w 10000"/>
              <a:gd name="connsiteY76" fmla="*/ 5307 h 10000"/>
              <a:gd name="connsiteX77" fmla="*/ 7903 w 10000"/>
              <a:gd name="connsiteY77" fmla="*/ 5206 h 10000"/>
              <a:gd name="connsiteX78" fmla="*/ 7765 w 10000"/>
              <a:gd name="connsiteY78" fmla="*/ 5118 h 10000"/>
              <a:gd name="connsiteX79" fmla="*/ 7213 w 10000"/>
              <a:gd name="connsiteY79" fmla="*/ 4935 h 10000"/>
              <a:gd name="connsiteX80" fmla="*/ 6887 w 10000"/>
              <a:gd name="connsiteY80" fmla="*/ 4966 h 10000"/>
              <a:gd name="connsiteX81" fmla="*/ 6757 w 10000"/>
              <a:gd name="connsiteY81" fmla="*/ 4914 h 10000"/>
              <a:gd name="connsiteX82" fmla="*/ 6894 w 10000"/>
              <a:gd name="connsiteY82" fmla="*/ 4870 h 10000"/>
              <a:gd name="connsiteX83" fmla="*/ 6998 w 10000"/>
              <a:gd name="connsiteY83" fmla="*/ 4774 h 10000"/>
              <a:gd name="connsiteX84" fmla="*/ 7152 w 10000"/>
              <a:gd name="connsiteY84" fmla="*/ 4804 h 10000"/>
              <a:gd name="connsiteX85" fmla="*/ 7335 w 10000"/>
              <a:gd name="connsiteY85" fmla="*/ 4780 h 10000"/>
              <a:gd name="connsiteX86" fmla="*/ 7611 w 10000"/>
              <a:gd name="connsiteY86" fmla="*/ 4811 h 10000"/>
              <a:gd name="connsiteX87" fmla="*/ 7645 w 10000"/>
              <a:gd name="connsiteY87" fmla="*/ 4798 h 10000"/>
              <a:gd name="connsiteX88" fmla="*/ 7859 w 10000"/>
              <a:gd name="connsiteY88" fmla="*/ 4944 h 10000"/>
              <a:gd name="connsiteX89" fmla="*/ 8017 w 10000"/>
              <a:gd name="connsiteY89" fmla="*/ 4890 h 10000"/>
              <a:gd name="connsiteX90" fmla="*/ 8032 w 10000"/>
              <a:gd name="connsiteY90" fmla="*/ 4840 h 10000"/>
              <a:gd name="connsiteX91" fmla="*/ 8176 w 10000"/>
              <a:gd name="connsiteY91" fmla="*/ 4927 h 10000"/>
              <a:gd name="connsiteX92" fmla="*/ 8369 w 10000"/>
              <a:gd name="connsiteY92" fmla="*/ 4974 h 10000"/>
              <a:gd name="connsiteX93" fmla="*/ 8446 w 10000"/>
              <a:gd name="connsiteY93" fmla="*/ 4888 h 10000"/>
              <a:gd name="connsiteX94" fmla="*/ 8507 w 10000"/>
              <a:gd name="connsiteY94" fmla="*/ 4935 h 10000"/>
              <a:gd name="connsiteX95" fmla="*/ 8596 w 10000"/>
              <a:gd name="connsiteY95" fmla="*/ 5105 h 10000"/>
              <a:gd name="connsiteX96" fmla="*/ 8782 w 10000"/>
              <a:gd name="connsiteY96" fmla="*/ 5143 h 10000"/>
              <a:gd name="connsiteX97" fmla="*/ 9542 w 10000"/>
              <a:gd name="connsiteY97" fmla="*/ 4896 h 10000"/>
              <a:gd name="connsiteX98" fmla="*/ 9914 w 10000"/>
              <a:gd name="connsiteY98" fmla="*/ 4549 h 10000"/>
              <a:gd name="connsiteX99" fmla="*/ 10000 w 10000"/>
              <a:gd name="connsiteY99" fmla="*/ 4301 h 10000"/>
              <a:gd name="connsiteX100" fmla="*/ 9866 w 10000"/>
              <a:gd name="connsiteY100" fmla="*/ 4072 h 10000"/>
              <a:gd name="connsiteX101" fmla="*/ 9582 w 10000"/>
              <a:gd name="connsiteY101" fmla="*/ 3938 h 10000"/>
              <a:gd name="connsiteX102" fmla="*/ 9382 w 10000"/>
              <a:gd name="connsiteY102" fmla="*/ 3712 h 10000"/>
              <a:gd name="connsiteX103" fmla="*/ 9569 w 10000"/>
              <a:gd name="connsiteY103" fmla="*/ 3705 h 10000"/>
              <a:gd name="connsiteX104" fmla="*/ 9555 w 10000"/>
              <a:gd name="connsiteY104" fmla="*/ 3653 h 10000"/>
              <a:gd name="connsiteX105" fmla="*/ 9068 w 10000"/>
              <a:gd name="connsiteY105" fmla="*/ 3498 h 10000"/>
              <a:gd name="connsiteX106" fmla="*/ 9047 w 10000"/>
              <a:gd name="connsiteY106" fmla="*/ 3354 h 10000"/>
              <a:gd name="connsiteX107" fmla="*/ 8953 w 10000"/>
              <a:gd name="connsiteY107" fmla="*/ 3203 h 10000"/>
              <a:gd name="connsiteX108" fmla="*/ 8569 w 10000"/>
              <a:gd name="connsiteY108" fmla="*/ 3231 h 10000"/>
              <a:gd name="connsiteX109" fmla="*/ 8431 w 10000"/>
              <a:gd name="connsiteY109" fmla="*/ 3070 h 10000"/>
              <a:gd name="connsiteX110" fmla="*/ 8350 w 10000"/>
              <a:gd name="connsiteY110" fmla="*/ 3060 h 10000"/>
              <a:gd name="connsiteX111" fmla="*/ 8350 w 10000"/>
              <a:gd name="connsiteY111" fmla="*/ 3132 h 10000"/>
              <a:gd name="connsiteX112" fmla="*/ 8176 w 10000"/>
              <a:gd name="connsiteY112" fmla="*/ 3398 h 10000"/>
              <a:gd name="connsiteX113" fmla="*/ 7990 w 10000"/>
              <a:gd name="connsiteY113" fmla="*/ 3556 h 10000"/>
              <a:gd name="connsiteX114" fmla="*/ 7401 w 10000"/>
              <a:gd name="connsiteY114" fmla="*/ 3823 h 10000"/>
              <a:gd name="connsiteX115" fmla="*/ 7198 w 10000"/>
              <a:gd name="connsiteY115" fmla="*/ 3815 h 10000"/>
              <a:gd name="connsiteX116" fmla="*/ 6915 w 10000"/>
              <a:gd name="connsiteY116" fmla="*/ 3856 h 10000"/>
              <a:gd name="connsiteX117" fmla="*/ 6757 w 10000"/>
              <a:gd name="connsiteY117" fmla="*/ 3815 h 10000"/>
              <a:gd name="connsiteX118" fmla="*/ 6965 w 10000"/>
              <a:gd name="connsiteY118" fmla="*/ 3738 h 10000"/>
              <a:gd name="connsiteX119" fmla="*/ 7235 w 10000"/>
              <a:gd name="connsiteY119" fmla="*/ 3705 h 10000"/>
              <a:gd name="connsiteX120" fmla="*/ 7455 w 10000"/>
              <a:gd name="connsiteY120" fmla="*/ 3581 h 10000"/>
              <a:gd name="connsiteX121" fmla="*/ 7674 w 10000"/>
              <a:gd name="connsiteY121" fmla="*/ 3522 h 10000"/>
              <a:gd name="connsiteX122" fmla="*/ 8082 w 10000"/>
              <a:gd name="connsiteY122" fmla="*/ 3303 h 10000"/>
              <a:gd name="connsiteX123" fmla="*/ 8157 w 10000"/>
              <a:gd name="connsiteY123" fmla="*/ 3159 h 10000"/>
              <a:gd name="connsiteX124" fmla="*/ 8165 w 10000"/>
              <a:gd name="connsiteY124" fmla="*/ 2974 h 10000"/>
              <a:gd name="connsiteX125" fmla="*/ 7978 w 10000"/>
              <a:gd name="connsiteY125" fmla="*/ 2942 h 10000"/>
              <a:gd name="connsiteX126" fmla="*/ 8058 w 10000"/>
              <a:gd name="connsiteY126" fmla="*/ 2829 h 10000"/>
              <a:gd name="connsiteX127" fmla="*/ 8087 w 10000"/>
              <a:gd name="connsiteY127" fmla="*/ 2686 h 10000"/>
              <a:gd name="connsiteX128" fmla="*/ 8007 w 10000"/>
              <a:gd name="connsiteY128" fmla="*/ 2552 h 10000"/>
              <a:gd name="connsiteX129" fmla="*/ 7450 w 10000"/>
              <a:gd name="connsiteY129" fmla="*/ 2736 h 10000"/>
              <a:gd name="connsiteX130" fmla="*/ 6694 w 10000"/>
              <a:gd name="connsiteY130" fmla="*/ 2654 h 10000"/>
              <a:gd name="connsiteX131" fmla="*/ 6304 w 10000"/>
              <a:gd name="connsiteY131" fmla="*/ 2140 h 10000"/>
              <a:gd name="connsiteX132" fmla="*/ 5294 w 10000"/>
              <a:gd name="connsiteY132" fmla="*/ 2043 h 10000"/>
              <a:gd name="connsiteX133" fmla="*/ 4505 w 10000"/>
              <a:gd name="connsiteY133" fmla="*/ 1617 h 10000"/>
              <a:gd name="connsiteX134" fmla="*/ 3730 w 10000"/>
              <a:gd name="connsiteY134" fmla="*/ 1106 h 10000"/>
              <a:gd name="connsiteX135" fmla="*/ 3154 w 10000"/>
              <a:gd name="connsiteY135" fmla="*/ 163 h 10000"/>
              <a:gd name="connsiteX136" fmla="*/ 2375 w 10000"/>
              <a:gd name="connsiteY136" fmla="*/ 0 h 10000"/>
              <a:gd name="connsiteX137" fmla="*/ 2226 w 10000"/>
              <a:gd name="connsiteY137" fmla="*/ 886 h 10000"/>
              <a:gd name="connsiteX138" fmla="*/ 2375 w 10000"/>
              <a:gd name="connsiteY138" fmla="*/ 1111 h 10000"/>
              <a:gd name="connsiteX139" fmla="*/ 2791 w 10000"/>
              <a:gd name="connsiteY139" fmla="*/ 1360 h 10000"/>
              <a:gd name="connsiteX140" fmla="*/ 2808 w 10000"/>
              <a:gd name="connsiteY140" fmla="*/ 1660 h 10000"/>
              <a:gd name="connsiteX141" fmla="*/ 2632 w 10000"/>
              <a:gd name="connsiteY141" fmla="*/ 1913 h 10000"/>
              <a:gd name="connsiteX142" fmla="*/ 2375 w 10000"/>
              <a:gd name="connsiteY142" fmla="*/ 2065 h 10000"/>
              <a:gd name="connsiteX143" fmla="*/ 2039 w 10000"/>
              <a:gd name="connsiteY143" fmla="*/ 2125 h 10000"/>
              <a:gd name="connsiteX144" fmla="*/ 1950 w 10000"/>
              <a:gd name="connsiteY144" fmla="*/ 2215 h 10000"/>
              <a:gd name="connsiteX145" fmla="*/ 2148 w 10000"/>
              <a:gd name="connsiteY145" fmla="*/ 2423 h 10000"/>
              <a:gd name="connsiteX146" fmla="*/ 2261 w 10000"/>
              <a:gd name="connsiteY146" fmla="*/ 2918 h 10000"/>
              <a:gd name="connsiteX147" fmla="*/ 2005 w 10000"/>
              <a:gd name="connsiteY147" fmla="*/ 3343 h 10000"/>
              <a:gd name="connsiteX148" fmla="*/ 2094 w 10000"/>
              <a:gd name="connsiteY148" fmla="*/ 3471 h 10000"/>
              <a:gd name="connsiteX149" fmla="*/ 2012 w 10000"/>
              <a:gd name="connsiteY149" fmla="*/ 3691 h 10000"/>
              <a:gd name="connsiteX150" fmla="*/ 1850 w 10000"/>
              <a:gd name="connsiteY150" fmla="*/ 3845 h 10000"/>
              <a:gd name="connsiteX151" fmla="*/ 1199 w 10000"/>
              <a:gd name="connsiteY151" fmla="*/ 3963 h 10000"/>
              <a:gd name="connsiteX152" fmla="*/ 1158 w 10000"/>
              <a:gd name="connsiteY152" fmla="*/ 4167 h 10000"/>
              <a:gd name="connsiteX153" fmla="*/ 808 w 10000"/>
              <a:gd name="connsiteY153" fmla="*/ 4470 h 10000"/>
              <a:gd name="connsiteX154" fmla="*/ 854 w 10000"/>
              <a:gd name="connsiteY154" fmla="*/ 4911 h 10000"/>
              <a:gd name="connsiteX155" fmla="*/ 560 w 10000"/>
              <a:gd name="connsiteY155" fmla="*/ 5474 h 10000"/>
              <a:gd name="connsiteX156" fmla="*/ 358 w 10000"/>
              <a:gd name="connsiteY156" fmla="*/ 5539 h 10000"/>
              <a:gd name="connsiteX157" fmla="*/ 275 w 10000"/>
              <a:gd name="connsiteY157" fmla="*/ 5405 h 10000"/>
              <a:gd name="connsiteX158" fmla="*/ 174 w 10000"/>
              <a:gd name="connsiteY158" fmla="*/ 5608 h 10000"/>
              <a:gd name="connsiteX159" fmla="*/ 239 w 10000"/>
              <a:gd name="connsiteY159" fmla="*/ 5258 h 10000"/>
              <a:gd name="connsiteX160" fmla="*/ 197 w 10000"/>
              <a:gd name="connsiteY160" fmla="*/ 5193 h 10000"/>
              <a:gd name="connsiteX0" fmla="*/ 197 w 10000"/>
              <a:gd name="connsiteY0" fmla="*/ 5193 h 10000"/>
              <a:gd name="connsiteX1" fmla="*/ 0 w 10000"/>
              <a:gd name="connsiteY1" fmla="*/ 5375 h 10000"/>
              <a:gd name="connsiteX2" fmla="*/ 0 w 10000"/>
              <a:gd name="connsiteY2" fmla="*/ 6269 h 10000"/>
              <a:gd name="connsiteX3" fmla="*/ 109 w 10000"/>
              <a:gd name="connsiteY3" fmla="*/ 6293 h 10000"/>
              <a:gd name="connsiteX4" fmla="*/ 134 w 10000"/>
              <a:gd name="connsiteY4" fmla="*/ 6364 h 10000"/>
              <a:gd name="connsiteX5" fmla="*/ 130 w 10000"/>
              <a:gd name="connsiteY5" fmla="*/ 6485 h 10000"/>
              <a:gd name="connsiteX6" fmla="*/ 89 w 10000"/>
              <a:gd name="connsiteY6" fmla="*/ 6538 h 10000"/>
              <a:gd name="connsiteX7" fmla="*/ 255 w 10000"/>
              <a:gd name="connsiteY7" fmla="*/ 6433 h 10000"/>
              <a:gd name="connsiteX8" fmla="*/ 325 w 10000"/>
              <a:gd name="connsiteY8" fmla="*/ 6334 h 10000"/>
              <a:gd name="connsiteX9" fmla="*/ 413 w 10000"/>
              <a:gd name="connsiteY9" fmla="*/ 6402 h 10000"/>
              <a:gd name="connsiteX10" fmla="*/ 316 w 10000"/>
              <a:gd name="connsiteY10" fmla="*/ 6549 h 10000"/>
              <a:gd name="connsiteX11" fmla="*/ 419 w 10000"/>
              <a:gd name="connsiteY11" fmla="*/ 6553 h 10000"/>
              <a:gd name="connsiteX12" fmla="*/ 469 w 10000"/>
              <a:gd name="connsiteY12" fmla="*/ 6589 h 10000"/>
              <a:gd name="connsiteX13" fmla="*/ 337 w 10000"/>
              <a:gd name="connsiteY13" fmla="*/ 6637 h 10000"/>
              <a:gd name="connsiteX14" fmla="*/ 130 w 10000"/>
              <a:gd name="connsiteY14" fmla="*/ 6788 h 10000"/>
              <a:gd name="connsiteX15" fmla="*/ 497 w 10000"/>
              <a:gd name="connsiteY15" fmla="*/ 6906 h 10000"/>
              <a:gd name="connsiteX16" fmla="*/ 545 w 10000"/>
              <a:gd name="connsiteY16" fmla="*/ 7073 h 10000"/>
              <a:gd name="connsiteX17" fmla="*/ 419 w 10000"/>
              <a:gd name="connsiteY17" fmla="*/ 7320 h 10000"/>
              <a:gd name="connsiteX18" fmla="*/ 688 w 10000"/>
              <a:gd name="connsiteY18" fmla="*/ 7306 h 10000"/>
              <a:gd name="connsiteX19" fmla="*/ 709 w 10000"/>
              <a:gd name="connsiteY19" fmla="*/ 7489 h 10000"/>
              <a:gd name="connsiteX20" fmla="*/ 530 w 10000"/>
              <a:gd name="connsiteY20" fmla="*/ 7621 h 10000"/>
              <a:gd name="connsiteX21" fmla="*/ 560 w 10000"/>
              <a:gd name="connsiteY21" fmla="*/ 7862 h 10000"/>
              <a:gd name="connsiteX22" fmla="*/ 489 w 10000"/>
              <a:gd name="connsiteY22" fmla="*/ 8056 h 10000"/>
              <a:gd name="connsiteX23" fmla="*/ 703 w 10000"/>
              <a:gd name="connsiteY23" fmla="*/ 8074 h 10000"/>
              <a:gd name="connsiteX24" fmla="*/ 909 w 10000"/>
              <a:gd name="connsiteY24" fmla="*/ 8807 h 10000"/>
              <a:gd name="connsiteX25" fmla="*/ 1150 w 10000"/>
              <a:gd name="connsiteY25" fmla="*/ 8989 h 10000"/>
              <a:gd name="connsiteX26" fmla="*/ 1255 w 10000"/>
              <a:gd name="connsiteY26" fmla="*/ 9187 h 10000"/>
              <a:gd name="connsiteX27" fmla="*/ 1514 w 10000"/>
              <a:gd name="connsiteY27" fmla="*/ 9329 h 10000"/>
              <a:gd name="connsiteX28" fmla="*/ 1397 w 10000"/>
              <a:gd name="connsiteY28" fmla="*/ 10000 h 10000"/>
              <a:gd name="connsiteX29" fmla="*/ 6419 w 10000"/>
              <a:gd name="connsiteY29" fmla="*/ 9402 h 10000"/>
              <a:gd name="connsiteX30" fmla="*/ 6586 w 10000"/>
              <a:gd name="connsiteY30" fmla="*/ 8620 h 10000"/>
              <a:gd name="connsiteX31" fmla="*/ 6855 w 10000"/>
              <a:gd name="connsiteY31" fmla="*/ 8274 h 10000"/>
              <a:gd name="connsiteX32" fmla="*/ 6855 w 10000"/>
              <a:gd name="connsiteY32" fmla="*/ 8089 h 10000"/>
              <a:gd name="connsiteX33" fmla="*/ 6757 w 10000"/>
              <a:gd name="connsiteY33" fmla="*/ 7989 h 10000"/>
              <a:gd name="connsiteX34" fmla="*/ 6915 w 10000"/>
              <a:gd name="connsiteY34" fmla="*/ 7822 h 10000"/>
              <a:gd name="connsiteX35" fmla="*/ 6887 w 10000"/>
              <a:gd name="connsiteY35" fmla="*/ 7687 h 10000"/>
              <a:gd name="connsiteX36" fmla="*/ 6779 w 10000"/>
              <a:gd name="connsiteY36" fmla="*/ 7572 h 10000"/>
              <a:gd name="connsiteX37" fmla="*/ 6757 w 10000"/>
              <a:gd name="connsiteY37" fmla="*/ 7481 h 10000"/>
              <a:gd name="connsiteX38" fmla="*/ 6785 w 10000"/>
              <a:gd name="connsiteY38" fmla="*/ 7415 h 10000"/>
              <a:gd name="connsiteX39" fmla="*/ 6931 w 10000"/>
              <a:gd name="connsiteY39" fmla="*/ 7468 h 10000"/>
              <a:gd name="connsiteX40" fmla="*/ 7045 w 10000"/>
              <a:gd name="connsiteY40" fmla="*/ 7465 h 10000"/>
              <a:gd name="connsiteX41" fmla="*/ 6983 w 10000"/>
              <a:gd name="connsiteY41" fmla="*/ 7355 h 10000"/>
              <a:gd name="connsiteX42" fmla="*/ 7003 w 10000"/>
              <a:gd name="connsiteY42" fmla="*/ 7289 h 10000"/>
              <a:gd name="connsiteX43" fmla="*/ 7089 w 10000"/>
              <a:gd name="connsiteY43" fmla="*/ 7196 h 10000"/>
              <a:gd name="connsiteX44" fmla="*/ 7074 w 10000"/>
              <a:gd name="connsiteY44" fmla="*/ 7118 h 10000"/>
              <a:gd name="connsiteX45" fmla="*/ 7152 w 10000"/>
              <a:gd name="connsiteY45" fmla="*/ 6859 h 10000"/>
              <a:gd name="connsiteX46" fmla="*/ 7130 w 10000"/>
              <a:gd name="connsiteY46" fmla="*/ 6778 h 10000"/>
              <a:gd name="connsiteX47" fmla="*/ 6729 w 10000"/>
              <a:gd name="connsiteY47" fmla="*/ 6579 h 10000"/>
              <a:gd name="connsiteX48" fmla="*/ 6785 w 10000"/>
              <a:gd name="connsiteY48" fmla="*/ 6572 h 10000"/>
              <a:gd name="connsiteX49" fmla="*/ 6998 w 10000"/>
              <a:gd name="connsiteY49" fmla="*/ 6622 h 10000"/>
              <a:gd name="connsiteX50" fmla="*/ 7230 w 10000"/>
              <a:gd name="connsiteY50" fmla="*/ 6603 h 10000"/>
              <a:gd name="connsiteX51" fmla="*/ 7295 w 10000"/>
              <a:gd name="connsiteY51" fmla="*/ 6534 h 10000"/>
              <a:gd name="connsiteX52" fmla="*/ 7074 w 10000"/>
              <a:gd name="connsiteY52" fmla="*/ 6399 h 10000"/>
              <a:gd name="connsiteX53" fmla="*/ 6414 w 10000"/>
              <a:gd name="connsiteY53" fmla="*/ 6310 h 10000"/>
              <a:gd name="connsiteX54" fmla="*/ 6458 w 10000"/>
              <a:gd name="connsiteY54" fmla="*/ 6269 h 10000"/>
              <a:gd name="connsiteX55" fmla="*/ 6998 w 10000"/>
              <a:gd name="connsiteY55" fmla="*/ 6241 h 10000"/>
              <a:gd name="connsiteX56" fmla="*/ 7295 w 10000"/>
              <a:gd name="connsiteY56" fmla="*/ 6322 h 10000"/>
              <a:gd name="connsiteX57" fmla="*/ 7466 w 10000"/>
              <a:gd name="connsiteY57" fmla="*/ 6269 h 10000"/>
              <a:gd name="connsiteX58" fmla="*/ 7529 w 10000"/>
              <a:gd name="connsiteY58" fmla="*/ 6130 h 10000"/>
              <a:gd name="connsiteX59" fmla="*/ 7840 w 10000"/>
              <a:gd name="connsiteY59" fmla="*/ 6130 h 10000"/>
              <a:gd name="connsiteX60" fmla="*/ 8261 w 10000"/>
              <a:gd name="connsiteY60" fmla="*/ 5848 h 10000"/>
              <a:gd name="connsiteX61" fmla="*/ 8275 w 10000"/>
              <a:gd name="connsiteY61" fmla="*/ 5659 h 10000"/>
              <a:gd name="connsiteX62" fmla="*/ 8453 w 10000"/>
              <a:gd name="connsiteY62" fmla="*/ 5702 h 10000"/>
              <a:gd name="connsiteX63" fmla="*/ 8446 w 10000"/>
              <a:gd name="connsiteY63" fmla="*/ 5891 h 10000"/>
              <a:gd name="connsiteX64" fmla="*/ 8727 w 10000"/>
              <a:gd name="connsiteY64" fmla="*/ 5878 h 10000"/>
              <a:gd name="connsiteX65" fmla="*/ 8913 w 10000"/>
              <a:gd name="connsiteY65" fmla="*/ 5682 h 10000"/>
              <a:gd name="connsiteX66" fmla="*/ 9258 w 10000"/>
              <a:gd name="connsiteY66" fmla="*/ 5506 h 10000"/>
              <a:gd name="connsiteX67" fmla="*/ 9203 w 10000"/>
              <a:gd name="connsiteY67" fmla="*/ 5307 h 10000"/>
              <a:gd name="connsiteX68" fmla="*/ 9306 w 10000"/>
              <a:gd name="connsiteY68" fmla="*/ 5387 h 10000"/>
              <a:gd name="connsiteX69" fmla="*/ 9464 w 10000"/>
              <a:gd name="connsiteY69" fmla="*/ 5387 h 10000"/>
              <a:gd name="connsiteX70" fmla="*/ 9464 w 10000"/>
              <a:gd name="connsiteY70" fmla="*/ 5294 h 10000"/>
              <a:gd name="connsiteX71" fmla="*/ 9611 w 10000"/>
              <a:gd name="connsiteY71" fmla="*/ 5226 h 10000"/>
              <a:gd name="connsiteX72" fmla="*/ 9592 w 10000"/>
              <a:gd name="connsiteY72" fmla="*/ 5153 h 10000"/>
              <a:gd name="connsiteX73" fmla="*/ 8350 w 10000"/>
              <a:gd name="connsiteY73" fmla="*/ 5296 h 10000"/>
              <a:gd name="connsiteX74" fmla="*/ 8058 w 10000"/>
              <a:gd name="connsiteY74" fmla="*/ 5256 h 10000"/>
              <a:gd name="connsiteX75" fmla="*/ 7942 w 10000"/>
              <a:gd name="connsiteY75" fmla="*/ 5307 h 10000"/>
              <a:gd name="connsiteX76" fmla="*/ 7903 w 10000"/>
              <a:gd name="connsiteY76" fmla="*/ 5206 h 10000"/>
              <a:gd name="connsiteX77" fmla="*/ 7765 w 10000"/>
              <a:gd name="connsiteY77" fmla="*/ 5118 h 10000"/>
              <a:gd name="connsiteX78" fmla="*/ 7213 w 10000"/>
              <a:gd name="connsiteY78" fmla="*/ 4935 h 10000"/>
              <a:gd name="connsiteX79" fmla="*/ 6887 w 10000"/>
              <a:gd name="connsiteY79" fmla="*/ 4966 h 10000"/>
              <a:gd name="connsiteX80" fmla="*/ 6757 w 10000"/>
              <a:gd name="connsiteY80" fmla="*/ 4914 h 10000"/>
              <a:gd name="connsiteX81" fmla="*/ 6894 w 10000"/>
              <a:gd name="connsiteY81" fmla="*/ 4870 h 10000"/>
              <a:gd name="connsiteX82" fmla="*/ 6998 w 10000"/>
              <a:gd name="connsiteY82" fmla="*/ 4774 h 10000"/>
              <a:gd name="connsiteX83" fmla="*/ 7152 w 10000"/>
              <a:gd name="connsiteY83" fmla="*/ 4804 h 10000"/>
              <a:gd name="connsiteX84" fmla="*/ 7335 w 10000"/>
              <a:gd name="connsiteY84" fmla="*/ 4780 h 10000"/>
              <a:gd name="connsiteX85" fmla="*/ 7611 w 10000"/>
              <a:gd name="connsiteY85" fmla="*/ 4811 h 10000"/>
              <a:gd name="connsiteX86" fmla="*/ 7645 w 10000"/>
              <a:gd name="connsiteY86" fmla="*/ 4798 h 10000"/>
              <a:gd name="connsiteX87" fmla="*/ 7859 w 10000"/>
              <a:gd name="connsiteY87" fmla="*/ 4944 h 10000"/>
              <a:gd name="connsiteX88" fmla="*/ 8017 w 10000"/>
              <a:gd name="connsiteY88" fmla="*/ 4890 h 10000"/>
              <a:gd name="connsiteX89" fmla="*/ 8032 w 10000"/>
              <a:gd name="connsiteY89" fmla="*/ 4840 h 10000"/>
              <a:gd name="connsiteX90" fmla="*/ 8176 w 10000"/>
              <a:gd name="connsiteY90" fmla="*/ 4927 h 10000"/>
              <a:gd name="connsiteX91" fmla="*/ 8369 w 10000"/>
              <a:gd name="connsiteY91" fmla="*/ 4974 h 10000"/>
              <a:gd name="connsiteX92" fmla="*/ 8446 w 10000"/>
              <a:gd name="connsiteY92" fmla="*/ 4888 h 10000"/>
              <a:gd name="connsiteX93" fmla="*/ 8507 w 10000"/>
              <a:gd name="connsiteY93" fmla="*/ 4935 h 10000"/>
              <a:gd name="connsiteX94" fmla="*/ 8596 w 10000"/>
              <a:gd name="connsiteY94" fmla="*/ 5105 h 10000"/>
              <a:gd name="connsiteX95" fmla="*/ 8782 w 10000"/>
              <a:gd name="connsiteY95" fmla="*/ 5143 h 10000"/>
              <a:gd name="connsiteX96" fmla="*/ 9542 w 10000"/>
              <a:gd name="connsiteY96" fmla="*/ 4896 h 10000"/>
              <a:gd name="connsiteX97" fmla="*/ 9914 w 10000"/>
              <a:gd name="connsiteY97" fmla="*/ 4549 h 10000"/>
              <a:gd name="connsiteX98" fmla="*/ 10000 w 10000"/>
              <a:gd name="connsiteY98" fmla="*/ 4301 h 10000"/>
              <a:gd name="connsiteX99" fmla="*/ 9866 w 10000"/>
              <a:gd name="connsiteY99" fmla="*/ 4072 h 10000"/>
              <a:gd name="connsiteX100" fmla="*/ 9582 w 10000"/>
              <a:gd name="connsiteY100" fmla="*/ 3938 h 10000"/>
              <a:gd name="connsiteX101" fmla="*/ 9382 w 10000"/>
              <a:gd name="connsiteY101" fmla="*/ 3712 h 10000"/>
              <a:gd name="connsiteX102" fmla="*/ 9569 w 10000"/>
              <a:gd name="connsiteY102" fmla="*/ 3705 h 10000"/>
              <a:gd name="connsiteX103" fmla="*/ 9555 w 10000"/>
              <a:gd name="connsiteY103" fmla="*/ 3653 h 10000"/>
              <a:gd name="connsiteX104" fmla="*/ 9068 w 10000"/>
              <a:gd name="connsiteY104" fmla="*/ 3498 h 10000"/>
              <a:gd name="connsiteX105" fmla="*/ 9047 w 10000"/>
              <a:gd name="connsiteY105" fmla="*/ 3354 h 10000"/>
              <a:gd name="connsiteX106" fmla="*/ 8953 w 10000"/>
              <a:gd name="connsiteY106" fmla="*/ 3203 h 10000"/>
              <a:gd name="connsiteX107" fmla="*/ 8569 w 10000"/>
              <a:gd name="connsiteY107" fmla="*/ 3231 h 10000"/>
              <a:gd name="connsiteX108" fmla="*/ 8431 w 10000"/>
              <a:gd name="connsiteY108" fmla="*/ 3070 h 10000"/>
              <a:gd name="connsiteX109" fmla="*/ 8350 w 10000"/>
              <a:gd name="connsiteY109" fmla="*/ 3060 h 10000"/>
              <a:gd name="connsiteX110" fmla="*/ 8350 w 10000"/>
              <a:gd name="connsiteY110" fmla="*/ 3132 h 10000"/>
              <a:gd name="connsiteX111" fmla="*/ 8176 w 10000"/>
              <a:gd name="connsiteY111" fmla="*/ 3398 h 10000"/>
              <a:gd name="connsiteX112" fmla="*/ 7990 w 10000"/>
              <a:gd name="connsiteY112" fmla="*/ 3556 h 10000"/>
              <a:gd name="connsiteX113" fmla="*/ 7401 w 10000"/>
              <a:gd name="connsiteY113" fmla="*/ 3823 h 10000"/>
              <a:gd name="connsiteX114" fmla="*/ 7198 w 10000"/>
              <a:gd name="connsiteY114" fmla="*/ 3815 h 10000"/>
              <a:gd name="connsiteX115" fmla="*/ 6915 w 10000"/>
              <a:gd name="connsiteY115" fmla="*/ 3856 h 10000"/>
              <a:gd name="connsiteX116" fmla="*/ 6757 w 10000"/>
              <a:gd name="connsiteY116" fmla="*/ 3815 h 10000"/>
              <a:gd name="connsiteX117" fmla="*/ 6965 w 10000"/>
              <a:gd name="connsiteY117" fmla="*/ 3738 h 10000"/>
              <a:gd name="connsiteX118" fmla="*/ 7235 w 10000"/>
              <a:gd name="connsiteY118" fmla="*/ 3705 h 10000"/>
              <a:gd name="connsiteX119" fmla="*/ 7455 w 10000"/>
              <a:gd name="connsiteY119" fmla="*/ 3581 h 10000"/>
              <a:gd name="connsiteX120" fmla="*/ 7674 w 10000"/>
              <a:gd name="connsiteY120" fmla="*/ 3522 h 10000"/>
              <a:gd name="connsiteX121" fmla="*/ 8082 w 10000"/>
              <a:gd name="connsiteY121" fmla="*/ 3303 h 10000"/>
              <a:gd name="connsiteX122" fmla="*/ 8157 w 10000"/>
              <a:gd name="connsiteY122" fmla="*/ 3159 h 10000"/>
              <a:gd name="connsiteX123" fmla="*/ 8165 w 10000"/>
              <a:gd name="connsiteY123" fmla="*/ 2974 h 10000"/>
              <a:gd name="connsiteX124" fmla="*/ 7978 w 10000"/>
              <a:gd name="connsiteY124" fmla="*/ 2942 h 10000"/>
              <a:gd name="connsiteX125" fmla="*/ 8058 w 10000"/>
              <a:gd name="connsiteY125" fmla="*/ 2829 h 10000"/>
              <a:gd name="connsiteX126" fmla="*/ 8087 w 10000"/>
              <a:gd name="connsiteY126" fmla="*/ 2686 h 10000"/>
              <a:gd name="connsiteX127" fmla="*/ 8007 w 10000"/>
              <a:gd name="connsiteY127" fmla="*/ 2552 h 10000"/>
              <a:gd name="connsiteX128" fmla="*/ 7450 w 10000"/>
              <a:gd name="connsiteY128" fmla="*/ 2736 h 10000"/>
              <a:gd name="connsiteX129" fmla="*/ 6694 w 10000"/>
              <a:gd name="connsiteY129" fmla="*/ 2654 h 10000"/>
              <a:gd name="connsiteX130" fmla="*/ 6304 w 10000"/>
              <a:gd name="connsiteY130" fmla="*/ 2140 h 10000"/>
              <a:gd name="connsiteX131" fmla="*/ 5294 w 10000"/>
              <a:gd name="connsiteY131" fmla="*/ 2043 h 10000"/>
              <a:gd name="connsiteX132" fmla="*/ 4505 w 10000"/>
              <a:gd name="connsiteY132" fmla="*/ 1617 h 10000"/>
              <a:gd name="connsiteX133" fmla="*/ 3730 w 10000"/>
              <a:gd name="connsiteY133" fmla="*/ 1106 h 10000"/>
              <a:gd name="connsiteX134" fmla="*/ 3154 w 10000"/>
              <a:gd name="connsiteY134" fmla="*/ 163 h 10000"/>
              <a:gd name="connsiteX135" fmla="*/ 2375 w 10000"/>
              <a:gd name="connsiteY135" fmla="*/ 0 h 10000"/>
              <a:gd name="connsiteX136" fmla="*/ 2226 w 10000"/>
              <a:gd name="connsiteY136" fmla="*/ 886 h 10000"/>
              <a:gd name="connsiteX137" fmla="*/ 2375 w 10000"/>
              <a:gd name="connsiteY137" fmla="*/ 1111 h 10000"/>
              <a:gd name="connsiteX138" fmla="*/ 2791 w 10000"/>
              <a:gd name="connsiteY138" fmla="*/ 1360 h 10000"/>
              <a:gd name="connsiteX139" fmla="*/ 2808 w 10000"/>
              <a:gd name="connsiteY139" fmla="*/ 1660 h 10000"/>
              <a:gd name="connsiteX140" fmla="*/ 2632 w 10000"/>
              <a:gd name="connsiteY140" fmla="*/ 1913 h 10000"/>
              <a:gd name="connsiteX141" fmla="*/ 2375 w 10000"/>
              <a:gd name="connsiteY141" fmla="*/ 2065 h 10000"/>
              <a:gd name="connsiteX142" fmla="*/ 2039 w 10000"/>
              <a:gd name="connsiteY142" fmla="*/ 2125 h 10000"/>
              <a:gd name="connsiteX143" fmla="*/ 1950 w 10000"/>
              <a:gd name="connsiteY143" fmla="*/ 2215 h 10000"/>
              <a:gd name="connsiteX144" fmla="*/ 2148 w 10000"/>
              <a:gd name="connsiteY144" fmla="*/ 2423 h 10000"/>
              <a:gd name="connsiteX145" fmla="*/ 2261 w 10000"/>
              <a:gd name="connsiteY145" fmla="*/ 2918 h 10000"/>
              <a:gd name="connsiteX146" fmla="*/ 2005 w 10000"/>
              <a:gd name="connsiteY146" fmla="*/ 3343 h 10000"/>
              <a:gd name="connsiteX147" fmla="*/ 2094 w 10000"/>
              <a:gd name="connsiteY147" fmla="*/ 3471 h 10000"/>
              <a:gd name="connsiteX148" fmla="*/ 2012 w 10000"/>
              <a:gd name="connsiteY148" fmla="*/ 3691 h 10000"/>
              <a:gd name="connsiteX149" fmla="*/ 1850 w 10000"/>
              <a:gd name="connsiteY149" fmla="*/ 3845 h 10000"/>
              <a:gd name="connsiteX150" fmla="*/ 1199 w 10000"/>
              <a:gd name="connsiteY150" fmla="*/ 3963 h 10000"/>
              <a:gd name="connsiteX151" fmla="*/ 1158 w 10000"/>
              <a:gd name="connsiteY151" fmla="*/ 4167 h 10000"/>
              <a:gd name="connsiteX152" fmla="*/ 808 w 10000"/>
              <a:gd name="connsiteY152" fmla="*/ 4470 h 10000"/>
              <a:gd name="connsiteX153" fmla="*/ 854 w 10000"/>
              <a:gd name="connsiteY153" fmla="*/ 4911 h 10000"/>
              <a:gd name="connsiteX154" fmla="*/ 560 w 10000"/>
              <a:gd name="connsiteY154" fmla="*/ 5474 h 10000"/>
              <a:gd name="connsiteX155" fmla="*/ 358 w 10000"/>
              <a:gd name="connsiteY155" fmla="*/ 5539 h 10000"/>
              <a:gd name="connsiteX156" fmla="*/ 275 w 10000"/>
              <a:gd name="connsiteY156" fmla="*/ 5405 h 10000"/>
              <a:gd name="connsiteX157" fmla="*/ 174 w 10000"/>
              <a:gd name="connsiteY157" fmla="*/ 5608 h 10000"/>
              <a:gd name="connsiteX158" fmla="*/ 239 w 10000"/>
              <a:gd name="connsiteY158" fmla="*/ 5258 h 10000"/>
              <a:gd name="connsiteX159" fmla="*/ 197 w 10000"/>
              <a:gd name="connsiteY159" fmla="*/ 5193 h 10000"/>
              <a:gd name="connsiteX0" fmla="*/ 197 w 10000"/>
              <a:gd name="connsiteY0" fmla="*/ 5193 h 10000"/>
              <a:gd name="connsiteX1" fmla="*/ 0 w 10000"/>
              <a:gd name="connsiteY1" fmla="*/ 5375 h 10000"/>
              <a:gd name="connsiteX2" fmla="*/ 0 w 10000"/>
              <a:gd name="connsiteY2" fmla="*/ 6269 h 10000"/>
              <a:gd name="connsiteX3" fmla="*/ 109 w 10000"/>
              <a:gd name="connsiteY3" fmla="*/ 6293 h 10000"/>
              <a:gd name="connsiteX4" fmla="*/ 134 w 10000"/>
              <a:gd name="connsiteY4" fmla="*/ 6364 h 10000"/>
              <a:gd name="connsiteX5" fmla="*/ 130 w 10000"/>
              <a:gd name="connsiteY5" fmla="*/ 6485 h 10000"/>
              <a:gd name="connsiteX6" fmla="*/ 89 w 10000"/>
              <a:gd name="connsiteY6" fmla="*/ 6538 h 10000"/>
              <a:gd name="connsiteX7" fmla="*/ 255 w 10000"/>
              <a:gd name="connsiteY7" fmla="*/ 6433 h 10000"/>
              <a:gd name="connsiteX8" fmla="*/ 325 w 10000"/>
              <a:gd name="connsiteY8" fmla="*/ 6334 h 10000"/>
              <a:gd name="connsiteX9" fmla="*/ 413 w 10000"/>
              <a:gd name="connsiteY9" fmla="*/ 6402 h 10000"/>
              <a:gd name="connsiteX10" fmla="*/ 316 w 10000"/>
              <a:gd name="connsiteY10" fmla="*/ 6549 h 10000"/>
              <a:gd name="connsiteX11" fmla="*/ 419 w 10000"/>
              <a:gd name="connsiteY11" fmla="*/ 6553 h 10000"/>
              <a:gd name="connsiteX12" fmla="*/ 469 w 10000"/>
              <a:gd name="connsiteY12" fmla="*/ 6589 h 10000"/>
              <a:gd name="connsiteX13" fmla="*/ 337 w 10000"/>
              <a:gd name="connsiteY13" fmla="*/ 6637 h 10000"/>
              <a:gd name="connsiteX14" fmla="*/ 130 w 10000"/>
              <a:gd name="connsiteY14" fmla="*/ 6788 h 10000"/>
              <a:gd name="connsiteX15" fmla="*/ 497 w 10000"/>
              <a:gd name="connsiteY15" fmla="*/ 6906 h 10000"/>
              <a:gd name="connsiteX16" fmla="*/ 545 w 10000"/>
              <a:gd name="connsiteY16" fmla="*/ 7073 h 10000"/>
              <a:gd name="connsiteX17" fmla="*/ 419 w 10000"/>
              <a:gd name="connsiteY17" fmla="*/ 7320 h 10000"/>
              <a:gd name="connsiteX18" fmla="*/ 688 w 10000"/>
              <a:gd name="connsiteY18" fmla="*/ 7306 h 10000"/>
              <a:gd name="connsiteX19" fmla="*/ 709 w 10000"/>
              <a:gd name="connsiteY19" fmla="*/ 7489 h 10000"/>
              <a:gd name="connsiteX20" fmla="*/ 530 w 10000"/>
              <a:gd name="connsiteY20" fmla="*/ 7621 h 10000"/>
              <a:gd name="connsiteX21" fmla="*/ 560 w 10000"/>
              <a:gd name="connsiteY21" fmla="*/ 7862 h 10000"/>
              <a:gd name="connsiteX22" fmla="*/ 489 w 10000"/>
              <a:gd name="connsiteY22" fmla="*/ 8056 h 10000"/>
              <a:gd name="connsiteX23" fmla="*/ 703 w 10000"/>
              <a:gd name="connsiteY23" fmla="*/ 8074 h 10000"/>
              <a:gd name="connsiteX24" fmla="*/ 909 w 10000"/>
              <a:gd name="connsiteY24" fmla="*/ 8807 h 10000"/>
              <a:gd name="connsiteX25" fmla="*/ 1150 w 10000"/>
              <a:gd name="connsiteY25" fmla="*/ 8989 h 10000"/>
              <a:gd name="connsiteX26" fmla="*/ 1255 w 10000"/>
              <a:gd name="connsiteY26" fmla="*/ 9187 h 10000"/>
              <a:gd name="connsiteX27" fmla="*/ 1397 w 10000"/>
              <a:gd name="connsiteY27" fmla="*/ 10000 h 10000"/>
              <a:gd name="connsiteX28" fmla="*/ 6419 w 10000"/>
              <a:gd name="connsiteY28" fmla="*/ 9402 h 10000"/>
              <a:gd name="connsiteX29" fmla="*/ 6586 w 10000"/>
              <a:gd name="connsiteY29" fmla="*/ 8620 h 10000"/>
              <a:gd name="connsiteX30" fmla="*/ 6855 w 10000"/>
              <a:gd name="connsiteY30" fmla="*/ 8274 h 10000"/>
              <a:gd name="connsiteX31" fmla="*/ 6855 w 10000"/>
              <a:gd name="connsiteY31" fmla="*/ 8089 h 10000"/>
              <a:gd name="connsiteX32" fmla="*/ 6757 w 10000"/>
              <a:gd name="connsiteY32" fmla="*/ 7989 h 10000"/>
              <a:gd name="connsiteX33" fmla="*/ 6915 w 10000"/>
              <a:gd name="connsiteY33" fmla="*/ 7822 h 10000"/>
              <a:gd name="connsiteX34" fmla="*/ 6887 w 10000"/>
              <a:gd name="connsiteY34" fmla="*/ 7687 h 10000"/>
              <a:gd name="connsiteX35" fmla="*/ 6779 w 10000"/>
              <a:gd name="connsiteY35" fmla="*/ 7572 h 10000"/>
              <a:gd name="connsiteX36" fmla="*/ 6757 w 10000"/>
              <a:gd name="connsiteY36" fmla="*/ 7481 h 10000"/>
              <a:gd name="connsiteX37" fmla="*/ 6785 w 10000"/>
              <a:gd name="connsiteY37" fmla="*/ 7415 h 10000"/>
              <a:gd name="connsiteX38" fmla="*/ 6931 w 10000"/>
              <a:gd name="connsiteY38" fmla="*/ 7468 h 10000"/>
              <a:gd name="connsiteX39" fmla="*/ 7045 w 10000"/>
              <a:gd name="connsiteY39" fmla="*/ 7465 h 10000"/>
              <a:gd name="connsiteX40" fmla="*/ 6983 w 10000"/>
              <a:gd name="connsiteY40" fmla="*/ 7355 h 10000"/>
              <a:gd name="connsiteX41" fmla="*/ 7003 w 10000"/>
              <a:gd name="connsiteY41" fmla="*/ 7289 h 10000"/>
              <a:gd name="connsiteX42" fmla="*/ 7089 w 10000"/>
              <a:gd name="connsiteY42" fmla="*/ 7196 h 10000"/>
              <a:gd name="connsiteX43" fmla="*/ 7074 w 10000"/>
              <a:gd name="connsiteY43" fmla="*/ 7118 h 10000"/>
              <a:gd name="connsiteX44" fmla="*/ 7152 w 10000"/>
              <a:gd name="connsiteY44" fmla="*/ 6859 h 10000"/>
              <a:gd name="connsiteX45" fmla="*/ 7130 w 10000"/>
              <a:gd name="connsiteY45" fmla="*/ 6778 h 10000"/>
              <a:gd name="connsiteX46" fmla="*/ 6729 w 10000"/>
              <a:gd name="connsiteY46" fmla="*/ 6579 h 10000"/>
              <a:gd name="connsiteX47" fmla="*/ 6785 w 10000"/>
              <a:gd name="connsiteY47" fmla="*/ 6572 h 10000"/>
              <a:gd name="connsiteX48" fmla="*/ 6998 w 10000"/>
              <a:gd name="connsiteY48" fmla="*/ 6622 h 10000"/>
              <a:gd name="connsiteX49" fmla="*/ 7230 w 10000"/>
              <a:gd name="connsiteY49" fmla="*/ 6603 h 10000"/>
              <a:gd name="connsiteX50" fmla="*/ 7295 w 10000"/>
              <a:gd name="connsiteY50" fmla="*/ 6534 h 10000"/>
              <a:gd name="connsiteX51" fmla="*/ 7074 w 10000"/>
              <a:gd name="connsiteY51" fmla="*/ 6399 h 10000"/>
              <a:gd name="connsiteX52" fmla="*/ 6414 w 10000"/>
              <a:gd name="connsiteY52" fmla="*/ 6310 h 10000"/>
              <a:gd name="connsiteX53" fmla="*/ 6458 w 10000"/>
              <a:gd name="connsiteY53" fmla="*/ 6269 h 10000"/>
              <a:gd name="connsiteX54" fmla="*/ 6998 w 10000"/>
              <a:gd name="connsiteY54" fmla="*/ 6241 h 10000"/>
              <a:gd name="connsiteX55" fmla="*/ 7295 w 10000"/>
              <a:gd name="connsiteY55" fmla="*/ 6322 h 10000"/>
              <a:gd name="connsiteX56" fmla="*/ 7466 w 10000"/>
              <a:gd name="connsiteY56" fmla="*/ 6269 h 10000"/>
              <a:gd name="connsiteX57" fmla="*/ 7529 w 10000"/>
              <a:gd name="connsiteY57" fmla="*/ 6130 h 10000"/>
              <a:gd name="connsiteX58" fmla="*/ 7840 w 10000"/>
              <a:gd name="connsiteY58" fmla="*/ 6130 h 10000"/>
              <a:gd name="connsiteX59" fmla="*/ 8261 w 10000"/>
              <a:gd name="connsiteY59" fmla="*/ 5848 h 10000"/>
              <a:gd name="connsiteX60" fmla="*/ 8275 w 10000"/>
              <a:gd name="connsiteY60" fmla="*/ 5659 h 10000"/>
              <a:gd name="connsiteX61" fmla="*/ 8453 w 10000"/>
              <a:gd name="connsiteY61" fmla="*/ 5702 h 10000"/>
              <a:gd name="connsiteX62" fmla="*/ 8446 w 10000"/>
              <a:gd name="connsiteY62" fmla="*/ 5891 h 10000"/>
              <a:gd name="connsiteX63" fmla="*/ 8727 w 10000"/>
              <a:gd name="connsiteY63" fmla="*/ 5878 h 10000"/>
              <a:gd name="connsiteX64" fmla="*/ 8913 w 10000"/>
              <a:gd name="connsiteY64" fmla="*/ 5682 h 10000"/>
              <a:gd name="connsiteX65" fmla="*/ 9258 w 10000"/>
              <a:gd name="connsiteY65" fmla="*/ 5506 h 10000"/>
              <a:gd name="connsiteX66" fmla="*/ 9203 w 10000"/>
              <a:gd name="connsiteY66" fmla="*/ 5307 h 10000"/>
              <a:gd name="connsiteX67" fmla="*/ 9306 w 10000"/>
              <a:gd name="connsiteY67" fmla="*/ 5387 h 10000"/>
              <a:gd name="connsiteX68" fmla="*/ 9464 w 10000"/>
              <a:gd name="connsiteY68" fmla="*/ 5387 h 10000"/>
              <a:gd name="connsiteX69" fmla="*/ 9464 w 10000"/>
              <a:gd name="connsiteY69" fmla="*/ 5294 h 10000"/>
              <a:gd name="connsiteX70" fmla="*/ 9611 w 10000"/>
              <a:gd name="connsiteY70" fmla="*/ 5226 h 10000"/>
              <a:gd name="connsiteX71" fmla="*/ 9592 w 10000"/>
              <a:gd name="connsiteY71" fmla="*/ 5153 h 10000"/>
              <a:gd name="connsiteX72" fmla="*/ 8350 w 10000"/>
              <a:gd name="connsiteY72" fmla="*/ 5296 h 10000"/>
              <a:gd name="connsiteX73" fmla="*/ 8058 w 10000"/>
              <a:gd name="connsiteY73" fmla="*/ 5256 h 10000"/>
              <a:gd name="connsiteX74" fmla="*/ 7942 w 10000"/>
              <a:gd name="connsiteY74" fmla="*/ 5307 h 10000"/>
              <a:gd name="connsiteX75" fmla="*/ 7903 w 10000"/>
              <a:gd name="connsiteY75" fmla="*/ 5206 h 10000"/>
              <a:gd name="connsiteX76" fmla="*/ 7765 w 10000"/>
              <a:gd name="connsiteY76" fmla="*/ 5118 h 10000"/>
              <a:gd name="connsiteX77" fmla="*/ 7213 w 10000"/>
              <a:gd name="connsiteY77" fmla="*/ 4935 h 10000"/>
              <a:gd name="connsiteX78" fmla="*/ 6887 w 10000"/>
              <a:gd name="connsiteY78" fmla="*/ 4966 h 10000"/>
              <a:gd name="connsiteX79" fmla="*/ 6757 w 10000"/>
              <a:gd name="connsiteY79" fmla="*/ 4914 h 10000"/>
              <a:gd name="connsiteX80" fmla="*/ 6894 w 10000"/>
              <a:gd name="connsiteY80" fmla="*/ 4870 h 10000"/>
              <a:gd name="connsiteX81" fmla="*/ 6998 w 10000"/>
              <a:gd name="connsiteY81" fmla="*/ 4774 h 10000"/>
              <a:gd name="connsiteX82" fmla="*/ 7152 w 10000"/>
              <a:gd name="connsiteY82" fmla="*/ 4804 h 10000"/>
              <a:gd name="connsiteX83" fmla="*/ 7335 w 10000"/>
              <a:gd name="connsiteY83" fmla="*/ 4780 h 10000"/>
              <a:gd name="connsiteX84" fmla="*/ 7611 w 10000"/>
              <a:gd name="connsiteY84" fmla="*/ 4811 h 10000"/>
              <a:gd name="connsiteX85" fmla="*/ 7645 w 10000"/>
              <a:gd name="connsiteY85" fmla="*/ 4798 h 10000"/>
              <a:gd name="connsiteX86" fmla="*/ 7859 w 10000"/>
              <a:gd name="connsiteY86" fmla="*/ 4944 h 10000"/>
              <a:gd name="connsiteX87" fmla="*/ 8017 w 10000"/>
              <a:gd name="connsiteY87" fmla="*/ 4890 h 10000"/>
              <a:gd name="connsiteX88" fmla="*/ 8032 w 10000"/>
              <a:gd name="connsiteY88" fmla="*/ 4840 h 10000"/>
              <a:gd name="connsiteX89" fmla="*/ 8176 w 10000"/>
              <a:gd name="connsiteY89" fmla="*/ 4927 h 10000"/>
              <a:gd name="connsiteX90" fmla="*/ 8369 w 10000"/>
              <a:gd name="connsiteY90" fmla="*/ 4974 h 10000"/>
              <a:gd name="connsiteX91" fmla="*/ 8446 w 10000"/>
              <a:gd name="connsiteY91" fmla="*/ 4888 h 10000"/>
              <a:gd name="connsiteX92" fmla="*/ 8507 w 10000"/>
              <a:gd name="connsiteY92" fmla="*/ 4935 h 10000"/>
              <a:gd name="connsiteX93" fmla="*/ 8596 w 10000"/>
              <a:gd name="connsiteY93" fmla="*/ 5105 h 10000"/>
              <a:gd name="connsiteX94" fmla="*/ 8782 w 10000"/>
              <a:gd name="connsiteY94" fmla="*/ 5143 h 10000"/>
              <a:gd name="connsiteX95" fmla="*/ 9542 w 10000"/>
              <a:gd name="connsiteY95" fmla="*/ 4896 h 10000"/>
              <a:gd name="connsiteX96" fmla="*/ 9914 w 10000"/>
              <a:gd name="connsiteY96" fmla="*/ 4549 h 10000"/>
              <a:gd name="connsiteX97" fmla="*/ 10000 w 10000"/>
              <a:gd name="connsiteY97" fmla="*/ 4301 h 10000"/>
              <a:gd name="connsiteX98" fmla="*/ 9866 w 10000"/>
              <a:gd name="connsiteY98" fmla="*/ 4072 h 10000"/>
              <a:gd name="connsiteX99" fmla="*/ 9582 w 10000"/>
              <a:gd name="connsiteY99" fmla="*/ 3938 h 10000"/>
              <a:gd name="connsiteX100" fmla="*/ 9382 w 10000"/>
              <a:gd name="connsiteY100" fmla="*/ 3712 h 10000"/>
              <a:gd name="connsiteX101" fmla="*/ 9569 w 10000"/>
              <a:gd name="connsiteY101" fmla="*/ 3705 h 10000"/>
              <a:gd name="connsiteX102" fmla="*/ 9555 w 10000"/>
              <a:gd name="connsiteY102" fmla="*/ 3653 h 10000"/>
              <a:gd name="connsiteX103" fmla="*/ 9068 w 10000"/>
              <a:gd name="connsiteY103" fmla="*/ 3498 h 10000"/>
              <a:gd name="connsiteX104" fmla="*/ 9047 w 10000"/>
              <a:gd name="connsiteY104" fmla="*/ 3354 h 10000"/>
              <a:gd name="connsiteX105" fmla="*/ 8953 w 10000"/>
              <a:gd name="connsiteY105" fmla="*/ 3203 h 10000"/>
              <a:gd name="connsiteX106" fmla="*/ 8569 w 10000"/>
              <a:gd name="connsiteY106" fmla="*/ 3231 h 10000"/>
              <a:gd name="connsiteX107" fmla="*/ 8431 w 10000"/>
              <a:gd name="connsiteY107" fmla="*/ 3070 h 10000"/>
              <a:gd name="connsiteX108" fmla="*/ 8350 w 10000"/>
              <a:gd name="connsiteY108" fmla="*/ 3060 h 10000"/>
              <a:gd name="connsiteX109" fmla="*/ 8350 w 10000"/>
              <a:gd name="connsiteY109" fmla="*/ 3132 h 10000"/>
              <a:gd name="connsiteX110" fmla="*/ 8176 w 10000"/>
              <a:gd name="connsiteY110" fmla="*/ 3398 h 10000"/>
              <a:gd name="connsiteX111" fmla="*/ 7990 w 10000"/>
              <a:gd name="connsiteY111" fmla="*/ 3556 h 10000"/>
              <a:gd name="connsiteX112" fmla="*/ 7401 w 10000"/>
              <a:gd name="connsiteY112" fmla="*/ 3823 h 10000"/>
              <a:gd name="connsiteX113" fmla="*/ 7198 w 10000"/>
              <a:gd name="connsiteY113" fmla="*/ 3815 h 10000"/>
              <a:gd name="connsiteX114" fmla="*/ 6915 w 10000"/>
              <a:gd name="connsiteY114" fmla="*/ 3856 h 10000"/>
              <a:gd name="connsiteX115" fmla="*/ 6757 w 10000"/>
              <a:gd name="connsiteY115" fmla="*/ 3815 h 10000"/>
              <a:gd name="connsiteX116" fmla="*/ 6965 w 10000"/>
              <a:gd name="connsiteY116" fmla="*/ 3738 h 10000"/>
              <a:gd name="connsiteX117" fmla="*/ 7235 w 10000"/>
              <a:gd name="connsiteY117" fmla="*/ 3705 h 10000"/>
              <a:gd name="connsiteX118" fmla="*/ 7455 w 10000"/>
              <a:gd name="connsiteY118" fmla="*/ 3581 h 10000"/>
              <a:gd name="connsiteX119" fmla="*/ 7674 w 10000"/>
              <a:gd name="connsiteY119" fmla="*/ 3522 h 10000"/>
              <a:gd name="connsiteX120" fmla="*/ 8082 w 10000"/>
              <a:gd name="connsiteY120" fmla="*/ 3303 h 10000"/>
              <a:gd name="connsiteX121" fmla="*/ 8157 w 10000"/>
              <a:gd name="connsiteY121" fmla="*/ 3159 h 10000"/>
              <a:gd name="connsiteX122" fmla="*/ 8165 w 10000"/>
              <a:gd name="connsiteY122" fmla="*/ 2974 h 10000"/>
              <a:gd name="connsiteX123" fmla="*/ 7978 w 10000"/>
              <a:gd name="connsiteY123" fmla="*/ 2942 h 10000"/>
              <a:gd name="connsiteX124" fmla="*/ 8058 w 10000"/>
              <a:gd name="connsiteY124" fmla="*/ 2829 h 10000"/>
              <a:gd name="connsiteX125" fmla="*/ 8087 w 10000"/>
              <a:gd name="connsiteY125" fmla="*/ 2686 h 10000"/>
              <a:gd name="connsiteX126" fmla="*/ 8007 w 10000"/>
              <a:gd name="connsiteY126" fmla="*/ 2552 h 10000"/>
              <a:gd name="connsiteX127" fmla="*/ 7450 w 10000"/>
              <a:gd name="connsiteY127" fmla="*/ 2736 h 10000"/>
              <a:gd name="connsiteX128" fmla="*/ 6694 w 10000"/>
              <a:gd name="connsiteY128" fmla="*/ 2654 h 10000"/>
              <a:gd name="connsiteX129" fmla="*/ 6304 w 10000"/>
              <a:gd name="connsiteY129" fmla="*/ 2140 h 10000"/>
              <a:gd name="connsiteX130" fmla="*/ 5294 w 10000"/>
              <a:gd name="connsiteY130" fmla="*/ 2043 h 10000"/>
              <a:gd name="connsiteX131" fmla="*/ 4505 w 10000"/>
              <a:gd name="connsiteY131" fmla="*/ 1617 h 10000"/>
              <a:gd name="connsiteX132" fmla="*/ 3730 w 10000"/>
              <a:gd name="connsiteY132" fmla="*/ 1106 h 10000"/>
              <a:gd name="connsiteX133" fmla="*/ 3154 w 10000"/>
              <a:gd name="connsiteY133" fmla="*/ 163 h 10000"/>
              <a:gd name="connsiteX134" fmla="*/ 2375 w 10000"/>
              <a:gd name="connsiteY134" fmla="*/ 0 h 10000"/>
              <a:gd name="connsiteX135" fmla="*/ 2226 w 10000"/>
              <a:gd name="connsiteY135" fmla="*/ 886 h 10000"/>
              <a:gd name="connsiteX136" fmla="*/ 2375 w 10000"/>
              <a:gd name="connsiteY136" fmla="*/ 1111 h 10000"/>
              <a:gd name="connsiteX137" fmla="*/ 2791 w 10000"/>
              <a:gd name="connsiteY137" fmla="*/ 1360 h 10000"/>
              <a:gd name="connsiteX138" fmla="*/ 2808 w 10000"/>
              <a:gd name="connsiteY138" fmla="*/ 1660 h 10000"/>
              <a:gd name="connsiteX139" fmla="*/ 2632 w 10000"/>
              <a:gd name="connsiteY139" fmla="*/ 1913 h 10000"/>
              <a:gd name="connsiteX140" fmla="*/ 2375 w 10000"/>
              <a:gd name="connsiteY140" fmla="*/ 2065 h 10000"/>
              <a:gd name="connsiteX141" fmla="*/ 2039 w 10000"/>
              <a:gd name="connsiteY141" fmla="*/ 2125 h 10000"/>
              <a:gd name="connsiteX142" fmla="*/ 1950 w 10000"/>
              <a:gd name="connsiteY142" fmla="*/ 2215 h 10000"/>
              <a:gd name="connsiteX143" fmla="*/ 2148 w 10000"/>
              <a:gd name="connsiteY143" fmla="*/ 2423 h 10000"/>
              <a:gd name="connsiteX144" fmla="*/ 2261 w 10000"/>
              <a:gd name="connsiteY144" fmla="*/ 2918 h 10000"/>
              <a:gd name="connsiteX145" fmla="*/ 2005 w 10000"/>
              <a:gd name="connsiteY145" fmla="*/ 3343 h 10000"/>
              <a:gd name="connsiteX146" fmla="*/ 2094 w 10000"/>
              <a:gd name="connsiteY146" fmla="*/ 3471 h 10000"/>
              <a:gd name="connsiteX147" fmla="*/ 2012 w 10000"/>
              <a:gd name="connsiteY147" fmla="*/ 3691 h 10000"/>
              <a:gd name="connsiteX148" fmla="*/ 1850 w 10000"/>
              <a:gd name="connsiteY148" fmla="*/ 3845 h 10000"/>
              <a:gd name="connsiteX149" fmla="*/ 1199 w 10000"/>
              <a:gd name="connsiteY149" fmla="*/ 3963 h 10000"/>
              <a:gd name="connsiteX150" fmla="*/ 1158 w 10000"/>
              <a:gd name="connsiteY150" fmla="*/ 4167 h 10000"/>
              <a:gd name="connsiteX151" fmla="*/ 808 w 10000"/>
              <a:gd name="connsiteY151" fmla="*/ 4470 h 10000"/>
              <a:gd name="connsiteX152" fmla="*/ 854 w 10000"/>
              <a:gd name="connsiteY152" fmla="*/ 4911 h 10000"/>
              <a:gd name="connsiteX153" fmla="*/ 560 w 10000"/>
              <a:gd name="connsiteY153" fmla="*/ 5474 h 10000"/>
              <a:gd name="connsiteX154" fmla="*/ 358 w 10000"/>
              <a:gd name="connsiteY154" fmla="*/ 5539 h 10000"/>
              <a:gd name="connsiteX155" fmla="*/ 275 w 10000"/>
              <a:gd name="connsiteY155" fmla="*/ 5405 h 10000"/>
              <a:gd name="connsiteX156" fmla="*/ 174 w 10000"/>
              <a:gd name="connsiteY156" fmla="*/ 5608 h 10000"/>
              <a:gd name="connsiteX157" fmla="*/ 239 w 10000"/>
              <a:gd name="connsiteY157" fmla="*/ 5258 h 10000"/>
              <a:gd name="connsiteX158" fmla="*/ 197 w 10000"/>
              <a:gd name="connsiteY158" fmla="*/ 5193 h 10000"/>
              <a:gd name="connsiteX0" fmla="*/ 197 w 10000"/>
              <a:gd name="connsiteY0" fmla="*/ 5193 h 9423"/>
              <a:gd name="connsiteX1" fmla="*/ 0 w 10000"/>
              <a:gd name="connsiteY1" fmla="*/ 5375 h 9423"/>
              <a:gd name="connsiteX2" fmla="*/ 0 w 10000"/>
              <a:gd name="connsiteY2" fmla="*/ 6269 h 9423"/>
              <a:gd name="connsiteX3" fmla="*/ 109 w 10000"/>
              <a:gd name="connsiteY3" fmla="*/ 6293 h 9423"/>
              <a:gd name="connsiteX4" fmla="*/ 134 w 10000"/>
              <a:gd name="connsiteY4" fmla="*/ 6364 h 9423"/>
              <a:gd name="connsiteX5" fmla="*/ 130 w 10000"/>
              <a:gd name="connsiteY5" fmla="*/ 6485 h 9423"/>
              <a:gd name="connsiteX6" fmla="*/ 89 w 10000"/>
              <a:gd name="connsiteY6" fmla="*/ 6538 h 9423"/>
              <a:gd name="connsiteX7" fmla="*/ 255 w 10000"/>
              <a:gd name="connsiteY7" fmla="*/ 6433 h 9423"/>
              <a:gd name="connsiteX8" fmla="*/ 325 w 10000"/>
              <a:gd name="connsiteY8" fmla="*/ 6334 h 9423"/>
              <a:gd name="connsiteX9" fmla="*/ 413 w 10000"/>
              <a:gd name="connsiteY9" fmla="*/ 6402 h 9423"/>
              <a:gd name="connsiteX10" fmla="*/ 316 w 10000"/>
              <a:gd name="connsiteY10" fmla="*/ 6549 h 9423"/>
              <a:gd name="connsiteX11" fmla="*/ 419 w 10000"/>
              <a:gd name="connsiteY11" fmla="*/ 6553 h 9423"/>
              <a:gd name="connsiteX12" fmla="*/ 469 w 10000"/>
              <a:gd name="connsiteY12" fmla="*/ 6589 h 9423"/>
              <a:gd name="connsiteX13" fmla="*/ 337 w 10000"/>
              <a:gd name="connsiteY13" fmla="*/ 6637 h 9423"/>
              <a:gd name="connsiteX14" fmla="*/ 130 w 10000"/>
              <a:gd name="connsiteY14" fmla="*/ 6788 h 9423"/>
              <a:gd name="connsiteX15" fmla="*/ 497 w 10000"/>
              <a:gd name="connsiteY15" fmla="*/ 6906 h 9423"/>
              <a:gd name="connsiteX16" fmla="*/ 545 w 10000"/>
              <a:gd name="connsiteY16" fmla="*/ 7073 h 9423"/>
              <a:gd name="connsiteX17" fmla="*/ 419 w 10000"/>
              <a:gd name="connsiteY17" fmla="*/ 7320 h 9423"/>
              <a:gd name="connsiteX18" fmla="*/ 688 w 10000"/>
              <a:gd name="connsiteY18" fmla="*/ 7306 h 9423"/>
              <a:gd name="connsiteX19" fmla="*/ 709 w 10000"/>
              <a:gd name="connsiteY19" fmla="*/ 7489 h 9423"/>
              <a:gd name="connsiteX20" fmla="*/ 530 w 10000"/>
              <a:gd name="connsiteY20" fmla="*/ 7621 h 9423"/>
              <a:gd name="connsiteX21" fmla="*/ 560 w 10000"/>
              <a:gd name="connsiteY21" fmla="*/ 7862 h 9423"/>
              <a:gd name="connsiteX22" fmla="*/ 489 w 10000"/>
              <a:gd name="connsiteY22" fmla="*/ 8056 h 9423"/>
              <a:gd name="connsiteX23" fmla="*/ 703 w 10000"/>
              <a:gd name="connsiteY23" fmla="*/ 8074 h 9423"/>
              <a:gd name="connsiteX24" fmla="*/ 909 w 10000"/>
              <a:gd name="connsiteY24" fmla="*/ 8807 h 9423"/>
              <a:gd name="connsiteX25" fmla="*/ 1150 w 10000"/>
              <a:gd name="connsiteY25" fmla="*/ 8989 h 9423"/>
              <a:gd name="connsiteX26" fmla="*/ 1255 w 10000"/>
              <a:gd name="connsiteY26" fmla="*/ 9187 h 9423"/>
              <a:gd name="connsiteX27" fmla="*/ 6419 w 10000"/>
              <a:gd name="connsiteY27" fmla="*/ 9402 h 9423"/>
              <a:gd name="connsiteX28" fmla="*/ 6586 w 10000"/>
              <a:gd name="connsiteY28" fmla="*/ 8620 h 9423"/>
              <a:gd name="connsiteX29" fmla="*/ 6855 w 10000"/>
              <a:gd name="connsiteY29" fmla="*/ 8274 h 9423"/>
              <a:gd name="connsiteX30" fmla="*/ 6855 w 10000"/>
              <a:gd name="connsiteY30" fmla="*/ 8089 h 9423"/>
              <a:gd name="connsiteX31" fmla="*/ 6757 w 10000"/>
              <a:gd name="connsiteY31" fmla="*/ 7989 h 9423"/>
              <a:gd name="connsiteX32" fmla="*/ 6915 w 10000"/>
              <a:gd name="connsiteY32" fmla="*/ 7822 h 9423"/>
              <a:gd name="connsiteX33" fmla="*/ 6887 w 10000"/>
              <a:gd name="connsiteY33" fmla="*/ 7687 h 9423"/>
              <a:gd name="connsiteX34" fmla="*/ 6779 w 10000"/>
              <a:gd name="connsiteY34" fmla="*/ 7572 h 9423"/>
              <a:gd name="connsiteX35" fmla="*/ 6757 w 10000"/>
              <a:gd name="connsiteY35" fmla="*/ 7481 h 9423"/>
              <a:gd name="connsiteX36" fmla="*/ 6785 w 10000"/>
              <a:gd name="connsiteY36" fmla="*/ 7415 h 9423"/>
              <a:gd name="connsiteX37" fmla="*/ 6931 w 10000"/>
              <a:gd name="connsiteY37" fmla="*/ 7468 h 9423"/>
              <a:gd name="connsiteX38" fmla="*/ 7045 w 10000"/>
              <a:gd name="connsiteY38" fmla="*/ 7465 h 9423"/>
              <a:gd name="connsiteX39" fmla="*/ 6983 w 10000"/>
              <a:gd name="connsiteY39" fmla="*/ 7355 h 9423"/>
              <a:gd name="connsiteX40" fmla="*/ 7003 w 10000"/>
              <a:gd name="connsiteY40" fmla="*/ 7289 h 9423"/>
              <a:gd name="connsiteX41" fmla="*/ 7089 w 10000"/>
              <a:gd name="connsiteY41" fmla="*/ 7196 h 9423"/>
              <a:gd name="connsiteX42" fmla="*/ 7074 w 10000"/>
              <a:gd name="connsiteY42" fmla="*/ 7118 h 9423"/>
              <a:gd name="connsiteX43" fmla="*/ 7152 w 10000"/>
              <a:gd name="connsiteY43" fmla="*/ 6859 h 9423"/>
              <a:gd name="connsiteX44" fmla="*/ 7130 w 10000"/>
              <a:gd name="connsiteY44" fmla="*/ 6778 h 9423"/>
              <a:gd name="connsiteX45" fmla="*/ 6729 w 10000"/>
              <a:gd name="connsiteY45" fmla="*/ 6579 h 9423"/>
              <a:gd name="connsiteX46" fmla="*/ 6785 w 10000"/>
              <a:gd name="connsiteY46" fmla="*/ 6572 h 9423"/>
              <a:gd name="connsiteX47" fmla="*/ 6998 w 10000"/>
              <a:gd name="connsiteY47" fmla="*/ 6622 h 9423"/>
              <a:gd name="connsiteX48" fmla="*/ 7230 w 10000"/>
              <a:gd name="connsiteY48" fmla="*/ 6603 h 9423"/>
              <a:gd name="connsiteX49" fmla="*/ 7295 w 10000"/>
              <a:gd name="connsiteY49" fmla="*/ 6534 h 9423"/>
              <a:gd name="connsiteX50" fmla="*/ 7074 w 10000"/>
              <a:gd name="connsiteY50" fmla="*/ 6399 h 9423"/>
              <a:gd name="connsiteX51" fmla="*/ 6414 w 10000"/>
              <a:gd name="connsiteY51" fmla="*/ 6310 h 9423"/>
              <a:gd name="connsiteX52" fmla="*/ 6458 w 10000"/>
              <a:gd name="connsiteY52" fmla="*/ 6269 h 9423"/>
              <a:gd name="connsiteX53" fmla="*/ 6998 w 10000"/>
              <a:gd name="connsiteY53" fmla="*/ 6241 h 9423"/>
              <a:gd name="connsiteX54" fmla="*/ 7295 w 10000"/>
              <a:gd name="connsiteY54" fmla="*/ 6322 h 9423"/>
              <a:gd name="connsiteX55" fmla="*/ 7466 w 10000"/>
              <a:gd name="connsiteY55" fmla="*/ 6269 h 9423"/>
              <a:gd name="connsiteX56" fmla="*/ 7529 w 10000"/>
              <a:gd name="connsiteY56" fmla="*/ 6130 h 9423"/>
              <a:gd name="connsiteX57" fmla="*/ 7840 w 10000"/>
              <a:gd name="connsiteY57" fmla="*/ 6130 h 9423"/>
              <a:gd name="connsiteX58" fmla="*/ 8261 w 10000"/>
              <a:gd name="connsiteY58" fmla="*/ 5848 h 9423"/>
              <a:gd name="connsiteX59" fmla="*/ 8275 w 10000"/>
              <a:gd name="connsiteY59" fmla="*/ 5659 h 9423"/>
              <a:gd name="connsiteX60" fmla="*/ 8453 w 10000"/>
              <a:gd name="connsiteY60" fmla="*/ 5702 h 9423"/>
              <a:gd name="connsiteX61" fmla="*/ 8446 w 10000"/>
              <a:gd name="connsiteY61" fmla="*/ 5891 h 9423"/>
              <a:gd name="connsiteX62" fmla="*/ 8727 w 10000"/>
              <a:gd name="connsiteY62" fmla="*/ 5878 h 9423"/>
              <a:gd name="connsiteX63" fmla="*/ 8913 w 10000"/>
              <a:gd name="connsiteY63" fmla="*/ 5682 h 9423"/>
              <a:gd name="connsiteX64" fmla="*/ 9258 w 10000"/>
              <a:gd name="connsiteY64" fmla="*/ 5506 h 9423"/>
              <a:gd name="connsiteX65" fmla="*/ 9203 w 10000"/>
              <a:gd name="connsiteY65" fmla="*/ 5307 h 9423"/>
              <a:gd name="connsiteX66" fmla="*/ 9306 w 10000"/>
              <a:gd name="connsiteY66" fmla="*/ 5387 h 9423"/>
              <a:gd name="connsiteX67" fmla="*/ 9464 w 10000"/>
              <a:gd name="connsiteY67" fmla="*/ 5387 h 9423"/>
              <a:gd name="connsiteX68" fmla="*/ 9464 w 10000"/>
              <a:gd name="connsiteY68" fmla="*/ 5294 h 9423"/>
              <a:gd name="connsiteX69" fmla="*/ 9611 w 10000"/>
              <a:gd name="connsiteY69" fmla="*/ 5226 h 9423"/>
              <a:gd name="connsiteX70" fmla="*/ 9592 w 10000"/>
              <a:gd name="connsiteY70" fmla="*/ 5153 h 9423"/>
              <a:gd name="connsiteX71" fmla="*/ 8350 w 10000"/>
              <a:gd name="connsiteY71" fmla="*/ 5296 h 9423"/>
              <a:gd name="connsiteX72" fmla="*/ 8058 w 10000"/>
              <a:gd name="connsiteY72" fmla="*/ 5256 h 9423"/>
              <a:gd name="connsiteX73" fmla="*/ 7942 w 10000"/>
              <a:gd name="connsiteY73" fmla="*/ 5307 h 9423"/>
              <a:gd name="connsiteX74" fmla="*/ 7903 w 10000"/>
              <a:gd name="connsiteY74" fmla="*/ 5206 h 9423"/>
              <a:gd name="connsiteX75" fmla="*/ 7765 w 10000"/>
              <a:gd name="connsiteY75" fmla="*/ 5118 h 9423"/>
              <a:gd name="connsiteX76" fmla="*/ 7213 w 10000"/>
              <a:gd name="connsiteY76" fmla="*/ 4935 h 9423"/>
              <a:gd name="connsiteX77" fmla="*/ 6887 w 10000"/>
              <a:gd name="connsiteY77" fmla="*/ 4966 h 9423"/>
              <a:gd name="connsiteX78" fmla="*/ 6757 w 10000"/>
              <a:gd name="connsiteY78" fmla="*/ 4914 h 9423"/>
              <a:gd name="connsiteX79" fmla="*/ 6894 w 10000"/>
              <a:gd name="connsiteY79" fmla="*/ 4870 h 9423"/>
              <a:gd name="connsiteX80" fmla="*/ 6998 w 10000"/>
              <a:gd name="connsiteY80" fmla="*/ 4774 h 9423"/>
              <a:gd name="connsiteX81" fmla="*/ 7152 w 10000"/>
              <a:gd name="connsiteY81" fmla="*/ 4804 h 9423"/>
              <a:gd name="connsiteX82" fmla="*/ 7335 w 10000"/>
              <a:gd name="connsiteY82" fmla="*/ 4780 h 9423"/>
              <a:gd name="connsiteX83" fmla="*/ 7611 w 10000"/>
              <a:gd name="connsiteY83" fmla="*/ 4811 h 9423"/>
              <a:gd name="connsiteX84" fmla="*/ 7645 w 10000"/>
              <a:gd name="connsiteY84" fmla="*/ 4798 h 9423"/>
              <a:gd name="connsiteX85" fmla="*/ 7859 w 10000"/>
              <a:gd name="connsiteY85" fmla="*/ 4944 h 9423"/>
              <a:gd name="connsiteX86" fmla="*/ 8017 w 10000"/>
              <a:gd name="connsiteY86" fmla="*/ 4890 h 9423"/>
              <a:gd name="connsiteX87" fmla="*/ 8032 w 10000"/>
              <a:gd name="connsiteY87" fmla="*/ 4840 h 9423"/>
              <a:gd name="connsiteX88" fmla="*/ 8176 w 10000"/>
              <a:gd name="connsiteY88" fmla="*/ 4927 h 9423"/>
              <a:gd name="connsiteX89" fmla="*/ 8369 w 10000"/>
              <a:gd name="connsiteY89" fmla="*/ 4974 h 9423"/>
              <a:gd name="connsiteX90" fmla="*/ 8446 w 10000"/>
              <a:gd name="connsiteY90" fmla="*/ 4888 h 9423"/>
              <a:gd name="connsiteX91" fmla="*/ 8507 w 10000"/>
              <a:gd name="connsiteY91" fmla="*/ 4935 h 9423"/>
              <a:gd name="connsiteX92" fmla="*/ 8596 w 10000"/>
              <a:gd name="connsiteY92" fmla="*/ 5105 h 9423"/>
              <a:gd name="connsiteX93" fmla="*/ 8782 w 10000"/>
              <a:gd name="connsiteY93" fmla="*/ 5143 h 9423"/>
              <a:gd name="connsiteX94" fmla="*/ 9542 w 10000"/>
              <a:gd name="connsiteY94" fmla="*/ 4896 h 9423"/>
              <a:gd name="connsiteX95" fmla="*/ 9914 w 10000"/>
              <a:gd name="connsiteY95" fmla="*/ 4549 h 9423"/>
              <a:gd name="connsiteX96" fmla="*/ 10000 w 10000"/>
              <a:gd name="connsiteY96" fmla="*/ 4301 h 9423"/>
              <a:gd name="connsiteX97" fmla="*/ 9866 w 10000"/>
              <a:gd name="connsiteY97" fmla="*/ 4072 h 9423"/>
              <a:gd name="connsiteX98" fmla="*/ 9582 w 10000"/>
              <a:gd name="connsiteY98" fmla="*/ 3938 h 9423"/>
              <a:gd name="connsiteX99" fmla="*/ 9382 w 10000"/>
              <a:gd name="connsiteY99" fmla="*/ 3712 h 9423"/>
              <a:gd name="connsiteX100" fmla="*/ 9569 w 10000"/>
              <a:gd name="connsiteY100" fmla="*/ 3705 h 9423"/>
              <a:gd name="connsiteX101" fmla="*/ 9555 w 10000"/>
              <a:gd name="connsiteY101" fmla="*/ 3653 h 9423"/>
              <a:gd name="connsiteX102" fmla="*/ 9068 w 10000"/>
              <a:gd name="connsiteY102" fmla="*/ 3498 h 9423"/>
              <a:gd name="connsiteX103" fmla="*/ 9047 w 10000"/>
              <a:gd name="connsiteY103" fmla="*/ 3354 h 9423"/>
              <a:gd name="connsiteX104" fmla="*/ 8953 w 10000"/>
              <a:gd name="connsiteY104" fmla="*/ 3203 h 9423"/>
              <a:gd name="connsiteX105" fmla="*/ 8569 w 10000"/>
              <a:gd name="connsiteY105" fmla="*/ 3231 h 9423"/>
              <a:gd name="connsiteX106" fmla="*/ 8431 w 10000"/>
              <a:gd name="connsiteY106" fmla="*/ 3070 h 9423"/>
              <a:gd name="connsiteX107" fmla="*/ 8350 w 10000"/>
              <a:gd name="connsiteY107" fmla="*/ 3060 h 9423"/>
              <a:gd name="connsiteX108" fmla="*/ 8350 w 10000"/>
              <a:gd name="connsiteY108" fmla="*/ 3132 h 9423"/>
              <a:gd name="connsiteX109" fmla="*/ 8176 w 10000"/>
              <a:gd name="connsiteY109" fmla="*/ 3398 h 9423"/>
              <a:gd name="connsiteX110" fmla="*/ 7990 w 10000"/>
              <a:gd name="connsiteY110" fmla="*/ 3556 h 9423"/>
              <a:gd name="connsiteX111" fmla="*/ 7401 w 10000"/>
              <a:gd name="connsiteY111" fmla="*/ 3823 h 9423"/>
              <a:gd name="connsiteX112" fmla="*/ 7198 w 10000"/>
              <a:gd name="connsiteY112" fmla="*/ 3815 h 9423"/>
              <a:gd name="connsiteX113" fmla="*/ 6915 w 10000"/>
              <a:gd name="connsiteY113" fmla="*/ 3856 h 9423"/>
              <a:gd name="connsiteX114" fmla="*/ 6757 w 10000"/>
              <a:gd name="connsiteY114" fmla="*/ 3815 h 9423"/>
              <a:gd name="connsiteX115" fmla="*/ 6965 w 10000"/>
              <a:gd name="connsiteY115" fmla="*/ 3738 h 9423"/>
              <a:gd name="connsiteX116" fmla="*/ 7235 w 10000"/>
              <a:gd name="connsiteY116" fmla="*/ 3705 h 9423"/>
              <a:gd name="connsiteX117" fmla="*/ 7455 w 10000"/>
              <a:gd name="connsiteY117" fmla="*/ 3581 h 9423"/>
              <a:gd name="connsiteX118" fmla="*/ 7674 w 10000"/>
              <a:gd name="connsiteY118" fmla="*/ 3522 h 9423"/>
              <a:gd name="connsiteX119" fmla="*/ 8082 w 10000"/>
              <a:gd name="connsiteY119" fmla="*/ 3303 h 9423"/>
              <a:gd name="connsiteX120" fmla="*/ 8157 w 10000"/>
              <a:gd name="connsiteY120" fmla="*/ 3159 h 9423"/>
              <a:gd name="connsiteX121" fmla="*/ 8165 w 10000"/>
              <a:gd name="connsiteY121" fmla="*/ 2974 h 9423"/>
              <a:gd name="connsiteX122" fmla="*/ 7978 w 10000"/>
              <a:gd name="connsiteY122" fmla="*/ 2942 h 9423"/>
              <a:gd name="connsiteX123" fmla="*/ 8058 w 10000"/>
              <a:gd name="connsiteY123" fmla="*/ 2829 h 9423"/>
              <a:gd name="connsiteX124" fmla="*/ 8087 w 10000"/>
              <a:gd name="connsiteY124" fmla="*/ 2686 h 9423"/>
              <a:gd name="connsiteX125" fmla="*/ 8007 w 10000"/>
              <a:gd name="connsiteY125" fmla="*/ 2552 h 9423"/>
              <a:gd name="connsiteX126" fmla="*/ 7450 w 10000"/>
              <a:gd name="connsiteY126" fmla="*/ 2736 h 9423"/>
              <a:gd name="connsiteX127" fmla="*/ 6694 w 10000"/>
              <a:gd name="connsiteY127" fmla="*/ 2654 h 9423"/>
              <a:gd name="connsiteX128" fmla="*/ 6304 w 10000"/>
              <a:gd name="connsiteY128" fmla="*/ 2140 h 9423"/>
              <a:gd name="connsiteX129" fmla="*/ 5294 w 10000"/>
              <a:gd name="connsiteY129" fmla="*/ 2043 h 9423"/>
              <a:gd name="connsiteX130" fmla="*/ 4505 w 10000"/>
              <a:gd name="connsiteY130" fmla="*/ 1617 h 9423"/>
              <a:gd name="connsiteX131" fmla="*/ 3730 w 10000"/>
              <a:gd name="connsiteY131" fmla="*/ 1106 h 9423"/>
              <a:gd name="connsiteX132" fmla="*/ 3154 w 10000"/>
              <a:gd name="connsiteY132" fmla="*/ 163 h 9423"/>
              <a:gd name="connsiteX133" fmla="*/ 2375 w 10000"/>
              <a:gd name="connsiteY133" fmla="*/ 0 h 9423"/>
              <a:gd name="connsiteX134" fmla="*/ 2226 w 10000"/>
              <a:gd name="connsiteY134" fmla="*/ 886 h 9423"/>
              <a:gd name="connsiteX135" fmla="*/ 2375 w 10000"/>
              <a:gd name="connsiteY135" fmla="*/ 1111 h 9423"/>
              <a:gd name="connsiteX136" fmla="*/ 2791 w 10000"/>
              <a:gd name="connsiteY136" fmla="*/ 1360 h 9423"/>
              <a:gd name="connsiteX137" fmla="*/ 2808 w 10000"/>
              <a:gd name="connsiteY137" fmla="*/ 1660 h 9423"/>
              <a:gd name="connsiteX138" fmla="*/ 2632 w 10000"/>
              <a:gd name="connsiteY138" fmla="*/ 1913 h 9423"/>
              <a:gd name="connsiteX139" fmla="*/ 2375 w 10000"/>
              <a:gd name="connsiteY139" fmla="*/ 2065 h 9423"/>
              <a:gd name="connsiteX140" fmla="*/ 2039 w 10000"/>
              <a:gd name="connsiteY140" fmla="*/ 2125 h 9423"/>
              <a:gd name="connsiteX141" fmla="*/ 1950 w 10000"/>
              <a:gd name="connsiteY141" fmla="*/ 2215 h 9423"/>
              <a:gd name="connsiteX142" fmla="*/ 2148 w 10000"/>
              <a:gd name="connsiteY142" fmla="*/ 2423 h 9423"/>
              <a:gd name="connsiteX143" fmla="*/ 2261 w 10000"/>
              <a:gd name="connsiteY143" fmla="*/ 2918 h 9423"/>
              <a:gd name="connsiteX144" fmla="*/ 2005 w 10000"/>
              <a:gd name="connsiteY144" fmla="*/ 3343 h 9423"/>
              <a:gd name="connsiteX145" fmla="*/ 2094 w 10000"/>
              <a:gd name="connsiteY145" fmla="*/ 3471 h 9423"/>
              <a:gd name="connsiteX146" fmla="*/ 2012 w 10000"/>
              <a:gd name="connsiteY146" fmla="*/ 3691 h 9423"/>
              <a:gd name="connsiteX147" fmla="*/ 1850 w 10000"/>
              <a:gd name="connsiteY147" fmla="*/ 3845 h 9423"/>
              <a:gd name="connsiteX148" fmla="*/ 1199 w 10000"/>
              <a:gd name="connsiteY148" fmla="*/ 3963 h 9423"/>
              <a:gd name="connsiteX149" fmla="*/ 1158 w 10000"/>
              <a:gd name="connsiteY149" fmla="*/ 4167 h 9423"/>
              <a:gd name="connsiteX150" fmla="*/ 808 w 10000"/>
              <a:gd name="connsiteY150" fmla="*/ 4470 h 9423"/>
              <a:gd name="connsiteX151" fmla="*/ 854 w 10000"/>
              <a:gd name="connsiteY151" fmla="*/ 4911 h 9423"/>
              <a:gd name="connsiteX152" fmla="*/ 560 w 10000"/>
              <a:gd name="connsiteY152" fmla="*/ 5474 h 9423"/>
              <a:gd name="connsiteX153" fmla="*/ 358 w 10000"/>
              <a:gd name="connsiteY153" fmla="*/ 5539 h 9423"/>
              <a:gd name="connsiteX154" fmla="*/ 275 w 10000"/>
              <a:gd name="connsiteY154" fmla="*/ 5405 h 9423"/>
              <a:gd name="connsiteX155" fmla="*/ 174 w 10000"/>
              <a:gd name="connsiteY155" fmla="*/ 5608 h 9423"/>
              <a:gd name="connsiteX156" fmla="*/ 239 w 10000"/>
              <a:gd name="connsiteY156" fmla="*/ 5258 h 9423"/>
              <a:gd name="connsiteX157" fmla="*/ 197 w 10000"/>
              <a:gd name="connsiteY157" fmla="*/ 5193 h 9423"/>
              <a:gd name="connsiteX0" fmla="*/ 197 w 10000"/>
              <a:gd name="connsiteY0" fmla="*/ 5511 h 9985"/>
              <a:gd name="connsiteX1" fmla="*/ 0 w 10000"/>
              <a:gd name="connsiteY1" fmla="*/ 5704 h 9985"/>
              <a:gd name="connsiteX2" fmla="*/ 0 w 10000"/>
              <a:gd name="connsiteY2" fmla="*/ 6653 h 9985"/>
              <a:gd name="connsiteX3" fmla="*/ 109 w 10000"/>
              <a:gd name="connsiteY3" fmla="*/ 6678 h 9985"/>
              <a:gd name="connsiteX4" fmla="*/ 134 w 10000"/>
              <a:gd name="connsiteY4" fmla="*/ 6754 h 9985"/>
              <a:gd name="connsiteX5" fmla="*/ 130 w 10000"/>
              <a:gd name="connsiteY5" fmla="*/ 6882 h 9985"/>
              <a:gd name="connsiteX6" fmla="*/ 89 w 10000"/>
              <a:gd name="connsiteY6" fmla="*/ 6938 h 9985"/>
              <a:gd name="connsiteX7" fmla="*/ 255 w 10000"/>
              <a:gd name="connsiteY7" fmla="*/ 6827 h 9985"/>
              <a:gd name="connsiteX8" fmla="*/ 325 w 10000"/>
              <a:gd name="connsiteY8" fmla="*/ 6722 h 9985"/>
              <a:gd name="connsiteX9" fmla="*/ 413 w 10000"/>
              <a:gd name="connsiteY9" fmla="*/ 6794 h 9985"/>
              <a:gd name="connsiteX10" fmla="*/ 316 w 10000"/>
              <a:gd name="connsiteY10" fmla="*/ 6950 h 9985"/>
              <a:gd name="connsiteX11" fmla="*/ 419 w 10000"/>
              <a:gd name="connsiteY11" fmla="*/ 6954 h 9985"/>
              <a:gd name="connsiteX12" fmla="*/ 469 w 10000"/>
              <a:gd name="connsiteY12" fmla="*/ 6992 h 9985"/>
              <a:gd name="connsiteX13" fmla="*/ 337 w 10000"/>
              <a:gd name="connsiteY13" fmla="*/ 7043 h 9985"/>
              <a:gd name="connsiteX14" fmla="*/ 130 w 10000"/>
              <a:gd name="connsiteY14" fmla="*/ 7204 h 9985"/>
              <a:gd name="connsiteX15" fmla="*/ 497 w 10000"/>
              <a:gd name="connsiteY15" fmla="*/ 7329 h 9985"/>
              <a:gd name="connsiteX16" fmla="*/ 545 w 10000"/>
              <a:gd name="connsiteY16" fmla="*/ 7506 h 9985"/>
              <a:gd name="connsiteX17" fmla="*/ 419 w 10000"/>
              <a:gd name="connsiteY17" fmla="*/ 7768 h 9985"/>
              <a:gd name="connsiteX18" fmla="*/ 688 w 10000"/>
              <a:gd name="connsiteY18" fmla="*/ 7753 h 9985"/>
              <a:gd name="connsiteX19" fmla="*/ 709 w 10000"/>
              <a:gd name="connsiteY19" fmla="*/ 7948 h 9985"/>
              <a:gd name="connsiteX20" fmla="*/ 530 w 10000"/>
              <a:gd name="connsiteY20" fmla="*/ 8088 h 9985"/>
              <a:gd name="connsiteX21" fmla="*/ 560 w 10000"/>
              <a:gd name="connsiteY21" fmla="*/ 8343 h 9985"/>
              <a:gd name="connsiteX22" fmla="*/ 489 w 10000"/>
              <a:gd name="connsiteY22" fmla="*/ 8549 h 9985"/>
              <a:gd name="connsiteX23" fmla="*/ 703 w 10000"/>
              <a:gd name="connsiteY23" fmla="*/ 8568 h 9985"/>
              <a:gd name="connsiteX24" fmla="*/ 909 w 10000"/>
              <a:gd name="connsiteY24" fmla="*/ 9346 h 9985"/>
              <a:gd name="connsiteX25" fmla="*/ 1150 w 10000"/>
              <a:gd name="connsiteY25" fmla="*/ 9539 h 9985"/>
              <a:gd name="connsiteX26" fmla="*/ 6419 w 10000"/>
              <a:gd name="connsiteY26" fmla="*/ 9978 h 9985"/>
              <a:gd name="connsiteX27" fmla="*/ 6586 w 10000"/>
              <a:gd name="connsiteY27" fmla="*/ 9148 h 9985"/>
              <a:gd name="connsiteX28" fmla="*/ 6855 w 10000"/>
              <a:gd name="connsiteY28" fmla="*/ 8781 h 9985"/>
              <a:gd name="connsiteX29" fmla="*/ 6855 w 10000"/>
              <a:gd name="connsiteY29" fmla="*/ 8584 h 9985"/>
              <a:gd name="connsiteX30" fmla="*/ 6757 w 10000"/>
              <a:gd name="connsiteY30" fmla="*/ 8478 h 9985"/>
              <a:gd name="connsiteX31" fmla="*/ 6915 w 10000"/>
              <a:gd name="connsiteY31" fmla="*/ 8301 h 9985"/>
              <a:gd name="connsiteX32" fmla="*/ 6887 w 10000"/>
              <a:gd name="connsiteY32" fmla="*/ 8158 h 9985"/>
              <a:gd name="connsiteX33" fmla="*/ 6779 w 10000"/>
              <a:gd name="connsiteY33" fmla="*/ 8036 h 9985"/>
              <a:gd name="connsiteX34" fmla="*/ 6757 w 10000"/>
              <a:gd name="connsiteY34" fmla="*/ 7939 h 9985"/>
              <a:gd name="connsiteX35" fmla="*/ 6785 w 10000"/>
              <a:gd name="connsiteY35" fmla="*/ 7869 h 9985"/>
              <a:gd name="connsiteX36" fmla="*/ 6931 w 10000"/>
              <a:gd name="connsiteY36" fmla="*/ 7925 h 9985"/>
              <a:gd name="connsiteX37" fmla="*/ 7045 w 10000"/>
              <a:gd name="connsiteY37" fmla="*/ 7922 h 9985"/>
              <a:gd name="connsiteX38" fmla="*/ 6983 w 10000"/>
              <a:gd name="connsiteY38" fmla="*/ 7805 h 9985"/>
              <a:gd name="connsiteX39" fmla="*/ 7003 w 10000"/>
              <a:gd name="connsiteY39" fmla="*/ 7735 h 9985"/>
              <a:gd name="connsiteX40" fmla="*/ 7089 w 10000"/>
              <a:gd name="connsiteY40" fmla="*/ 7637 h 9985"/>
              <a:gd name="connsiteX41" fmla="*/ 7074 w 10000"/>
              <a:gd name="connsiteY41" fmla="*/ 7554 h 9985"/>
              <a:gd name="connsiteX42" fmla="*/ 7152 w 10000"/>
              <a:gd name="connsiteY42" fmla="*/ 7279 h 9985"/>
              <a:gd name="connsiteX43" fmla="*/ 7130 w 10000"/>
              <a:gd name="connsiteY43" fmla="*/ 7193 h 9985"/>
              <a:gd name="connsiteX44" fmla="*/ 6729 w 10000"/>
              <a:gd name="connsiteY44" fmla="*/ 6982 h 9985"/>
              <a:gd name="connsiteX45" fmla="*/ 6785 w 10000"/>
              <a:gd name="connsiteY45" fmla="*/ 6974 h 9985"/>
              <a:gd name="connsiteX46" fmla="*/ 6998 w 10000"/>
              <a:gd name="connsiteY46" fmla="*/ 7027 h 9985"/>
              <a:gd name="connsiteX47" fmla="*/ 7230 w 10000"/>
              <a:gd name="connsiteY47" fmla="*/ 7007 h 9985"/>
              <a:gd name="connsiteX48" fmla="*/ 7295 w 10000"/>
              <a:gd name="connsiteY48" fmla="*/ 6934 h 9985"/>
              <a:gd name="connsiteX49" fmla="*/ 7074 w 10000"/>
              <a:gd name="connsiteY49" fmla="*/ 6791 h 9985"/>
              <a:gd name="connsiteX50" fmla="*/ 6414 w 10000"/>
              <a:gd name="connsiteY50" fmla="*/ 6696 h 9985"/>
              <a:gd name="connsiteX51" fmla="*/ 6458 w 10000"/>
              <a:gd name="connsiteY51" fmla="*/ 6653 h 9985"/>
              <a:gd name="connsiteX52" fmla="*/ 6998 w 10000"/>
              <a:gd name="connsiteY52" fmla="*/ 6623 h 9985"/>
              <a:gd name="connsiteX53" fmla="*/ 7295 w 10000"/>
              <a:gd name="connsiteY53" fmla="*/ 6709 h 9985"/>
              <a:gd name="connsiteX54" fmla="*/ 7466 w 10000"/>
              <a:gd name="connsiteY54" fmla="*/ 6653 h 9985"/>
              <a:gd name="connsiteX55" fmla="*/ 7529 w 10000"/>
              <a:gd name="connsiteY55" fmla="*/ 6505 h 9985"/>
              <a:gd name="connsiteX56" fmla="*/ 7840 w 10000"/>
              <a:gd name="connsiteY56" fmla="*/ 6505 h 9985"/>
              <a:gd name="connsiteX57" fmla="*/ 8261 w 10000"/>
              <a:gd name="connsiteY57" fmla="*/ 6206 h 9985"/>
              <a:gd name="connsiteX58" fmla="*/ 8275 w 10000"/>
              <a:gd name="connsiteY58" fmla="*/ 6006 h 9985"/>
              <a:gd name="connsiteX59" fmla="*/ 8453 w 10000"/>
              <a:gd name="connsiteY59" fmla="*/ 6051 h 9985"/>
              <a:gd name="connsiteX60" fmla="*/ 8446 w 10000"/>
              <a:gd name="connsiteY60" fmla="*/ 6252 h 9985"/>
              <a:gd name="connsiteX61" fmla="*/ 8727 w 10000"/>
              <a:gd name="connsiteY61" fmla="*/ 6238 h 9985"/>
              <a:gd name="connsiteX62" fmla="*/ 8913 w 10000"/>
              <a:gd name="connsiteY62" fmla="*/ 6030 h 9985"/>
              <a:gd name="connsiteX63" fmla="*/ 9258 w 10000"/>
              <a:gd name="connsiteY63" fmla="*/ 5843 h 9985"/>
              <a:gd name="connsiteX64" fmla="*/ 9203 w 10000"/>
              <a:gd name="connsiteY64" fmla="*/ 5632 h 9985"/>
              <a:gd name="connsiteX65" fmla="*/ 9306 w 10000"/>
              <a:gd name="connsiteY65" fmla="*/ 5717 h 9985"/>
              <a:gd name="connsiteX66" fmla="*/ 9464 w 10000"/>
              <a:gd name="connsiteY66" fmla="*/ 5717 h 9985"/>
              <a:gd name="connsiteX67" fmla="*/ 9464 w 10000"/>
              <a:gd name="connsiteY67" fmla="*/ 5618 h 9985"/>
              <a:gd name="connsiteX68" fmla="*/ 9611 w 10000"/>
              <a:gd name="connsiteY68" fmla="*/ 5546 h 9985"/>
              <a:gd name="connsiteX69" fmla="*/ 9592 w 10000"/>
              <a:gd name="connsiteY69" fmla="*/ 5469 h 9985"/>
              <a:gd name="connsiteX70" fmla="*/ 8350 w 10000"/>
              <a:gd name="connsiteY70" fmla="*/ 5620 h 9985"/>
              <a:gd name="connsiteX71" fmla="*/ 8058 w 10000"/>
              <a:gd name="connsiteY71" fmla="*/ 5578 h 9985"/>
              <a:gd name="connsiteX72" fmla="*/ 7942 w 10000"/>
              <a:gd name="connsiteY72" fmla="*/ 5632 h 9985"/>
              <a:gd name="connsiteX73" fmla="*/ 7903 w 10000"/>
              <a:gd name="connsiteY73" fmla="*/ 5525 h 9985"/>
              <a:gd name="connsiteX74" fmla="*/ 7765 w 10000"/>
              <a:gd name="connsiteY74" fmla="*/ 5431 h 9985"/>
              <a:gd name="connsiteX75" fmla="*/ 7213 w 10000"/>
              <a:gd name="connsiteY75" fmla="*/ 5237 h 9985"/>
              <a:gd name="connsiteX76" fmla="*/ 6887 w 10000"/>
              <a:gd name="connsiteY76" fmla="*/ 5270 h 9985"/>
              <a:gd name="connsiteX77" fmla="*/ 6757 w 10000"/>
              <a:gd name="connsiteY77" fmla="*/ 5215 h 9985"/>
              <a:gd name="connsiteX78" fmla="*/ 6894 w 10000"/>
              <a:gd name="connsiteY78" fmla="*/ 5168 h 9985"/>
              <a:gd name="connsiteX79" fmla="*/ 6998 w 10000"/>
              <a:gd name="connsiteY79" fmla="*/ 5066 h 9985"/>
              <a:gd name="connsiteX80" fmla="*/ 7152 w 10000"/>
              <a:gd name="connsiteY80" fmla="*/ 5098 h 9985"/>
              <a:gd name="connsiteX81" fmla="*/ 7335 w 10000"/>
              <a:gd name="connsiteY81" fmla="*/ 5073 h 9985"/>
              <a:gd name="connsiteX82" fmla="*/ 7611 w 10000"/>
              <a:gd name="connsiteY82" fmla="*/ 5106 h 9985"/>
              <a:gd name="connsiteX83" fmla="*/ 7645 w 10000"/>
              <a:gd name="connsiteY83" fmla="*/ 5092 h 9985"/>
              <a:gd name="connsiteX84" fmla="*/ 7859 w 10000"/>
              <a:gd name="connsiteY84" fmla="*/ 5247 h 9985"/>
              <a:gd name="connsiteX85" fmla="*/ 8017 w 10000"/>
              <a:gd name="connsiteY85" fmla="*/ 5189 h 9985"/>
              <a:gd name="connsiteX86" fmla="*/ 8032 w 10000"/>
              <a:gd name="connsiteY86" fmla="*/ 5136 h 9985"/>
              <a:gd name="connsiteX87" fmla="*/ 8176 w 10000"/>
              <a:gd name="connsiteY87" fmla="*/ 5229 h 9985"/>
              <a:gd name="connsiteX88" fmla="*/ 8369 w 10000"/>
              <a:gd name="connsiteY88" fmla="*/ 5279 h 9985"/>
              <a:gd name="connsiteX89" fmla="*/ 8446 w 10000"/>
              <a:gd name="connsiteY89" fmla="*/ 5187 h 9985"/>
              <a:gd name="connsiteX90" fmla="*/ 8507 w 10000"/>
              <a:gd name="connsiteY90" fmla="*/ 5237 h 9985"/>
              <a:gd name="connsiteX91" fmla="*/ 8596 w 10000"/>
              <a:gd name="connsiteY91" fmla="*/ 5418 h 9985"/>
              <a:gd name="connsiteX92" fmla="*/ 8782 w 10000"/>
              <a:gd name="connsiteY92" fmla="*/ 5458 h 9985"/>
              <a:gd name="connsiteX93" fmla="*/ 9542 w 10000"/>
              <a:gd name="connsiteY93" fmla="*/ 5196 h 9985"/>
              <a:gd name="connsiteX94" fmla="*/ 9914 w 10000"/>
              <a:gd name="connsiteY94" fmla="*/ 4828 h 9985"/>
              <a:gd name="connsiteX95" fmla="*/ 10000 w 10000"/>
              <a:gd name="connsiteY95" fmla="*/ 4564 h 9985"/>
              <a:gd name="connsiteX96" fmla="*/ 9866 w 10000"/>
              <a:gd name="connsiteY96" fmla="*/ 4321 h 9985"/>
              <a:gd name="connsiteX97" fmla="*/ 9582 w 10000"/>
              <a:gd name="connsiteY97" fmla="*/ 4179 h 9985"/>
              <a:gd name="connsiteX98" fmla="*/ 9382 w 10000"/>
              <a:gd name="connsiteY98" fmla="*/ 3939 h 9985"/>
              <a:gd name="connsiteX99" fmla="*/ 9569 w 10000"/>
              <a:gd name="connsiteY99" fmla="*/ 3932 h 9985"/>
              <a:gd name="connsiteX100" fmla="*/ 9555 w 10000"/>
              <a:gd name="connsiteY100" fmla="*/ 3877 h 9985"/>
              <a:gd name="connsiteX101" fmla="*/ 9068 w 10000"/>
              <a:gd name="connsiteY101" fmla="*/ 3712 h 9985"/>
              <a:gd name="connsiteX102" fmla="*/ 9047 w 10000"/>
              <a:gd name="connsiteY102" fmla="*/ 3559 h 9985"/>
              <a:gd name="connsiteX103" fmla="*/ 8953 w 10000"/>
              <a:gd name="connsiteY103" fmla="*/ 3399 h 9985"/>
              <a:gd name="connsiteX104" fmla="*/ 8569 w 10000"/>
              <a:gd name="connsiteY104" fmla="*/ 3429 h 9985"/>
              <a:gd name="connsiteX105" fmla="*/ 8431 w 10000"/>
              <a:gd name="connsiteY105" fmla="*/ 3258 h 9985"/>
              <a:gd name="connsiteX106" fmla="*/ 8350 w 10000"/>
              <a:gd name="connsiteY106" fmla="*/ 3247 h 9985"/>
              <a:gd name="connsiteX107" fmla="*/ 8350 w 10000"/>
              <a:gd name="connsiteY107" fmla="*/ 3324 h 9985"/>
              <a:gd name="connsiteX108" fmla="*/ 8176 w 10000"/>
              <a:gd name="connsiteY108" fmla="*/ 3606 h 9985"/>
              <a:gd name="connsiteX109" fmla="*/ 7990 w 10000"/>
              <a:gd name="connsiteY109" fmla="*/ 3774 h 9985"/>
              <a:gd name="connsiteX110" fmla="*/ 7401 w 10000"/>
              <a:gd name="connsiteY110" fmla="*/ 4057 h 9985"/>
              <a:gd name="connsiteX111" fmla="*/ 7198 w 10000"/>
              <a:gd name="connsiteY111" fmla="*/ 4049 h 9985"/>
              <a:gd name="connsiteX112" fmla="*/ 6915 w 10000"/>
              <a:gd name="connsiteY112" fmla="*/ 4092 h 9985"/>
              <a:gd name="connsiteX113" fmla="*/ 6757 w 10000"/>
              <a:gd name="connsiteY113" fmla="*/ 4049 h 9985"/>
              <a:gd name="connsiteX114" fmla="*/ 6965 w 10000"/>
              <a:gd name="connsiteY114" fmla="*/ 3967 h 9985"/>
              <a:gd name="connsiteX115" fmla="*/ 7235 w 10000"/>
              <a:gd name="connsiteY115" fmla="*/ 3932 h 9985"/>
              <a:gd name="connsiteX116" fmla="*/ 7455 w 10000"/>
              <a:gd name="connsiteY116" fmla="*/ 3800 h 9985"/>
              <a:gd name="connsiteX117" fmla="*/ 7674 w 10000"/>
              <a:gd name="connsiteY117" fmla="*/ 3738 h 9985"/>
              <a:gd name="connsiteX118" fmla="*/ 8082 w 10000"/>
              <a:gd name="connsiteY118" fmla="*/ 3505 h 9985"/>
              <a:gd name="connsiteX119" fmla="*/ 8157 w 10000"/>
              <a:gd name="connsiteY119" fmla="*/ 3352 h 9985"/>
              <a:gd name="connsiteX120" fmla="*/ 8165 w 10000"/>
              <a:gd name="connsiteY120" fmla="*/ 3156 h 9985"/>
              <a:gd name="connsiteX121" fmla="*/ 7978 w 10000"/>
              <a:gd name="connsiteY121" fmla="*/ 3122 h 9985"/>
              <a:gd name="connsiteX122" fmla="*/ 8058 w 10000"/>
              <a:gd name="connsiteY122" fmla="*/ 3002 h 9985"/>
              <a:gd name="connsiteX123" fmla="*/ 8087 w 10000"/>
              <a:gd name="connsiteY123" fmla="*/ 2850 h 9985"/>
              <a:gd name="connsiteX124" fmla="*/ 8007 w 10000"/>
              <a:gd name="connsiteY124" fmla="*/ 2708 h 9985"/>
              <a:gd name="connsiteX125" fmla="*/ 7450 w 10000"/>
              <a:gd name="connsiteY125" fmla="*/ 2904 h 9985"/>
              <a:gd name="connsiteX126" fmla="*/ 6694 w 10000"/>
              <a:gd name="connsiteY126" fmla="*/ 2817 h 9985"/>
              <a:gd name="connsiteX127" fmla="*/ 6304 w 10000"/>
              <a:gd name="connsiteY127" fmla="*/ 2271 h 9985"/>
              <a:gd name="connsiteX128" fmla="*/ 5294 w 10000"/>
              <a:gd name="connsiteY128" fmla="*/ 2168 h 9985"/>
              <a:gd name="connsiteX129" fmla="*/ 4505 w 10000"/>
              <a:gd name="connsiteY129" fmla="*/ 1716 h 9985"/>
              <a:gd name="connsiteX130" fmla="*/ 3730 w 10000"/>
              <a:gd name="connsiteY130" fmla="*/ 1174 h 9985"/>
              <a:gd name="connsiteX131" fmla="*/ 3154 w 10000"/>
              <a:gd name="connsiteY131" fmla="*/ 173 h 9985"/>
              <a:gd name="connsiteX132" fmla="*/ 2375 w 10000"/>
              <a:gd name="connsiteY132" fmla="*/ 0 h 9985"/>
              <a:gd name="connsiteX133" fmla="*/ 2226 w 10000"/>
              <a:gd name="connsiteY133" fmla="*/ 940 h 9985"/>
              <a:gd name="connsiteX134" fmla="*/ 2375 w 10000"/>
              <a:gd name="connsiteY134" fmla="*/ 1179 h 9985"/>
              <a:gd name="connsiteX135" fmla="*/ 2791 w 10000"/>
              <a:gd name="connsiteY135" fmla="*/ 1443 h 9985"/>
              <a:gd name="connsiteX136" fmla="*/ 2808 w 10000"/>
              <a:gd name="connsiteY136" fmla="*/ 1762 h 9985"/>
              <a:gd name="connsiteX137" fmla="*/ 2632 w 10000"/>
              <a:gd name="connsiteY137" fmla="*/ 2030 h 9985"/>
              <a:gd name="connsiteX138" fmla="*/ 2375 w 10000"/>
              <a:gd name="connsiteY138" fmla="*/ 2191 h 9985"/>
              <a:gd name="connsiteX139" fmla="*/ 2039 w 10000"/>
              <a:gd name="connsiteY139" fmla="*/ 2255 h 9985"/>
              <a:gd name="connsiteX140" fmla="*/ 1950 w 10000"/>
              <a:gd name="connsiteY140" fmla="*/ 2351 h 9985"/>
              <a:gd name="connsiteX141" fmla="*/ 2148 w 10000"/>
              <a:gd name="connsiteY141" fmla="*/ 2571 h 9985"/>
              <a:gd name="connsiteX142" fmla="*/ 2261 w 10000"/>
              <a:gd name="connsiteY142" fmla="*/ 3097 h 9985"/>
              <a:gd name="connsiteX143" fmla="*/ 2005 w 10000"/>
              <a:gd name="connsiteY143" fmla="*/ 3548 h 9985"/>
              <a:gd name="connsiteX144" fmla="*/ 2094 w 10000"/>
              <a:gd name="connsiteY144" fmla="*/ 3684 h 9985"/>
              <a:gd name="connsiteX145" fmla="*/ 2012 w 10000"/>
              <a:gd name="connsiteY145" fmla="*/ 3917 h 9985"/>
              <a:gd name="connsiteX146" fmla="*/ 1850 w 10000"/>
              <a:gd name="connsiteY146" fmla="*/ 4080 h 9985"/>
              <a:gd name="connsiteX147" fmla="*/ 1199 w 10000"/>
              <a:gd name="connsiteY147" fmla="*/ 4206 h 9985"/>
              <a:gd name="connsiteX148" fmla="*/ 1158 w 10000"/>
              <a:gd name="connsiteY148" fmla="*/ 4422 h 9985"/>
              <a:gd name="connsiteX149" fmla="*/ 808 w 10000"/>
              <a:gd name="connsiteY149" fmla="*/ 4744 h 9985"/>
              <a:gd name="connsiteX150" fmla="*/ 854 w 10000"/>
              <a:gd name="connsiteY150" fmla="*/ 5212 h 9985"/>
              <a:gd name="connsiteX151" fmla="*/ 560 w 10000"/>
              <a:gd name="connsiteY151" fmla="*/ 5809 h 9985"/>
              <a:gd name="connsiteX152" fmla="*/ 358 w 10000"/>
              <a:gd name="connsiteY152" fmla="*/ 5878 h 9985"/>
              <a:gd name="connsiteX153" fmla="*/ 275 w 10000"/>
              <a:gd name="connsiteY153" fmla="*/ 5736 h 9985"/>
              <a:gd name="connsiteX154" fmla="*/ 174 w 10000"/>
              <a:gd name="connsiteY154" fmla="*/ 5951 h 9985"/>
              <a:gd name="connsiteX155" fmla="*/ 239 w 10000"/>
              <a:gd name="connsiteY155" fmla="*/ 5580 h 9985"/>
              <a:gd name="connsiteX156" fmla="*/ 197 w 10000"/>
              <a:gd name="connsiteY156" fmla="*/ 5511 h 9985"/>
              <a:gd name="connsiteX0" fmla="*/ 197 w 10000"/>
              <a:gd name="connsiteY0" fmla="*/ 5519 h 9996"/>
              <a:gd name="connsiteX1" fmla="*/ 0 w 10000"/>
              <a:gd name="connsiteY1" fmla="*/ 5713 h 9996"/>
              <a:gd name="connsiteX2" fmla="*/ 0 w 10000"/>
              <a:gd name="connsiteY2" fmla="*/ 6663 h 9996"/>
              <a:gd name="connsiteX3" fmla="*/ 109 w 10000"/>
              <a:gd name="connsiteY3" fmla="*/ 6688 h 9996"/>
              <a:gd name="connsiteX4" fmla="*/ 134 w 10000"/>
              <a:gd name="connsiteY4" fmla="*/ 6764 h 9996"/>
              <a:gd name="connsiteX5" fmla="*/ 130 w 10000"/>
              <a:gd name="connsiteY5" fmla="*/ 6892 h 9996"/>
              <a:gd name="connsiteX6" fmla="*/ 89 w 10000"/>
              <a:gd name="connsiteY6" fmla="*/ 6948 h 9996"/>
              <a:gd name="connsiteX7" fmla="*/ 255 w 10000"/>
              <a:gd name="connsiteY7" fmla="*/ 6837 h 9996"/>
              <a:gd name="connsiteX8" fmla="*/ 325 w 10000"/>
              <a:gd name="connsiteY8" fmla="*/ 6732 h 9996"/>
              <a:gd name="connsiteX9" fmla="*/ 413 w 10000"/>
              <a:gd name="connsiteY9" fmla="*/ 6804 h 9996"/>
              <a:gd name="connsiteX10" fmla="*/ 316 w 10000"/>
              <a:gd name="connsiteY10" fmla="*/ 6960 h 9996"/>
              <a:gd name="connsiteX11" fmla="*/ 419 w 10000"/>
              <a:gd name="connsiteY11" fmla="*/ 6964 h 9996"/>
              <a:gd name="connsiteX12" fmla="*/ 469 w 10000"/>
              <a:gd name="connsiteY12" fmla="*/ 7003 h 9996"/>
              <a:gd name="connsiteX13" fmla="*/ 337 w 10000"/>
              <a:gd name="connsiteY13" fmla="*/ 7054 h 9996"/>
              <a:gd name="connsiteX14" fmla="*/ 130 w 10000"/>
              <a:gd name="connsiteY14" fmla="*/ 7215 h 9996"/>
              <a:gd name="connsiteX15" fmla="*/ 497 w 10000"/>
              <a:gd name="connsiteY15" fmla="*/ 7340 h 9996"/>
              <a:gd name="connsiteX16" fmla="*/ 545 w 10000"/>
              <a:gd name="connsiteY16" fmla="*/ 7517 h 9996"/>
              <a:gd name="connsiteX17" fmla="*/ 419 w 10000"/>
              <a:gd name="connsiteY17" fmla="*/ 7780 h 9996"/>
              <a:gd name="connsiteX18" fmla="*/ 688 w 10000"/>
              <a:gd name="connsiteY18" fmla="*/ 7765 h 9996"/>
              <a:gd name="connsiteX19" fmla="*/ 709 w 10000"/>
              <a:gd name="connsiteY19" fmla="*/ 7960 h 9996"/>
              <a:gd name="connsiteX20" fmla="*/ 530 w 10000"/>
              <a:gd name="connsiteY20" fmla="*/ 8100 h 9996"/>
              <a:gd name="connsiteX21" fmla="*/ 560 w 10000"/>
              <a:gd name="connsiteY21" fmla="*/ 8356 h 9996"/>
              <a:gd name="connsiteX22" fmla="*/ 489 w 10000"/>
              <a:gd name="connsiteY22" fmla="*/ 8562 h 9996"/>
              <a:gd name="connsiteX23" fmla="*/ 703 w 10000"/>
              <a:gd name="connsiteY23" fmla="*/ 8581 h 9996"/>
              <a:gd name="connsiteX24" fmla="*/ 909 w 10000"/>
              <a:gd name="connsiteY24" fmla="*/ 9360 h 9996"/>
              <a:gd name="connsiteX25" fmla="*/ 1675 w 10000"/>
              <a:gd name="connsiteY25" fmla="*/ 9165 h 9996"/>
              <a:gd name="connsiteX26" fmla="*/ 6419 w 10000"/>
              <a:gd name="connsiteY26" fmla="*/ 9993 h 9996"/>
              <a:gd name="connsiteX27" fmla="*/ 6586 w 10000"/>
              <a:gd name="connsiteY27" fmla="*/ 9162 h 9996"/>
              <a:gd name="connsiteX28" fmla="*/ 6855 w 10000"/>
              <a:gd name="connsiteY28" fmla="*/ 8794 h 9996"/>
              <a:gd name="connsiteX29" fmla="*/ 6855 w 10000"/>
              <a:gd name="connsiteY29" fmla="*/ 8597 h 9996"/>
              <a:gd name="connsiteX30" fmla="*/ 6757 w 10000"/>
              <a:gd name="connsiteY30" fmla="*/ 8491 h 9996"/>
              <a:gd name="connsiteX31" fmla="*/ 6915 w 10000"/>
              <a:gd name="connsiteY31" fmla="*/ 8313 h 9996"/>
              <a:gd name="connsiteX32" fmla="*/ 6887 w 10000"/>
              <a:gd name="connsiteY32" fmla="*/ 8170 h 9996"/>
              <a:gd name="connsiteX33" fmla="*/ 6779 w 10000"/>
              <a:gd name="connsiteY33" fmla="*/ 8048 h 9996"/>
              <a:gd name="connsiteX34" fmla="*/ 6757 w 10000"/>
              <a:gd name="connsiteY34" fmla="*/ 7951 h 9996"/>
              <a:gd name="connsiteX35" fmla="*/ 6785 w 10000"/>
              <a:gd name="connsiteY35" fmla="*/ 7881 h 9996"/>
              <a:gd name="connsiteX36" fmla="*/ 6931 w 10000"/>
              <a:gd name="connsiteY36" fmla="*/ 7937 h 9996"/>
              <a:gd name="connsiteX37" fmla="*/ 7045 w 10000"/>
              <a:gd name="connsiteY37" fmla="*/ 7934 h 9996"/>
              <a:gd name="connsiteX38" fmla="*/ 6983 w 10000"/>
              <a:gd name="connsiteY38" fmla="*/ 7817 h 9996"/>
              <a:gd name="connsiteX39" fmla="*/ 7003 w 10000"/>
              <a:gd name="connsiteY39" fmla="*/ 7747 h 9996"/>
              <a:gd name="connsiteX40" fmla="*/ 7089 w 10000"/>
              <a:gd name="connsiteY40" fmla="*/ 7648 h 9996"/>
              <a:gd name="connsiteX41" fmla="*/ 7074 w 10000"/>
              <a:gd name="connsiteY41" fmla="*/ 7565 h 9996"/>
              <a:gd name="connsiteX42" fmla="*/ 7152 w 10000"/>
              <a:gd name="connsiteY42" fmla="*/ 7290 h 9996"/>
              <a:gd name="connsiteX43" fmla="*/ 7130 w 10000"/>
              <a:gd name="connsiteY43" fmla="*/ 7204 h 9996"/>
              <a:gd name="connsiteX44" fmla="*/ 6729 w 10000"/>
              <a:gd name="connsiteY44" fmla="*/ 6992 h 9996"/>
              <a:gd name="connsiteX45" fmla="*/ 6785 w 10000"/>
              <a:gd name="connsiteY45" fmla="*/ 6984 h 9996"/>
              <a:gd name="connsiteX46" fmla="*/ 6998 w 10000"/>
              <a:gd name="connsiteY46" fmla="*/ 7038 h 9996"/>
              <a:gd name="connsiteX47" fmla="*/ 7230 w 10000"/>
              <a:gd name="connsiteY47" fmla="*/ 7018 h 9996"/>
              <a:gd name="connsiteX48" fmla="*/ 7295 w 10000"/>
              <a:gd name="connsiteY48" fmla="*/ 6944 h 9996"/>
              <a:gd name="connsiteX49" fmla="*/ 7074 w 10000"/>
              <a:gd name="connsiteY49" fmla="*/ 6801 h 9996"/>
              <a:gd name="connsiteX50" fmla="*/ 6414 w 10000"/>
              <a:gd name="connsiteY50" fmla="*/ 6706 h 9996"/>
              <a:gd name="connsiteX51" fmla="*/ 6458 w 10000"/>
              <a:gd name="connsiteY51" fmla="*/ 6663 h 9996"/>
              <a:gd name="connsiteX52" fmla="*/ 6998 w 10000"/>
              <a:gd name="connsiteY52" fmla="*/ 6633 h 9996"/>
              <a:gd name="connsiteX53" fmla="*/ 7295 w 10000"/>
              <a:gd name="connsiteY53" fmla="*/ 6719 h 9996"/>
              <a:gd name="connsiteX54" fmla="*/ 7466 w 10000"/>
              <a:gd name="connsiteY54" fmla="*/ 6663 h 9996"/>
              <a:gd name="connsiteX55" fmla="*/ 7529 w 10000"/>
              <a:gd name="connsiteY55" fmla="*/ 6515 h 9996"/>
              <a:gd name="connsiteX56" fmla="*/ 7840 w 10000"/>
              <a:gd name="connsiteY56" fmla="*/ 6515 h 9996"/>
              <a:gd name="connsiteX57" fmla="*/ 8261 w 10000"/>
              <a:gd name="connsiteY57" fmla="*/ 6215 h 9996"/>
              <a:gd name="connsiteX58" fmla="*/ 8275 w 10000"/>
              <a:gd name="connsiteY58" fmla="*/ 6015 h 9996"/>
              <a:gd name="connsiteX59" fmla="*/ 8453 w 10000"/>
              <a:gd name="connsiteY59" fmla="*/ 6060 h 9996"/>
              <a:gd name="connsiteX60" fmla="*/ 8446 w 10000"/>
              <a:gd name="connsiteY60" fmla="*/ 6261 h 9996"/>
              <a:gd name="connsiteX61" fmla="*/ 8727 w 10000"/>
              <a:gd name="connsiteY61" fmla="*/ 6247 h 9996"/>
              <a:gd name="connsiteX62" fmla="*/ 8913 w 10000"/>
              <a:gd name="connsiteY62" fmla="*/ 6039 h 9996"/>
              <a:gd name="connsiteX63" fmla="*/ 9258 w 10000"/>
              <a:gd name="connsiteY63" fmla="*/ 5852 h 9996"/>
              <a:gd name="connsiteX64" fmla="*/ 9203 w 10000"/>
              <a:gd name="connsiteY64" fmla="*/ 5640 h 9996"/>
              <a:gd name="connsiteX65" fmla="*/ 9306 w 10000"/>
              <a:gd name="connsiteY65" fmla="*/ 5726 h 9996"/>
              <a:gd name="connsiteX66" fmla="*/ 9464 w 10000"/>
              <a:gd name="connsiteY66" fmla="*/ 5726 h 9996"/>
              <a:gd name="connsiteX67" fmla="*/ 9464 w 10000"/>
              <a:gd name="connsiteY67" fmla="*/ 5626 h 9996"/>
              <a:gd name="connsiteX68" fmla="*/ 9611 w 10000"/>
              <a:gd name="connsiteY68" fmla="*/ 5554 h 9996"/>
              <a:gd name="connsiteX69" fmla="*/ 9592 w 10000"/>
              <a:gd name="connsiteY69" fmla="*/ 5477 h 9996"/>
              <a:gd name="connsiteX70" fmla="*/ 8350 w 10000"/>
              <a:gd name="connsiteY70" fmla="*/ 5628 h 9996"/>
              <a:gd name="connsiteX71" fmla="*/ 8058 w 10000"/>
              <a:gd name="connsiteY71" fmla="*/ 5586 h 9996"/>
              <a:gd name="connsiteX72" fmla="*/ 7942 w 10000"/>
              <a:gd name="connsiteY72" fmla="*/ 5640 h 9996"/>
              <a:gd name="connsiteX73" fmla="*/ 7903 w 10000"/>
              <a:gd name="connsiteY73" fmla="*/ 5533 h 9996"/>
              <a:gd name="connsiteX74" fmla="*/ 7765 w 10000"/>
              <a:gd name="connsiteY74" fmla="*/ 5439 h 9996"/>
              <a:gd name="connsiteX75" fmla="*/ 7213 w 10000"/>
              <a:gd name="connsiteY75" fmla="*/ 5245 h 9996"/>
              <a:gd name="connsiteX76" fmla="*/ 6887 w 10000"/>
              <a:gd name="connsiteY76" fmla="*/ 5278 h 9996"/>
              <a:gd name="connsiteX77" fmla="*/ 6757 w 10000"/>
              <a:gd name="connsiteY77" fmla="*/ 5223 h 9996"/>
              <a:gd name="connsiteX78" fmla="*/ 6894 w 10000"/>
              <a:gd name="connsiteY78" fmla="*/ 5176 h 9996"/>
              <a:gd name="connsiteX79" fmla="*/ 6998 w 10000"/>
              <a:gd name="connsiteY79" fmla="*/ 5074 h 9996"/>
              <a:gd name="connsiteX80" fmla="*/ 7152 w 10000"/>
              <a:gd name="connsiteY80" fmla="*/ 5106 h 9996"/>
              <a:gd name="connsiteX81" fmla="*/ 7335 w 10000"/>
              <a:gd name="connsiteY81" fmla="*/ 5081 h 9996"/>
              <a:gd name="connsiteX82" fmla="*/ 7611 w 10000"/>
              <a:gd name="connsiteY82" fmla="*/ 5114 h 9996"/>
              <a:gd name="connsiteX83" fmla="*/ 7645 w 10000"/>
              <a:gd name="connsiteY83" fmla="*/ 5100 h 9996"/>
              <a:gd name="connsiteX84" fmla="*/ 7859 w 10000"/>
              <a:gd name="connsiteY84" fmla="*/ 5255 h 9996"/>
              <a:gd name="connsiteX85" fmla="*/ 8017 w 10000"/>
              <a:gd name="connsiteY85" fmla="*/ 5197 h 9996"/>
              <a:gd name="connsiteX86" fmla="*/ 8032 w 10000"/>
              <a:gd name="connsiteY86" fmla="*/ 5144 h 9996"/>
              <a:gd name="connsiteX87" fmla="*/ 8176 w 10000"/>
              <a:gd name="connsiteY87" fmla="*/ 5237 h 9996"/>
              <a:gd name="connsiteX88" fmla="*/ 8369 w 10000"/>
              <a:gd name="connsiteY88" fmla="*/ 5287 h 9996"/>
              <a:gd name="connsiteX89" fmla="*/ 8446 w 10000"/>
              <a:gd name="connsiteY89" fmla="*/ 5195 h 9996"/>
              <a:gd name="connsiteX90" fmla="*/ 8507 w 10000"/>
              <a:gd name="connsiteY90" fmla="*/ 5245 h 9996"/>
              <a:gd name="connsiteX91" fmla="*/ 8596 w 10000"/>
              <a:gd name="connsiteY91" fmla="*/ 5426 h 9996"/>
              <a:gd name="connsiteX92" fmla="*/ 8782 w 10000"/>
              <a:gd name="connsiteY92" fmla="*/ 5466 h 9996"/>
              <a:gd name="connsiteX93" fmla="*/ 9542 w 10000"/>
              <a:gd name="connsiteY93" fmla="*/ 5204 h 9996"/>
              <a:gd name="connsiteX94" fmla="*/ 9914 w 10000"/>
              <a:gd name="connsiteY94" fmla="*/ 4835 h 9996"/>
              <a:gd name="connsiteX95" fmla="*/ 10000 w 10000"/>
              <a:gd name="connsiteY95" fmla="*/ 4571 h 9996"/>
              <a:gd name="connsiteX96" fmla="*/ 9866 w 10000"/>
              <a:gd name="connsiteY96" fmla="*/ 4327 h 9996"/>
              <a:gd name="connsiteX97" fmla="*/ 9582 w 10000"/>
              <a:gd name="connsiteY97" fmla="*/ 4185 h 9996"/>
              <a:gd name="connsiteX98" fmla="*/ 9382 w 10000"/>
              <a:gd name="connsiteY98" fmla="*/ 3945 h 9996"/>
              <a:gd name="connsiteX99" fmla="*/ 9569 w 10000"/>
              <a:gd name="connsiteY99" fmla="*/ 3938 h 9996"/>
              <a:gd name="connsiteX100" fmla="*/ 9555 w 10000"/>
              <a:gd name="connsiteY100" fmla="*/ 3883 h 9996"/>
              <a:gd name="connsiteX101" fmla="*/ 9068 w 10000"/>
              <a:gd name="connsiteY101" fmla="*/ 3718 h 9996"/>
              <a:gd name="connsiteX102" fmla="*/ 9047 w 10000"/>
              <a:gd name="connsiteY102" fmla="*/ 3564 h 9996"/>
              <a:gd name="connsiteX103" fmla="*/ 8953 w 10000"/>
              <a:gd name="connsiteY103" fmla="*/ 3404 h 9996"/>
              <a:gd name="connsiteX104" fmla="*/ 8569 w 10000"/>
              <a:gd name="connsiteY104" fmla="*/ 3434 h 9996"/>
              <a:gd name="connsiteX105" fmla="*/ 8431 w 10000"/>
              <a:gd name="connsiteY105" fmla="*/ 3263 h 9996"/>
              <a:gd name="connsiteX106" fmla="*/ 8350 w 10000"/>
              <a:gd name="connsiteY106" fmla="*/ 3252 h 9996"/>
              <a:gd name="connsiteX107" fmla="*/ 8350 w 10000"/>
              <a:gd name="connsiteY107" fmla="*/ 3329 h 9996"/>
              <a:gd name="connsiteX108" fmla="*/ 8176 w 10000"/>
              <a:gd name="connsiteY108" fmla="*/ 3611 h 9996"/>
              <a:gd name="connsiteX109" fmla="*/ 7990 w 10000"/>
              <a:gd name="connsiteY109" fmla="*/ 3780 h 9996"/>
              <a:gd name="connsiteX110" fmla="*/ 7401 w 10000"/>
              <a:gd name="connsiteY110" fmla="*/ 4063 h 9996"/>
              <a:gd name="connsiteX111" fmla="*/ 7198 w 10000"/>
              <a:gd name="connsiteY111" fmla="*/ 4055 h 9996"/>
              <a:gd name="connsiteX112" fmla="*/ 6915 w 10000"/>
              <a:gd name="connsiteY112" fmla="*/ 4098 h 9996"/>
              <a:gd name="connsiteX113" fmla="*/ 6757 w 10000"/>
              <a:gd name="connsiteY113" fmla="*/ 4055 h 9996"/>
              <a:gd name="connsiteX114" fmla="*/ 6965 w 10000"/>
              <a:gd name="connsiteY114" fmla="*/ 3973 h 9996"/>
              <a:gd name="connsiteX115" fmla="*/ 7235 w 10000"/>
              <a:gd name="connsiteY115" fmla="*/ 3938 h 9996"/>
              <a:gd name="connsiteX116" fmla="*/ 7455 w 10000"/>
              <a:gd name="connsiteY116" fmla="*/ 3806 h 9996"/>
              <a:gd name="connsiteX117" fmla="*/ 7674 w 10000"/>
              <a:gd name="connsiteY117" fmla="*/ 3744 h 9996"/>
              <a:gd name="connsiteX118" fmla="*/ 8082 w 10000"/>
              <a:gd name="connsiteY118" fmla="*/ 3510 h 9996"/>
              <a:gd name="connsiteX119" fmla="*/ 8157 w 10000"/>
              <a:gd name="connsiteY119" fmla="*/ 3357 h 9996"/>
              <a:gd name="connsiteX120" fmla="*/ 8165 w 10000"/>
              <a:gd name="connsiteY120" fmla="*/ 3161 h 9996"/>
              <a:gd name="connsiteX121" fmla="*/ 7978 w 10000"/>
              <a:gd name="connsiteY121" fmla="*/ 3127 h 9996"/>
              <a:gd name="connsiteX122" fmla="*/ 8058 w 10000"/>
              <a:gd name="connsiteY122" fmla="*/ 3007 h 9996"/>
              <a:gd name="connsiteX123" fmla="*/ 8087 w 10000"/>
              <a:gd name="connsiteY123" fmla="*/ 2854 h 9996"/>
              <a:gd name="connsiteX124" fmla="*/ 8007 w 10000"/>
              <a:gd name="connsiteY124" fmla="*/ 2712 h 9996"/>
              <a:gd name="connsiteX125" fmla="*/ 7450 w 10000"/>
              <a:gd name="connsiteY125" fmla="*/ 2908 h 9996"/>
              <a:gd name="connsiteX126" fmla="*/ 6694 w 10000"/>
              <a:gd name="connsiteY126" fmla="*/ 2821 h 9996"/>
              <a:gd name="connsiteX127" fmla="*/ 6304 w 10000"/>
              <a:gd name="connsiteY127" fmla="*/ 2274 h 9996"/>
              <a:gd name="connsiteX128" fmla="*/ 5294 w 10000"/>
              <a:gd name="connsiteY128" fmla="*/ 2171 h 9996"/>
              <a:gd name="connsiteX129" fmla="*/ 4505 w 10000"/>
              <a:gd name="connsiteY129" fmla="*/ 1719 h 9996"/>
              <a:gd name="connsiteX130" fmla="*/ 3730 w 10000"/>
              <a:gd name="connsiteY130" fmla="*/ 1176 h 9996"/>
              <a:gd name="connsiteX131" fmla="*/ 3154 w 10000"/>
              <a:gd name="connsiteY131" fmla="*/ 173 h 9996"/>
              <a:gd name="connsiteX132" fmla="*/ 2375 w 10000"/>
              <a:gd name="connsiteY132" fmla="*/ 0 h 9996"/>
              <a:gd name="connsiteX133" fmla="*/ 2226 w 10000"/>
              <a:gd name="connsiteY133" fmla="*/ 941 h 9996"/>
              <a:gd name="connsiteX134" fmla="*/ 2375 w 10000"/>
              <a:gd name="connsiteY134" fmla="*/ 1181 h 9996"/>
              <a:gd name="connsiteX135" fmla="*/ 2791 w 10000"/>
              <a:gd name="connsiteY135" fmla="*/ 1445 h 9996"/>
              <a:gd name="connsiteX136" fmla="*/ 2808 w 10000"/>
              <a:gd name="connsiteY136" fmla="*/ 1765 h 9996"/>
              <a:gd name="connsiteX137" fmla="*/ 2632 w 10000"/>
              <a:gd name="connsiteY137" fmla="*/ 2033 h 9996"/>
              <a:gd name="connsiteX138" fmla="*/ 2375 w 10000"/>
              <a:gd name="connsiteY138" fmla="*/ 2194 h 9996"/>
              <a:gd name="connsiteX139" fmla="*/ 2039 w 10000"/>
              <a:gd name="connsiteY139" fmla="*/ 2258 h 9996"/>
              <a:gd name="connsiteX140" fmla="*/ 1950 w 10000"/>
              <a:gd name="connsiteY140" fmla="*/ 2355 h 9996"/>
              <a:gd name="connsiteX141" fmla="*/ 2148 w 10000"/>
              <a:gd name="connsiteY141" fmla="*/ 2575 h 9996"/>
              <a:gd name="connsiteX142" fmla="*/ 2261 w 10000"/>
              <a:gd name="connsiteY142" fmla="*/ 3102 h 9996"/>
              <a:gd name="connsiteX143" fmla="*/ 2005 w 10000"/>
              <a:gd name="connsiteY143" fmla="*/ 3553 h 9996"/>
              <a:gd name="connsiteX144" fmla="*/ 2094 w 10000"/>
              <a:gd name="connsiteY144" fmla="*/ 3690 h 9996"/>
              <a:gd name="connsiteX145" fmla="*/ 2012 w 10000"/>
              <a:gd name="connsiteY145" fmla="*/ 3923 h 9996"/>
              <a:gd name="connsiteX146" fmla="*/ 1850 w 10000"/>
              <a:gd name="connsiteY146" fmla="*/ 4086 h 9996"/>
              <a:gd name="connsiteX147" fmla="*/ 1199 w 10000"/>
              <a:gd name="connsiteY147" fmla="*/ 4212 h 9996"/>
              <a:gd name="connsiteX148" fmla="*/ 1158 w 10000"/>
              <a:gd name="connsiteY148" fmla="*/ 4429 h 9996"/>
              <a:gd name="connsiteX149" fmla="*/ 808 w 10000"/>
              <a:gd name="connsiteY149" fmla="*/ 4751 h 9996"/>
              <a:gd name="connsiteX150" fmla="*/ 854 w 10000"/>
              <a:gd name="connsiteY150" fmla="*/ 5220 h 9996"/>
              <a:gd name="connsiteX151" fmla="*/ 560 w 10000"/>
              <a:gd name="connsiteY151" fmla="*/ 5818 h 9996"/>
              <a:gd name="connsiteX152" fmla="*/ 358 w 10000"/>
              <a:gd name="connsiteY152" fmla="*/ 5887 h 9996"/>
              <a:gd name="connsiteX153" fmla="*/ 275 w 10000"/>
              <a:gd name="connsiteY153" fmla="*/ 5745 h 9996"/>
              <a:gd name="connsiteX154" fmla="*/ 174 w 10000"/>
              <a:gd name="connsiteY154" fmla="*/ 5960 h 9996"/>
              <a:gd name="connsiteX155" fmla="*/ 239 w 10000"/>
              <a:gd name="connsiteY155" fmla="*/ 5588 h 9996"/>
              <a:gd name="connsiteX156" fmla="*/ 197 w 10000"/>
              <a:gd name="connsiteY156" fmla="*/ 5519 h 9996"/>
              <a:gd name="connsiteX0" fmla="*/ 197 w 10000"/>
              <a:gd name="connsiteY0" fmla="*/ 5521 h 9997"/>
              <a:gd name="connsiteX1" fmla="*/ 0 w 10000"/>
              <a:gd name="connsiteY1" fmla="*/ 5715 h 9997"/>
              <a:gd name="connsiteX2" fmla="*/ 0 w 10000"/>
              <a:gd name="connsiteY2" fmla="*/ 6666 h 9997"/>
              <a:gd name="connsiteX3" fmla="*/ 109 w 10000"/>
              <a:gd name="connsiteY3" fmla="*/ 6691 h 9997"/>
              <a:gd name="connsiteX4" fmla="*/ 134 w 10000"/>
              <a:gd name="connsiteY4" fmla="*/ 6767 h 9997"/>
              <a:gd name="connsiteX5" fmla="*/ 130 w 10000"/>
              <a:gd name="connsiteY5" fmla="*/ 6895 h 9997"/>
              <a:gd name="connsiteX6" fmla="*/ 89 w 10000"/>
              <a:gd name="connsiteY6" fmla="*/ 6951 h 9997"/>
              <a:gd name="connsiteX7" fmla="*/ 255 w 10000"/>
              <a:gd name="connsiteY7" fmla="*/ 6840 h 9997"/>
              <a:gd name="connsiteX8" fmla="*/ 325 w 10000"/>
              <a:gd name="connsiteY8" fmla="*/ 6735 h 9997"/>
              <a:gd name="connsiteX9" fmla="*/ 413 w 10000"/>
              <a:gd name="connsiteY9" fmla="*/ 6807 h 9997"/>
              <a:gd name="connsiteX10" fmla="*/ 316 w 10000"/>
              <a:gd name="connsiteY10" fmla="*/ 6963 h 9997"/>
              <a:gd name="connsiteX11" fmla="*/ 419 w 10000"/>
              <a:gd name="connsiteY11" fmla="*/ 6967 h 9997"/>
              <a:gd name="connsiteX12" fmla="*/ 469 w 10000"/>
              <a:gd name="connsiteY12" fmla="*/ 7006 h 9997"/>
              <a:gd name="connsiteX13" fmla="*/ 337 w 10000"/>
              <a:gd name="connsiteY13" fmla="*/ 7057 h 9997"/>
              <a:gd name="connsiteX14" fmla="*/ 130 w 10000"/>
              <a:gd name="connsiteY14" fmla="*/ 7218 h 9997"/>
              <a:gd name="connsiteX15" fmla="*/ 497 w 10000"/>
              <a:gd name="connsiteY15" fmla="*/ 7343 h 9997"/>
              <a:gd name="connsiteX16" fmla="*/ 545 w 10000"/>
              <a:gd name="connsiteY16" fmla="*/ 7520 h 9997"/>
              <a:gd name="connsiteX17" fmla="*/ 419 w 10000"/>
              <a:gd name="connsiteY17" fmla="*/ 7783 h 9997"/>
              <a:gd name="connsiteX18" fmla="*/ 688 w 10000"/>
              <a:gd name="connsiteY18" fmla="*/ 7768 h 9997"/>
              <a:gd name="connsiteX19" fmla="*/ 709 w 10000"/>
              <a:gd name="connsiteY19" fmla="*/ 7963 h 9997"/>
              <a:gd name="connsiteX20" fmla="*/ 530 w 10000"/>
              <a:gd name="connsiteY20" fmla="*/ 8103 h 9997"/>
              <a:gd name="connsiteX21" fmla="*/ 560 w 10000"/>
              <a:gd name="connsiteY21" fmla="*/ 8359 h 9997"/>
              <a:gd name="connsiteX22" fmla="*/ 489 w 10000"/>
              <a:gd name="connsiteY22" fmla="*/ 8565 h 9997"/>
              <a:gd name="connsiteX23" fmla="*/ 703 w 10000"/>
              <a:gd name="connsiteY23" fmla="*/ 8584 h 9997"/>
              <a:gd name="connsiteX24" fmla="*/ 909 w 10000"/>
              <a:gd name="connsiteY24" fmla="*/ 9364 h 9997"/>
              <a:gd name="connsiteX25" fmla="*/ 1675 w 10000"/>
              <a:gd name="connsiteY25" fmla="*/ 9169 h 9997"/>
              <a:gd name="connsiteX26" fmla="*/ 6419 w 10000"/>
              <a:gd name="connsiteY26" fmla="*/ 9997 h 9997"/>
              <a:gd name="connsiteX27" fmla="*/ 6586 w 10000"/>
              <a:gd name="connsiteY27" fmla="*/ 9166 h 9997"/>
              <a:gd name="connsiteX28" fmla="*/ 6855 w 10000"/>
              <a:gd name="connsiteY28" fmla="*/ 8798 h 9997"/>
              <a:gd name="connsiteX29" fmla="*/ 6855 w 10000"/>
              <a:gd name="connsiteY29" fmla="*/ 8600 h 9997"/>
              <a:gd name="connsiteX30" fmla="*/ 6757 w 10000"/>
              <a:gd name="connsiteY30" fmla="*/ 8494 h 9997"/>
              <a:gd name="connsiteX31" fmla="*/ 6915 w 10000"/>
              <a:gd name="connsiteY31" fmla="*/ 8316 h 9997"/>
              <a:gd name="connsiteX32" fmla="*/ 6887 w 10000"/>
              <a:gd name="connsiteY32" fmla="*/ 8173 h 9997"/>
              <a:gd name="connsiteX33" fmla="*/ 6779 w 10000"/>
              <a:gd name="connsiteY33" fmla="*/ 8051 h 9997"/>
              <a:gd name="connsiteX34" fmla="*/ 6757 w 10000"/>
              <a:gd name="connsiteY34" fmla="*/ 7954 h 9997"/>
              <a:gd name="connsiteX35" fmla="*/ 6785 w 10000"/>
              <a:gd name="connsiteY35" fmla="*/ 7884 h 9997"/>
              <a:gd name="connsiteX36" fmla="*/ 6931 w 10000"/>
              <a:gd name="connsiteY36" fmla="*/ 7940 h 9997"/>
              <a:gd name="connsiteX37" fmla="*/ 7045 w 10000"/>
              <a:gd name="connsiteY37" fmla="*/ 7937 h 9997"/>
              <a:gd name="connsiteX38" fmla="*/ 6983 w 10000"/>
              <a:gd name="connsiteY38" fmla="*/ 7820 h 9997"/>
              <a:gd name="connsiteX39" fmla="*/ 7003 w 10000"/>
              <a:gd name="connsiteY39" fmla="*/ 7750 h 9997"/>
              <a:gd name="connsiteX40" fmla="*/ 7089 w 10000"/>
              <a:gd name="connsiteY40" fmla="*/ 7651 h 9997"/>
              <a:gd name="connsiteX41" fmla="*/ 7074 w 10000"/>
              <a:gd name="connsiteY41" fmla="*/ 7568 h 9997"/>
              <a:gd name="connsiteX42" fmla="*/ 7152 w 10000"/>
              <a:gd name="connsiteY42" fmla="*/ 7293 h 9997"/>
              <a:gd name="connsiteX43" fmla="*/ 7130 w 10000"/>
              <a:gd name="connsiteY43" fmla="*/ 7207 h 9997"/>
              <a:gd name="connsiteX44" fmla="*/ 6729 w 10000"/>
              <a:gd name="connsiteY44" fmla="*/ 6995 h 9997"/>
              <a:gd name="connsiteX45" fmla="*/ 6785 w 10000"/>
              <a:gd name="connsiteY45" fmla="*/ 6987 h 9997"/>
              <a:gd name="connsiteX46" fmla="*/ 6998 w 10000"/>
              <a:gd name="connsiteY46" fmla="*/ 7041 h 9997"/>
              <a:gd name="connsiteX47" fmla="*/ 7230 w 10000"/>
              <a:gd name="connsiteY47" fmla="*/ 7021 h 9997"/>
              <a:gd name="connsiteX48" fmla="*/ 7295 w 10000"/>
              <a:gd name="connsiteY48" fmla="*/ 6947 h 9997"/>
              <a:gd name="connsiteX49" fmla="*/ 7074 w 10000"/>
              <a:gd name="connsiteY49" fmla="*/ 6804 h 9997"/>
              <a:gd name="connsiteX50" fmla="*/ 6414 w 10000"/>
              <a:gd name="connsiteY50" fmla="*/ 6709 h 9997"/>
              <a:gd name="connsiteX51" fmla="*/ 6458 w 10000"/>
              <a:gd name="connsiteY51" fmla="*/ 6666 h 9997"/>
              <a:gd name="connsiteX52" fmla="*/ 6998 w 10000"/>
              <a:gd name="connsiteY52" fmla="*/ 6636 h 9997"/>
              <a:gd name="connsiteX53" fmla="*/ 7295 w 10000"/>
              <a:gd name="connsiteY53" fmla="*/ 6722 h 9997"/>
              <a:gd name="connsiteX54" fmla="*/ 7466 w 10000"/>
              <a:gd name="connsiteY54" fmla="*/ 6666 h 9997"/>
              <a:gd name="connsiteX55" fmla="*/ 7529 w 10000"/>
              <a:gd name="connsiteY55" fmla="*/ 6518 h 9997"/>
              <a:gd name="connsiteX56" fmla="*/ 7840 w 10000"/>
              <a:gd name="connsiteY56" fmla="*/ 6518 h 9997"/>
              <a:gd name="connsiteX57" fmla="*/ 8261 w 10000"/>
              <a:gd name="connsiteY57" fmla="*/ 6217 h 9997"/>
              <a:gd name="connsiteX58" fmla="*/ 8275 w 10000"/>
              <a:gd name="connsiteY58" fmla="*/ 6017 h 9997"/>
              <a:gd name="connsiteX59" fmla="*/ 8453 w 10000"/>
              <a:gd name="connsiteY59" fmla="*/ 6062 h 9997"/>
              <a:gd name="connsiteX60" fmla="*/ 8446 w 10000"/>
              <a:gd name="connsiteY60" fmla="*/ 6264 h 9997"/>
              <a:gd name="connsiteX61" fmla="*/ 8727 w 10000"/>
              <a:gd name="connsiteY61" fmla="*/ 6249 h 9997"/>
              <a:gd name="connsiteX62" fmla="*/ 8913 w 10000"/>
              <a:gd name="connsiteY62" fmla="*/ 6041 h 9997"/>
              <a:gd name="connsiteX63" fmla="*/ 9258 w 10000"/>
              <a:gd name="connsiteY63" fmla="*/ 5854 h 9997"/>
              <a:gd name="connsiteX64" fmla="*/ 9203 w 10000"/>
              <a:gd name="connsiteY64" fmla="*/ 5642 h 9997"/>
              <a:gd name="connsiteX65" fmla="*/ 9306 w 10000"/>
              <a:gd name="connsiteY65" fmla="*/ 5728 h 9997"/>
              <a:gd name="connsiteX66" fmla="*/ 9464 w 10000"/>
              <a:gd name="connsiteY66" fmla="*/ 5728 h 9997"/>
              <a:gd name="connsiteX67" fmla="*/ 9464 w 10000"/>
              <a:gd name="connsiteY67" fmla="*/ 5628 h 9997"/>
              <a:gd name="connsiteX68" fmla="*/ 9611 w 10000"/>
              <a:gd name="connsiteY68" fmla="*/ 5556 h 9997"/>
              <a:gd name="connsiteX69" fmla="*/ 9592 w 10000"/>
              <a:gd name="connsiteY69" fmla="*/ 5479 h 9997"/>
              <a:gd name="connsiteX70" fmla="*/ 8350 w 10000"/>
              <a:gd name="connsiteY70" fmla="*/ 5630 h 9997"/>
              <a:gd name="connsiteX71" fmla="*/ 8058 w 10000"/>
              <a:gd name="connsiteY71" fmla="*/ 5588 h 9997"/>
              <a:gd name="connsiteX72" fmla="*/ 7942 w 10000"/>
              <a:gd name="connsiteY72" fmla="*/ 5642 h 9997"/>
              <a:gd name="connsiteX73" fmla="*/ 7903 w 10000"/>
              <a:gd name="connsiteY73" fmla="*/ 5535 h 9997"/>
              <a:gd name="connsiteX74" fmla="*/ 7765 w 10000"/>
              <a:gd name="connsiteY74" fmla="*/ 5441 h 9997"/>
              <a:gd name="connsiteX75" fmla="*/ 7213 w 10000"/>
              <a:gd name="connsiteY75" fmla="*/ 5247 h 9997"/>
              <a:gd name="connsiteX76" fmla="*/ 6887 w 10000"/>
              <a:gd name="connsiteY76" fmla="*/ 5280 h 9997"/>
              <a:gd name="connsiteX77" fmla="*/ 6757 w 10000"/>
              <a:gd name="connsiteY77" fmla="*/ 5225 h 9997"/>
              <a:gd name="connsiteX78" fmla="*/ 6894 w 10000"/>
              <a:gd name="connsiteY78" fmla="*/ 5178 h 9997"/>
              <a:gd name="connsiteX79" fmla="*/ 6998 w 10000"/>
              <a:gd name="connsiteY79" fmla="*/ 5076 h 9997"/>
              <a:gd name="connsiteX80" fmla="*/ 7152 w 10000"/>
              <a:gd name="connsiteY80" fmla="*/ 5108 h 9997"/>
              <a:gd name="connsiteX81" fmla="*/ 7335 w 10000"/>
              <a:gd name="connsiteY81" fmla="*/ 5083 h 9997"/>
              <a:gd name="connsiteX82" fmla="*/ 7611 w 10000"/>
              <a:gd name="connsiteY82" fmla="*/ 5116 h 9997"/>
              <a:gd name="connsiteX83" fmla="*/ 7645 w 10000"/>
              <a:gd name="connsiteY83" fmla="*/ 5102 h 9997"/>
              <a:gd name="connsiteX84" fmla="*/ 7859 w 10000"/>
              <a:gd name="connsiteY84" fmla="*/ 5257 h 9997"/>
              <a:gd name="connsiteX85" fmla="*/ 8017 w 10000"/>
              <a:gd name="connsiteY85" fmla="*/ 5199 h 9997"/>
              <a:gd name="connsiteX86" fmla="*/ 8032 w 10000"/>
              <a:gd name="connsiteY86" fmla="*/ 5146 h 9997"/>
              <a:gd name="connsiteX87" fmla="*/ 8176 w 10000"/>
              <a:gd name="connsiteY87" fmla="*/ 5239 h 9997"/>
              <a:gd name="connsiteX88" fmla="*/ 8369 w 10000"/>
              <a:gd name="connsiteY88" fmla="*/ 5289 h 9997"/>
              <a:gd name="connsiteX89" fmla="*/ 8446 w 10000"/>
              <a:gd name="connsiteY89" fmla="*/ 5197 h 9997"/>
              <a:gd name="connsiteX90" fmla="*/ 8507 w 10000"/>
              <a:gd name="connsiteY90" fmla="*/ 5247 h 9997"/>
              <a:gd name="connsiteX91" fmla="*/ 8596 w 10000"/>
              <a:gd name="connsiteY91" fmla="*/ 5428 h 9997"/>
              <a:gd name="connsiteX92" fmla="*/ 8782 w 10000"/>
              <a:gd name="connsiteY92" fmla="*/ 5468 h 9997"/>
              <a:gd name="connsiteX93" fmla="*/ 9542 w 10000"/>
              <a:gd name="connsiteY93" fmla="*/ 5206 h 9997"/>
              <a:gd name="connsiteX94" fmla="*/ 9914 w 10000"/>
              <a:gd name="connsiteY94" fmla="*/ 4837 h 9997"/>
              <a:gd name="connsiteX95" fmla="*/ 10000 w 10000"/>
              <a:gd name="connsiteY95" fmla="*/ 4573 h 9997"/>
              <a:gd name="connsiteX96" fmla="*/ 9866 w 10000"/>
              <a:gd name="connsiteY96" fmla="*/ 4329 h 9997"/>
              <a:gd name="connsiteX97" fmla="*/ 9582 w 10000"/>
              <a:gd name="connsiteY97" fmla="*/ 4187 h 9997"/>
              <a:gd name="connsiteX98" fmla="*/ 9382 w 10000"/>
              <a:gd name="connsiteY98" fmla="*/ 3947 h 9997"/>
              <a:gd name="connsiteX99" fmla="*/ 9569 w 10000"/>
              <a:gd name="connsiteY99" fmla="*/ 3940 h 9997"/>
              <a:gd name="connsiteX100" fmla="*/ 9555 w 10000"/>
              <a:gd name="connsiteY100" fmla="*/ 3885 h 9997"/>
              <a:gd name="connsiteX101" fmla="*/ 9068 w 10000"/>
              <a:gd name="connsiteY101" fmla="*/ 3719 h 9997"/>
              <a:gd name="connsiteX102" fmla="*/ 9047 w 10000"/>
              <a:gd name="connsiteY102" fmla="*/ 3565 h 9997"/>
              <a:gd name="connsiteX103" fmla="*/ 8953 w 10000"/>
              <a:gd name="connsiteY103" fmla="*/ 3405 h 9997"/>
              <a:gd name="connsiteX104" fmla="*/ 8569 w 10000"/>
              <a:gd name="connsiteY104" fmla="*/ 3435 h 9997"/>
              <a:gd name="connsiteX105" fmla="*/ 8431 w 10000"/>
              <a:gd name="connsiteY105" fmla="*/ 3264 h 9997"/>
              <a:gd name="connsiteX106" fmla="*/ 8350 w 10000"/>
              <a:gd name="connsiteY106" fmla="*/ 3253 h 9997"/>
              <a:gd name="connsiteX107" fmla="*/ 8350 w 10000"/>
              <a:gd name="connsiteY107" fmla="*/ 3330 h 9997"/>
              <a:gd name="connsiteX108" fmla="*/ 8176 w 10000"/>
              <a:gd name="connsiteY108" fmla="*/ 3612 h 9997"/>
              <a:gd name="connsiteX109" fmla="*/ 7990 w 10000"/>
              <a:gd name="connsiteY109" fmla="*/ 3782 h 9997"/>
              <a:gd name="connsiteX110" fmla="*/ 7401 w 10000"/>
              <a:gd name="connsiteY110" fmla="*/ 4065 h 9997"/>
              <a:gd name="connsiteX111" fmla="*/ 7198 w 10000"/>
              <a:gd name="connsiteY111" fmla="*/ 4057 h 9997"/>
              <a:gd name="connsiteX112" fmla="*/ 6915 w 10000"/>
              <a:gd name="connsiteY112" fmla="*/ 4100 h 9997"/>
              <a:gd name="connsiteX113" fmla="*/ 6757 w 10000"/>
              <a:gd name="connsiteY113" fmla="*/ 4057 h 9997"/>
              <a:gd name="connsiteX114" fmla="*/ 6965 w 10000"/>
              <a:gd name="connsiteY114" fmla="*/ 3975 h 9997"/>
              <a:gd name="connsiteX115" fmla="*/ 7235 w 10000"/>
              <a:gd name="connsiteY115" fmla="*/ 3940 h 9997"/>
              <a:gd name="connsiteX116" fmla="*/ 7455 w 10000"/>
              <a:gd name="connsiteY116" fmla="*/ 3808 h 9997"/>
              <a:gd name="connsiteX117" fmla="*/ 7674 w 10000"/>
              <a:gd name="connsiteY117" fmla="*/ 3745 h 9997"/>
              <a:gd name="connsiteX118" fmla="*/ 8082 w 10000"/>
              <a:gd name="connsiteY118" fmla="*/ 3511 h 9997"/>
              <a:gd name="connsiteX119" fmla="*/ 8157 w 10000"/>
              <a:gd name="connsiteY119" fmla="*/ 3358 h 9997"/>
              <a:gd name="connsiteX120" fmla="*/ 8165 w 10000"/>
              <a:gd name="connsiteY120" fmla="*/ 3162 h 9997"/>
              <a:gd name="connsiteX121" fmla="*/ 7978 w 10000"/>
              <a:gd name="connsiteY121" fmla="*/ 3128 h 9997"/>
              <a:gd name="connsiteX122" fmla="*/ 8058 w 10000"/>
              <a:gd name="connsiteY122" fmla="*/ 3008 h 9997"/>
              <a:gd name="connsiteX123" fmla="*/ 8087 w 10000"/>
              <a:gd name="connsiteY123" fmla="*/ 2855 h 9997"/>
              <a:gd name="connsiteX124" fmla="*/ 8007 w 10000"/>
              <a:gd name="connsiteY124" fmla="*/ 2713 h 9997"/>
              <a:gd name="connsiteX125" fmla="*/ 7450 w 10000"/>
              <a:gd name="connsiteY125" fmla="*/ 2909 h 9997"/>
              <a:gd name="connsiteX126" fmla="*/ 6694 w 10000"/>
              <a:gd name="connsiteY126" fmla="*/ 2822 h 9997"/>
              <a:gd name="connsiteX127" fmla="*/ 6304 w 10000"/>
              <a:gd name="connsiteY127" fmla="*/ 2275 h 9997"/>
              <a:gd name="connsiteX128" fmla="*/ 5294 w 10000"/>
              <a:gd name="connsiteY128" fmla="*/ 2172 h 9997"/>
              <a:gd name="connsiteX129" fmla="*/ 4505 w 10000"/>
              <a:gd name="connsiteY129" fmla="*/ 1720 h 9997"/>
              <a:gd name="connsiteX130" fmla="*/ 3730 w 10000"/>
              <a:gd name="connsiteY130" fmla="*/ 1176 h 9997"/>
              <a:gd name="connsiteX131" fmla="*/ 3154 w 10000"/>
              <a:gd name="connsiteY131" fmla="*/ 173 h 9997"/>
              <a:gd name="connsiteX132" fmla="*/ 2375 w 10000"/>
              <a:gd name="connsiteY132" fmla="*/ 0 h 9997"/>
              <a:gd name="connsiteX133" fmla="*/ 2226 w 10000"/>
              <a:gd name="connsiteY133" fmla="*/ 941 h 9997"/>
              <a:gd name="connsiteX134" fmla="*/ 2375 w 10000"/>
              <a:gd name="connsiteY134" fmla="*/ 1181 h 9997"/>
              <a:gd name="connsiteX135" fmla="*/ 2791 w 10000"/>
              <a:gd name="connsiteY135" fmla="*/ 1446 h 9997"/>
              <a:gd name="connsiteX136" fmla="*/ 2808 w 10000"/>
              <a:gd name="connsiteY136" fmla="*/ 1766 h 9997"/>
              <a:gd name="connsiteX137" fmla="*/ 2632 w 10000"/>
              <a:gd name="connsiteY137" fmla="*/ 2034 h 9997"/>
              <a:gd name="connsiteX138" fmla="*/ 2375 w 10000"/>
              <a:gd name="connsiteY138" fmla="*/ 2195 h 9997"/>
              <a:gd name="connsiteX139" fmla="*/ 2039 w 10000"/>
              <a:gd name="connsiteY139" fmla="*/ 2259 h 9997"/>
              <a:gd name="connsiteX140" fmla="*/ 1950 w 10000"/>
              <a:gd name="connsiteY140" fmla="*/ 2356 h 9997"/>
              <a:gd name="connsiteX141" fmla="*/ 2148 w 10000"/>
              <a:gd name="connsiteY141" fmla="*/ 2576 h 9997"/>
              <a:gd name="connsiteX142" fmla="*/ 2261 w 10000"/>
              <a:gd name="connsiteY142" fmla="*/ 3103 h 9997"/>
              <a:gd name="connsiteX143" fmla="*/ 2005 w 10000"/>
              <a:gd name="connsiteY143" fmla="*/ 3554 h 9997"/>
              <a:gd name="connsiteX144" fmla="*/ 2094 w 10000"/>
              <a:gd name="connsiteY144" fmla="*/ 3691 h 9997"/>
              <a:gd name="connsiteX145" fmla="*/ 2012 w 10000"/>
              <a:gd name="connsiteY145" fmla="*/ 3925 h 9997"/>
              <a:gd name="connsiteX146" fmla="*/ 1850 w 10000"/>
              <a:gd name="connsiteY146" fmla="*/ 4088 h 9997"/>
              <a:gd name="connsiteX147" fmla="*/ 1199 w 10000"/>
              <a:gd name="connsiteY147" fmla="*/ 4214 h 9997"/>
              <a:gd name="connsiteX148" fmla="*/ 1158 w 10000"/>
              <a:gd name="connsiteY148" fmla="*/ 4431 h 9997"/>
              <a:gd name="connsiteX149" fmla="*/ 808 w 10000"/>
              <a:gd name="connsiteY149" fmla="*/ 4753 h 9997"/>
              <a:gd name="connsiteX150" fmla="*/ 854 w 10000"/>
              <a:gd name="connsiteY150" fmla="*/ 5222 h 9997"/>
              <a:gd name="connsiteX151" fmla="*/ 560 w 10000"/>
              <a:gd name="connsiteY151" fmla="*/ 5820 h 9997"/>
              <a:gd name="connsiteX152" fmla="*/ 358 w 10000"/>
              <a:gd name="connsiteY152" fmla="*/ 5889 h 9997"/>
              <a:gd name="connsiteX153" fmla="*/ 275 w 10000"/>
              <a:gd name="connsiteY153" fmla="*/ 5747 h 9997"/>
              <a:gd name="connsiteX154" fmla="*/ 174 w 10000"/>
              <a:gd name="connsiteY154" fmla="*/ 5962 h 9997"/>
              <a:gd name="connsiteX155" fmla="*/ 239 w 10000"/>
              <a:gd name="connsiteY155" fmla="*/ 5590 h 9997"/>
              <a:gd name="connsiteX156" fmla="*/ 197 w 10000"/>
              <a:gd name="connsiteY156" fmla="*/ 5521 h 9997"/>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6419 w 10000"/>
              <a:gd name="connsiteY26" fmla="*/ 10000 h 10000"/>
              <a:gd name="connsiteX27" fmla="*/ 6586 w 10000"/>
              <a:gd name="connsiteY27" fmla="*/ 9169 h 10000"/>
              <a:gd name="connsiteX28" fmla="*/ 6855 w 10000"/>
              <a:gd name="connsiteY28" fmla="*/ 8801 h 10000"/>
              <a:gd name="connsiteX29" fmla="*/ 6855 w 10000"/>
              <a:gd name="connsiteY29" fmla="*/ 8603 h 10000"/>
              <a:gd name="connsiteX30" fmla="*/ 6757 w 10000"/>
              <a:gd name="connsiteY30" fmla="*/ 8497 h 10000"/>
              <a:gd name="connsiteX31" fmla="*/ 6915 w 10000"/>
              <a:gd name="connsiteY31" fmla="*/ 8318 h 10000"/>
              <a:gd name="connsiteX32" fmla="*/ 6887 w 10000"/>
              <a:gd name="connsiteY32" fmla="*/ 8175 h 10000"/>
              <a:gd name="connsiteX33" fmla="*/ 6779 w 10000"/>
              <a:gd name="connsiteY33" fmla="*/ 8053 h 10000"/>
              <a:gd name="connsiteX34" fmla="*/ 6757 w 10000"/>
              <a:gd name="connsiteY34" fmla="*/ 7956 h 10000"/>
              <a:gd name="connsiteX35" fmla="*/ 6785 w 10000"/>
              <a:gd name="connsiteY35" fmla="*/ 7886 h 10000"/>
              <a:gd name="connsiteX36" fmla="*/ 6931 w 10000"/>
              <a:gd name="connsiteY36" fmla="*/ 7942 h 10000"/>
              <a:gd name="connsiteX37" fmla="*/ 7045 w 10000"/>
              <a:gd name="connsiteY37" fmla="*/ 7939 h 10000"/>
              <a:gd name="connsiteX38" fmla="*/ 6983 w 10000"/>
              <a:gd name="connsiteY38" fmla="*/ 7822 h 10000"/>
              <a:gd name="connsiteX39" fmla="*/ 7003 w 10000"/>
              <a:gd name="connsiteY39" fmla="*/ 7752 h 10000"/>
              <a:gd name="connsiteX40" fmla="*/ 7089 w 10000"/>
              <a:gd name="connsiteY40" fmla="*/ 7653 h 10000"/>
              <a:gd name="connsiteX41" fmla="*/ 7074 w 10000"/>
              <a:gd name="connsiteY41" fmla="*/ 7570 h 10000"/>
              <a:gd name="connsiteX42" fmla="*/ 7152 w 10000"/>
              <a:gd name="connsiteY42" fmla="*/ 7295 h 10000"/>
              <a:gd name="connsiteX43" fmla="*/ 7130 w 10000"/>
              <a:gd name="connsiteY43" fmla="*/ 7209 h 10000"/>
              <a:gd name="connsiteX44" fmla="*/ 6729 w 10000"/>
              <a:gd name="connsiteY44" fmla="*/ 6997 h 10000"/>
              <a:gd name="connsiteX45" fmla="*/ 6785 w 10000"/>
              <a:gd name="connsiteY45" fmla="*/ 6989 h 10000"/>
              <a:gd name="connsiteX46" fmla="*/ 6998 w 10000"/>
              <a:gd name="connsiteY46" fmla="*/ 7043 h 10000"/>
              <a:gd name="connsiteX47" fmla="*/ 7230 w 10000"/>
              <a:gd name="connsiteY47" fmla="*/ 7023 h 10000"/>
              <a:gd name="connsiteX48" fmla="*/ 7295 w 10000"/>
              <a:gd name="connsiteY48" fmla="*/ 6949 h 10000"/>
              <a:gd name="connsiteX49" fmla="*/ 7074 w 10000"/>
              <a:gd name="connsiteY49" fmla="*/ 6806 h 10000"/>
              <a:gd name="connsiteX50" fmla="*/ 6414 w 10000"/>
              <a:gd name="connsiteY50" fmla="*/ 6711 h 10000"/>
              <a:gd name="connsiteX51" fmla="*/ 6458 w 10000"/>
              <a:gd name="connsiteY51" fmla="*/ 6668 h 10000"/>
              <a:gd name="connsiteX52" fmla="*/ 6998 w 10000"/>
              <a:gd name="connsiteY52" fmla="*/ 6638 h 10000"/>
              <a:gd name="connsiteX53" fmla="*/ 7295 w 10000"/>
              <a:gd name="connsiteY53" fmla="*/ 6724 h 10000"/>
              <a:gd name="connsiteX54" fmla="*/ 7466 w 10000"/>
              <a:gd name="connsiteY54" fmla="*/ 6668 h 10000"/>
              <a:gd name="connsiteX55" fmla="*/ 7529 w 10000"/>
              <a:gd name="connsiteY55" fmla="*/ 6520 h 10000"/>
              <a:gd name="connsiteX56" fmla="*/ 7840 w 10000"/>
              <a:gd name="connsiteY56" fmla="*/ 6520 h 10000"/>
              <a:gd name="connsiteX57" fmla="*/ 8261 w 10000"/>
              <a:gd name="connsiteY57" fmla="*/ 6219 h 10000"/>
              <a:gd name="connsiteX58" fmla="*/ 8275 w 10000"/>
              <a:gd name="connsiteY58" fmla="*/ 6019 h 10000"/>
              <a:gd name="connsiteX59" fmla="*/ 8453 w 10000"/>
              <a:gd name="connsiteY59" fmla="*/ 6064 h 10000"/>
              <a:gd name="connsiteX60" fmla="*/ 8446 w 10000"/>
              <a:gd name="connsiteY60" fmla="*/ 6266 h 10000"/>
              <a:gd name="connsiteX61" fmla="*/ 8727 w 10000"/>
              <a:gd name="connsiteY61" fmla="*/ 6251 h 10000"/>
              <a:gd name="connsiteX62" fmla="*/ 8913 w 10000"/>
              <a:gd name="connsiteY62" fmla="*/ 6043 h 10000"/>
              <a:gd name="connsiteX63" fmla="*/ 9258 w 10000"/>
              <a:gd name="connsiteY63" fmla="*/ 5856 h 10000"/>
              <a:gd name="connsiteX64" fmla="*/ 9203 w 10000"/>
              <a:gd name="connsiteY64" fmla="*/ 5644 h 10000"/>
              <a:gd name="connsiteX65" fmla="*/ 9306 w 10000"/>
              <a:gd name="connsiteY65" fmla="*/ 5730 h 10000"/>
              <a:gd name="connsiteX66" fmla="*/ 9464 w 10000"/>
              <a:gd name="connsiteY66" fmla="*/ 5730 h 10000"/>
              <a:gd name="connsiteX67" fmla="*/ 9464 w 10000"/>
              <a:gd name="connsiteY67" fmla="*/ 5630 h 10000"/>
              <a:gd name="connsiteX68" fmla="*/ 9611 w 10000"/>
              <a:gd name="connsiteY68" fmla="*/ 5558 h 10000"/>
              <a:gd name="connsiteX69" fmla="*/ 9592 w 10000"/>
              <a:gd name="connsiteY69" fmla="*/ 5481 h 10000"/>
              <a:gd name="connsiteX70" fmla="*/ 8350 w 10000"/>
              <a:gd name="connsiteY70" fmla="*/ 5632 h 10000"/>
              <a:gd name="connsiteX71" fmla="*/ 8058 w 10000"/>
              <a:gd name="connsiteY71" fmla="*/ 5590 h 10000"/>
              <a:gd name="connsiteX72" fmla="*/ 7942 w 10000"/>
              <a:gd name="connsiteY72" fmla="*/ 5644 h 10000"/>
              <a:gd name="connsiteX73" fmla="*/ 7903 w 10000"/>
              <a:gd name="connsiteY73" fmla="*/ 5537 h 10000"/>
              <a:gd name="connsiteX74" fmla="*/ 7765 w 10000"/>
              <a:gd name="connsiteY74" fmla="*/ 5443 h 10000"/>
              <a:gd name="connsiteX75" fmla="*/ 7213 w 10000"/>
              <a:gd name="connsiteY75" fmla="*/ 5249 h 10000"/>
              <a:gd name="connsiteX76" fmla="*/ 6887 w 10000"/>
              <a:gd name="connsiteY76" fmla="*/ 5282 h 10000"/>
              <a:gd name="connsiteX77" fmla="*/ 6757 w 10000"/>
              <a:gd name="connsiteY77" fmla="*/ 5227 h 10000"/>
              <a:gd name="connsiteX78" fmla="*/ 6894 w 10000"/>
              <a:gd name="connsiteY78" fmla="*/ 5180 h 10000"/>
              <a:gd name="connsiteX79" fmla="*/ 6998 w 10000"/>
              <a:gd name="connsiteY79" fmla="*/ 5078 h 10000"/>
              <a:gd name="connsiteX80" fmla="*/ 7152 w 10000"/>
              <a:gd name="connsiteY80" fmla="*/ 5110 h 10000"/>
              <a:gd name="connsiteX81" fmla="*/ 7335 w 10000"/>
              <a:gd name="connsiteY81" fmla="*/ 5085 h 10000"/>
              <a:gd name="connsiteX82" fmla="*/ 7611 w 10000"/>
              <a:gd name="connsiteY82" fmla="*/ 5118 h 10000"/>
              <a:gd name="connsiteX83" fmla="*/ 7645 w 10000"/>
              <a:gd name="connsiteY83" fmla="*/ 5104 h 10000"/>
              <a:gd name="connsiteX84" fmla="*/ 7859 w 10000"/>
              <a:gd name="connsiteY84" fmla="*/ 5259 h 10000"/>
              <a:gd name="connsiteX85" fmla="*/ 8017 w 10000"/>
              <a:gd name="connsiteY85" fmla="*/ 5201 h 10000"/>
              <a:gd name="connsiteX86" fmla="*/ 8032 w 10000"/>
              <a:gd name="connsiteY86" fmla="*/ 5148 h 10000"/>
              <a:gd name="connsiteX87" fmla="*/ 8176 w 10000"/>
              <a:gd name="connsiteY87" fmla="*/ 5241 h 10000"/>
              <a:gd name="connsiteX88" fmla="*/ 8369 w 10000"/>
              <a:gd name="connsiteY88" fmla="*/ 5291 h 10000"/>
              <a:gd name="connsiteX89" fmla="*/ 8446 w 10000"/>
              <a:gd name="connsiteY89" fmla="*/ 5199 h 10000"/>
              <a:gd name="connsiteX90" fmla="*/ 8507 w 10000"/>
              <a:gd name="connsiteY90" fmla="*/ 5249 h 10000"/>
              <a:gd name="connsiteX91" fmla="*/ 8596 w 10000"/>
              <a:gd name="connsiteY91" fmla="*/ 5430 h 10000"/>
              <a:gd name="connsiteX92" fmla="*/ 8782 w 10000"/>
              <a:gd name="connsiteY92" fmla="*/ 5470 h 10000"/>
              <a:gd name="connsiteX93" fmla="*/ 9542 w 10000"/>
              <a:gd name="connsiteY93" fmla="*/ 5208 h 10000"/>
              <a:gd name="connsiteX94" fmla="*/ 9914 w 10000"/>
              <a:gd name="connsiteY94" fmla="*/ 4838 h 10000"/>
              <a:gd name="connsiteX95" fmla="*/ 10000 w 10000"/>
              <a:gd name="connsiteY95" fmla="*/ 4574 h 10000"/>
              <a:gd name="connsiteX96" fmla="*/ 9866 w 10000"/>
              <a:gd name="connsiteY96" fmla="*/ 4330 h 10000"/>
              <a:gd name="connsiteX97" fmla="*/ 9582 w 10000"/>
              <a:gd name="connsiteY97" fmla="*/ 4188 h 10000"/>
              <a:gd name="connsiteX98" fmla="*/ 9382 w 10000"/>
              <a:gd name="connsiteY98" fmla="*/ 3948 h 10000"/>
              <a:gd name="connsiteX99" fmla="*/ 9569 w 10000"/>
              <a:gd name="connsiteY99" fmla="*/ 3941 h 10000"/>
              <a:gd name="connsiteX100" fmla="*/ 9555 w 10000"/>
              <a:gd name="connsiteY100" fmla="*/ 3886 h 10000"/>
              <a:gd name="connsiteX101" fmla="*/ 9068 w 10000"/>
              <a:gd name="connsiteY101" fmla="*/ 3720 h 10000"/>
              <a:gd name="connsiteX102" fmla="*/ 9047 w 10000"/>
              <a:gd name="connsiteY102" fmla="*/ 3566 h 10000"/>
              <a:gd name="connsiteX103" fmla="*/ 8953 w 10000"/>
              <a:gd name="connsiteY103" fmla="*/ 3406 h 10000"/>
              <a:gd name="connsiteX104" fmla="*/ 8569 w 10000"/>
              <a:gd name="connsiteY104" fmla="*/ 3436 h 10000"/>
              <a:gd name="connsiteX105" fmla="*/ 8431 w 10000"/>
              <a:gd name="connsiteY105" fmla="*/ 3265 h 10000"/>
              <a:gd name="connsiteX106" fmla="*/ 8350 w 10000"/>
              <a:gd name="connsiteY106" fmla="*/ 3254 h 10000"/>
              <a:gd name="connsiteX107" fmla="*/ 8350 w 10000"/>
              <a:gd name="connsiteY107" fmla="*/ 3331 h 10000"/>
              <a:gd name="connsiteX108" fmla="*/ 8176 w 10000"/>
              <a:gd name="connsiteY108" fmla="*/ 3613 h 10000"/>
              <a:gd name="connsiteX109" fmla="*/ 7990 w 10000"/>
              <a:gd name="connsiteY109" fmla="*/ 3783 h 10000"/>
              <a:gd name="connsiteX110" fmla="*/ 7401 w 10000"/>
              <a:gd name="connsiteY110" fmla="*/ 4066 h 10000"/>
              <a:gd name="connsiteX111" fmla="*/ 7198 w 10000"/>
              <a:gd name="connsiteY111" fmla="*/ 4058 h 10000"/>
              <a:gd name="connsiteX112" fmla="*/ 6915 w 10000"/>
              <a:gd name="connsiteY112" fmla="*/ 4101 h 10000"/>
              <a:gd name="connsiteX113" fmla="*/ 6757 w 10000"/>
              <a:gd name="connsiteY113" fmla="*/ 4058 h 10000"/>
              <a:gd name="connsiteX114" fmla="*/ 6965 w 10000"/>
              <a:gd name="connsiteY114" fmla="*/ 3976 h 10000"/>
              <a:gd name="connsiteX115" fmla="*/ 7235 w 10000"/>
              <a:gd name="connsiteY115" fmla="*/ 3941 h 10000"/>
              <a:gd name="connsiteX116" fmla="*/ 7455 w 10000"/>
              <a:gd name="connsiteY116" fmla="*/ 3809 h 10000"/>
              <a:gd name="connsiteX117" fmla="*/ 7674 w 10000"/>
              <a:gd name="connsiteY117" fmla="*/ 3746 h 10000"/>
              <a:gd name="connsiteX118" fmla="*/ 8082 w 10000"/>
              <a:gd name="connsiteY118" fmla="*/ 3512 h 10000"/>
              <a:gd name="connsiteX119" fmla="*/ 8157 w 10000"/>
              <a:gd name="connsiteY119" fmla="*/ 3359 h 10000"/>
              <a:gd name="connsiteX120" fmla="*/ 8165 w 10000"/>
              <a:gd name="connsiteY120" fmla="*/ 3163 h 10000"/>
              <a:gd name="connsiteX121" fmla="*/ 7978 w 10000"/>
              <a:gd name="connsiteY121" fmla="*/ 3129 h 10000"/>
              <a:gd name="connsiteX122" fmla="*/ 8058 w 10000"/>
              <a:gd name="connsiteY122" fmla="*/ 3009 h 10000"/>
              <a:gd name="connsiteX123" fmla="*/ 8087 w 10000"/>
              <a:gd name="connsiteY123" fmla="*/ 2856 h 10000"/>
              <a:gd name="connsiteX124" fmla="*/ 8007 w 10000"/>
              <a:gd name="connsiteY124" fmla="*/ 2714 h 10000"/>
              <a:gd name="connsiteX125" fmla="*/ 7450 w 10000"/>
              <a:gd name="connsiteY125" fmla="*/ 2910 h 10000"/>
              <a:gd name="connsiteX126" fmla="*/ 6694 w 10000"/>
              <a:gd name="connsiteY126" fmla="*/ 2823 h 10000"/>
              <a:gd name="connsiteX127" fmla="*/ 6304 w 10000"/>
              <a:gd name="connsiteY127" fmla="*/ 2276 h 10000"/>
              <a:gd name="connsiteX128" fmla="*/ 5294 w 10000"/>
              <a:gd name="connsiteY128" fmla="*/ 2173 h 10000"/>
              <a:gd name="connsiteX129" fmla="*/ 4505 w 10000"/>
              <a:gd name="connsiteY129" fmla="*/ 1721 h 10000"/>
              <a:gd name="connsiteX130" fmla="*/ 3730 w 10000"/>
              <a:gd name="connsiteY130" fmla="*/ 1176 h 10000"/>
              <a:gd name="connsiteX131" fmla="*/ 3154 w 10000"/>
              <a:gd name="connsiteY131" fmla="*/ 173 h 10000"/>
              <a:gd name="connsiteX132" fmla="*/ 2375 w 10000"/>
              <a:gd name="connsiteY132" fmla="*/ 0 h 10000"/>
              <a:gd name="connsiteX133" fmla="*/ 2226 w 10000"/>
              <a:gd name="connsiteY133" fmla="*/ 941 h 10000"/>
              <a:gd name="connsiteX134" fmla="*/ 2375 w 10000"/>
              <a:gd name="connsiteY134" fmla="*/ 1181 h 10000"/>
              <a:gd name="connsiteX135" fmla="*/ 2791 w 10000"/>
              <a:gd name="connsiteY135" fmla="*/ 1446 h 10000"/>
              <a:gd name="connsiteX136" fmla="*/ 2808 w 10000"/>
              <a:gd name="connsiteY136" fmla="*/ 1767 h 10000"/>
              <a:gd name="connsiteX137" fmla="*/ 2632 w 10000"/>
              <a:gd name="connsiteY137" fmla="*/ 2035 h 10000"/>
              <a:gd name="connsiteX138" fmla="*/ 2375 w 10000"/>
              <a:gd name="connsiteY138" fmla="*/ 2196 h 10000"/>
              <a:gd name="connsiteX139" fmla="*/ 2039 w 10000"/>
              <a:gd name="connsiteY139" fmla="*/ 2260 h 10000"/>
              <a:gd name="connsiteX140" fmla="*/ 1950 w 10000"/>
              <a:gd name="connsiteY140" fmla="*/ 2357 h 10000"/>
              <a:gd name="connsiteX141" fmla="*/ 2148 w 10000"/>
              <a:gd name="connsiteY141" fmla="*/ 2577 h 10000"/>
              <a:gd name="connsiteX142" fmla="*/ 2261 w 10000"/>
              <a:gd name="connsiteY142" fmla="*/ 3104 h 10000"/>
              <a:gd name="connsiteX143" fmla="*/ 2005 w 10000"/>
              <a:gd name="connsiteY143" fmla="*/ 3555 h 10000"/>
              <a:gd name="connsiteX144" fmla="*/ 2094 w 10000"/>
              <a:gd name="connsiteY144" fmla="*/ 3692 h 10000"/>
              <a:gd name="connsiteX145" fmla="*/ 2012 w 10000"/>
              <a:gd name="connsiteY145" fmla="*/ 3926 h 10000"/>
              <a:gd name="connsiteX146" fmla="*/ 1850 w 10000"/>
              <a:gd name="connsiteY146" fmla="*/ 4089 h 10000"/>
              <a:gd name="connsiteX147" fmla="*/ 1199 w 10000"/>
              <a:gd name="connsiteY147" fmla="*/ 4215 h 10000"/>
              <a:gd name="connsiteX148" fmla="*/ 1158 w 10000"/>
              <a:gd name="connsiteY148" fmla="*/ 4432 h 10000"/>
              <a:gd name="connsiteX149" fmla="*/ 808 w 10000"/>
              <a:gd name="connsiteY149" fmla="*/ 4754 h 10000"/>
              <a:gd name="connsiteX150" fmla="*/ 854 w 10000"/>
              <a:gd name="connsiteY150" fmla="*/ 5224 h 10000"/>
              <a:gd name="connsiteX151" fmla="*/ 560 w 10000"/>
              <a:gd name="connsiteY151" fmla="*/ 5822 h 10000"/>
              <a:gd name="connsiteX152" fmla="*/ 358 w 10000"/>
              <a:gd name="connsiteY152" fmla="*/ 5891 h 10000"/>
              <a:gd name="connsiteX153" fmla="*/ 275 w 10000"/>
              <a:gd name="connsiteY153" fmla="*/ 5749 h 10000"/>
              <a:gd name="connsiteX154" fmla="*/ 174 w 10000"/>
              <a:gd name="connsiteY154" fmla="*/ 5964 h 10000"/>
              <a:gd name="connsiteX155" fmla="*/ 239 w 10000"/>
              <a:gd name="connsiteY155" fmla="*/ 5592 h 10000"/>
              <a:gd name="connsiteX156" fmla="*/ 197 w 10000"/>
              <a:gd name="connsiteY156"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2514 w 10000"/>
              <a:gd name="connsiteY26" fmla="*/ 9170 h 10000"/>
              <a:gd name="connsiteX27" fmla="*/ 6419 w 10000"/>
              <a:gd name="connsiteY27" fmla="*/ 10000 h 10000"/>
              <a:gd name="connsiteX28" fmla="*/ 6586 w 10000"/>
              <a:gd name="connsiteY28" fmla="*/ 9169 h 10000"/>
              <a:gd name="connsiteX29" fmla="*/ 6855 w 10000"/>
              <a:gd name="connsiteY29" fmla="*/ 8801 h 10000"/>
              <a:gd name="connsiteX30" fmla="*/ 6855 w 10000"/>
              <a:gd name="connsiteY30" fmla="*/ 8603 h 10000"/>
              <a:gd name="connsiteX31" fmla="*/ 6757 w 10000"/>
              <a:gd name="connsiteY31" fmla="*/ 8497 h 10000"/>
              <a:gd name="connsiteX32" fmla="*/ 6915 w 10000"/>
              <a:gd name="connsiteY32" fmla="*/ 8318 h 10000"/>
              <a:gd name="connsiteX33" fmla="*/ 6887 w 10000"/>
              <a:gd name="connsiteY33" fmla="*/ 8175 h 10000"/>
              <a:gd name="connsiteX34" fmla="*/ 6779 w 10000"/>
              <a:gd name="connsiteY34" fmla="*/ 8053 h 10000"/>
              <a:gd name="connsiteX35" fmla="*/ 6757 w 10000"/>
              <a:gd name="connsiteY35" fmla="*/ 7956 h 10000"/>
              <a:gd name="connsiteX36" fmla="*/ 6785 w 10000"/>
              <a:gd name="connsiteY36" fmla="*/ 7886 h 10000"/>
              <a:gd name="connsiteX37" fmla="*/ 6931 w 10000"/>
              <a:gd name="connsiteY37" fmla="*/ 7942 h 10000"/>
              <a:gd name="connsiteX38" fmla="*/ 7045 w 10000"/>
              <a:gd name="connsiteY38" fmla="*/ 7939 h 10000"/>
              <a:gd name="connsiteX39" fmla="*/ 6983 w 10000"/>
              <a:gd name="connsiteY39" fmla="*/ 7822 h 10000"/>
              <a:gd name="connsiteX40" fmla="*/ 7003 w 10000"/>
              <a:gd name="connsiteY40" fmla="*/ 7752 h 10000"/>
              <a:gd name="connsiteX41" fmla="*/ 7089 w 10000"/>
              <a:gd name="connsiteY41" fmla="*/ 7653 h 10000"/>
              <a:gd name="connsiteX42" fmla="*/ 7074 w 10000"/>
              <a:gd name="connsiteY42" fmla="*/ 7570 h 10000"/>
              <a:gd name="connsiteX43" fmla="*/ 7152 w 10000"/>
              <a:gd name="connsiteY43" fmla="*/ 7295 h 10000"/>
              <a:gd name="connsiteX44" fmla="*/ 7130 w 10000"/>
              <a:gd name="connsiteY44" fmla="*/ 7209 h 10000"/>
              <a:gd name="connsiteX45" fmla="*/ 6729 w 10000"/>
              <a:gd name="connsiteY45" fmla="*/ 6997 h 10000"/>
              <a:gd name="connsiteX46" fmla="*/ 6785 w 10000"/>
              <a:gd name="connsiteY46" fmla="*/ 6989 h 10000"/>
              <a:gd name="connsiteX47" fmla="*/ 6998 w 10000"/>
              <a:gd name="connsiteY47" fmla="*/ 7043 h 10000"/>
              <a:gd name="connsiteX48" fmla="*/ 7230 w 10000"/>
              <a:gd name="connsiteY48" fmla="*/ 7023 h 10000"/>
              <a:gd name="connsiteX49" fmla="*/ 7295 w 10000"/>
              <a:gd name="connsiteY49" fmla="*/ 6949 h 10000"/>
              <a:gd name="connsiteX50" fmla="*/ 7074 w 10000"/>
              <a:gd name="connsiteY50" fmla="*/ 6806 h 10000"/>
              <a:gd name="connsiteX51" fmla="*/ 6414 w 10000"/>
              <a:gd name="connsiteY51" fmla="*/ 6711 h 10000"/>
              <a:gd name="connsiteX52" fmla="*/ 6458 w 10000"/>
              <a:gd name="connsiteY52" fmla="*/ 6668 h 10000"/>
              <a:gd name="connsiteX53" fmla="*/ 6998 w 10000"/>
              <a:gd name="connsiteY53" fmla="*/ 6638 h 10000"/>
              <a:gd name="connsiteX54" fmla="*/ 7295 w 10000"/>
              <a:gd name="connsiteY54" fmla="*/ 6724 h 10000"/>
              <a:gd name="connsiteX55" fmla="*/ 7466 w 10000"/>
              <a:gd name="connsiteY55" fmla="*/ 6668 h 10000"/>
              <a:gd name="connsiteX56" fmla="*/ 7529 w 10000"/>
              <a:gd name="connsiteY56" fmla="*/ 6520 h 10000"/>
              <a:gd name="connsiteX57" fmla="*/ 7840 w 10000"/>
              <a:gd name="connsiteY57" fmla="*/ 6520 h 10000"/>
              <a:gd name="connsiteX58" fmla="*/ 8261 w 10000"/>
              <a:gd name="connsiteY58" fmla="*/ 6219 h 10000"/>
              <a:gd name="connsiteX59" fmla="*/ 8275 w 10000"/>
              <a:gd name="connsiteY59" fmla="*/ 6019 h 10000"/>
              <a:gd name="connsiteX60" fmla="*/ 8453 w 10000"/>
              <a:gd name="connsiteY60" fmla="*/ 6064 h 10000"/>
              <a:gd name="connsiteX61" fmla="*/ 8446 w 10000"/>
              <a:gd name="connsiteY61" fmla="*/ 6266 h 10000"/>
              <a:gd name="connsiteX62" fmla="*/ 8727 w 10000"/>
              <a:gd name="connsiteY62" fmla="*/ 6251 h 10000"/>
              <a:gd name="connsiteX63" fmla="*/ 8913 w 10000"/>
              <a:gd name="connsiteY63" fmla="*/ 6043 h 10000"/>
              <a:gd name="connsiteX64" fmla="*/ 9258 w 10000"/>
              <a:gd name="connsiteY64" fmla="*/ 5856 h 10000"/>
              <a:gd name="connsiteX65" fmla="*/ 9203 w 10000"/>
              <a:gd name="connsiteY65" fmla="*/ 5644 h 10000"/>
              <a:gd name="connsiteX66" fmla="*/ 9306 w 10000"/>
              <a:gd name="connsiteY66" fmla="*/ 5730 h 10000"/>
              <a:gd name="connsiteX67" fmla="*/ 9464 w 10000"/>
              <a:gd name="connsiteY67" fmla="*/ 5730 h 10000"/>
              <a:gd name="connsiteX68" fmla="*/ 9464 w 10000"/>
              <a:gd name="connsiteY68" fmla="*/ 5630 h 10000"/>
              <a:gd name="connsiteX69" fmla="*/ 9611 w 10000"/>
              <a:gd name="connsiteY69" fmla="*/ 5558 h 10000"/>
              <a:gd name="connsiteX70" fmla="*/ 9592 w 10000"/>
              <a:gd name="connsiteY70" fmla="*/ 5481 h 10000"/>
              <a:gd name="connsiteX71" fmla="*/ 8350 w 10000"/>
              <a:gd name="connsiteY71" fmla="*/ 5632 h 10000"/>
              <a:gd name="connsiteX72" fmla="*/ 8058 w 10000"/>
              <a:gd name="connsiteY72" fmla="*/ 5590 h 10000"/>
              <a:gd name="connsiteX73" fmla="*/ 7942 w 10000"/>
              <a:gd name="connsiteY73" fmla="*/ 5644 h 10000"/>
              <a:gd name="connsiteX74" fmla="*/ 7903 w 10000"/>
              <a:gd name="connsiteY74" fmla="*/ 5537 h 10000"/>
              <a:gd name="connsiteX75" fmla="*/ 7765 w 10000"/>
              <a:gd name="connsiteY75" fmla="*/ 5443 h 10000"/>
              <a:gd name="connsiteX76" fmla="*/ 7213 w 10000"/>
              <a:gd name="connsiteY76" fmla="*/ 5249 h 10000"/>
              <a:gd name="connsiteX77" fmla="*/ 6887 w 10000"/>
              <a:gd name="connsiteY77" fmla="*/ 5282 h 10000"/>
              <a:gd name="connsiteX78" fmla="*/ 6757 w 10000"/>
              <a:gd name="connsiteY78" fmla="*/ 5227 h 10000"/>
              <a:gd name="connsiteX79" fmla="*/ 6894 w 10000"/>
              <a:gd name="connsiteY79" fmla="*/ 5180 h 10000"/>
              <a:gd name="connsiteX80" fmla="*/ 6998 w 10000"/>
              <a:gd name="connsiteY80" fmla="*/ 5078 h 10000"/>
              <a:gd name="connsiteX81" fmla="*/ 7152 w 10000"/>
              <a:gd name="connsiteY81" fmla="*/ 5110 h 10000"/>
              <a:gd name="connsiteX82" fmla="*/ 7335 w 10000"/>
              <a:gd name="connsiteY82" fmla="*/ 5085 h 10000"/>
              <a:gd name="connsiteX83" fmla="*/ 7611 w 10000"/>
              <a:gd name="connsiteY83" fmla="*/ 5118 h 10000"/>
              <a:gd name="connsiteX84" fmla="*/ 7645 w 10000"/>
              <a:gd name="connsiteY84" fmla="*/ 5104 h 10000"/>
              <a:gd name="connsiteX85" fmla="*/ 7859 w 10000"/>
              <a:gd name="connsiteY85" fmla="*/ 5259 h 10000"/>
              <a:gd name="connsiteX86" fmla="*/ 8017 w 10000"/>
              <a:gd name="connsiteY86" fmla="*/ 5201 h 10000"/>
              <a:gd name="connsiteX87" fmla="*/ 8032 w 10000"/>
              <a:gd name="connsiteY87" fmla="*/ 5148 h 10000"/>
              <a:gd name="connsiteX88" fmla="*/ 8176 w 10000"/>
              <a:gd name="connsiteY88" fmla="*/ 5241 h 10000"/>
              <a:gd name="connsiteX89" fmla="*/ 8369 w 10000"/>
              <a:gd name="connsiteY89" fmla="*/ 5291 h 10000"/>
              <a:gd name="connsiteX90" fmla="*/ 8446 w 10000"/>
              <a:gd name="connsiteY90" fmla="*/ 5199 h 10000"/>
              <a:gd name="connsiteX91" fmla="*/ 8507 w 10000"/>
              <a:gd name="connsiteY91" fmla="*/ 5249 h 10000"/>
              <a:gd name="connsiteX92" fmla="*/ 8596 w 10000"/>
              <a:gd name="connsiteY92" fmla="*/ 5430 h 10000"/>
              <a:gd name="connsiteX93" fmla="*/ 8782 w 10000"/>
              <a:gd name="connsiteY93" fmla="*/ 5470 h 10000"/>
              <a:gd name="connsiteX94" fmla="*/ 9542 w 10000"/>
              <a:gd name="connsiteY94" fmla="*/ 5208 h 10000"/>
              <a:gd name="connsiteX95" fmla="*/ 9914 w 10000"/>
              <a:gd name="connsiteY95" fmla="*/ 4838 h 10000"/>
              <a:gd name="connsiteX96" fmla="*/ 10000 w 10000"/>
              <a:gd name="connsiteY96" fmla="*/ 4574 h 10000"/>
              <a:gd name="connsiteX97" fmla="*/ 9866 w 10000"/>
              <a:gd name="connsiteY97" fmla="*/ 4330 h 10000"/>
              <a:gd name="connsiteX98" fmla="*/ 9582 w 10000"/>
              <a:gd name="connsiteY98" fmla="*/ 4188 h 10000"/>
              <a:gd name="connsiteX99" fmla="*/ 9382 w 10000"/>
              <a:gd name="connsiteY99" fmla="*/ 3948 h 10000"/>
              <a:gd name="connsiteX100" fmla="*/ 9569 w 10000"/>
              <a:gd name="connsiteY100" fmla="*/ 3941 h 10000"/>
              <a:gd name="connsiteX101" fmla="*/ 9555 w 10000"/>
              <a:gd name="connsiteY101" fmla="*/ 3886 h 10000"/>
              <a:gd name="connsiteX102" fmla="*/ 9068 w 10000"/>
              <a:gd name="connsiteY102" fmla="*/ 3720 h 10000"/>
              <a:gd name="connsiteX103" fmla="*/ 9047 w 10000"/>
              <a:gd name="connsiteY103" fmla="*/ 3566 h 10000"/>
              <a:gd name="connsiteX104" fmla="*/ 8953 w 10000"/>
              <a:gd name="connsiteY104" fmla="*/ 3406 h 10000"/>
              <a:gd name="connsiteX105" fmla="*/ 8569 w 10000"/>
              <a:gd name="connsiteY105" fmla="*/ 3436 h 10000"/>
              <a:gd name="connsiteX106" fmla="*/ 8431 w 10000"/>
              <a:gd name="connsiteY106" fmla="*/ 3265 h 10000"/>
              <a:gd name="connsiteX107" fmla="*/ 8350 w 10000"/>
              <a:gd name="connsiteY107" fmla="*/ 3254 h 10000"/>
              <a:gd name="connsiteX108" fmla="*/ 8350 w 10000"/>
              <a:gd name="connsiteY108" fmla="*/ 3331 h 10000"/>
              <a:gd name="connsiteX109" fmla="*/ 8176 w 10000"/>
              <a:gd name="connsiteY109" fmla="*/ 3613 h 10000"/>
              <a:gd name="connsiteX110" fmla="*/ 7990 w 10000"/>
              <a:gd name="connsiteY110" fmla="*/ 3783 h 10000"/>
              <a:gd name="connsiteX111" fmla="*/ 7401 w 10000"/>
              <a:gd name="connsiteY111" fmla="*/ 4066 h 10000"/>
              <a:gd name="connsiteX112" fmla="*/ 7198 w 10000"/>
              <a:gd name="connsiteY112" fmla="*/ 4058 h 10000"/>
              <a:gd name="connsiteX113" fmla="*/ 6915 w 10000"/>
              <a:gd name="connsiteY113" fmla="*/ 4101 h 10000"/>
              <a:gd name="connsiteX114" fmla="*/ 6757 w 10000"/>
              <a:gd name="connsiteY114" fmla="*/ 4058 h 10000"/>
              <a:gd name="connsiteX115" fmla="*/ 6965 w 10000"/>
              <a:gd name="connsiteY115" fmla="*/ 3976 h 10000"/>
              <a:gd name="connsiteX116" fmla="*/ 7235 w 10000"/>
              <a:gd name="connsiteY116" fmla="*/ 3941 h 10000"/>
              <a:gd name="connsiteX117" fmla="*/ 7455 w 10000"/>
              <a:gd name="connsiteY117" fmla="*/ 3809 h 10000"/>
              <a:gd name="connsiteX118" fmla="*/ 7674 w 10000"/>
              <a:gd name="connsiteY118" fmla="*/ 3746 h 10000"/>
              <a:gd name="connsiteX119" fmla="*/ 8082 w 10000"/>
              <a:gd name="connsiteY119" fmla="*/ 3512 h 10000"/>
              <a:gd name="connsiteX120" fmla="*/ 8157 w 10000"/>
              <a:gd name="connsiteY120" fmla="*/ 3359 h 10000"/>
              <a:gd name="connsiteX121" fmla="*/ 8165 w 10000"/>
              <a:gd name="connsiteY121" fmla="*/ 3163 h 10000"/>
              <a:gd name="connsiteX122" fmla="*/ 7978 w 10000"/>
              <a:gd name="connsiteY122" fmla="*/ 3129 h 10000"/>
              <a:gd name="connsiteX123" fmla="*/ 8058 w 10000"/>
              <a:gd name="connsiteY123" fmla="*/ 3009 h 10000"/>
              <a:gd name="connsiteX124" fmla="*/ 8087 w 10000"/>
              <a:gd name="connsiteY124" fmla="*/ 2856 h 10000"/>
              <a:gd name="connsiteX125" fmla="*/ 8007 w 10000"/>
              <a:gd name="connsiteY125" fmla="*/ 2714 h 10000"/>
              <a:gd name="connsiteX126" fmla="*/ 7450 w 10000"/>
              <a:gd name="connsiteY126" fmla="*/ 2910 h 10000"/>
              <a:gd name="connsiteX127" fmla="*/ 6694 w 10000"/>
              <a:gd name="connsiteY127" fmla="*/ 2823 h 10000"/>
              <a:gd name="connsiteX128" fmla="*/ 6304 w 10000"/>
              <a:gd name="connsiteY128" fmla="*/ 2276 h 10000"/>
              <a:gd name="connsiteX129" fmla="*/ 5294 w 10000"/>
              <a:gd name="connsiteY129" fmla="*/ 2173 h 10000"/>
              <a:gd name="connsiteX130" fmla="*/ 4505 w 10000"/>
              <a:gd name="connsiteY130" fmla="*/ 1721 h 10000"/>
              <a:gd name="connsiteX131" fmla="*/ 3730 w 10000"/>
              <a:gd name="connsiteY131" fmla="*/ 1176 h 10000"/>
              <a:gd name="connsiteX132" fmla="*/ 3154 w 10000"/>
              <a:gd name="connsiteY132" fmla="*/ 173 h 10000"/>
              <a:gd name="connsiteX133" fmla="*/ 2375 w 10000"/>
              <a:gd name="connsiteY133" fmla="*/ 0 h 10000"/>
              <a:gd name="connsiteX134" fmla="*/ 2226 w 10000"/>
              <a:gd name="connsiteY134" fmla="*/ 941 h 10000"/>
              <a:gd name="connsiteX135" fmla="*/ 2375 w 10000"/>
              <a:gd name="connsiteY135" fmla="*/ 1181 h 10000"/>
              <a:gd name="connsiteX136" fmla="*/ 2791 w 10000"/>
              <a:gd name="connsiteY136" fmla="*/ 1446 h 10000"/>
              <a:gd name="connsiteX137" fmla="*/ 2808 w 10000"/>
              <a:gd name="connsiteY137" fmla="*/ 1767 h 10000"/>
              <a:gd name="connsiteX138" fmla="*/ 2632 w 10000"/>
              <a:gd name="connsiteY138" fmla="*/ 2035 h 10000"/>
              <a:gd name="connsiteX139" fmla="*/ 2375 w 10000"/>
              <a:gd name="connsiteY139" fmla="*/ 2196 h 10000"/>
              <a:gd name="connsiteX140" fmla="*/ 2039 w 10000"/>
              <a:gd name="connsiteY140" fmla="*/ 2260 h 10000"/>
              <a:gd name="connsiteX141" fmla="*/ 1950 w 10000"/>
              <a:gd name="connsiteY141" fmla="*/ 2357 h 10000"/>
              <a:gd name="connsiteX142" fmla="*/ 2148 w 10000"/>
              <a:gd name="connsiteY142" fmla="*/ 2577 h 10000"/>
              <a:gd name="connsiteX143" fmla="*/ 2261 w 10000"/>
              <a:gd name="connsiteY143" fmla="*/ 3104 h 10000"/>
              <a:gd name="connsiteX144" fmla="*/ 2005 w 10000"/>
              <a:gd name="connsiteY144" fmla="*/ 3555 h 10000"/>
              <a:gd name="connsiteX145" fmla="*/ 2094 w 10000"/>
              <a:gd name="connsiteY145" fmla="*/ 3692 h 10000"/>
              <a:gd name="connsiteX146" fmla="*/ 2012 w 10000"/>
              <a:gd name="connsiteY146" fmla="*/ 3926 h 10000"/>
              <a:gd name="connsiteX147" fmla="*/ 1850 w 10000"/>
              <a:gd name="connsiteY147" fmla="*/ 4089 h 10000"/>
              <a:gd name="connsiteX148" fmla="*/ 1199 w 10000"/>
              <a:gd name="connsiteY148" fmla="*/ 4215 h 10000"/>
              <a:gd name="connsiteX149" fmla="*/ 1158 w 10000"/>
              <a:gd name="connsiteY149" fmla="*/ 4432 h 10000"/>
              <a:gd name="connsiteX150" fmla="*/ 808 w 10000"/>
              <a:gd name="connsiteY150" fmla="*/ 4754 h 10000"/>
              <a:gd name="connsiteX151" fmla="*/ 854 w 10000"/>
              <a:gd name="connsiteY151" fmla="*/ 5224 h 10000"/>
              <a:gd name="connsiteX152" fmla="*/ 560 w 10000"/>
              <a:gd name="connsiteY152" fmla="*/ 5822 h 10000"/>
              <a:gd name="connsiteX153" fmla="*/ 358 w 10000"/>
              <a:gd name="connsiteY153" fmla="*/ 5891 h 10000"/>
              <a:gd name="connsiteX154" fmla="*/ 275 w 10000"/>
              <a:gd name="connsiteY154" fmla="*/ 5749 h 10000"/>
              <a:gd name="connsiteX155" fmla="*/ 174 w 10000"/>
              <a:gd name="connsiteY155" fmla="*/ 5964 h 10000"/>
              <a:gd name="connsiteX156" fmla="*/ 239 w 10000"/>
              <a:gd name="connsiteY156" fmla="*/ 5592 h 10000"/>
              <a:gd name="connsiteX157" fmla="*/ 197 w 10000"/>
              <a:gd name="connsiteY157"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6419 w 10000"/>
              <a:gd name="connsiteY27" fmla="*/ 10000 h 10000"/>
              <a:gd name="connsiteX28" fmla="*/ 6586 w 10000"/>
              <a:gd name="connsiteY28" fmla="*/ 9169 h 10000"/>
              <a:gd name="connsiteX29" fmla="*/ 6855 w 10000"/>
              <a:gd name="connsiteY29" fmla="*/ 8801 h 10000"/>
              <a:gd name="connsiteX30" fmla="*/ 6855 w 10000"/>
              <a:gd name="connsiteY30" fmla="*/ 8603 h 10000"/>
              <a:gd name="connsiteX31" fmla="*/ 6757 w 10000"/>
              <a:gd name="connsiteY31" fmla="*/ 8497 h 10000"/>
              <a:gd name="connsiteX32" fmla="*/ 6915 w 10000"/>
              <a:gd name="connsiteY32" fmla="*/ 8318 h 10000"/>
              <a:gd name="connsiteX33" fmla="*/ 6887 w 10000"/>
              <a:gd name="connsiteY33" fmla="*/ 8175 h 10000"/>
              <a:gd name="connsiteX34" fmla="*/ 6779 w 10000"/>
              <a:gd name="connsiteY34" fmla="*/ 8053 h 10000"/>
              <a:gd name="connsiteX35" fmla="*/ 6757 w 10000"/>
              <a:gd name="connsiteY35" fmla="*/ 7956 h 10000"/>
              <a:gd name="connsiteX36" fmla="*/ 6785 w 10000"/>
              <a:gd name="connsiteY36" fmla="*/ 7886 h 10000"/>
              <a:gd name="connsiteX37" fmla="*/ 6931 w 10000"/>
              <a:gd name="connsiteY37" fmla="*/ 7942 h 10000"/>
              <a:gd name="connsiteX38" fmla="*/ 7045 w 10000"/>
              <a:gd name="connsiteY38" fmla="*/ 7939 h 10000"/>
              <a:gd name="connsiteX39" fmla="*/ 6983 w 10000"/>
              <a:gd name="connsiteY39" fmla="*/ 7822 h 10000"/>
              <a:gd name="connsiteX40" fmla="*/ 7003 w 10000"/>
              <a:gd name="connsiteY40" fmla="*/ 7752 h 10000"/>
              <a:gd name="connsiteX41" fmla="*/ 7089 w 10000"/>
              <a:gd name="connsiteY41" fmla="*/ 7653 h 10000"/>
              <a:gd name="connsiteX42" fmla="*/ 7074 w 10000"/>
              <a:gd name="connsiteY42" fmla="*/ 7570 h 10000"/>
              <a:gd name="connsiteX43" fmla="*/ 7152 w 10000"/>
              <a:gd name="connsiteY43" fmla="*/ 7295 h 10000"/>
              <a:gd name="connsiteX44" fmla="*/ 7130 w 10000"/>
              <a:gd name="connsiteY44" fmla="*/ 7209 h 10000"/>
              <a:gd name="connsiteX45" fmla="*/ 6729 w 10000"/>
              <a:gd name="connsiteY45" fmla="*/ 6997 h 10000"/>
              <a:gd name="connsiteX46" fmla="*/ 6785 w 10000"/>
              <a:gd name="connsiteY46" fmla="*/ 6989 h 10000"/>
              <a:gd name="connsiteX47" fmla="*/ 6998 w 10000"/>
              <a:gd name="connsiteY47" fmla="*/ 7043 h 10000"/>
              <a:gd name="connsiteX48" fmla="*/ 7230 w 10000"/>
              <a:gd name="connsiteY48" fmla="*/ 7023 h 10000"/>
              <a:gd name="connsiteX49" fmla="*/ 7295 w 10000"/>
              <a:gd name="connsiteY49" fmla="*/ 6949 h 10000"/>
              <a:gd name="connsiteX50" fmla="*/ 7074 w 10000"/>
              <a:gd name="connsiteY50" fmla="*/ 6806 h 10000"/>
              <a:gd name="connsiteX51" fmla="*/ 6414 w 10000"/>
              <a:gd name="connsiteY51" fmla="*/ 6711 h 10000"/>
              <a:gd name="connsiteX52" fmla="*/ 6458 w 10000"/>
              <a:gd name="connsiteY52" fmla="*/ 6668 h 10000"/>
              <a:gd name="connsiteX53" fmla="*/ 6998 w 10000"/>
              <a:gd name="connsiteY53" fmla="*/ 6638 h 10000"/>
              <a:gd name="connsiteX54" fmla="*/ 7295 w 10000"/>
              <a:gd name="connsiteY54" fmla="*/ 6724 h 10000"/>
              <a:gd name="connsiteX55" fmla="*/ 7466 w 10000"/>
              <a:gd name="connsiteY55" fmla="*/ 6668 h 10000"/>
              <a:gd name="connsiteX56" fmla="*/ 7529 w 10000"/>
              <a:gd name="connsiteY56" fmla="*/ 6520 h 10000"/>
              <a:gd name="connsiteX57" fmla="*/ 7840 w 10000"/>
              <a:gd name="connsiteY57" fmla="*/ 6520 h 10000"/>
              <a:gd name="connsiteX58" fmla="*/ 8261 w 10000"/>
              <a:gd name="connsiteY58" fmla="*/ 6219 h 10000"/>
              <a:gd name="connsiteX59" fmla="*/ 8275 w 10000"/>
              <a:gd name="connsiteY59" fmla="*/ 6019 h 10000"/>
              <a:gd name="connsiteX60" fmla="*/ 8453 w 10000"/>
              <a:gd name="connsiteY60" fmla="*/ 6064 h 10000"/>
              <a:gd name="connsiteX61" fmla="*/ 8446 w 10000"/>
              <a:gd name="connsiteY61" fmla="*/ 6266 h 10000"/>
              <a:gd name="connsiteX62" fmla="*/ 8727 w 10000"/>
              <a:gd name="connsiteY62" fmla="*/ 6251 h 10000"/>
              <a:gd name="connsiteX63" fmla="*/ 8913 w 10000"/>
              <a:gd name="connsiteY63" fmla="*/ 6043 h 10000"/>
              <a:gd name="connsiteX64" fmla="*/ 9258 w 10000"/>
              <a:gd name="connsiteY64" fmla="*/ 5856 h 10000"/>
              <a:gd name="connsiteX65" fmla="*/ 9203 w 10000"/>
              <a:gd name="connsiteY65" fmla="*/ 5644 h 10000"/>
              <a:gd name="connsiteX66" fmla="*/ 9306 w 10000"/>
              <a:gd name="connsiteY66" fmla="*/ 5730 h 10000"/>
              <a:gd name="connsiteX67" fmla="*/ 9464 w 10000"/>
              <a:gd name="connsiteY67" fmla="*/ 5730 h 10000"/>
              <a:gd name="connsiteX68" fmla="*/ 9464 w 10000"/>
              <a:gd name="connsiteY68" fmla="*/ 5630 h 10000"/>
              <a:gd name="connsiteX69" fmla="*/ 9611 w 10000"/>
              <a:gd name="connsiteY69" fmla="*/ 5558 h 10000"/>
              <a:gd name="connsiteX70" fmla="*/ 9592 w 10000"/>
              <a:gd name="connsiteY70" fmla="*/ 5481 h 10000"/>
              <a:gd name="connsiteX71" fmla="*/ 8350 w 10000"/>
              <a:gd name="connsiteY71" fmla="*/ 5632 h 10000"/>
              <a:gd name="connsiteX72" fmla="*/ 8058 w 10000"/>
              <a:gd name="connsiteY72" fmla="*/ 5590 h 10000"/>
              <a:gd name="connsiteX73" fmla="*/ 7942 w 10000"/>
              <a:gd name="connsiteY73" fmla="*/ 5644 h 10000"/>
              <a:gd name="connsiteX74" fmla="*/ 7903 w 10000"/>
              <a:gd name="connsiteY74" fmla="*/ 5537 h 10000"/>
              <a:gd name="connsiteX75" fmla="*/ 7765 w 10000"/>
              <a:gd name="connsiteY75" fmla="*/ 5443 h 10000"/>
              <a:gd name="connsiteX76" fmla="*/ 7213 w 10000"/>
              <a:gd name="connsiteY76" fmla="*/ 5249 h 10000"/>
              <a:gd name="connsiteX77" fmla="*/ 6887 w 10000"/>
              <a:gd name="connsiteY77" fmla="*/ 5282 h 10000"/>
              <a:gd name="connsiteX78" fmla="*/ 6757 w 10000"/>
              <a:gd name="connsiteY78" fmla="*/ 5227 h 10000"/>
              <a:gd name="connsiteX79" fmla="*/ 6894 w 10000"/>
              <a:gd name="connsiteY79" fmla="*/ 5180 h 10000"/>
              <a:gd name="connsiteX80" fmla="*/ 6998 w 10000"/>
              <a:gd name="connsiteY80" fmla="*/ 5078 h 10000"/>
              <a:gd name="connsiteX81" fmla="*/ 7152 w 10000"/>
              <a:gd name="connsiteY81" fmla="*/ 5110 h 10000"/>
              <a:gd name="connsiteX82" fmla="*/ 7335 w 10000"/>
              <a:gd name="connsiteY82" fmla="*/ 5085 h 10000"/>
              <a:gd name="connsiteX83" fmla="*/ 7611 w 10000"/>
              <a:gd name="connsiteY83" fmla="*/ 5118 h 10000"/>
              <a:gd name="connsiteX84" fmla="*/ 7645 w 10000"/>
              <a:gd name="connsiteY84" fmla="*/ 5104 h 10000"/>
              <a:gd name="connsiteX85" fmla="*/ 7859 w 10000"/>
              <a:gd name="connsiteY85" fmla="*/ 5259 h 10000"/>
              <a:gd name="connsiteX86" fmla="*/ 8017 w 10000"/>
              <a:gd name="connsiteY86" fmla="*/ 5201 h 10000"/>
              <a:gd name="connsiteX87" fmla="*/ 8032 w 10000"/>
              <a:gd name="connsiteY87" fmla="*/ 5148 h 10000"/>
              <a:gd name="connsiteX88" fmla="*/ 8176 w 10000"/>
              <a:gd name="connsiteY88" fmla="*/ 5241 h 10000"/>
              <a:gd name="connsiteX89" fmla="*/ 8369 w 10000"/>
              <a:gd name="connsiteY89" fmla="*/ 5291 h 10000"/>
              <a:gd name="connsiteX90" fmla="*/ 8446 w 10000"/>
              <a:gd name="connsiteY90" fmla="*/ 5199 h 10000"/>
              <a:gd name="connsiteX91" fmla="*/ 8507 w 10000"/>
              <a:gd name="connsiteY91" fmla="*/ 5249 h 10000"/>
              <a:gd name="connsiteX92" fmla="*/ 8596 w 10000"/>
              <a:gd name="connsiteY92" fmla="*/ 5430 h 10000"/>
              <a:gd name="connsiteX93" fmla="*/ 8782 w 10000"/>
              <a:gd name="connsiteY93" fmla="*/ 5470 h 10000"/>
              <a:gd name="connsiteX94" fmla="*/ 9542 w 10000"/>
              <a:gd name="connsiteY94" fmla="*/ 5208 h 10000"/>
              <a:gd name="connsiteX95" fmla="*/ 9914 w 10000"/>
              <a:gd name="connsiteY95" fmla="*/ 4838 h 10000"/>
              <a:gd name="connsiteX96" fmla="*/ 10000 w 10000"/>
              <a:gd name="connsiteY96" fmla="*/ 4574 h 10000"/>
              <a:gd name="connsiteX97" fmla="*/ 9866 w 10000"/>
              <a:gd name="connsiteY97" fmla="*/ 4330 h 10000"/>
              <a:gd name="connsiteX98" fmla="*/ 9582 w 10000"/>
              <a:gd name="connsiteY98" fmla="*/ 4188 h 10000"/>
              <a:gd name="connsiteX99" fmla="*/ 9382 w 10000"/>
              <a:gd name="connsiteY99" fmla="*/ 3948 h 10000"/>
              <a:gd name="connsiteX100" fmla="*/ 9569 w 10000"/>
              <a:gd name="connsiteY100" fmla="*/ 3941 h 10000"/>
              <a:gd name="connsiteX101" fmla="*/ 9555 w 10000"/>
              <a:gd name="connsiteY101" fmla="*/ 3886 h 10000"/>
              <a:gd name="connsiteX102" fmla="*/ 9068 w 10000"/>
              <a:gd name="connsiteY102" fmla="*/ 3720 h 10000"/>
              <a:gd name="connsiteX103" fmla="*/ 9047 w 10000"/>
              <a:gd name="connsiteY103" fmla="*/ 3566 h 10000"/>
              <a:gd name="connsiteX104" fmla="*/ 8953 w 10000"/>
              <a:gd name="connsiteY104" fmla="*/ 3406 h 10000"/>
              <a:gd name="connsiteX105" fmla="*/ 8569 w 10000"/>
              <a:gd name="connsiteY105" fmla="*/ 3436 h 10000"/>
              <a:gd name="connsiteX106" fmla="*/ 8431 w 10000"/>
              <a:gd name="connsiteY106" fmla="*/ 3265 h 10000"/>
              <a:gd name="connsiteX107" fmla="*/ 8350 w 10000"/>
              <a:gd name="connsiteY107" fmla="*/ 3254 h 10000"/>
              <a:gd name="connsiteX108" fmla="*/ 8350 w 10000"/>
              <a:gd name="connsiteY108" fmla="*/ 3331 h 10000"/>
              <a:gd name="connsiteX109" fmla="*/ 8176 w 10000"/>
              <a:gd name="connsiteY109" fmla="*/ 3613 h 10000"/>
              <a:gd name="connsiteX110" fmla="*/ 7990 w 10000"/>
              <a:gd name="connsiteY110" fmla="*/ 3783 h 10000"/>
              <a:gd name="connsiteX111" fmla="*/ 7401 w 10000"/>
              <a:gd name="connsiteY111" fmla="*/ 4066 h 10000"/>
              <a:gd name="connsiteX112" fmla="*/ 7198 w 10000"/>
              <a:gd name="connsiteY112" fmla="*/ 4058 h 10000"/>
              <a:gd name="connsiteX113" fmla="*/ 6915 w 10000"/>
              <a:gd name="connsiteY113" fmla="*/ 4101 h 10000"/>
              <a:gd name="connsiteX114" fmla="*/ 6757 w 10000"/>
              <a:gd name="connsiteY114" fmla="*/ 4058 h 10000"/>
              <a:gd name="connsiteX115" fmla="*/ 6965 w 10000"/>
              <a:gd name="connsiteY115" fmla="*/ 3976 h 10000"/>
              <a:gd name="connsiteX116" fmla="*/ 7235 w 10000"/>
              <a:gd name="connsiteY116" fmla="*/ 3941 h 10000"/>
              <a:gd name="connsiteX117" fmla="*/ 7455 w 10000"/>
              <a:gd name="connsiteY117" fmla="*/ 3809 h 10000"/>
              <a:gd name="connsiteX118" fmla="*/ 7674 w 10000"/>
              <a:gd name="connsiteY118" fmla="*/ 3746 h 10000"/>
              <a:gd name="connsiteX119" fmla="*/ 8082 w 10000"/>
              <a:gd name="connsiteY119" fmla="*/ 3512 h 10000"/>
              <a:gd name="connsiteX120" fmla="*/ 8157 w 10000"/>
              <a:gd name="connsiteY120" fmla="*/ 3359 h 10000"/>
              <a:gd name="connsiteX121" fmla="*/ 8165 w 10000"/>
              <a:gd name="connsiteY121" fmla="*/ 3163 h 10000"/>
              <a:gd name="connsiteX122" fmla="*/ 7978 w 10000"/>
              <a:gd name="connsiteY122" fmla="*/ 3129 h 10000"/>
              <a:gd name="connsiteX123" fmla="*/ 8058 w 10000"/>
              <a:gd name="connsiteY123" fmla="*/ 3009 h 10000"/>
              <a:gd name="connsiteX124" fmla="*/ 8087 w 10000"/>
              <a:gd name="connsiteY124" fmla="*/ 2856 h 10000"/>
              <a:gd name="connsiteX125" fmla="*/ 8007 w 10000"/>
              <a:gd name="connsiteY125" fmla="*/ 2714 h 10000"/>
              <a:gd name="connsiteX126" fmla="*/ 7450 w 10000"/>
              <a:gd name="connsiteY126" fmla="*/ 2910 h 10000"/>
              <a:gd name="connsiteX127" fmla="*/ 6694 w 10000"/>
              <a:gd name="connsiteY127" fmla="*/ 2823 h 10000"/>
              <a:gd name="connsiteX128" fmla="*/ 6304 w 10000"/>
              <a:gd name="connsiteY128" fmla="*/ 2276 h 10000"/>
              <a:gd name="connsiteX129" fmla="*/ 5294 w 10000"/>
              <a:gd name="connsiteY129" fmla="*/ 2173 h 10000"/>
              <a:gd name="connsiteX130" fmla="*/ 4505 w 10000"/>
              <a:gd name="connsiteY130" fmla="*/ 1721 h 10000"/>
              <a:gd name="connsiteX131" fmla="*/ 3730 w 10000"/>
              <a:gd name="connsiteY131" fmla="*/ 1176 h 10000"/>
              <a:gd name="connsiteX132" fmla="*/ 3154 w 10000"/>
              <a:gd name="connsiteY132" fmla="*/ 173 h 10000"/>
              <a:gd name="connsiteX133" fmla="*/ 2375 w 10000"/>
              <a:gd name="connsiteY133" fmla="*/ 0 h 10000"/>
              <a:gd name="connsiteX134" fmla="*/ 2226 w 10000"/>
              <a:gd name="connsiteY134" fmla="*/ 941 h 10000"/>
              <a:gd name="connsiteX135" fmla="*/ 2375 w 10000"/>
              <a:gd name="connsiteY135" fmla="*/ 1181 h 10000"/>
              <a:gd name="connsiteX136" fmla="*/ 2791 w 10000"/>
              <a:gd name="connsiteY136" fmla="*/ 1446 h 10000"/>
              <a:gd name="connsiteX137" fmla="*/ 2808 w 10000"/>
              <a:gd name="connsiteY137" fmla="*/ 1767 h 10000"/>
              <a:gd name="connsiteX138" fmla="*/ 2632 w 10000"/>
              <a:gd name="connsiteY138" fmla="*/ 2035 h 10000"/>
              <a:gd name="connsiteX139" fmla="*/ 2375 w 10000"/>
              <a:gd name="connsiteY139" fmla="*/ 2196 h 10000"/>
              <a:gd name="connsiteX140" fmla="*/ 2039 w 10000"/>
              <a:gd name="connsiteY140" fmla="*/ 2260 h 10000"/>
              <a:gd name="connsiteX141" fmla="*/ 1950 w 10000"/>
              <a:gd name="connsiteY141" fmla="*/ 2357 h 10000"/>
              <a:gd name="connsiteX142" fmla="*/ 2148 w 10000"/>
              <a:gd name="connsiteY142" fmla="*/ 2577 h 10000"/>
              <a:gd name="connsiteX143" fmla="*/ 2261 w 10000"/>
              <a:gd name="connsiteY143" fmla="*/ 3104 h 10000"/>
              <a:gd name="connsiteX144" fmla="*/ 2005 w 10000"/>
              <a:gd name="connsiteY144" fmla="*/ 3555 h 10000"/>
              <a:gd name="connsiteX145" fmla="*/ 2094 w 10000"/>
              <a:gd name="connsiteY145" fmla="*/ 3692 h 10000"/>
              <a:gd name="connsiteX146" fmla="*/ 2012 w 10000"/>
              <a:gd name="connsiteY146" fmla="*/ 3926 h 10000"/>
              <a:gd name="connsiteX147" fmla="*/ 1850 w 10000"/>
              <a:gd name="connsiteY147" fmla="*/ 4089 h 10000"/>
              <a:gd name="connsiteX148" fmla="*/ 1199 w 10000"/>
              <a:gd name="connsiteY148" fmla="*/ 4215 h 10000"/>
              <a:gd name="connsiteX149" fmla="*/ 1158 w 10000"/>
              <a:gd name="connsiteY149" fmla="*/ 4432 h 10000"/>
              <a:gd name="connsiteX150" fmla="*/ 808 w 10000"/>
              <a:gd name="connsiteY150" fmla="*/ 4754 h 10000"/>
              <a:gd name="connsiteX151" fmla="*/ 854 w 10000"/>
              <a:gd name="connsiteY151" fmla="*/ 5224 h 10000"/>
              <a:gd name="connsiteX152" fmla="*/ 560 w 10000"/>
              <a:gd name="connsiteY152" fmla="*/ 5822 h 10000"/>
              <a:gd name="connsiteX153" fmla="*/ 358 w 10000"/>
              <a:gd name="connsiteY153" fmla="*/ 5891 h 10000"/>
              <a:gd name="connsiteX154" fmla="*/ 275 w 10000"/>
              <a:gd name="connsiteY154" fmla="*/ 5749 h 10000"/>
              <a:gd name="connsiteX155" fmla="*/ 174 w 10000"/>
              <a:gd name="connsiteY155" fmla="*/ 5964 h 10000"/>
              <a:gd name="connsiteX156" fmla="*/ 239 w 10000"/>
              <a:gd name="connsiteY156" fmla="*/ 5592 h 10000"/>
              <a:gd name="connsiteX157" fmla="*/ 197 w 10000"/>
              <a:gd name="connsiteY157"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657 w 10000"/>
              <a:gd name="connsiteY27" fmla="*/ 9363 h 10000"/>
              <a:gd name="connsiteX28" fmla="*/ 6419 w 10000"/>
              <a:gd name="connsiteY28" fmla="*/ 10000 h 10000"/>
              <a:gd name="connsiteX29" fmla="*/ 6586 w 10000"/>
              <a:gd name="connsiteY29" fmla="*/ 9169 h 10000"/>
              <a:gd name="connsiteX30" fmla="*/ 6855 w 10000"/>
              <a:gd name="connsiteY30" fmla="*/ 8801 h 10000"/>
              <a:gd name="connsiteX31" fmla="*/ 6855 w 10000"/>
              <a:gd name="connsiteY31" fmla="*/ 8603 h 10000"/>
              <a:gd name="connsiteX32" fmla="*/ 6757 w 10000"/>
              <a:gd name="connsiteY32" fmla="*/ 8497 h 10000"/>
              <a:gd name="connsiteX33" fmla="*/ 6915 w 10000"/>
              <a:gd name="connsiteY33" fmla="*/ 8318 h 10000"/>
              <a:gd name="connsiteX34" fmla="*/ 6887 w 10000"/>
              <a:gd name="connsiteY34" fmla="*/ 8175 h 10000"/>
              <a:gd name="connsiteX35" fmla="*/ 6779 w 10000"/>
              <a:gd name="connsiteY35" fmla="*/ 8053 h 10000"/>
              <a:gd name="connsiteX36" fmla="*/ 6757 w 10000"/>
              <a:gd name="connsiteY36" fmla="*/ 7956 h 10000"/>
              <a:gd name="connsiteX37" fmla="*/ 6785 w 10000"/>
              <a:gd name="connsiteY37" fmla="*/ 7886 h 10000"/>
              <a:gd name="connsiteX38" fmla="*/ 6931 w 10000"/>
              <a:gd name="connsiteY38" fmla="*/ 7942 h 10000"/>
              <a:gd name="connsiteX39" fmla="*/ 7045 w 10000"/>
              <a:gd name="connsiteY39" fmla="*/ 7939 h 10000"/>
              <a:gd name="connsiteX40" fmla="*/ 6983 w 10000"/>
              <a:gd name="connsiteY40" fmla="*/ 7822 h 10000"/>
              <a:gd name="connsiteX41" fmla="*/ 7003 w 10000"/>
              <a:gd name="connsiteY41" fmla="*/ 7752 h 10000"/>
              <a:gd name="connsiteX42" fmla="*/ 7089 w 10000"/>
              <a:gd name="connsiteY42" fmla="*/ 7653 h 10000"/>
              <a:gd name="connsiteX43" fmla="*/ 7074 w 10000"/>
              <a:gd name="connsiteY43" fmla="*/ 7570 h 10000"/>
              <a:gd name="connsiteX44" fmla="*/ 7152 w 10000"/>
              <a:gd name="connsiteY44" fmla="*/ 7295 h 10000"/>
              <a:gd name="connsiteX45" fmla="*/ 7130 w 10000"/>
              <a:gd name="connsiteY45" fmla="*/ 7209 h 10000"/>
              <a:gd name="connsiteX46" fmla="*/ 6729 w 10000"/>
              <a:gd name="connsiteY46" fmla="*/ 6997 h 10000"/>
              <a:gd name="connsiteX47" fmla="*/ 6785 w 10000"/>
              <a:gd name="connsiteY47" fmla="*/ 6989 h 10000"/>
              <a:gd name="connsiteX48" fmla="*/ 6998 w 10000"/>
              <a:gd name="connsiteY48" fmla="*/ 7043 h 10000"/>
              <a:gd name="connsiteX49" fmla="*/ 7230 w 10000"/>
              <a:gd name="connsiteY49" fmla="*/ 7023 h 10000"/>
              <a:gd name="connsiteX50" fmla="*/ 7295 w 10000"/>
              <a:gd name="connsiteY50" fmla="*/ 6949 h 10000"/>
              <a:gd name="connsiteX51" fmla="*/ 7074 w 10000"/>
              <a:gd name="connsiteY51" fmla="*/ 6806 h 10000"/>
              <a:gd name="connsiteX52" fmla="*/ 6414 w 10000"/>
              <a:gd name="connsiteY52" fmla="*/ 6711 h 10000"/>
              <a:gd name="connsiteX53" fmla="*/ 6458 w 10000"/>
              <a:gd name="connsiteY53" fmla="*/ 6668 h 10000"/>
              <a:gd name="connsiteX54" fmla="*/ 6998 w 10000"/>
              <a:gd name="connsiteY54" fmla="*/ 6638 h 10000"/>
              <a:gd name="connsiteX55" fmla="*/ 7295 w 10000"/>
              <a:gd name="connsiteY55" fmla="*/ 6724 h 10000"/>
              <a:gd name="connsiteX56" fmla="*/ 7466 w 10000"/>
              <a:gd name="connsiteY56" fmla="*/ 6668 h 10000"/>
              <a:gd name="connsiteX57" fmla="*/ 7529 w 10000"/>
              <a:gd name="connsiteY57" fmla="*/ 6520 h 10000"/>
              <a:gd name="connsiteX58" fmla="*/ 7840 w 10000"/>
              <a:gd name="connsiteY58" fmla="*/ 6520 h 10000"/>
              <a:gd name="connsiteX59" fmla="*/ 8261 w 10000"/>
              <a:gd name="connsiteY59" fmla="*/ 6219 h 10000"/>
              <a:gd name="connsiteX60" fmla="*/ 8275 w 10000"/>
              <a:gd name="connsiteY60" fmla="*/ 6019 h 10000"/>
              <a:gd name="connsiteX61" fmla="*/ 8453 w 10000"/>
              <a:gd name="connsiteY61" fmla="*/ 6064 h 10000"/>
              <a:gd name="connsiteX62" fmla="*/ 8446 w 10000"/>
              <a:gd name="connsiteY62" fmla="*/ 6266 h 10000"/>
              <a:gd name="connsiteX63" fmla="*/ 8727 w 10000"/>
              <a:gd name="connsiteY63" fmla="*/ 6251 h 10000"/>
              <a:gd name="connsiteX64" fmla="*/ 8913 w 10000"/>
              <a:gd name="connsiteY64" fmla="*/ 6043 h 10000"/>
              <a:gd name="connsiteX65" fmla="*/ 9258 w 10000"/>
              <a:gd name="connsiteY65" fmla="*/ 5856 h 10000"/>
              <a:gd name="connsiteX66" fmla="*/ 9203 w 10000"/>
              <a:gd name="connsiteY66" fmla="*/ 5644 h 10000"/>
              <a:gd name="connsiteX67" fmla="*/ 9306 w 10000"/>
              <a:gd name="connsiteY67" fmla="*/ 5730 h 10000"/>
              <a:gd name="connsiteX68" fmla="*/ 9464 w 10000"/>
              <a:gd name="connsiteY68" fmla="*/ 5730 h 10000"/>
              <a:gd name="connsiteX69" fmla="*/ 9464 w 10000"/>
              <a:gd name="connsiteY69" fmla="*/ 5630 h 10000"/>
              <a:gd name="connsiteX70" fmla="*/ 9611 w 10000"/>
              <a:gd name="connsiteY70" fmla="*/ 5558 h 10000"/>
              <a:gd name="connsiteX71" fmla="*/ 9592 w 10000"/>
              <a:gd name="connsiteY71" fmla="*/ 5481 h 10000"/>
              <a:gd name="connsiteX72" fmla="*/ 8350 w 10000"/>
              <a:gd name="connsiteY72" fmla="*/ 5632 h 10000"/>
              <a:gd name="connsiteX73" fmla="*/ 8058 w 10000"/>
              <a:gd name="connsiteY73" fmla="*/ 5590 h 10000"/>
              <a:gd name="connsiteX74" fmla="*/ 7942 w 10000"/>
              <a:gd name="connsiteY74" fmla="*/ 5644 h 10000"/>
              <a:gd name="connsiteX75" fmla="*/ 7903 w 10000"/>
              <a:gd name="connsiteY75" fmla="*/ 5537 h 10000"/>
              <a:gd name="connsiteX76" fmla="*/ 7765 w 10000"/>
              <a:gd name="connsiteY76" fmla="*/ 5443 h 10000"/>
              <a:gd name="connsiteX77" fmla="*/ 7213 w 10000"/>
              <a:gd name="connsiteY77" fmla="*/ 5249 h 10000"/>
              <a:gd name="connsiteX78" fmla="*/ 6887 w 10000"/>
              <a:gd name="connsiteY78" fmla="*/ 5282 h 10000"/>
              <a:gd name="connsiteX79" fmla="*/ 6757 w 10000"/>
              <a:gd name="connsiteY79" fmla="*/ 5227 h 10000"/>
              <a:gd name="connsiteX80" fmla="*/ 6894 w 10000"/>
              <a:gd name="connsiteY80" fmla="*/ 5180 h 10000"/>
              <a:gd name="connsiteX81" fmla="*/ 6998 w 10000"/>
              <a:gd name="connsiteY81" fmla="*/ 5078 h 10000"/>
              <a:gd name="connsiteX82" fmla="*/ 7152 w 10000"/>
              <a:gd name="connsiteY82" fmla="*/ 5110 h 10000"/>
              <a:gd name="connsiteX83" fmla="*/ 7335 w 10000"/>
              <a:gd name="connsiteY83" fmla="*/ 5085 h 10000"/>
              <a:gd name="connsiteX84" fmla="*/ 7611 w 10000"/>
              <a:gd name="connsiteY84" fmla="*/ 5118 h 10000"/>
              <a:gd name="connsiteX85" fmla="*/ 7645 w 10000"/>
              <a:gd name="connsiteY85" fmla="*/ 5104 h 10000"/>
              <a:gd name="connsiteX86" fmla="*/ 7859 w 10000"/>
              <a:gd name="connsiteY86" fmla="*/ 5259 h 10000"/>
              <a:gd name="connsiteX87" fmla="*/ 8017 w 10000"/>
              <a:gd name="connsiteY87" fmla="*/ 5201 h 10000"/>
              <a:gd name="connsiteX88" fmla="*/ 8032 w 10000"/>
              <a:gd name="connsiteY88" fmla="*/ 5148 h 10000"/>
              <a:gd name="connsiteX89" fmla="*/ 8176 w 10000"/>
              <a:gd name="connsiteY89" fmla="*/ 5241 h 10000"/>
              <a:gd name="connsiteX90" fmla="*/ 8369 w 10000"/>
              <a:gd name="connsiteY90" fmla="*/ 5291 h 10000"/>
              <a:gd name="connsiteX91" fmla="*/ 8446 w 10000"/>
              <a:gd name="connsiteY91" fmla="*/ 5199 h 10000"/>
              <a:gd name="connsiteX92" fmla="*/ 8507 w 10000"/>
              <a:gd name="connsiteY92" fmla="*/ 5249 h 10000"/>
              <a:gd name="connsiteX93" fmla="*/ 8596 w 10000"/>
              <a:gd name="connsiteY93" fmla="*/ 5430 h 10000"/>
              <a:gd name="connsiteX94" fmla="*/ 8782 w 10000"/>
              <a:gd name="connsiteY94" fmla="*/ 5470 h 10000"/>
              <a:gd name="connsiteX95" fmla="*/ 9542 w 10000"/>
              <a:gd name="connsiteY95" fmla="*/ 5208 h 10000"/>
              <a:gd name="connsiteX96" fmla="*/ 9914 w 10000"/>
              <a:gd name="connsiteY96" fmla="*/ 4838 h 10000"/>
              <a:gd name="connsiteX97" fmla="*/ 10000 w 10000"/>
              <a:gd name="connsiteY97" fmla="*/ 4574 h 10000"/>
              <a:gd name="connsiteX98" fmla="*/ 9866 w 10000"/>
              <a:gd name="connsiteY98" fmla="*/ 4330 h 10000"/>
              <a:gd name="connsiteX99" fmla="*/ 9582 w 10000"/>
              <a:gd name="connsiteY99" fmla="*/ 4188 h 10000"/>
              <a:gd name="connsiteX100" fmla="*/ 9382 w 10000"/>
              <a:gd name="connsiteY100" fmla="*/ 3948 h 10000"/>
              <a:gd name="connsiteX101" fmla="*/ 9569 w 10000"/>
              <a:gd name="connsiteY101" fmla="*/ 3941 h 10000"/>
              <a:gd name="connsiteX102" fmla="*/ 9555 w 10000"/>
              <a:gd name="connsiteY102" fmla="*/ 3886 h 10000"/>
              <a:gd name="connsiteX103" fmla="*/ 9068 w 10000"/>
              <a:gd name="connsiteY103" fmla="*/ 3720 h 10000"/>
              <a:gd name="connsiteX104" fmla="*/ 9047 w 10000"/>
              <a:gd name="connsiteY104" fmla="*/ 3566 h 10000"/>
              <a:gd name="connsiteX105" fmla="*/ 8953 w 10000"/>
              <a:gd name="connsiteY105" fmla="*/ 3406 h 10000"/>
              <a:gd name="connsiteX106" fmla="*/ 8569 w 10000"/>
              <a:gd name="connsiteY106" fmla="*/ 3436 h 10000"/>
              <a:gd name="connsiteX107" fmla="*/ 8431 w 10000"/>
              <a:gd name="connsiteY107" fmla="*/ 3265 h 10000"/>
              <a:gd name="connsiteX108" fmla="*/ 8350 w 10000"/>
              <a:gd name="connsiteY108" fmla="*/ 3254 h 10000"/>
              <a:gd name="connsiteX109" fmla="*/ 8350 w 10000"/>
              <a:gd name="connsiteY109" fmla="*/ 3331 h 10000"/>
              <a:gd name="connsiteX110" fmla="*/ 8176 w 10000"/>
              <a:gd name="connsiteY110" fmla="*/ 3613 h 10000"/>
              <a:gd name="connsiteX111" fmla="*/ 7990 w 10000"/>
              <a:gd name="connsiteY111" fmla="*/ 3783 h 10000"/>
              <a:gd name="connsiteX112" fmla="*/ 7401 w 10000"/>
              <a:gd name="connsiteY112" fmla="*/ 4066 h 10000"/>
              <a:gd name="connsiteX113" fmla="*/ 7198 w 10000"/>
              <a:gd name="connsiteY113" fmla="*/ 4058 h 10000"/>
              <a:gd name="connsiteX114" fmla="*/ 6915 w 10000"/>
              <a:gd name="connsiteY114" fmla="*/ 4101 h 10000"/>
              <a:gd name="connsiteX115" fmla="*/ 6757 w 10000"/>
              <a:gd name="connsiteY115" fmla="*/ 4058 h 10000"/>
              <a:gd name="connsiteX116" fmla="*/ 6965 w 10000"/>
              <a:gd name="connsiteY116" fmla="*/ 3976 h 10000"/>
              <a:gd name="connsiteX117" fmla="*/ 7235 w 10000"/>
              <a:gd name="connsiteY117" fmla="*/ 3941 h 10000"/>
              <a:gd name="connsiteX118" fmla="*/ 7455 w 10000"/>
              <a:gd name="connsiteY118" fmla="*/ 3809 h 10000"/>
              <a:gd name="connsiteX119" fmla="*/ 7674 w 10000"/>
              <a:gd name="connsiteY119" fmla="*/ 3746 h 10000"/>
              <a:gd name="connsiteX120" fmla="*/ 8082 w 10000"/>
              <a:gd name="connsiteY120" fmla="*/ 3512 h 10000"/>
              <a:gd name="connsiteX121" fmla="*/ 8157 w 10000"/>
              <a:gd name="connsiteY121" fmla="*/ 3359 h 10000"/>
              <a:gd name="connsiteX122" fmla="*/ 8165 w 10000"/>
              <a:gd name="connsiteY122" fmla="*/ 3163 h 10000"/>
              <a:gd name="connsiteX123" fmla="*/ 7978 w 10000"/>
              <a:gd name="connsiteY123" fmla="*/ 3129 h 10000"/>
              <a:gd name="connsiteX124" fmla="*/ 8058 w 10000"/>
              <a:gd name="connsiteY124" fmla="*/ 3009 h 10000"/>
              <a:gd name="connsiteX125" fmla="*/ 8087 w 10000"/>
              <a:gd name="connsiteY125" fmla="*/ 2856 h 10000"/>
              <a:gd name="connsiteX126" fmla="*/ 8007 w 10000"/>
              <a:gd name="connsiteY126" fmla="*/ 2714 h 10000"/>
              <a:gd name="connsiteX127" fmla="*/ 7450 w 10000"/>
              <a:gd name="connsiteY127" fmla="*/ 2910 h 10000"/>
              <a:gd name="connsiteX128" fmla="*/ 6694 w 10000"/>
              <a:gd name="connsiteY128" fmla="*/ 2823 h 10000"/>
              <a:gd name="connsiteX129" fmla="*/ 6304 w 10000"/>
              <a:gd name="connsiteY129" fmla="*/ 2276 h 10000"/>
              <a:gd name="connsiteX130" fmla="*/ 5294 w 10000"/>
              <a:gd name="connsiteY130" fmla="*/ 2173 h 10000"/>
              <a:gd name="connsiteX131" fmla="*/ 4505 w 10000"/>
              <a:gd name="connsiteY131" fmla="*/ 1721 h 10000"/>
              <a:gd name="connsiteX132" fmla="*/ 3730 w 10000"/>
              <a:gd name="connsiteY132" fmla="*/ 1176 h 10000"/>
              <a:gd name="connsiteX133" fmla="*/ 3154 w 10000"/>
              <a:gd name="connsiteY133" fmla="*/ 173 h 10000"/>
              <a:gd name="connsiteX134" fmla="*/ 2375 w 10000"/>
              <a:gd name="connsiteY134" fmla="*/ 0 h 10000"/>
              <a:gd name="connsiteX135" fmla="*/ 2226 w 10000"/>
              <a:gd name="connsiteY135" fmla="*/ 941 h 10000"/>
              <a:gd name="connsiteX136" fmla="*/ 2375 w 10000"/>
              <a:gd name="connsiteY136" fmla="*/ 1181 h 10000"/>
              <a:gd name="connsiteX137" fmla="*/ 2791 w 10000"/>
              <a:gd name="connsiteY137" fmla="*/ 1446 h 10000"/>
              <a:gd name="connsiteX138" fmla="*/ 2808 w 10000"/>
              <a:gd name="connsiteY138" fmla="*/ 1767 h 10000"/>
              <a:gd name="connsiteX139" fmla="*/ 2632 w 10000"/>
              <a:gd name="connsiteY139" fmla="*/ 2035 h 10000"/>
              <a:gd name="connsiteX140" fmla="*/ 2375 w 10000"/>
              <a:gd name="connsiteY140" fmla="*/ 2196 h 10000"/>
              <a:gd name="connsiteX141" fmla="*/ 2039 w 10000"/>
              <a:gd name="connsiteY141" fmla="*/ 2260 h 10000"/>
              <a:gd name="connsiteX142" fmla="*/ 1950 w 10000"/>
              <a:gd name="connsiteY142" fmla="*/ 2357 h 10000"/>
              <a:gd name="connsiteX143" fmla="*/ 2148 w 10000"/>
              <a:gd name="connsiteY143" fmla="*/ 2577 h 10000"/>
              <a:gd name="connsiteX144" fmla="*/ 2261 w 10000"/>
              <a:gd name="connsiteY144" fmla="*/ 3104 h 10000"/>
              <a:gd name="connsiteX145" fmla="*/ 2005 w 10000"/>
              <a:gd name="connsiteY145" fmla="*/ 3555 h 10000"/>
              <a:gd name="connsiteX146" fmla="*/ 2094 w 10000"/>
              <a:gd name="connsiteY146" fmla="*/ 3692 h 10000"/>
              <a:gd name="connsiteX147" fmla="*/ 2012 w 10000"/>
              <a:gd name="connsiteY147" fmla="*/ 3926 h 10000"/>
              <a:gd name="connsiteX148" fmla="*/ 1850 w 10000"/>
              <a:gd name="connsiteY148" fmla="*/ 4089 h 10000"/>
              <a:gd name="connsiteX149" fmla="*/ 1199 w 10000"/>
              <a:gd name="connsiteY149" fmla="*/ 4215 h 10000"/>
              <a:gd name="connsiteX150" fmla="*/ 1158 w 10000"/>
              <a:gd name="connsiteY150" fmla="*/ 4432 h 10000"/>
              <a:gd name="connsiteX151" fmla="*/ 808 w 10000"/>
              <a:gd name="connsiteY151" fmla="*/ 4754 h 10000"/>
              <a:gd name="connsiteX152" fmla="*/ 854 w 10000"/>
              <a:gd name="connsiteY152" fmla="*/ 5224 h 10000"/>
              <a:gd name="connsiteX153" fmla="*/ 560 w 10000"/>
              <a:gd name="connsiteY153" fmla="*/ 5822 h 10000"/>
              <a:gd name="connsiteX154" fmla="*/ 358 w 10000"/>
              <a:gd name="connsiteY154" fmla="*/ 5891 h 10000"/>
              <a:gd name="connsiteX155" fmla="*/ 275 w 10000"/>
              <a:gd name="connsiteY155" fmla="*/ 5749 h 10000"/>
              <a:gd name="connsiteX156" fmla="*/ 174 w 10000"/>
              <a:gd name="connsiteY156" fmla="*/ 5964 h 10000"/>
              <a:gd name="connsiteX157" fmla="*/ 239 w 10000"/>
              <a:gd name="connsiteY157" fmla="*/ 5592 h 10000"/>
              <a:gd name="connsiteX158" fmla="*/ 197 w 10000"/>
              <a:gd name="connsiteY158"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633 w 10000"/>
              <a:gd name="connsiteY27" fmla="*/ 8935 h 10000"/>
              <a:gd name="connsiteX28" fmla="*/ 6419 w 10000"/>
              <a:gd name="connsiteY28" fmla="*/ 10000 h 10000"/>
              <a:gd name="connsiteX29" fmla="*/ 6586 w 10000"/>
              <a:gd name="connsiteY29" fmla="*/ 9169 h 10000"/>
              <a:gd name="connsiteX30" fmla="*/ 6855 w 10000"/>
              <a:gd name="connsiteY30" fmla="*/ 8801 h 10000"/>
              <a:gd name="connsiteX31" fmla="*/ 6855 w 10000"/>
              <a:gd name="connsiteY31" fmla="*/ 8603 h 10000"/>
              <a:gd name="connsiteX32" fmla="*/ 6757 w 10000"/>
              <a:gd name="connsiteY32" fmla="*/ 8497 h 10000"/>
              <a:gd name="connsiteX33" fmla="*/ 6915 w 10000"/>
              <a:gd name="connsiteY33" fmla="*/ 8318 h 10000"/>
              <a:gd name="connsiteX34" fmla="*/ 6887 w 10000"/>
              <a:gd name="connsiteY34" fmla="*/ 8175 h 10000"/>
              <a:gd name="connsiteX35" fmla="*/ 6779 w 10000"/>
              <a:gd name="connsiteY35" fmla="*/ 8053 h 10000"/>
              <a:gd name="connsiteX36" fmla="*/ 6757 w 10000"/>
              <a:gd name="connsiteY36" fmla="*/ 7956 h 10000"/>
              <a:gd name="connsiteX37" fmla="*/ 6785 w 10000"/>
              <a:gd name="connsiteY37" fmla="*/ 7886 h 10000"/>
              <a:gd name="connsiteX38" fmla="*/ 6931 w 10000"/>
              <a:gd name="connsiteY38" fmla="*/ 7942 h 10000"/>
              <a:gd name="connsiteX39" fmla="*/ 7045 w 10000"/>
              <a:gd name="connsiteY39" fmla="*/ 7939 h 10000"/>
              <a:gd name="connsiteX40" fmla="*/ 6983 w 10000"/>
              <a:gd name="connsiteY40" fmla="*/ 7822 h 10000"/>
              <a:gd name="connsiteX41" fmla="*/ 7003 w 10000"/>
              <a:gd name="connsiteY41" fmla="*/ 7752 h 10000"/>
              <a:gd name="connsiteX42" fmla="*/ 7089 w 10000"/>
              <a:gd name="connsiteY42" fmla="*/ 7653 h 10000"/>
              <a:gd name="connsiteX43" fmla="*/ 7074 w 10000"/>
              <a:gd name="connsiteY43" fmla="*/ 7570 h 10000"/>
              <a:gd name="connsiteX44" fmla="*/ 7152 w 10000"/>
              <a:gd name="connsiteY44" fmla="*/ 7295 h 10000"/>
              <a:gd name="connsiteX45" fmla="*/ 7130 w 10000"/>
              <a:gd name="connsiteY45" fmla="*/ 7209 h 10000"/>
              <a:gd name="connsiteX46" fmla="*/ 6729 w 10000"/>
              <a:gd name="connsiteY46" fmla="*/ 6997 h 10000"/>
              <a:gd name="connsiteX47" fmla="*/ 6785 w 10000"/>
              <a:gd name="connsiteY47" fmla="*/ 6989 h 10000"/>
              <a:gd name="connsiteX48" fmla="*/ 6998 w 10000"/>
              <a:gd name="connsiteY48" fmla="*/ 7043 h 10000"/>
              <a:gd name="connsiteX49" fmla="*/ 7230 w 10000"/>
              <a:gd name="connsiteY49" fmla="*/ 7023 h 10000"/>
              <a:gd name="connsiteX50" fmla="*/ 7295 w 10000"/>
              <a:gd name="connsiteY50" fmla="*/ 6949 h 10000"/>
              <a:gd name="connsiteX51" fmla="*/ 7074 w 10000"/>
              <a:gd name="connsiteY51" fmla="*/ 6806 h 10000"/>
              <a:gd name="connsiteX52" fmla="*/ 6414 w 10000"/>
              <a:gd name="connsiteY52" fmla="*/ 6711 h 10000"/>
              <a:gd name="connsiteX53" fmla="*/ 6458 w 10000"/>
              <a:gd name="connsiteY53" fmla="*/ 6668 h 10000"/>
              <a:gd name="connsiteX54" fmla="*/ 6998 w 10000"/>
              <a:gd name="connsiteY54" fmla="*/ 6638 h 10000"/>
              <a:gd name="connsiteX55" fmla="*/ 7295 w 10000"/>
              <a:gd name="connsiteY55" fmla="*/ 6724 h 10000"/>
              <a:gd name="connsiteX56" fmla="*/ 7466 w 10000"/>
              <a:gd name="connsiteY56" fmla="*/ 6668 h 10000"/>
              <a:gd name="connsiteX57" fmla="*/ 7529 w 10000"/>
              <a:gd name="connsiteY57" fmla="*/ 6520 h 10000"/>
              <a:gd name="connsiteX58" fmla="*/ 7840 w 10000"/>
              <a:gd name="connsiteY58" fmla="*/ 6520 h 10000"/>
              <a:gd name="connsiteX59" fmla="*/ 8261 w 10000"/>
              <a:gd name="connsiteY59" fmla="*/ 6219 h 10000"/>
              <a:gd name="connsiteX60" fmla="*/ 8275 w 10000"/>
              <a:gd name="connsiteY60" fmla="*/ 6019 h 10000"/>
              <a:gd name="connsiteX61" fmla="*/ 8453 w 10000"/>
              <a:gd name="connsiteY61" fmla="*/ 6064 h 10000"/>
              <a:gd name="connsiteX62" fmla="*/ 8446 w 10000"/>
              <a:gd name="connsiteY62" fmla="*/ 6266 h 10000"/>
              <a:gd name="connsiteX63" fmla="*/ 8727 w 10000"/>
              <a:gd name="connsiteY63" fmla="*/ 6251 h 10000"/>
              <a:gd name="connsiteX64" fmla="*/ 8913 w 10000"/>
              <a:gd name="connsiteY64" fmla="*/ 6043 h 10000"/>
              <a:gd name="connsiteX65" fmla="*/ 9258 w 10000"/>
              <a:gd name="connsiteY65" fmla="*/ 5856 h 10000"/>
              <a:gd name="connsiteX66" fmla="*/ 9203 w 10000"/>
              <a:gd name="connsiteY66" fmla="*/ 5644 h 10000"/>
              <a:gd name="connsiteX67" fmla="*/ 9306 w 10000"/>
              <a:gd name="connsiteY67" fmla="*/ 5730 h 10000"/>
              <a:gd name="connsiteX68" fmla="*/ 9464 w 10000"/>
              <a:gd name="connsiteY68" fmla="*/ 5730 h 10000"/>
              <a:gd name="connsiteX69" fmla="*/ 9464 w 10000"/>
              <a:gd name="connsiteY69" fmla="*/ 5630 h 10000"/>
              <a:gd name="connsiteX70" fmla="*/ 9611 w 10000"/>
              <a:gd name="connsiteY70" fmla="*/ 5558 h 10000"/>
              <a:gd name="connsiteX71" fmla="*/ 9592 w 10000"/>
              <a:gd name="connsiteY71" fmla="*/ 5481 h 10000"/>
              <a:gd name="connsiteX72" fmla="*/ 8350 w 10000"/>
              <a:gd name="connsiteY72" fmla="*/ 5632 h 10000"/>
              <a:gd name="connsiteX73" fmla="*/ 8058 w 10000"/>
              <a:gd name="connsiteY73" fmla="*/ 5590 h 10000"/>
              <a:gd name="connsiteX74" fmla="*/ 7942 w 10000"/>
              <a:gd name="connsiteY74" fmla="*/ 5644 h 10000"/>
              <a:gd name="connsiteX75" fmla="*/ 7903 w 10000"/>
              <a:gd name="connsiteY75" fmla="*/ 5537 h 10000"/>
              <a:gd name="connsiteX76" fmla="*/ 7765 w 10000"/>
              <a:gd name="connsiteY76" fmla="*/ 5443 h 10000"/>
              <a:gd name="connsiteX77" fmla="*/ 7213 w 10000"/>
              <a:gd name="connsiteY77" fmla="*/ 5249 h 10000"/>
              <a:gd name="connsiteX78" fmla="*/ 6887 w 10000"/>
              <a:gd name="connsiteY78" fmla="*/ 5282 h 10000"/>
              <a:gd name="connsiteX79" fmla="*/ 6757 w 10000"/>
              <a:gd name="connsiteY79" fmla="*/ 5227 h 10000"/>
              <a:gd name="connsiteX80" fmla="*/ 6894 w 10000"/>
              <a:gd name="connsiteY80" fmla="*/ 5180 h 10000"/>
              <a:gd name="connsiteX81" fmla="*/ 6998 w 10000"/>
              <a:gd name="connsiteY81" fmla="*/ 5078 h 10000"/>
              <a:gd name="connsiteX82" fmla="*/ 7152 w 10000"/>
              <a:gd name="connsiteY82" fmla="*/ 5110 h 10000"/>
              <a:gd name="connsiteX83" fmla="*/ 7335 w 10000"/>
              <a:gd name="connsiteY83" fmla="*/ 5085 h 10000"/>
              <a:gd name="connsiteX84" fmla="*/ 7611 w 10000"/>
              <a:gd name="connsiteY84" fmla="*/ 5118 h 10000"/>
              <a:gd name="connsiteX85" fmla="*/ 7645 w 10000"/>
              <a:gd name="connsiteY85" fmla="*/ 5104 h 10000"/>
              <a:gd name="connsiteX86" fmla="*/ 7859 w 10000"/>
              <a:gd name="connsiteY86" fmla="*/ 5259 h 10000"/>
              <a:gd name="connsiteX87" fmla="*/ 8017 w 10000"/>
              <a:gd name="connsiteY87" fmla="*/ 5201 h 10000"/>
              <a:gd name="connsiteX88" fmla="*/ 8032 w 10000"/>
              <a:gd name="connsiteY88" fmla="*/ 5148 h 10000"/>
              <a:gd name="connsiteX89" fmla="*/ 8176 w 10000"/>
              <a:gd name="connsiteY89" fmla="*/ 5241 h 10000"/>
              <a:gd name="connsiteX90" fmla="*/ 8369 w 10000"/>
              <a:gd name="connsiteY90" fmla="*/ 5291 h 10000"/>
              <a:gd name="connsiteX91" fmla="*/ 8446 w 10000"/>
              <a:gd name="connsiteY91" fmla="*/ 5199 h 10000"/>
              <a:gd name="connsiteX92" fmla="*/ 8507 w 10000"/>
              <a:gd name="connsiteY92" fmla="*/ 5249 h 10000"/>
              <a:gd name="connsiteX93" fmla="*/ 8596 w 10000"/>
              <a:gd name="connsiteY93" fmla="*/ 5430 h 10000"/>
              <a:gd name="connsiteX94" fmla="*/ 8782 w 10000"/>
              <a:gd name="connsiteY94" fmla="*/ 5470 h 10000"/>
              <a:gd name="connsiteX95" fmla="*/ 9542 w 10000"/>
              <a:gd name="connsiteY95" fmla="*/ 5208 h 10000"/>
              <a:gd name="connsiteX96" fmla="*/ 9914 w 10000"/>
              <a:gd name="connsiteY96" fmla="*/ 4838 h 10000"/>
              <a:gd name="connsiteX97" fmla="*/ 10000 w 10000"/>
              <a:gd name="connsiteY97" fmla="*/ 4574 h 10000"/>
              <a:gd name="connsiteX98" fmla="*/ 9866 w 10000"/>
              <a:gd name="connsiteY98" fmla="*/ 4330 h 10000"/>
              <a:gd name="connsiteX99" fmla="*/ 9582 w 10000"/>
              <a:gd name="connsiteY99" fmla="*/ 4188 h 10000"/>
              <a:gd name="connsiteX100" fmla="*/ 9382 w 10000"/>
              <a:gd name="connsiteY100" fmla="*/ 3948 h 10000"/>
              <a:gd name="connsiteX101" fmla="*/ 9569 w 10000"/>
              <a:gd name="connsiteY101" fmla="*/ 3941 h 10000"/>
              <a:gd name="connsiteX102" fmla="*/ 9555 w 10000"/>
              <a:gd name="connsiteY102" fmla="*/ 3886 h 10000"/>
              <a:gd name="connsiteX103" fmla="*/ 9068 w 10000"/>
              <a:gd name="connsiteY103" fmla="*/ 3720 h 10000"/>
              <a:gd name="connsiteX104" fmla="*/ 9047 w 10000"/>
              <a:gd name="connsiteY104" fmla="*/ 3566 h 10000"/>
              <a:gd name="connsiteX105" fmla="*/ 8953 w 10000"/>
              <a:gd name="connsiteY105" fmla="*/ 3406 h 10000"/>
              <a:gd name="connsiteX106" fmla="*/ 8569 w 10000"/>
              <a:gd name="connsiteY106" fmla="*/ 3436 h 10000"/>
              <a:gd name="connsiteX107" fmla="*/ 8431 w 10000"/>
              <a:gd name="connsiteY107" fmla="*/ 3265 h 10000"/>
              <a:gd name="connsiteX108" fmla="*/ 8350 w 10000"/>
              <a:gd name="connsiteY108" fmla="*/ 3254 h 10000"/>
              <a:gd name="connsiteX109" fmla="*/ 8350 w 10000"/>
              <a:gd name="connsiteY109" fmla="*/ 3331 h 10000"/>
              <a:gd name="connsiteX110" fmla="*/ 8176 w 10000"/>
              <a:gd name="connsiteY110" fmla="*/ 3613 h 10000"/>
              <a:gd name="connsiteX111" fmla="*/ 7990 w 10000"/>
              <a:gd name="connsiteY111" fmla="*/ 3783 h 10000"/>
              <a:gd name="connsiteX112" fmla="*/ 7401 w 10000"/>
              <a:gd name="connsiteY112" fmla="*/ 4066 h 10000"/>
              <a:gd name="connsiteX113" fmla="*/ 7198 w 10000"/>
              <a:gd name="connsiteY113" fmla="*/ 4058 h 10000"/>
              <a:gd name="connsiteX114" fmla="*/ 6915 w 10000"/>
              <a:gd name="connsiteY114" fmla="*/ 4101 h 10000"/>
              <a:gd name="connsiteX115" fmla="*/ 6757 w 10000"/>
              <a:gd name="connsiteY115" fmla="*/ 4058 h 10000"/>
              <a:gd name="connsiteX116" fmla="*/ 6965 w 10000"/>
              <a:gd name="connsiteY116" fmla="*/ 3976 h 10000"/>
              <a:gd name="connsiteX117" fmla="*/ 7235 w 10000"/>
              <a:gd name="connsiteY117" fmla="*/ 3941 h 10000"/>
              <a:gd name="connsiteX118" fmla="*/ 7455 w 10000"/>
              <a:gd name="connsiteY118" fmla="*/ 3809 h 10000"/>
              <a:gd name="connsiteX119" fmla="*/ 7674 w 10000"/>
              <a:gd name="connsiteY119" fmla="*/ 3746 h 10000"/>
              <a:gd name="connsiteX120" fmla="*/ 8082 w 10000"/>
              <a:gd name="connsiteY120" fmla="*/ 3512 h 10000"/>
              <a:gd name="connsiteX121" fmla="*/ 8157 w 10000"/>
              <a:gd name="connsiteY121" fmla="*/ 3359 h 10000"/>
              <a:gd name="connsiteX122" fmla="*/ 8165 w 10000"/>
              <a:gd name="connsiteY122" fmla="*/ 3163 h 10000"/>
              <a:gd name="connsiteX123" fmla="*/ 7978 w 10000"/>
              <a:gd name="connsiteY123" fmla="*/ 3129 h 10000"/>
              <a:gd name="connsiteX124" fmla="*/ 8058 w 10000"/>
              <a:gd name="connsiteY124" fmla="*/ 3009 h 10000"/>
              <a:gd name="connsiteX125" fmla="*/ 8087 w 10000"/>
              <a:gd name="connsiteY125" fmla="*/ 2856 h 10000"/>
              <a:gd name="connsiteX126" fmla="*/ 8007 w 10000"/>
              <a:gd name="connsiteY126" fmla="*/ 2714 h 10000"/>
              <a:gd name="connsiteX127" fmla="*/ 7450 w 10000"/>
              <a:gd name="connsiteY127" fmla="*/ 2910 h 10000"/>
              <a:gd name="connsiteX128" fmla="*/ 6694 w 10000"/>
              <a:gd name="connsiteY128" fmla="*/ 2823 h 10000"/>
              <a:gd name="connsiteX129" fmla="*/ 6304 w 10000"/>
              <a:gd name="connsiteY129" fmla="*/ 2276 h 10000"/>
              <a:gd name="connsiteX130" fmla="*/ 5294 w 10000"/>
              <a:gd name="connsiteY130" fmla="*/ 2173 h 10000"/>
              <a:gd name="connsiteX131" fmla="*/ 4505 w 10000"/>
              <a:gd name="connsiteY131" fmla="*/ 1721 h 10000"/>
              <a:gd name="connsiteX132" fmla="*/ 3730 w 10000"/>
              <a:gd name="connsiteY132" fmla="*/ 1176 h 10000"/>
              <a:gd name="connsiteX133" fmla="*/ 3154 w 10000"/>
              <a:gd name="connsiteY133" fmla="*/ 173 h 10000"/>
              <a:gd name="connsiteX134" fmla="*/ 2375 w 10000"/>
              <a:gd name="connsiteY134" fmla="*/ 0 h 10000"/>
              <a:gd name="connsiteX135" fmla="*/ 2226 w 10000"/>
              <a:gd name="connsiteY135" fmla="*/ 941 h 10000"/>
              <a:gd name="connsiteX136" fmla="*/ 2375 w 10000"/>
              <a:gd name="connsiteY136" fmla="*/ 1181 h 10000"/>
              <a:gd name="connsiteX137" fmla="*/ 2791 w 10000"/>
              <a:gd name="connsiteY137" fmla="*/ 1446 h 10000"/>
              <a:gd name="connsiteX138" fmla="*/ 2808 w 10000"/>
              <a:gd name="connsiteY138" fmla="*/ 1767 h 10000"/>
              <a:gd name="connsiteX139" fmla="*/ 2632 w 10000"/>
              <a:gd name="connsiteY139" fmla="*/ 2035 h 10000"/>
              <a:gd name="connsiteX140" fmla="*/ 2375 w 10000"/>
              <a:gd name="connsiteY140" fmla="*/ 2196 h 10000"/>
              <a:gd name="connsiteX141" fmla="*/ 2039 w 10000"/>
              <a:gd name="connsiteY141" fmla="*/ 2260 h 10000"/>
              <a:gd name="connsiteX142" fmla="*/ 1950 w 10000"/>
              <a:gd name="connsiteY142" fmla="*/ 2357 h 10000"/>
              <a:gd name="connsiteX143" fmla="*/ 2148 w 10000"/>
              <a:gd name="connsiteY143" fmla="*/ 2577 h 10000"/>
              <a:gd name="connsiteX144" fmla="*/ 2261 w 10000"/>
              <a:gd name="connsiteY144" fmla="*/ 3104 h 10000"/>
              <a:gd name="connsiteX145" fmla="*/ 2005 w 10000"/>
              <a:gd name="connsiteY145" fmla="*/ 3555 h 10000"/>
              <a:gd name="connsiteX146" fmla="*/ 2094 w 10000"/>
              <a:gd name="connsiteY146" fmla="*/ 3692 h 10000"/>
              <a:gd name="connsiteX147" fmla="*/ 2012 w 10000"/>
              <a:gd name="connsiteY147" fmla="*/ 3926 h 10000"/>
              <a:gd name="connsiteX148" fmla="*/ 1850 w 10000"/>
              <a:gd name="connsiteY148" fmla="*/ 4089 h 10000"/>
              <a:gd name="connsiteX149" fmla="*/ 1199 w 10000"/>
              <a:gd name="connsiteY149" fmla="*/ 4215 h 10000"/>
              <a:gd name="connsiteX150" fmla="*/ 1158 w 10000"/>
              <a:gd name="connsiteY150" fmla="*/ 4432 h 10000"/>
              <a:gd name="connsiteX151" fmla="*/ 808 w 10000"/>
              <a:gd name="connsiteY151" fmla="*/ 4754 h 10000"/>
              <a:gd name="connsiteX152" fmla="*/ 854 w 10000"/>
              <a:gd name="connsiteY152" fmla="*/ 5224 h 10000"/>
              <a:gd name="connsiteX153" fmla="*/ 560 w 10000"/>
              <a:gd name="connsiteY153" fmla="*/ 5822 h 10000"/>
              <a:gd name="connsiteX154" fmla="*/ 358 w 10000"/>
              <a:gd name="connsiteY154" fmla="*/ 5891 h 10000"/>
              <a:gd name="connsiteX155" fmla="*/ 275 w 10000"/>
              <a:gd name="connsiteY155" fmla="*/ 5749 h 10000"/>
              <a:gd name="connsiteX156" fmla="*/ 174 w 10000"/>
              <a:gd name="connsiteY156" fmla="*/ 5964 h 10000"/>
              <a:gd name="connsiteX157" fmla="*/ 239 w 10000"/>
              <a:gd name="connsiteY157" fmla="*/ 5592 h 10000"/>
              <a:gd name="connsiteX158" fmla="*/ 197 w 10000"/>
              <a:gd name="connsiteY158"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6419 w 10000"/>
              <a:gd name="connsiteY28" fmla="*/ 10000 h 10000"/>
              <a:gd name="connsiteX29" fmla="*/ 6586 w 10000"/>
              <a:gd name="connsiteY29" fmla="*/ 9169 h 10000"/>
              <a:gd name="connsiteX30" fmla="*/ 6855 w 10000"/>
              <a:gd name="connsiteY30" fmla="*/ 8801 h 10000"/>
              <a:gd name="connsiteX31" fmla="*/ 6855 w 10000"/>
              <a:gd name="connsiteY31" fmla="*/ 8603 h 10000"/>
              <a:gd name="connsiteX32" fmla="*/ 6757 w 10000"/>
              <a:gd name="connsiteY32" fmla="*/ 8497 h 10000"/>
              <a:gd name="connsiteX33" fmla="*/ 6915 w 10000"/>
              <a:gd name="connsiteY33" fmla="*/ 8318 h 10000"/>
              <a:gd name="connsiteX34" fmla="*/ 6887 w 10000"/>
              <a:gd name="connsiteY34" fmla="*/ 8175 h 10000"/>
              <a:gd name="connsiteX35" fmla="*/ 6779 w 10000"/>
              <a:gd name="connsiteY35" fmla="*/ 8053 h 10000"/>
              <a:gd name="connsiteX36" fmla="*/ 6757 w 10000"/>
              <a:gd name="connsiteY36" fmla="*/ 7956 h 10000"/>
              <a:gd name="connsiteX37" fmla="*/ 6785 w 10000"/>
              <a:gd name="connsiteY37" fmla="*/ 7886 h 10000"/>
              <a:gd name="connsiteX38" fmla="*/ 6931 w 10000"/>
              <a:gd name="connsiteY38" fmla="*/ 7942 h 10000"/>
              <a:gd name="connsiteX39" fmla="*/ 7045 w 10000"/>
              <a:gd name="connsiteY39" fmla="*/ 7939 h 10000"/>
              <a:gd name="connsiteX40" fmla="*/ 6983 w 10000"/>
              <a:gd name="connsiteY40" fmla="*/ 7822 h 10000"/>
              <a:gd name="connsiteX41" fmla="*/ 7003 w 10000"/>
              <a:gd name="connsiteY41" fmla="*/ 7752 h 10000"/>
              <a:gd name="connsiteX42" fmla="*/ 7089 w 10000"/>
              <a:gd name="connsiteY42" fmla="*/ 7653 h 10000"/>
              <a:gd name="connsiteX43" fmla="*/ 7074 w 10000"/>
              <a:gd name="connsiteY43" fmla="*/ 7570 h 10000"/>
              <a:gd name="connsiteX44" fmla="*/ 7152 w 10000"/>
              <a:gd name="connsiteY44" fmla="*/ 7295 h 10000"/>
              <a:gd name="connsiteX45" fmla="*/ 7130 w 10000"/>
              <a:gd name="connsiteY45" fmla="*/ 7209 h 10000"/>
              <a:gd name="connsiteX46" fmla="*/ 6729 w 10000"/>
              <a:gd name="connsiteY46" fmla="*/ 6997 h 10000"/>
              <a:gd name="connsiteX47" fmla="*/ 6785 w 10000"/>
              <a:gd name="connsiteY47" fmla="*/ 6989 h 10000"/>
              <a:gd name="connsiteX48" fmla="*/ 6998 w 10000"/>
              <a:gd name="connsiteY48" fmla="*/ 7043 h 10000"/>
              <a:gd name="connsiteX49" fmla="*/ 7230 w 10000"/>
              <a:gd name="connsiteY49" fmla="*/ 7023 h 10000"/>
              <a:gd name="connsiteX50" fmla="*/ 7295 w 10000"/>
              <a:gd name="connsiteY50" fmla="*/ 6949 h 10000"/>
              <a:gd name="connsiteX51" fmla="*/ 7074 w 10000"/>
              <a:gd name="connsiteY51" fmla="*/ 6806 h 10000"/>
              <a:gd name="connsiteX52" fmla="*/ 6414 w 10000"/>
              <a:gd name="connsiteY52" fmla="*/ 6711 h 10000"/>
              <a:gd name="connsiteX53" fmla="*/ 6458 w 10000"/>
              <a:gd name="connsiteY53" fmla="*/ 6668 h 10000"/>
              <a:gd name="connsiteX54" fmla="*/ 6998 w 10000"/>
              <a:gd name="connsiteY54" fmla="*/ 6638 h 10000"/>
              <a:gd name="connsiteX55" fmla="*/ 7295 w 10000"/>
              <a:gd name="connsiteY55" fmla="*/ 6724 h 10000"/>
              <a:gd name="connsiteX56" fmla="*/ 7466 w 10000"/>
              <a:gd name="connsiteY56" fmla="*/ 6668 h 10000"/>
              <a:gd name="connsiteX57" fmla="*/ 7529 w 10000"/>
              <a:gd name="connsiteY57" fmla="*/ 6520 h 10000"/>
              <a:gd name="connsiteX58" fmla="*/ 7840 w 10000"/>
              <a:gd name="connsiteY58" fmla="*/ 6520 h 10000"/>
              <a:gd name="connsiteX59" fmla="*/ 8261 w 10000"/>
              <a:gd name="connsiteY59" fmla="*/ 6219 h 10000"/>
              <a:gd name="connsiteX60" fmla="*/ 8275 w 10000"/>
              <a:gd name="connsiteY60" fmla="*/ 6019 h 10000"/>
              <a:gd name="connsiteX61" fmla="*/ 8453 w 10000"/>
              <a:gd name="connsiteY61" fmla="*/ 6064 h 10000"/>
              <a:gd name="connsiteX62" fmla="*/ 8446 w 10000"/>
              <a:gd name="connsiteY62" fmla="*/ 6266 h 10000"/>
              <a:gd name="connsiteX63" fmla="*/ 8727 w 10000"/>
              <a:gd name="connsiteY63" fmla="*/ 6251 h 10000"/>
              <a:gd name="connsiteX64" fmla="*/ 8913 w 10000"/>
              <a:gd name="connsiteY64" fmla="*/ 6043 h 10000"/>
              <a:gd name="connsiteX65" fmla="*/ 9258 w 10000"/>
              <a:gd name="connsiteY65" fmla="*/ 5856 h 10000"/>
              <a:gd name="connsiteX66" fmla="*/ 9203 w 10000"/>
              <a:gd name="connsiteY66" fmla="*/ 5644 h 10000"/>
              <a:gd name="connsiteX67" fmla="*/ 9306 w 10000"/>
              <a:gd name="connsiteY67" fmla="*/ 5730 h 10000"/>
              <a:gd name="connsiteX68" fmla="*/ 9464 w 10000"/>
              <a:gd name="connsiteY68" fmla="*/ 5730 h 10000"/>
              <a:gd name="connsiteX69" fmla="*/ 9464 w 10000"/>
              <a:gd name="connsiteY69" fmla="*/ 5630 h 10000"/>
              <a:gd name="connsiteX70" fmla="*/ 9611 w 10000"/>
              <a:gd name="connsiteY70" fmla="*/ 5558 h 10000"/>
              <a:gd name="connsiteX71" fmla="*/ 9592 w 10000"/>
              <a:gd name="connsiteY71" fmla="*/ 5481 h 10000"/>
              <a:gd name="connsiteX72" fmla="*/ 8350 w 10000"/>
              <a:gd name="connsiteY72" fmla="*/ 5632 h 10000"/>
              <a:gd name="connsiteX73" fmla="*/ 8058 w 10000"/>
              <a:gd name="connsiteY73" fmla="*/ 5590 h 10000"/>
              <a:gd name="connsiteX74" fmla="*/ 7942 w 10000"/>
              <a:gd name="connsiteY74" fmla="*/ 5644 h 10000"/>
              <a:gd name="connsiteX75" fmla="*/ 7903 w 10000"/>
              <a:gd name="connsiteY75" fmla="*/ 5537 h 10000"/>
              <a:gd name="connsiteX76" fmla="*/ 7765 w 10000"/>
              <a:gd name="connsiteY76" fmla="*/ 5443 h 10000"/>
              <a:gd name="connsiteX77" fmla="*/ 7213 w 10000"/>
              <a:gd name="connsiteY77" fmla="*/ 5249 h 10000"/>
              <a:gd name="connsiteX78" fmla="*/ 6887 w 10000"/>
              <a:gd name="connsiteY78" fmla="*/ 5282 h 10000"/>
              <a:gd name="connsiteX79" fmla="*/ 6757 w 10000"/>
              <a:gd name="connsiteY79" fmla="*/ 5227 h 10000"/>
              <a:gd name="connsiteX80" fmla="*/ 6894 w 10000"/>
              <a:gd name="connsiteY80" fmla="*/ 5180 h 10000"/>
              <a:gd name="connsiteX81" fmla="*/ 6998 w 10000"/>
              <a:gd name="connsiteY81" fmla="*/ 5078 h 10000"/>
              <a:gd name="connsiteX82" fmla="*/ 7152 w 10000"/>
              <a:gd name="connsiteY82" fmla="*/ 5110 h 10000"/>
              <a:gd name="connsiteX83" fmla="*/ 7335 w 10000"/>
              <a:gd name="connsiteY83" fmla="*/ 5085 h 10000"/>
              <a:gd name="connsiteX84" fmla="*/ 7611 w 10000"/>
              <a:gd name="connsiteY84" fmla="*/ 5118 h 10000"/>
              <a:gd name="connsiteX85" fmla="*/ 7645 w 10000"/>
              <a:gd name="connsiteY85" fmla="*/ 5104 h 10000"/>
              <a:gd name="connsiteX86" fmla="*/ 7859 w 10000"/>
              <a:gd name="connsiteY86" fmla="*/ 5259 h 10000"/>
              <a:gd name="connsiteX87" fmla="*/ 8017 w 10000"/>
              <a:gd name="connsiteY87" fmla="*/ 5201 h 10000"/>
              <a:gd name="connsiteX88" fmla="*/ 8032 w 10000"/>
              <a:gd name="connsiteY88" fmla="*/ 5148 h 10000"/>
              <a:gd name="connsiteX89" fmla="*/ 8176 w 10000"/>
              <a:gd name="connsiteY89" fmla="*/ 5241 h 10000"/>
              <a:gd name="connsiteX90" fmla="*/ 8369 w 10000"/>
              <a:gd name="connsiteY90" fmla="*/ 5291 h 10000"/>
              <a:gd name="connsiteX91" fmla="*/ 8446 w 10000"/>
              <a:gd name="connsiteY91" fmla="*/ 5199 h 10000"/>
              <a:gd name="connsiteX92" fmla="*/ 8507 w 10000"/>
              <a:gd name="connsiteY92" fmla="*/ 5249 h 10000"/>
              <a:gd name="connsiteX93" fmla="*/ 8596 w 10000"/>
              <a:gd name="connsiteY93" fmla="*/ 5430 h 10000"/>
              <a:gd name="connsiteX94" fmla="*/ 8782 w 10000"/>
              <a:gd name="connsiteY94" fmla="*/ 5470 h 10000"/>
              <a:gd name="connsiteX95" fmla="*/ 9542 w 10000"/>
              <a:gd name="connsiteY95" fmla="*/ 5208 h 10000"/>
              <a:gd name="connsiteX96" fmla="*/ 9914 w 10000"/>
              <a:gd name="connsiteY96" fmla="*/ 4838 h 10000"/>
              <a:gd name="connsiteX97" fmla="*/ 10000 w 10000"/>
              <a:gd name="connsiteY97" fmla="*/ 4574 h 10000"/>
              <a:gd name="connsiteX98" fmla="*/ 9866 w 10000"/>
              <a:gd name="connsiteY98" fmla="*/ 4330 h 10000"/>
              <a:gd name="connsiteX99" fmla="*/ 9582 w 10000"/>
              <a:gd name="connsiteY99" fmla="*/ 4188 h 10000"/>
              <a:gd name="connsiteX100" fmla="*/ 9382 w 10000"/>
              <a:gd name="connsiteY100" fmla="*/ 3948 h 10000"/>
              <a:gd name="connsiteX101" fmla="*/ 9569 w 10000"/>
              <a:gd name="connsiteY101" fmla="*/ 3941 h 10000"/>
              <a:gd name="connsiteX102" fmla="*/ 9555 w 10000"/>
              <a:gd name="connsiteY102" fmla="*/ 3886 h 10000"/>
              <a:gd name="connsiteX103" fmla="*/ 9068 w 10000"/>
              <a:gd name="connsiteY103" fmla="*/ 3720 h 10000"/>
              <a:gd name="connsiteX104" fmla="*/ 9047 w 10000"/>
              <a:gd name="connsiteY104" fmla="*/ 3566 h 10000"/>
              <a:gd name="connsiteX105" fmla="*/ 8953 w 10000"/>
              <a:gd name="connsiteY105" fmla="*/ 3406 h 10000"/>
              <a:gd name="connsiteX106" fmla="*/ 8569 w 10000"/>
              <a:gd name="connsiteY106" fmla="*/ 3436 h 10000"/>
              <a:gd name="connsiteX107" fmla="*/ 8431 w 10000"/>
              <a:gd name="connsiteY107" fmla="*/ 3265 h 10000"/>
              <a:gd name="connsiteX108" fmla="*/ 8350 w 10000"/>
              <a:gd name="connsiteY108" fmla="*/ 3254 h 10000"/>
              <a:gd name="connsiteX109" fmla="*/ 8350 w 10000"/>
              <a:gd name="connsiteY109" fmla="*/ 3331 h 10000"/>
              <a:gd name="connsiteX110" fmla="*/ 8176 w 10000"/>
              <a:gd name="connsiteY110" fmla="*/ 3613 h 10000"/>
              <a:gd name="connsiteX111" fmla="*/ 7990 w 10000"/>
              <a:gd name="connsiteY111" fmla="*/ 3783 h 10000"/>
              <a:gd name="connsiteX112" fmla="*/ 7401 w 10000"/>
              <a:gd name="connsiteY112" fmla="*/ 4066 h 10000"/>
              <a:gd name="connsiteX113" fmla="*/ 7198 w 10000"/>
              <a:gd name="connsiteY113" fmla="*/ 4058 h 10000"/>
              <a:gd name="connsiteX114" fmla="*/ 6915 w 10000"/>
              <a:gd name="connsiteY114" fmla="*/ 4101 h 10000"/>
              <a:gd name="connsiteX115" fmla="*/ 6757 w 10000"/>
              <a:gd name="connsiteY115" fmla="*/ 4058 h 10000"/>
              <a:gd name="connsiteX116" fmla="*/ 6965 w 10000"/>
              <a:gd name="connsiteY116" fmla="*/ 3976 h 10000"/>
              <a:gd name="connsiteX117" fmla="*/ 7235 w 10000"/>
              <a:gd name="connsiteY117" fmla="*/ 3941 h 10000"/>
              <a:gd name="connsiteX118" fmla="*/ 7455 w 10000"/>
              <a:gd name="connsiteY118" fmla="*/ 3809 h 10000"/>
              <a:gd name="connsiteX119" fmla="*/ 7674 w 10000"/>
              <a:gd name="connsiteY119" fmla="*/ 3746 h 10000"/>
              <a:gd name="connsiteX120" fmla="*/ 8082 w 10000"/>
              <a:gd name="connsiteY120" fmla="*/ 3512 h 10000"/>
              <a:gd name="connsiteX121" fmla="*/ 8157 w 10000"/>
              <a:gd name="connsiteY121" fmla="*/ 3359 h 10000"/>
              <a:gd name="connsiteX122" fmla="*/ 8165 w 10000"/>
              <a:gd name="connsiteY122" fmla="*/ 3163 h 10000"/>
              <a:gd name="connsiteX123" fmla="*/ 7978 w 10000"/>
              <a:gd name="connsiteY123" fmla="*/ 3129 h 10000"/>
              <a:gd name="connsiteX124" fmla="*/ 8058 w 10000"/>
              <a:gd name="connsiteY124" fmla="*/ 3009 h 10000"/>
              <a:gd name="connsiteX125" fmla="*/ 8087 w 10000"/>
              <a:gd name="connsiteY125" fmla="*/ 2856 h 10000"/>
              <a:gd name="connsiteX126" fmla="*/ 8007 w 10000"/>
              <a:gd name="connsiteY126" fmla="*/ 2714 h 10000"/>
              <a:gd name="connsiteX127" fmla="*/ 7450 w 10000"/>
              <a:gd name="connsiteY127" fmla="*/ 2910 h 10000"/>
              <a:gd name="connsiteX128" fmla="*/ 6694 w 10000"/>
              <a:gd name="connsiteY128" fmla="*/ 2823 h 10000"/>
              <a:gd name="connsiteX129" fmla="*/ 6304 w 10000"/>
              <a:gd name="connsiteY129" fmla="*/ 2276 h 10000"/>
              <a:gd name="connsiteX130" fmla="*/ 5294 w 10000"/>
              <a:gd name="connsiteY130" fmla="*/ 2173 h 10000"/>
              <a:gd name="connsiteX131" fmla="*/ 4505 w 10000"/>
              <a:gd name="connsiteY131" fmla="*/ 1721 h 10000"/>
              <a:gd name="connsiteX132" fmla="*/ 3730 w 10000"/>
              <a:gd name="connsiteY132" fmla="*/ 1176 h 10000"/>
              <a:gd name="connsiteX133" fmla="*/ 3154 w 10000"/>
              <a:gd name="connsiteY133" fmla="*/ 173 h 10000"/>
              <a:gd name="connsiteX134" fmla="*/ 2375 w 10000"/>
              <a:gd name="connsiteY134" fmla="*/ 0 h 10000"/>
              <a:gd name="connsiteX135" fmla="*/ 2226 w 10000"/>
              <a:gd name="connsiteY135" fmla="*/ 941 h 10000"/>
              <a:gd name="connsiteX136" fmla="*/ 2375 w 10000"/>
              <a:gd name="connsiteY136" fmla="*/ 1181 h 10000"/>
              <a:gd name="connsiteX137" fmla="*/ 2791 w 10000"/>
              <a:gd name="connsiteY137" fmla="*/ 1446 h 10000"/>
              <a:gd name="connsiteX138" fmla="*/ 2808 w 10000"/>
              <a:gd name="connsiteY138" fmla="*/ 1767 h 10000"/>
              <a:gd name="connsiteX139" fmla="*/ 2632 w 10000"/>
              <a:gd name="connsiteY139" fmla="*/ 2035 h 10000"/>
              <a:gd name="connsiteX140" fmla="*/ 2375 w 10000"/>
              <a:gd name="connsiteY140" fmla="*/ 2196 h 10000"/>
              <a:gd name="connsiteX141" fmla="*/ 2039 w 10000"/>
              <a:gd name="connsiteY141" fmla="*/ 2260 h 10000"/>
              <a:gd name="connsiteX142" fmla="*/ 1950 w 10000"/>
              <a:gd name="connsiteY142" fmla="*/ 2357 h 10000"/>
              <a:gd name="connsiteX143" fmla="*/ 2148 w 10000"/>
              <a:gd name="connsiteY143" fmla="*/ 2577 h 10000"/>
              <a:gd name="connsiteX144" fmla="*/ 2261 w 10000"/>
              <a:gd name="connsiteY144" fmla="*/ 3104 h 10000"/>
              <a:gd name="connsiteX145" fmla="*/ 2005 w 10000"/>
              <a:gd name="connsiteY145" fmla="*/ 3555 h 10000"/>
              <a:gd name="connsiteX146" fmla="*/ 2094 w 10000"/>
              <a:gd name="connsiteY146" fmla="*/ 3692 h 10000"/>
              <a:gd name="connsiteX147" fmla="*/ 2012 w 10000"/>
              <a:gd name="connsiteY147" fmla="*/ 3926 h 10000"/>
              <a:gd name="connsiteX148" fmla="*/ 1850 w 10000"/>
              <a:gd name="connsiteY148" fmla="*/ 4089 h 10000"/>
              <a:gd name="connsiteX149" fmla="*/ 1199 w 10000"/>
              <a:gd name="connsiteY149" fmla="*/ 4215 h 10000"/>
              <a:gd name="connsiteX150" fmla="*/ 1158 w 10000"/>
              <a:gd name="connsiteY150" fmla="*/ 4432 h 10000"/>
              <a:gd name="connsiteX151" fmla="*/ 808 w 10000"/>
              <a:gd name="connsiteY151" fmla="*/ 4754 h 10000"/>
              <a:gd name="connsiteX152" fmla="*/ 854 w 10000"/>
              <a:gd name="connsiteY152" fmla="*/ 5224 h 10000"/>
              <a:gd name="connsiteX153" fmla="*/ 560 w 10000"/>
              <a:gd name="connsiteY153" fmla="*/ 5822 h 10000"/>
              <a:gd name="connsiteX154" fmla="*/ 358 w 10000"/>
              <a:gd name="connsiteY154" fmla="*/ 5891 h 10000"/>
              <a:gd name="connsiteX155" fmla="*/ 275 w 10000"/>
              <a:gd name="connsiteY155" fmla="*/ 5749 h 10000"/>
              <a:gd name="connsiteX156" fmla="*/ 174 w 10000"/>
              <a:gd name="connsiteY156" fmla="*/ 5964 h 10000"/>
              <a:gd name="connsiteX157" fmla="*/ 239 w 10000"/>
              <a:gd name="connsiteY157" fmla="*/ 5592 h 10000"/>
              <a:gd name="connsiteX158" fmla="*/ 197 w 10000"/>
              <a:gd name="connsiteY158"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3106 w 10000"/>
              <a:gd name="connsiteY28" fmla="*/ 8909 h 10000"/>
              <a:gd name="connsiteX29" fmla="*/ 6419 w 10000"/>
              <a:gd name="connsiteY29" fmla="*/ 10000 h 10000"/>
              <a:gd name="connsiteX30" fmla="*/ 6586 w 10000"/>
              <a:gd name="connsiteY30" fmla="*/ 9169 h 10000"/>
              <a:gd name="connsiteX31" fmla="*/ 6855 w 10000"/>
              <a:gd name="connsiteY31" fmla="*/ 8801 h 10000"/>
              <a:gd name="connsiteX32" fmla="*/ 6855 w 10000"/>
              <a:gd name="connsiteY32" fmla="*/ 8603 h 10000"/>
              <a:gd name="connsiteX33" fmla="*/ 6757 w 10000"/>
              <a:gd name="connsiteY33" fmla="*/ 8497 h 10000"/>
              <a:gd name="connsiteX34" fmla="*/ 6915 w 10000"/>
              <a:gd name="connsiteY34" fmla="*/ 8318 h 10000"/>
              <a:gd name="connsiteX35" fmla="*/ 6887 w 10000"/>
              <a:gd name="connsiteY35" fmla="*/ 8175 h 10000"/>
              <a:gd name="connsiteX36" fmla="*/ 6779 w 10000"/>
              <a:gd name="connsiteY36" fmla="*/ 8053 h 10000"/>
              <a:gd name="connsiteX37" fmla="*/ 6757 w 10000"/>
              <a:gd name="connsiteY37" fmla="*/ 7956 h 10000"/>
              <a:gd name="connsiteX38" fmla="*/ 6785 w 10000"/>
              <a:gd name="connsiteY38" fmla="*/ 7886 h 10000"/>
              <a:gd name="connsiteX39" fmla="*/ 6931 w 10000"/>
              <a:gd name="connsiteY39" fmla="*/ 7942 h 10000"/>
              <a:gd name="connsiteX40" fmla="*/ 7045 w 10000"/>
              <a:gd name="connsiteY40" fmla="*/ 7939 h 10000"/>
              <a:gd name="connsiteX41" fmla="*/ 6983 w 10000"/>
              <a:gd name="connsiteY41" fmla="*/ 7822 h 10000"/>
              <a:gd name="connsiteX42" fmla="*/ 7003 w 10000"/>
              <a:gd name="connsiteY42" fmla="*/ 7752 h 10000"/>
              <a:gd name="connsiteX43" fmla="*/ 7089 w 10000"/>
              <a:gd name="connsiteY43" fmla="*/ 7653 h 10000"/>
              <a:gd name="connsiteX44" fmla="*/ 7074 w 10000"/>
              <a:gd name="connsiteY44" fmla="*/ 7570 h 10000"/>
              <a:gd name="connsiteX45" fmla="*/ 7152 w 10000"/>
              <a:gd name="connsiteY45" fmla="*/ 7295 h 10000"/>
              <a:gd name="connsiteX46" fmla="*/ 7130 w 10000"/>
              <a:gd name="connsiteY46" fmla="*/ 7209 h 10000"/>
              <a:gd name="connsiteX47" fmla="*/ 6729 w 10000"/>
              <a:gd name="connsiteY47" fmla="*/ 6997 h 10000"/>
              <a:gd name="connsiteX48" fmla="*/ 6785 w 10000"/>
              <a:gd name="connsiteY48" fmla="*/ 6989 h 10000"/>
              <a:gd name="connsiteX49" fmla="*/ 6998 w 10000"/>
              <a:gd name="connsiteY49" fmla="*/ 7043 h 10000"/>
              <a:gd name="connsiteX50" fmla="*/ 7230 w 10000"/>
              <a:gd name="connsiteY50" fmla="*/ 7023 h 10000"/>
              <a:gd name="connsiteX51" fmla="*/ 7295 w 10000"/>
              <a:gd name="connsiteY51" fmla="*/ 6949 h 10000"/>
              <a:gd name="connsiteX52" fmla="*/ 7074 w 10000"/>
              <a:gd name="connsiteY52" fmla="*/ 6806 h 10000"/>
              <a:gd name="connsiteX53" fmla="*/ 6414 w 10000"/>
              <a:gd name="connsiteY53" fmla="*/ 6711 h 10000"/>
              <a:gd name="connsiteX54" fmla="*/ 6458 w 10000"/>
              <a:gd name="connsiteY54" fmla="*/ 6668 h 10000"/>
              <a:gd name="connsiteX55" fmla="*/ 6998 w 10000"/>
              <a:gd name="connsiteY55" fmla="*/ 6638 h 10000"/>
              <a:gd name="connsiteX56" fmla="*/ 7295 w 10000"/>
              <a:gd name="connsiteY56" fmla="*/ 6724 h 10000"/>
              <a:gd name="connsiteX57" fmla="*/ 7466 w 10000"/>
              <a:gd name="connsiteY57" fmla="*/ 6668 h 10000"/>
              <a:gd name="connsiteX58" fmla="*/ 7529 w 10000"/>
              <a:gd name="connsiteY58" fmla="*/ 6520 h 10000"/>
              <a:gd name="connsiteX59" fmla="*/ 7840 w 10000"/>
              <a:gd name="connsiteY59" fmla="*/ 6520 h 10000"/>
              <a:gd name="connsiteX60" fmla="*/ 8261 w 10000"/>
              <a:gd name="connsiteY60" fmla="*/ 6219 h 10000"/>
              <a:gd name="connsiteX61" fmla="*/ 8275 w 10000"/>
              <a:gd name="connsiteY61" fmla="*/ 6019 h 10000"/>
              <a:gd name="connsiteX62" fmla="*/ 8453 w 10000"/>
              <a:gd name="connsiteY62" fmla="*/ 6064 h 10000"/>
              <a:gd name="connsiteX63" fmla="*/ 8446 w 10000"/>
              <a:gd name="connsiteY63" fmla="*/ 6266 h 10000"/>
              <a:gd name="connsiteX64" fmla="*/ 8727 w 10000"/>
              <a:gd name="connsiteY64" fmla="*/ 6251 h 10000"/>
              <a:gd name="connsiteX65" fmla="*/ 8913 w 10000"/>
              <a:gd name="connsiteY65" fmla="*/ 6043 h 10000"/>
              <a:gd name="connsiteX66" fmla="*/ 9258 w 10000"/>
              <a:gd name="connsiteY66" fmla="*/ 5856 h 10000"/>
              <a:gd name="connsiteX67" fmla="*/ 9203 w 10000"/>
              <a:gd name="connsiteY67" fmla="*/ 5644 h 10000"/>
              <a:gd name="connsiteX68" fmla="*/ 9306 w 10000"/>
              <a:gd name="connsiteY68" fmla="*/ 5730 h 10000"/>
              <a:gd name="connsiteX69" fmla="*/ 9464 w 10000"/>
              <a:gd name="connsiteY69" fmla="*/ 5730 h 10000"/>
              <a:gd name="connsiteX70" fmla="*/ 9464 w 10000"/>
              <a:gd name="connsiteY70" fmla="*/ 5630 h 10000"/>
              <a:gd name="connsiteX71" fmla="*/ 9611 w 10000"/>
              <a:gd name="connsiteY71" fmla="*/ 5558 h 10000"/>
              <a:gd name="connsiteX72" fmla="*/ 9592 w 10000"/>
              <a:gd name="connsiteY72" fmla="*/ 5481 h 10000"/>
              <a:gd name="connsiteX73" fmla="*/ 8350 w 10000"/>
              <a:gd name="connsiteY73" fmla="*/ 5632 h 10000"/>
              <a:gd name="connsiteX74" fmla="*/ 8058 w 10000"/>
              <a:gd name="connsiteY74" fmla="*/ 5590 h 10000"/>
              <a:gd name="connsiteX75" fmla="*/ 7942 w 10000"/>
              <a:gd name="connsiteY75" fmla="*/ 5644 h 10000"/>
              <a:gd name="connsiteX76" fmla="*/ 7903 w 10000"/>
              <a:gd name="connsiteY76" fmla="*/ 5537 h 10000"/>
              <a:gd name="connsiteX77" fmla="*/ 7765 w 10000"/>
              <a:gd name="connsiteY77" fmla="*/ 5443 h 10000"/>
              <a:gd name="connsiteX78" fmla="*/ 7213 w 10000"/>
              <a:gd name="connsiteY78" fmla="*/ 5249 h 10000"/>
              <a:gd name="connsiteX79" fmla="*/ 6887 w 10000"/>
              <a:gd name="connsiteY79" fmla="*/ 5282 h 10000"/>
              <a:gd name="connsiteX80" fmla="*/ 6757 w 10000"/>
              <a:gd name="connsiteY80" fmla="*/ 5227 h 10000"/>
              <a:gd name="connsiteX81" fmla="*/ 6894 w 10000"/>
              <a:gd name="connsiteY81" fmla="*/ 5180 h 10000"/>
              <a:gd name="connsiteX82" fmla="*/ 6998 w 10000"/>
              <a:gd name="connsiteY82" fmla="*/ 5078 h 10000"/>
              <a:gd name="connsiteX83" fmla="*/ 7152 w 10000"/>
              <a:gd name="connsiteY83" fmla="*/ 5110 h 10000"/>
              <a:gd name="connsiteX84" fmla="*/ 7335 w 10000"/>
              <a:gd name="connsiteY84" fmla="*/ 5085 h 10000"/>
              <a:gd name="connsiteX85" fmla="*/ 7611 w 10000"/>
              <a:gd name="connsiteY85" fmla="*/ 5118 h 10000"/>
              <a:gd name="connsiteX86" fmla="*/ 7645 w 10000"/>
              <a:gd name="connsiteY86" fmla="*/ 5104 h 10000"/>
              <a:gd name="connsiteX87" fmla="*/ 7859 w 10000"/>
              <a:gd name="connsiteY87" fmla="*/ 5259 h 10000"/>
              <a:gd name="connsiteX88" fmla="*/ 8017 w 10000"/>
              <a:gd name="connsiteY88" fmla="*/ 5201 h 10000"/>
              <a:gd name="connsiteX89" fmla="*/ 8032 w 10000"/>
              <a:gd name="connsiteY89" fmla="*/ 5148 h 10000"/>
              <a:gd name="connsiteX90" fmla="*/ 8176 w 10000"/>
              <a:gd name="connsiteY90" fmla="*/ 5241 h 10000"/>
              <a:gd name="connsiteX91" fmla="*/ 8369 w 10000"/>
              <a:gd name="connsiteY91" fmla="*/ 5291 h 10000"/>
              <a:gd name="connsiteX92" fmla="*/ 8446 w 10000"/>
              <a:gd name="connsiteY92" fmla="*/ 5199 h 10000"/>
              <a:gd name="connsiteX93" fmla="*/ 8507 w 10000"/>
              <a:gd name="connsiteY93" fmla="*/ 5249 h 10000"/>
              <a:gd name="connsiteX94" fmla="*/ 8596 w 10000"/>
              <a:gd name="connsiteY94" fmla="*/ 5430 h 10000"/>
              <a:gd name="connsiteX95" fmla="*/ 8782 w 10000"/>
              <a:gd name="connsiteY95" fmla="*/ 5470 h 10000"/>
              <a:gd name="connsiteX96" fmla="*/ 9542 w 10000"/>
              <a:gd name="connsiteY96" fmla="*/ 5208 h 10000"/>
              <a:gd name="connsiteX97" fmla="*/ 9914 w 10000"/>
              <a:gd name="connsiteY97" fmla="*/ 4838 h 10000"/>
              <a:gd name="connsiteX98" fmla="*/ 10000 w 10000"/>
              <a:gd name="connsiteY98" fmla="*/ 4574 h 10000"/>
              <a:gd name="connsiteX99" fmla="*/ 9866 w 10000"/>
              <a:gd name="connsiteY99" fmla="*/ 4330 h 10000"/>
              <a:gd name="connsiteX100" fmla="*/ 9582 w 10000"/>
              <a:gd name="connsiteY100" fmla="*/ 4188 h 10000"/>
              <a:gd name="connsiteX101" fmla="*/ 9382 w 10000"/>
              <a:gd name="connsiteY101" fmla="*/ 3948 h 10000"/>
              <a:gd name="connsiteX102" fmla="*/ 9569 w 10000"/>
              <a:gd name="connsiteY102" fmla="*/ 3941 h 10000"/>
              <a:gd name="connsiteX103" fmla="*/ 9555 w 10000"/>
              <a:gd name="connsiteY103" fmla="*/ 3886 h 10000"/>
              <a:gd name="connsiteX104" fmla="*/ 9068 w 10000"/>
              <a:gd name="connsiteY104" fmla="*/ 3720 h 10000"/>
              <a:gd name="connsiteX105" fmla="*/ 9047 w 10000"/>
              <a:gd name="connsiteY105" fmla="*/ 3566 h 10000"/>
              <a:gd name="connsiteX106" fmla="*/ 8953 w 10000"/>
              <a:gd name="connsiteY106" fmla="*/ 3406 h 10000"/>
              <a:gd name="connsiteX107" fmla="*/ 8569 w 10000"/>
              <a:gd name="connsiteY107" fmla="*/ 3436 h 10000"/>
              <a:gd name="connsiteX108" fmla="*/ 8431 w 10000"/>
              <a:gd name="connsiteY108" fmla="*/ 3265 h 10000"/>
              <a:gd name="connsiteX109" fmla="*/ 8350 w 10000"/>
              <a:gd name="connsiteY109" fmla="*/ 3254 h 10000"/>
              <a:gd name="connsiteX110" fmla="*/ 8350 w 10000"/>
              <a:gd name="connsiteY110" fmla="*/ 3331 h 10000"/>
              <a:gd name="connsiteX111" fmla="*/ 8176 w 10000"/>
              <a:gd name="connsiteY111" fmla="*/ 3613 h 10000"/>
              <a:gd name="connsiteX112" fmla="*/ 7990 w 10000"/>
              <a:gd name="connsiteY112" fmla="*/ 3783 h 10000"/>
              <a:gd name="connsiteX113" fmla="*/ 7401 w 10000"/>
              <a:gd name="connsiteY113" fmla="*/ 4066 h 10000"/>
              <a:gd name="connsiteX114" fmla="*/ 7198 w 10000"/>
              <a:gd name="connsiteY114" fmla="*/ 4058 h 10000"/>
              <a:gd name="connsiteX115" fmla="*/ 6915 w 10000"/>
              <a:gd name="connsiteY115" fmla="*/ 4101 h 10000"/>
              <a:gd name="connsiteX116" fmla="*/ 6757 w 10000"/>
              <a:gd name="connsiteY116" fmla="*/ 4058 h 10000"/>
              <a:gd name="connsiteX117" fmla="*/ 6965 w 10000"/>
              <a:gd name="connsiteY117" fmla="*/ 3976 h 10000"/>
              <a:gd name="connsiteX118" fmla="*/ 7235 w 10000"/>
              <a:gd name="connsiteY118" fmla="*/ 3941 h 10000"/>
              <a:gd name="connsiteX119" fmla="*/ 7455 w 10000"/>
              <a:gd name="connsiteY119" fmla="*/ 3809 h 10000"/>
              <a:gd name="connsiteX120" fmla="*/ 7674 w 10000"/>
              <a:gd name="connsiteY120" fmla="*/ 3746 h 10000"/>
              <a:gd name="connsiteX121" fmla="*/ 8082 w 10000"/>
              <a:gd name="connsiteY121" fmla="*/ 3512 h 10000"/>
              <a:gd name="connsiteX122" fmla="*/ 8157 w 10000"/>
              <a:gd name="connsiteY122" fmla="*/ 3359 h 10000"/>
              <a:gd name="connsiteX123" fmla="*/ 8165 w 10000"/>
              <a:gd name="connsiteY123" fmla="*/ 3163 h 10000"/>
              <a:gd name="connsiteX124" fmla="*/ 7978 w 10000"/>
              <a:gd name="connsiteY124" fmla="*/ 3129 h 10000"/>
              <a:gd name="connsiteX125" fmla="*/ 8058 w 10000"/>
              <a:gd name="connsiteY125" fmla="*/ 3009 h 10000"/>
              <a:gd name="connsiteX126" fmla="*/ 8087 w 10000"/>
              <a:gd name="connsiteY126" fmla="*/ 2856 h 10000"/>
              <a:gd name="connsiteX127" fmla="*/ 8007 w 10000"/>
              <a:gd name="connsiteY127" fmla="*/ 2714 h 10000"/>
              <a:gd name="connsiteX128" fmla="*/ 7450 w 10000"/>
              <a:gd name="connsiteY128" fmla="*/ 2910 h 10000"/>
              <a:gd name="connsiteX129" fmla="*/ 6694 w 10000"/>
              <a:gd name="connsiteY129" fmla="*/ 2823 h 10000"/>
              <a:gd name="connsiteX130" fmla="*/ 6304 w 10000"/>
              <a:gd name="connsiteY130" fmla="*/ 2276 h 10000"/>
              <a:gd name="connsiteX131" fmla="*/ 5294 w 10000"/>
              <a:gd name="connsiteY131" fmla="*/ 2173 h 10000"/>
              <a:gd name="connsiteX132" fmla="*/ 4505 w 10000"/>
              <a:gd name="connsiteY132" fmla="*/ 1721 h 10000"/>
              <a:gd name="connsiteX133" fmla="*/ 3730 w 10000"/>
              <a:gd name="connsiteY133" fmla="*/ 1176 h 10000"/>
              <a:gd name="connsiteX134" fmla="*/ 3154 w 10000"/>
              <a:gd name="connsiteY134" fmla="*/ 173 h 10000"/>
              <a:gd name="connsiteX135" fmla="*/ 2375 w 10000"/>
              <a:gd name="connsiteY135" fmla="*/ 0 h 10000"/>
              <a:gd name="connsiteX136" fmla="*/ 2226 w 10000"/>
              <a:gd name="connsiteY136" fmla="*/ 941 h 10000"/>
              <a:gd name="connsiteX137" fmla="*/ 2375 w 10000"/>
              <a:gd name="connsiteY137" fmla="*/ 1181 h 10000"/>
              <a:gd name="connsiteX138" fmla="*/ 2791 w 10000"/>
              <a:gd name="connsiteY138" fmla="*/ 1446 h 10000"/>
              <a:gd name="connsiteX139" fmla="*/ 2808 w 10000"/>
              <a:gd name="connsiteY139" fmla="*/ 1767 h 10000"/>
              <a:gd name="connsiteX140" fmla="*/ 2632 w 10000"/>
              <a:gd name="connsiteY140" fmla="*/ 2035 h 10000"/>
              <a:gd name="connsiteX141" fmla="*/ 2375 w 10000"/>
              <a:gd name="connsiteY141" fmla="*/ 2196 h 10000"/>
              <a:gd name="connsiteX142" fmla="*/ 2039 w 10000"/>
              <a:gd name="connsiteY142" fmla="*/ 2260 h 10000"/>
              <a:gd name="connsiteX143" fmla="*/ 1950 w 10000"/>
              <a:gd name="connsiteY143" fmla="*/ 2357 h 10000"/>
              <a:gd name="connsiteX144" fmla="*/ 2148 w 10000"/>
              <a:gd name="connsiteY144" fmla="*/ 2577 h 10000"/>
              <a:gd name="connsiteX145" fmla="*/ 2261 w 10000"/>
              <a:gd name="connsiteY145" fmla="*/ 3104 h 10000"/>
              <a:gd name="connsiteX146" fmla="*/ 2005 w 10000"/>
              <a:gd name="connsiteY146" fmla="*/ 3555 h 10000"/>
              <a:gd name="connsiteX147" fmla="*/ 2094 w 10000"/>
              <a:gd name="connsiteY147" fmla="*/ 3692 h 10000"/>
              <a:gd name="connsiteX148" fmla="*/ 2012 w 10000"/>
              <a:gd name="connsiteY148" fmla="*/ 3926 h 10000"/>
              <a:gd name="connsiteX149" fmla="*/ 1850 w 10000"/>
              <a:gd name="connsiteY149" fmla="*/ 4089 h 10000"/>
              <a:gd name="connsiteX150" fmla="*/ 1199 w 10000"/>
              <a:gd name="connsiteY150" fmla="*/ 4215 h 10000"/>
              <a:gd name="connsiteX151" fmla="*/ 1158 w 10000"/>
              <a:gd name="connsiteY151" fmla="*/ 4432 h 10000"/>
              <a:gd name="connsiteX152" fmla="*/ 808 w 10000"/>
              <a:gd name="connsiteY152" fmla="*/ 4754 h 10000"/>
              <a:gd name="connsiteX153" fmla="*/ 854 w 10000"/>
              <a:gd name="connsiteY153" fmla="*/ 5224 h 10000"/>
              <a:gd name="connsiteX154" fmla="*/ 560 w 10000"/>
              <a:gd name="connsiteY154" fmla="*/ 5822 h 10000"/>
              <a:gd name="connsiteX155" fmla="*/ 358 w 10000"/>
              <a:gd name="connsiteY155" fmla="*/ 5891 h 10000"/>
              <a:gd name="connsiteX156" fmla="*/ 275 w 10000"/>
              <a:gd name="connsiteY156" fmla="*/ 5749 h 10000"/>
              <a:gd name="connsiteX157" fmla="*/ 174 w 10000"/>
              <a:gd name="connsiteY157" fmla="*/ 5964 h 10000"/>
              <a:gd name="connsiteX158" fmla="*/ 239 w 10000"/>
              <a:gd name="connsiteY158" fmla="*/ 5592 h 10000"/>
              <a:gd name="connsiteX159" fmla="*/ 197 w 10000"/>
              <a:gd name="connsiteY159"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4144 w 10000"/>
              <a:gd name="connsiteY28" fmla="*/ 9411 h 10000"/>
              <a:gd name="connsiteX29" fmla="*/ 6419 w 10000"/>
              <a:gd name="connsiteY29" fmla="*/ 10000 h 10000"/>
              <a:gd name="connsiteX30" fmla="*/ 6586 w 10000"/>
              <a:gd name="connsiteY30" fmla="*/ 9169 h 10000"/>
              <a:gd name="connsiteX31" fmla="*/ 6855 w 10000"/>
              <a:gd name="connsiteY31" fmla="*/ 8801 h 10000"/>
              <a:gd name="connsiteX32" fmla="*/ 6855 w 10000"/>
              <a:gd name="connsiteY32" fmla="*/ 8603 h 10000"/>
              <a:gd name="connsiteX33" fmla="*/ 6757 w 10000"/>
              <a:gd name="connsiteY33" fmla="*/ 8497 h 10000"/>
              <a:gd name="connsiteX34" fmla="*/ 6915 w 10000"/>
              <a:gd name="connsiteY34" fmla="*/ 8318 h 10000"/>
              <a:gd name="connsiteX35" fmla="*/ 6887 w 10000"/>
              <a:gd name="connsiteY35" fmla="*/ 8175 h 10000"/>
              <a:gd name="connsiteX36" fmla="*/ 6779 w 10000"/>
              <a:gd name="connsiteY36" fmla="*/ 8053 h 10000"/>
              <a:gd name="connsiteX37" fmla="*/ 6757 w 10000"/>
              <a:gd name="connsiteY37" fmla="*/ 7956 h 10000"/>
              <a:gd name="connsiteX38" fmla="*/ 6785 w 10000"/>
              <a:gd name="connsiteY38" fmla="*/ 7886 h 10000"/>
              <a:gd name="connsiteX39" fmla="*/ 6931 w 10000"/>
              <a:gd name="connsiteY39" fmla="*/ 7942 h 10000"/>
              <a:gd name="connsiteX40" fmla="*/ 7045 w 10000"/>
              <a:gd name="connsiteY40" fmla="*/ 7939 h 10000"/>
              <a:gd name="connsiteX41" fmla="*/ 6983 w 10000"/>
              <a:gd name="connsiteY41" fmla="*/ 7822 h 10000"/>
              <a:gd name="connsiteX42" fmla="*/ 7003 w 10000"/>
              <a:gd name="connsiteY42" fmla="*/ 7752 h 10000"/>
              <a:gd name="connsiteX43" fmla="*/ 7089 w 10000"/>
              <a:gd name="connsiteY43" fmla="*/ 7653 h 10000"/>
              <a:gd name="connsiteX44" fmla="*/ 7074 w 10000"/>
              <a:gd name="connsiteY44" fmla="*/ 7570 h 10000"/>
              <a:gd name="connsiteX45" fmla="*/ 7152 w 10000"/>
              <a:gd name="connsiteY45" fmla="*/ 7295 h 10000"/>
              <a:gd name="connsiteX46" fmla="*/ 7130 w 10000"/>
              <a:gd name="connsiteY46" fmla="*/ 7209 h 10000"/>
              <a:gd name="connsiteX47" fmla="*/ 6729 w 10000"/>
              <a:gd name="connsiteY47" fmla="*/ 6997 h 10000"/>
              <a:gd name="connsiteX48" fmla="*/ 6785 w 10000"/>
              <a:gd name="connsiteY48" fmla="*/ 6989 h 10000"/>
              <a:gd name="connsiteX49" fmla="*/ 6998 w 10000"/>
              <a:gd name="connsiteY49" fmla="*/ 7043 h 10000"/>
              <a:gd name="connsiteX50" fmla="*/ 7230 w 10000"/>
              <a:gd name="connsiteY50" fmla="*/ 7023 h 10000"/>
              <a:gd name="connsiteX51" fmla="*/ 7295 w 10000"/>
              <a:gd name="connsiteY51" fmla="*/ 6949 h 10000"/>
              <a:gd name="connsiteX52" fmla="*/ 7074 w 10000"/>
              <a:gd name="connsiteY52" fmla="*/ 6806 h 10000"/>
              <a:gd name="connsiteX53" fmla="*/ 6414 w 10000"/>
              <a:gd name="connsiteY53" fmla="*/ 6711 h 10000"/>
              <a:gd name="connsiteX54" fmla="*/ 6458 w 10000"/>
              <a:gd name="connsiteY54" fmla="*/ 6668 h 10000"/>
              <a:gd name="connsiteX55" fmla="*/ 6998 w 10000"/>
              <a:gd name="connsiteY55" fmla="*/ 6638 h 10000"/>
              <a:gd name="connsiteX56" fmla="*/ 7295 w 10000"/>
              <a:gd name="connsiteY56" fmla="*/ 6724 h 10000"/>
              <a:gd name="connsiteX57" fmla="*/ 7466 w 10000"/>
              <a:gd name="connsiteY57" fmla="*/ 6668 h 10000"/>
              <a:gd name="connsiteX58" fmla="*/ 7529 w 10000"/>
              <a:gd name="connsiteY58" fmla="*/ 6520 h 10000"/>
              <a:gd name="connsiteX59" fmla="*/ 7840 w 10000"/>
              <a:gd name="connsiteY59" fmla="*/ 6520 h 10000"/>
              <a:gd name="connsiteX60" fmla="*/ 8261 w 10000"/>
              <a:gd name="connsiteY60" fmla="*/ 6219 h 10000"/>
              <a:gd name="connsiteX61" fmla="*/ 8275 w 10000"/>
              <a:gd name="connsiteY61" fmla="*/ 6019 h 10000"/>
              <a:gd name="connsiteX62" fmla="*/ 8453 w 10000"/>
              <a:gd name="connsiteY62" fmla="*/ 6064 h 10000"/>
              <a:gd name="connsiteX63" fmla="*/ 8446 w 10000"/>
              <a:gd name="connsiteY63" fmla="*/ 6266 h 10000"/>
              <a:gd name="connsiteX64" fmla="*/ 8727 w 10000"/>
              <a:gd name="connsiteY64" fmla="*/ 6251 h 10000"/>
              <a:gd name="connsiteX65" fmla="*/ 8913 w 10000"/>
              <a:gd name="connsiteY65" fmla="*/ 6043 h 10000"/>
              <a:gd name="connsiteX66" fmla="*/ 9258 w 10000"/>
              <a:gd name="connsiteY66" fmla="*/ 5856 h 10000"/>
              <a:gd name="connsiteX67" fmla="*/ 9203 w 10000"/>
              <a:gd name="connsiteY67" fmla="*/ 5644 h 10000"/>
              <a:gd name="connsiteX68" fmla="*/ 9306 w 10000"/>
              <a:gd name="connsiteY68" fmla="*/ 5730 h 10000"/>
              <a:gd name="connsiteX69" fmla="*/ 9464 w 10000"/>
              <a:gd name="connsiteY69" fmla="*/ 5730 h 10000"/>
              <a:gd name="connsiteX70" fmla="*/ 9464 w 10000"/>
              <a:gd name="connsiteY70" fmla="*/ 5630 h 10000"/>
              <a:gd name="connsiteX71" fmla="*/ 9611 w 10000"/>
              <a:gd name="connsiteY71" fmla="*/ 5558 h 10000"/>
              <a:gd name="connsiteX72" fmla="*/ 9592 w 10000"/>
              <a:gd name="connsiteY72" fmla="*/ 5481 h 10000"/>
              <a:gd name="connsiteX73" fmla="*/ 8350 w 10000"/>
              <a:gd name="connsiteY73" fmla="*/ 5632 h 10000"/>
              <a:gd name="connsiteX74" fmla="*/ 8058 w 10000"/>
              <a:gd name="connsiteY74" fmla="*/ 5590 h 10000"/>
              <a:gd name="connsiteX75" fmla="*/ 7942 w 10000"/>
              <a:gd name="connsiteY75" fmla="*/ 5644 h 10000"/>
              <a:gd name="connsiteX76" fmla="*/ 7903 w 10000"/>
              <a:gd name="connsiteY76" fmla="*/ 5537 h 10000"/>
              <a:gd name="connsiteX77" fmla="*/ 7765 w 10000"/>
              <a:gd name="connsiteY77" fmla="*/ 5443 h 10000"/>
              <a:gd name="connsiteX78" fmla="*/ 7213 w 10000"/>
              <a:gd name="connsiteY78" fmla="*/ 5249 h 10000"/>
              <a:gd name="connsiteX79" fmla="*/ 6887 w 10000"/>
              <a:gd name="connsiteY79" fmla="*/ 5282 h 10000"/>
              <a:gd name="connsiteX80" fmla="*/ 6757 w 10000"/>
              <a:gd name="connsiteY80" fmla="*/ 5227 h 10000"/>
              <a:gd name="connsiteX81" fmla="*/ 6894 w 10000"/>
              <a:gd name="connsiteY81" fmla="*/ 5180 h 10000"/>
              <a:gd name="connsiteX82" fmla="*/ 6998 w 10000"/>
              <a:gd name="connsiteY82" fmla="*/ 5078 h 10000"/>
              <a:gd name="connsiteX83" fmla="*/ 7152 w 10000"/>
              <a:gd name="connsiteY83" fmla="*/ 5110 h 10000"/>
              <a:gd name="connsiteX84" fmla="*/ 7335 w 10000"/>
              <a:gd name="connsiteY84" fmla="*/ 5085 h 10000"/>
              <a:gd name="connsiteX85" fmla="*/ 7611 w 10000"/>
              <a:gd name="connsiteY85" fmla="*/ 5118 h 10000"/>
              <a:gd name="connsiteX86" fmla="*/ 7645 w 10000"/>
              <a:gd name="connsiteY86" fmla="*/ 5104 h 10000"/>
              <a:gd name="connsiteX87" fmla="*/ 7859 w 10000"/>
              <a:gd name="connsiteY87" fmla="*/ 5259 h 10000"/>
              <a:gd name="connsiteX88" fmla="*/ 8017 w 10000"/>
              <a:gd name="connsiteY88" fmla="*/ 5201 h 10000"/>
              <a:gd name="connsiteX89" fmla="*/ 8032 w 10000"/>
              <a:gd name="connsiteY89" fmla="*/ 5148 h 10000"/>
              <a:gd name="connsiteX90" fmla="*/ 8176 w 10000"/>
              <a:gd name="connsiteY90" fmla="*/ 5241 h 10000"/>
              <a:gd name="connsiteX91" fmla="*/ 8369 w 10000"/>
              <a:gd name="connsiteY91" fmla="*/ 5291 h 10000"/>
              <a:gd name="connsiteX92" fmla="*/ 8446 w 10000"/>
              <a:gd name="connsiteY92" fmla="*/ 5199 h 10000"/>
              <a:gd name="connsiteX93" fmla="*/ 8507 w 10000"/>
              <a:gd name="connsiteY93" fmla="*/ 5249 h 10000"/>
              <a:gd name="connsiteX94" fmla="*/ 8596 w 10000"/>
              <a:gd name="connsiteY94" fmla="*/ 5430 h 10000"/>
              <a:gd name="connsiteX95" fmla="*/ 8782 w 10000"/>
              <a:gd name="connsiteY95" fmla="*/ 5470 h 10000"/>
              <a:gd name="connsiteX96" fmla="*/ 9542 w 10000"/>
              <a:gd name="connsiteY96" fmla="*/ 5208 h 10000"/>
              <a:gd name="connsiteX97" fmla="*/ 9914 w 10000"/>
              <a:gd name="connsiteY97" fmla="*/ 4838 h 10000"/>
              <a:gd name="connsiteX98" fmla="*/ 10000 w 10000"/>
              <a:gd name="connsiteY98" fmla="*/ 4574 h 10000"/>
              <a:gd name="connsiteX99" fmla="*/ 9866 w 10000"/>
              <a:gd name="connsiteY99" fmla="*/ 4330 h 10000"/>
              <a:gd name="connsiteX100" fmla="*/ 9582 w 10000"/>
              <a:gd name="connsiteY100" fmla="*/ 4188 h 10000"/>
              <a:gd name="connsiteX101" fmla="*/ 9382 w 10000"/>
              <a:gd name="connsiteY101" fmla="*/ 3948 h 10000"/>
              <a:gd name="connsiteX102" fmla="*/ 9569 w 10000"/>
              <a:gd name="connsiteY102" fmla="*/ 3941 h 10000"/>
              <a:gd name="connsiteX103" fmla="*/ 9555 w 10000"/>
              <a:gd name="connsiteY103" fmla="*/ 3886 h 10000"/>
              <a:gd name="connsiteX104" fmla="*/ 9068 w 10000"/>
              <a:gd name="connsiteY104" fmla="*/ 3720 h 10000"/>
              <a:gd name="connsiteX105" fmla="*/ 9047 w 10000"/>
              <a:gd name="connsiteY105" fmla="*/ 3566 h 10000"/>
              <a:gd name="connsiteX106" fmla="*/ 8953 w 10000"/>
              <a:gd name="connsiteY106" fmla="*/ 3406 h 10000"/>
              <a:gd name="connsiteX107" fmla="*/ 8569 w 10000"/>
              <a:gd name="connsiteY107" fmla="*/ 3436 h 10000"/>
              <a:gd name="connsiteX108" fmla="*/ 8431 w 10000"/>
              <a:gd name="connsiteY108" fmla="*/ 3265 h 10000"/>
              <a:gd name="connsiteX109" fmla="*/ 8350 w 10000"/>
              <a:gd name="connsiteY109" fmla="*/ 3254 h 10000"/>
              <a:gd name="connsiteX110" fmla="*/ 8350 w 10000"/>
              <a:gd name="connsiteY110" fmla="*/ 3331 h 10000"/>
              <a:gd name="connsiteX111" fmla="*/ 8176 w 10000"/>
              <a:gd name="connsiteY111" fmla="*/ 3613 h 10000"/>
              <a:gd name="connsiteX112" fmla="*/ 7990 w 10000"/>
              <a:gd name="connsiteY112" fmla="*/ 3783 h 10000"/>
              <a:gd name="connsiteX113" fmla="*/ 7401 w 10000"/>
              <a:gd name="connsiteY113" fmla="*/ 4066 h 10000"/>
              <a:gd name="connsiteX114" fmla="*/ 7198 w 10000"/>
              <a:gd name="connsiteY114" fmla="*/ 4058 h 10000"/>
              <a:gd name="connsiteX115" fmla="*/ 6915 w 10000"/>
              <a:gd name="connsiteY115" fmla="*/ 4101 h 10000"/>
              <a:gd name="connsiteX116" fmla="*/ 6757 w 10000"/>
              <a:gd name="connsiteY116" fmla="*/ 4058 h 10000"/>
              <a:gd name="connsiteX117" fmla="*/ 6965 w 10000"/>
              <a:gd name="connsiteY117" fmla="*/ 3976 h 10000"/>
              <a:gd name="connsiteX118" fmla="*/ 7235 w 10000"/>
              <a:gd name="connsiteY118" fmla="*/ 3941 h 10000"/>
              <a:gd name="connsiteX119" fmla="*/ 7455 w 10000"/>
              <a:gd name="connsiteY119" fmla="*/ 3809 h 10000"/>
              <a:gd name="connsiteX120" fmla="*/ 7674 w 10000"/>
              <a:gd name="connsiteY120" fmla="*/ 3746 h 10000"/>
              <a:gd name="connsiteX121" fmla="*/ 8082 w 10000"/>
              <a:gd name="connsiteY121" fmla="*/ 3512 h 10000"/>
              <a:gd name="connsiteX122" fmla="*/ 8157 w 10000"/>
              <a:gd name="connsiteY122" fmla="*/ 3359 h 10000"/>
              <a:gd name="connsiteX123" fmla="*/ 8165 w 10000"/>
              <a:gd name="connsiteY123" fmla="*/ 3163 h 10000"/>
              <a:gd name="connsiteX124" fmla="*/ 7978 w 10000"/>
              <a:gd name="connsiteY124" fmla="*/ 3129 h 10000"/>
              <a:gd name="connsiteX125" fmla="*/ 8058 w 10000"/>
              <a:gd name="connsiteY125" fmla="*/ 3009 h 10000"/>
              <a:gd name="connsiteX126" fmla="*/ 8087 w 10000"/>
              <a:gd name="connsiteY126" fmla="*/ 2856 h 10000"/>
              <a:gd name="connsiteX127" fmla="*/ 8007 w 10000"/>
              <a:gd name="connsiteY127" fmla="*/ 2714 h 10000"/>
              <a:gd name="connsiteX128" fmla="*/ 7450 w 10000"/>
              <a:gd name="connsiteY128" fmla="*/ 2910 h 10000"/>
              <a:gd name="connsiteX129" fmla="*/ 6694 w 10000"/>
              <a:gd name="connsiteY129" fmla="*/ 2823 h 10000"/>
              <a:gd name="connsiteX130" fmla="*/ 6304 w 10000"/>
              <a:gd name="connsiteY130" fmla="*/ 2276 h 10000"/>
              <a:gd name="connsiteX131" fmla="*/ 5294 w 10000"/>
              <a:gd name="connsiteY131" fmla="*/ 2173 h 10000"/>
              <a:gd name="connsiteX132" fmla="*/ 4505 w 10000"/>
              <a:gd name="connsiteY132" fmla="*/ 1721 h 10000"/>
              <a:gd name="connsiteX133" fmla="*/ 3730 w 10000"/>
              <a:gd name="connsiteY133" fmla="*/ 1176 h 10000"/>
              <a:gd name="connsiteX134" fmla="*/ 3154 w 10000"/>
              <a:gd name="connsiteY134" fmla="*/ 173 h 10000"/>
              <a:gd name="connsiteX135" fmla="*/ 2375 w 10000"/>
              <a:gd name="connsiteY135" fmla="*/ 0 h 10000"/>
              <a:gd name="connsiteX136" fmla="*/ 2226 w 10000"/>
              <a:gd name="connsiteY136" fmla="*/ 941 h 10000"/>
              <a:gd name="connsiteX137" fmla="*/ 2375 w 10000"/>
              <a:gd name="connsiteY137" fmla="*/ 1181 h 10000"/>
              <a:gd name="connsiteX138" fmla="*/ 2791 w 10000"/>
              <a:gd name="connsiteY138" fmla="*/ 1446 h 10000"/>
              <a:gd name="connsiteX139" fmla="*/ 2808 w 10000"/>
              <a:gd name="connsiteY139" fmla="*/ 1767 h 10000"/>
              <a:gd name="connsiteX140" fmla="*/ 2632 w 10000"/>
              <a:gd name="connsiteY140" fmla="*/ 2035 h 10000"/>
              <a:gd name="connsiteX141" fmla="*/ 2375 w 10000"/>
              <a:gd name="connsiteY141" fmla="*/ 2196 h 10000"/>
              <a:gd name="connsiteX142" fmla="*/ 2039 w 10000"/>
              <a:gd name="connsiteY142" fmla="*/ 2260 h 10000"/>
              <a:gd name="connsiteX143" fmla="*/ 1950 w 10000"/>
              <a:gd name="connsiteY143" fmla="*/ 2357 h 10000"/>
              <a:gd name="connsiteX144" fmla="*/ 2148 w 10000"/>
              <a:gd name="connsiteY144" fmla="*/ 2577 h 10000"/>
              <a:gd name="connsiteX145" fmla="*/ 2261 w 10000"/>
              <a:gd name="connsiteY145" fmla="*/ 3104 h 10000"/>
              <a:gd name="connsiteX146" fmla="*/ 2005 w 10000"/>
              <a:gd name="connsiteY146" fmla="*/ 3555 h 10000"/>
              <a:gd name="connsiteX147" fmla="*/ 2094 w 10000"/>
              <a:gd name="connsiteY147" fmla="*/ 3692 h 10000"/>
              <a:gd name="connsiteX148" fmla="*/ 2012 w 10000"/>
              <a:gd name="connsiteY148" fmla="*/ 3926 h 10000"/>
              <a:gd name="connsiteX149" fmla="*/ 1850 w 10000"/>
              <a:gd name="connsiteY149" fmla="*/ 4089 h 10000"/>
              <a:gd name="connsiteX150" fmla="*/ 1199 w 10000"/>
              <a:gd name="connsiteY150" fmla="*/ 4215 h 10000"/>
              <a:gd name="connsiteX151" fmla="*/ 1158 w 10000"/>
              <a:gd name="connsiteY151" fmla="*/ 4432 h 10000"/>
              <a:gd name="connsiteX152" fmla="*/ 808 w 10000"/>
              <a:gd name="connsiteY152" fmla="*/ 4754 h 10000"/>
              <a:gd name="connsiteX153" fmla="*/ 854 w 10000"/>
              <a:gd name="connsiteY153" fmla="*/ 5224 h 10000"/>
              <a:gd name="connsiteX154" fmla="*/ 560 w 10000"/>
              <a:gd name="connsiteY154" fmla="*/ 5822 h 10000"/>
              <a:gd name="connsiteX155" fmla="*/ 358 w 10000"/>
              <a:gd name="connsiteY155" fmla="*/ 5891 h 10000"/>
              <a:gd name="connsiteX156" fmla="*/ 275 w 10000"/>
              <a:gd name="connsiteY156" fmla="*/ 5749 h 10000"/>
              <a:gd name="connsiteX157" fmla="*/ 174 w 10000"/>
              <a:gd name="connsiteY157" fmla="*/ 5964 h 10000"/>
              <a:gd name="connsiteX158" fmla="*/ 239 w 10000"/>
              <a:gd name="connsiteY158" fmla="*/ 5592 h 10000"/>
              <a:gd name="connsiteX159" fmla="*/ 197 w 10000"/>
              <a:gd name="connsiteY159"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4144 w 10000"/>
              <a:gd name="connsiteY28" fmla="*/ 9411 h 10000"/>
              <a:gd name="connsiteX29" fmla="*/ 5258 w 10000"/>
              <a:gd name="connsiteY29" fmla="*/ 9675 h 10000"/>
              <a:gd name="connsiteX30" fmla="*/ 6419 w 10000"/>
              <a:gd name="connsiteY30" fmla="*/ 10000 h 10000"/>
              <a:gd name="connsiteX31" fmla="*/ 6586 w 10000"/>
              <a:gd name="connsiteY31" fmla="*/ 9169 h 10000"/>
              <a:gd name="connsiteX32" fmla="*/ 6855 w 10000"/>
              <a:gd name="connsiteY32" fmla="*/ 8801 h 10000"/>
              <a:gd name="connsiteX33" fmla="*/ 6855 w 10000"/>
              <a:gd name="connsiteY33" fmla="*/ 8603 h 10000"/>
              <a:gd name="connsiteX34" fmla="*/ 6757 w 10000"/>
              <a:gd name="connsiteY34" fmla="*/ 8497 h 10000"/>
              <a:gd name="connsiteX35" fmla="*/ 6915 w 10000"/>
              <a:gd name="connsiteY35" fmla="*/ 8318 h 10000"/>
              <a:gd name="connsiteX36" fmla="*/ 6887 w 10000"/>
              <a:gd name="connsiteY36" fmla="*/ 8175 h 10000"/>
              <a:gd name="connsiteX37" fmla="*/ 6779 w 10000"/>
              <a:gd name="connsiteY37" fmla="*/ 8053 h 10000"/>
              <a:gd name="connsiteX38" fmla="*/ 6757 w 10000"/>
              <a:gd name="connsiteY38" fmla="*/ 7956 h 10000"/>
              <a:gd name="connsiteX39" fmla="*/ 6785 w 10000"/>
              <a:gd name="connsiteY39" fmla="*/ 7886 h 10000"/>
              <a:gd name="connsiteX40" fmla="*/ 6931 w 10000"/>
              <a:gd name="connsiteY40" fmla="*/ 7942 h 10000"/>
              <a:gd name="connsiteX41" fmla="*/ 7045 w 10000"/>
              <a:gd name="connsiteY41" fmla="*/ 7939 h 10000"/>
              <a:gd name="connsiteX42" fmla="*/ 6983 w 10000"/>
              <a:gd name="connsiteY42" fmla="*/ 7822 h 10000"/>
              <a:gd name="connsiteX43" fmla="*/ 7003 w 10000"/>
              <a:gd name="connsiteY43" fmla="*/ 7752 h 10000"/>
              <a:gd name="connsiteX44" fmla="*/ 7089 w 10000"/>
              <a:gd name="connsiteY44" fmla="*/ 7653 h 10000"/>
              <a:gd name="connsiteX45" fmla="*/ 7074 w 10000"/>
              <a:gd name="connsiteY45" fmla="*/ 7570 h 10000"/>
              <a:gd name="connsiteX46" fmla="*/ 7152 w 10000"/>
              <a:gd name="connsiteY46" fmla="*/ 7295 h 10000"/>
              <a:gd name="connsiteX47" fmla="*/ 7130 w 10000"/>
              <a:gd name="connsiteY47" fmla="*/ 7209 h 10000"/>
              <a:gd name="connsiteX48" fmla="*/ 6729 w 10000"/>
              <a:gd name="connsiteY48" fmla="*/ 6997 h 10000"/>
              <a:gd name="connsiteX49" fmla="*/ 6785 w 10000"/>
              <a:gd name="connsiteY49" fmla="*/ 6989 h 10000"/>
              <a:gd name="connsiteX50" fmla="*/ 6998 w 10000"/>
              <a:gd name="connsiteY50" fmla="*/ 7043 h 10000"/>
              <a:gd name="connsiteX51" fmla="*/ 7230 w 10000"/>
              <a:gd name="connsiteY51" fmla="*/ 7023 h 10000"/>
              <a:gd name="connsiteX52" fmla="*/ 7295 w 10000"/>
              <a:gd name="connsiteY52" fmla="*/ 6949 h 10000"/>
              <a:gd name="connsiteX53" fmla="*/ 7074 w 10000"/>
              <a:gd name="connsiteY53" fmla="*/ 6806 h 10000"/>
              <a:gd name="connsiteX54" fmla="*/ 6414 w 10000"/>
              <a:gd name="connsiteY54" fmla="*/ 6711 h 10000"/>
              <a:gd name="connsiteX55" fmla="*/ 6458 w 10000"/>
              <a:gd name="connsiteY55" fmla="*/ 6668 h 10000"/>
              <a:gd name="connsiteX56" fmla="*/ 6998 w 10000"/>
              <a:gd name="connsiteY56" fmla="*/ 6638 h 10000"/>
              <a:gd name="connsiteX57" fmla="*/ 7295 w 10000"/>
              <a:gd name="connsiteY57" fmla="*/ 6724 h 10000"/>
              <a:gd name="connsiteX58" fmla="*/ 7466 w 10000"/>
              <a:gd name="connsiteY58" fmla="*/ 6668 h 10000"/>
              <a:gd name="connsiteX59" fmla="*/ 7529 w 10000"/>
              <a:gd name="connsiteY59" fmla="*/ 6520 h 10000"/>
              <a:gd name="connsiteX60" fmla="*/ 7840 w 10000"/>
              <a:gd name="connsiteY60" fmla="*/ 6520 h 10000"/>
              <a:gd name="connsiteX61" fmla="*/ 8261 w 10000"/>
              <a:gd name="connsiteY61" fmla="*/ 6219 h 10000"/>
              <a:gd name="connsiteX62" fmla="*/ 8275 w 10000"/>
              <a:gd name="connsiteY62" fmla="*/ 6019 h 10000"/>
              <a:gd name="connsiteX63" fmla="*/ 8453 w 10000"/>
              <a:gd name="connsiteY63" fmla="*/ 6064 h 10000"/>
              <a:gd name="connsiteX64" fmla="*/ 8446 w 10000"/>
              <a:gd name="connsiteY64" fmla="*/ 6266 h 10000"/>
              <a:gd name="connsiteX65" fmla="*/ 8727 w 10000"/>
              <a:gd name="connsiteY65" fmla="*/ 6251 h 10000"/>
              <a:gd name="connsiteX66" fmla="*/ 8913 w 10000"/>
              <a:gd name="connsiteY66" fmla="*/ 6043 h 10000"/>
              <a:gd name="connsiteX67" fmla="*/ 9258 w 10000"/>
              <a:gd name="connsiteY67" fmla="*/ 5856 h 10000"/>
              <a:gd name="connsiteX68" fmla="*/ 9203 w 10000"/>
              <a:gd name="connsiteY68" fmla="*/ 5644 h 10000"/>
              <a:gd name="connsiteX69" fmla="*/ 9306 w 10000"/>
              <a:gd name="connsiteY69" fmla="*/ 5730 h 10000"/>
              <a:gd name="connsiteX70" fmla="*/ 9464 w 10000"/>
              <a:gd name="connsiteY70" fmla="*/ 5730 h 10000"/>
              <a:gd name="connsiteX71" fmla="*/ 9464 w 10000"/>
              <a:gd name="connsiteY71" fmla="*/ 5630 h 10000"/>
              <a:gd name="connsiteX72" fmla="*/ 9611 w 10000"/>
              <a:gd name="connsiteY72" fmla="*/ 5558 h 10000"/>
              <a:gd name="connsiteX73" fmla="*/ 9592 w 10000"/>
              <a:gd name="connsiteY73" fmla="*/ 5481 h 10000"/>
              <a:gd name="connsiteX74" fmla="*/ 8350 w 10000"/>
              <a:gd name="connsiteY74" fmla="*/ 5632 h 10000"/>
              <a:gd name="connsiteX75" fmla="*/ 8058 w 10000"/>
              <a:gd name="connsiteY75" fmla="*/ 5590 h 10000"/>
              <a:gd name="connsiteX76" fmla="*/ 7942 w 10000"/>
              <a:gd name="connsiteY76" fmla="*/ 5644 h 10000"/>
              <a:gd name="connsiteX77" fmla="*/ 7903 w 10000"/>
              <a:gd name="connsiteY77" fmla="*/ 5537 h 10000"/>
              <a:gd name="connsiteX78" fmla="*/ 7765 w 10000"/>
              <a:gd name="connsiteY78" fmla="*/ 5443 h 10000"/>
              <a:gd name="connsiteX79" fmla="*/ 7213 w 10000"/>
              <a:gd name="connsiteY79" fmla="*/ 5249 h 10000"/>
              <a:gd name="connsiteX80" fmla="*/ 6887 w 10000"/>
              <a:gd name="connsiteY80" fmla="*/ 5282 h 10000"/>
              <a:gd name="connsiteX81" fmla="*/ 6757 w 10000"/>
              <a:gd name="connsiteY81" fmla="*/ 5227 h 10000"/>
              <a:gd name="connsiteX82" fmla="*/ 6894 w 10000"/>
              <a:gd name="connsiteY82" fmla="*/ 5180 h 10000"/>
              <a:gd name="connsiteX83" fmla="*/ 6998 w 10000"/>
              <a:gd name="connsiteY83" fmla="*/ 5078 h 10000"/>
              <a:gd name="connsiteX84" fmla="*/ 7152 w 10000"/>
              <a:gd name="connsiteY84" fmla="*/ 5110 h 10000"/>
              <a:gd name="connsiteX85" fmla="*/ 7335 w 10000"/>
              <a:gd name="connsiteY85" fmla="*/ 5085 h 10000"/>
              <a:gd name="connsiteX86" fmla="*/ 7611 w 10000"/>
              <a:gd name="connsiteY86" fmla="*/ 5118 h 10000"/>
              <a:gd name="connsiteX87" fmla="*/ 7645 w 10000"/>
              <a:gd name="connsiteY87" fmla="*/ 5104 h 10000"/>
              <a:gd name="connsiteX88" fmla="*/ 7859 w 10000"/>
              <a:gd name="connsiteY88" fmla="*/ 5259 h 10000"/>
              <a:gd name="connsiteX89" fmla="*/ 8017 w 10000"/>
              <a:gd name="connsiteY89" fmla="*/ 5201 h 10000"/>
              <a:gd name="connsiteX90" fmla="*/ 8032 w 10000"/>
              <a:gd name="connsiteY90" fmla="*/ 5148 h 10000"/>
              <a:gd name="connsiteX91" fmla="*/ 8176 w 10000"/>
              <a:gd name="connsiteY91" fmla="*/ 5241 h 10000"/>
              <a:gd name="connsiteX92" fmla="*/ 8369 w 10000"/>
              <a:gd name="connsiteY92" fmla="*/ 5291 h 10000"/>
              <a:gd name="connsiteX93" fmla="*/ 8446 w 10000"/>
              <a:gd name="connsiteY93" fmla="*/ 5199 h 10000"/>
              <a:gd name="connsiteX94" fmla="*/ 8507 w 10000"/>
              <a:gd name="connsiteY94" fmla="*/ 5249 h 10000"/>
              <a:gd name="connsiteX95" fmla="*/ 8596 w 10000"/>
              <a:gd name="connsiteY95" fmla="*/ 5430 h 10000"/>
              <a:gd name="connsiteX96" fmla="*/ 8782 w 10000"/>
              <a:gd name="connsiteY96" fmla="*/ 5470 h 10000"/>
              <a:gd name="connsiteX97" fmla="*/ 9542 w 10000"/>
              <a:gd name="connsiteY97" fmla="*/ 5208 h 10000"/>
              <a:gd name="connsiteX98" fmla="*/ 9914 w 10000"/>
              <a:gd name="connsiteY98" fmla="*/ 4838 h 10000"/>
              <a:gd name="connsiteX99" fmla="*/ 10000 w 10000"/>
              <a:gd name="connsiteY99" fmla="*/ 4574 h 10000"/>
              <a:gd name="connsiteX100" fmla="*/ 9866 w 10000"/>
              <a:gd name="connsiteY100" fmla="*/ 4330 h 10000"/>
              <a:gd name="connsiteX101" fmla="*/ 9582 w 10000"/>
              <a:gd name="connsiteY101" fmla="*/ 4188 h 10000"/>
              <a:gd name="connsiteX102" fmla="*/ 9382 w 10000"/>
              <a:gd name="connsiteY102" fmla="*/ 3948 h 10000"/>
              <a:gd name="connsiteX103" fmla="*/ 9569 w 10000"/>
              <a:gd name="connsiteY103" fmla="*/ 3941 h 10000"/>
              <a:gd name="connsiteX104" fmla="*/ 9555 w 10000"/>
              <a:gd name="connsiteY104" fmla="*/ 3886 h 10000"/>
              <a:gd name="connsiteX105" fmla="*/ 9068 w 10000"/>
              <a:gd name="connsiteY105" fmla="*/ 3720 h 10000"/>
              <a:gd name="connsiteX106" fmla="*/ 9047 w 10000"/>
              <a:gd name="connsiteY106" fmla="*/ 3566 h 10000"/>
              <a:gd name="connsiteX107" fmla="*/ 8953 w 10000"/>
              <a:gd name="connsiteY107" fmla="*/ 3406 h 10000"/>
              <a:gd name="connsiteX108" fmla="*/ 8569 w 10000"/>
              <a:gd name="connsiteY108" fmla="*/ 3436 h 10000"/>
              <a:gd name="connsiteX109" fmla="*/ 8431 w 10000"/>
              <a:gd name="connsiteY109" fmla="*/ 3265 h 10000"/>
              <a:gd name="connsiteX110" fmla="*/ 8350 w 10000"/>
              <a:gd name="connsiteY110" fmla="*/ 3254 h 10000"/>
              <a:gd name="connsiteX111" fmla="*/ 8350 w 10000"/>
              <a:gd name="connsiteY111" fmla="*/ 3331 h 10000"/>
              <a:gd name="connsiteX112" fmla="*/ 8176 w 10000"/>
              <a:gd name="connsiteY112" fmla="*/ 3613 h 10000"/>
              <a:gd name="connsiteX113" fmla="*/ 7990 w 10000"/>
              <a:gd name="connsiteY113" fmla="*/ 3783 h 10000"/>
              <a:gd name="connsiteX114" fmla="*/ 7401 w 10000"/>
              <a:gd name="connsiteY114" fmla="*/ 4066 h 10000"/>
              <a:gd name="connsiteX115" fmla="*/ 7198 w 10000"/>
              <a:gd name="connsiteY115" fmla="*/ 4058 h 10000"/>
              <a:gd name="connsiteX116" fmla="*/ 6915 w 10000"/>
              <a:gd name="connsiteY116" fmla="*/ 4101 h 10000"/>
              <a:gd name="connsiteX117" fmla="*/ 6757 w 10000"/>
              <a:gd name="connsiteY117" fmla="*/ 4058 h 10000"/>
              <a:gd name="connsiteX118" fmla="*/ 6965 w 10000"/>
              <a:gd name="connsiteY118" fmla="*/ 3976 h 10000"/>
              <a:gd name="connsiteX119" fmla="*/ 7235 w 10000"/>
              <a:gd name="connsiteY119" fmla="*/ 3941 h 10000"/>
              <a:gd name="connsiteX120" fmla="*/ 7455 w 10000"/>
              <a:gd name="connsiteY120" fmla="*/ 3809 h 10000"/>
              <a:gd name="connsiteX121" fmla="*/ 7674 w 10000"/>
              <a:gd name="connsiteY121" fmla="*/ 3746 h 10000"/>
              <a:gd name="connsiteX122" fmla="*/ 8082 w 10000"/>
              <a:gd name="connsiteY122" fmla="*/ 3512 h 10000"/>
              <a:gd name="connsiteX123" fmla="*/ 8157 w 10000"/>
              <a:gd name="connsiteY123" fmla="*/ 3359 h 10000"/>
              <a:gd name="connsiteX124" fmla="*/ 8165 w 10000"/>
              <a:gd name="connsiteY124" fmla="*/ 3163 h 10000"/>
              <a:gd name="connsiteX125" fmla="*/ 7978 w 10000"/>
              <a:gd name="connsiteY125" fmla="*/ 3129 h 10000"/>
              <a:gd name="connsiteX126" fmla="*/ 8058 w 10000"/>
              <a:gd name="connsiteY126" fmla="*/ 3009 h 10000"/>
              <a:gd name="connsiteX127" fmla="*/ 8087 w 10000"/>
              <a:gd name="connsiteY127" fmla="*/ 2856 h 10000"/>
              <a:gd name="connsiteX128" fmla="*/ 8007 w 10000"/>
              <a:gd name="connsiteY128" fmla="*/ 2714 h 10000"/>
              <a:gd name="connsiteX129" fmla="*/ 7450 w 10000"/>
              <a:gd name="connsiteY129" fmla="*/ 2910 h 10000"/>
              <a:gd name="connsiteX130" fmla="*/ 6694 w 10000"/>
              <a:gd name="connsiteY130" fmla="*/ 2823 h 10000"/>
              <a:gd name="connsiteX131" fmla="*/ 6304 w 10000"/>
              <a:gd name="connsiteY131" fmla="*/ 2276 h 10000"/>
              <a:gd name="connsiteX132" fmla="*/ 5294 w 10000"/>
              <a:gd name="connsiteY132" fmla="*/ 2173 h 10000"/>
              <a:gd name="connsiteX133" fmla="*/ 4505 w 10000"/>
              <a:gd name="connsiteY133" fmla="*/ 1721 h 10000"/>
              <a:gd name="connsiteX134" fmla="*/ 3730 w 10000"/>
              <a:gd name="connsiteY134" fmla="*/ 1176 h 10000"/>
              <a:gd name="connsiteX135" fmla="*/ 3154 w 10000"/>
              <a:gd name="connsiteY135" fmla="*/ 173 h 10000"/>
              <a:gd name="connsiteX136" fmla="*/ 2375 w 10000"/>
              <a:gd name="connsiteY136" fmla="*/ 0 h 10000"/>
              <a:gd name="connsiteX137" fmla="*/ 2226 w 10000"/>
              <a:gd name="connsiteY137" fmla="*/ 941 h 10000"/>
              <a:gd name="connsiteX138" fmla="*/ 2375 w 10000"/>
              <a:gd name="connsiteY138" fmla="*/ 1181 h 10000"/>
              <a:gd name="connsiteX139" fmla="*/ 2791 w 10000"/>
              <a:gd name="connsiteY139" fmla="*/ 1446 h 10000"/>
              <a:gd name="connsiteX140" fmla="*/ 2808 w 10000"/>
              <a:gd name="connsiteY140" fmla="*/ 1767 h 10000"/>
              <a:gd name="connsiteX141" fmla="*/ 2632 w 10000"/>
              <a:gd name="connsiteY141" fmla="*/ 2035 h 10000"/>
              <a:gd name="connsiteX142" fmla="*/ 2375 w 10000"/>
              <a:gd name="connsiteY142" fmla="*/ 2196 h 10000"/>
              <a:gd name="connsiteX143" fmla="*/ 2039 w 10000"/>
              <a:gd name="connsiteY143" fmla="*/ 2260 h 10000"/>
              <a:gd name="connsiteX144" fmla="*/ 1950 w 10000"/>
              <a:gd name="connsiteY144" fmla="*/ 2357 h 10000"/>
              <a:gd name="connsiteX145" fmla="*/ 2148 w 10000"/>
              <a:gd name="connsiteY145" fmla="*/ 2577 h 10000"/>
              <a:gd name="connsiteX146" fmla="*/ 2261 w 10000"/>
              <a:gd name="connsiteY146" fmla="*/ 3104 h 10000"/>
              <a:gd name="connsiteX147" fmla="*/ 2005 w 10000"/>
              <a:gd name="connsiteY147" fmla="*/ 3555 h 10000"/>
              <a:gd name="connsiteX148" fmla="*/ 2094 w 10000"/>
              <a:gd name="connsiteY148" fmla="*/ 3692 h 10000"/>
              <a:gd name="connsiteX149" fmla="*/ 2012 w 10000"/>
              <a:gd name="connsiteY149" fmla="*/ 3926 h 10000"/>
              <a:gd name="connsiteX150" fmla="*/ 1850 w 10000"/>
              <a:gd name="connsiteY150" fmla="*/ 4089 h 10000"/>
              <a:gd name="connsiteX151" fmla="*/ 1199 w 10000"/>
              <a:gd name="connsiteY151" fmla="*/ 4215 h 10000"/>
              <a:gd name="connsiteX152" fmla="*/ 1158 w 10000"/>
              <a:gd name="connsiteY152" fmla="*/ 4432 h 10000"/>
              <a:gd name="connsiteX153" fmla="*/ 808 w 10000"/>
              <a:gd name="connsiteY153" fmla="*/ 4754 h 10000"/>
              <a:gd name="connsiteX154" fmla="*/ 854 w 10000"/>
              <a:gd name="connsiteY154" fmla="*/ 5224 h 10000"/>
              <a:gd name="connsiteX155" fmla="*/ 560 w 10000"/>
              <a:gd name="connsiteY155" fmla="*/ 5822 h 10000"/>
              <a:gd name="connsiteX156" fmla="*/ 358 w 10000"/>
              <a:gd name="connsiteY156" fmla="*/ 5891 h 10000"/>
              <a:gd name="connsiteX157" fmla="*/ 275 w 10000"/>
              <a:gd name="connsiteY157" fmla="*/ 5749 h 10000"/>
              <a:gd name="connsiteX158" fmla="*/ 174 w 10000"/>
              <a:gd name="connsiteY158" fmla="*/ 5964 h 10000"/>
              <a:gd name="connsiteX159" fmla="*/ 239 w 10000"/>
              <a:gd name="connsiteY159" fmla="*/ 5592 h 10000"/>
              <a:gd name="connsiteX160" fmla="*/ 197 w 10000"/>
              <a:gd name="connsiteY160"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3819 w 10000"/>
              <a:gd name="connsiteY28" fmla="*/ 9296 h 10000"/>
              <a:gd name="connsiteX29" fmla="*/ 5258 w 10000"/>
              <a:gd name="connsiteY29" fmla="*/ 9675 h 10000"/>
              <a:gd name="connsiteX30" fmla="*/ 6419 w 10000"/>
              <a:gd name="connsiteY30" fmla="*/ 10000 h 10000"/>
              <a:gd name="connsiteX31" fmla="*/ 6586 w 10000"/>
              <a:gd name="connsiteY31" fmla="*/ 9169 h 10000"/>
              <a:gd name="connsiteX32" fmla="*/ 6855 w 10000"/>
              <a:gd name="connsiteY32" fmla="*/ 8801 h 10000"/>
              <a:gd name="connsiteX33" fmla="*/ 6855 w 10000"/>
              <a:gd name="connsiteY33" fmla="*/ 8603 h 10000"/>
              <a:gd name="connsiteX34" fmla="*/ 6757 w 10000"/>
              <a:gd name="connsiteY34" fmla="*/ 8497 h 10000"/>
              <a:gd name="connsiteX35" fmla="*/ 6915 w 10000"/>
              <a:gd name="connsiteY35" fmla="*/ 8318 h 10000"/>
              <a:gd name="connsiteX36" fmla="*/ 6887 w 10000"/>
              <a:gd name="connsiteY36" fmla="*/ 8175 h 10000"/>
              <a:gd name="connsiteX37" fmla="*/ 6779 w 10000"/>
              <a:gd name="connsiteY37" fmla="*/ 8053 h 10000"/>
              <a:gd name="connsiteX38" fmla="*/ 6757 w 10000"/>
              <a:gd name="connsiteY38" fmla="*/ 7956 h 10000"/>
              <a:gd name="connsiteX39" fmla="*/ 6785 w 10000"/>
              <a:gd name="connsiteY39" fmla="*/ 7886 h 10000"/>
              <a:gd name="connsiteX40" fmla="*/ 6931 w 10000"/>
              <a:gd name="connsiteY40" fmla="*/ 7942 h 10000"/>
              <a:gd name="connsiteX41" fmla="*/ 7045 w 10000"/>
              <a:gd name="connsiteY41" fmla="*/ 7939 h 10000"/>
              <a:gd name="connsiteX42" fmla="*/ 6983 w 10000"/>
              <a:gd name="connsiteY42" fmla="*/ 7822 h 10000"/>
              <a:gd name="connsiteX43" fmla="*/ 7003 w 10000"/>
              <a:gd name="connsiteY43" fmla="*/ 7752 h 10000"/>
              <a:gd name="connsiteX44" fmla="*/ 7089 w 10000"/>
              <a:gd name="connsiteY44" fmla="*/ 7653 h 10000"/>
              <a:gd name="connsiteX45" fmla="*/ 7074 w 10000"/>
              <a:gd name="connsiteY45" fmla="*/ 7570 h 10000"/>
              <a:gd name="connsiteX46" fmla="*/ 7152 w 10000"/>
              <a:gd name="connsiteY46" fmla="*/ 7295 h 10000"/>
              <a:gd name="connsiteX47" fmla="*/ 7130 w 10000"/>
              <a:gd name="connsiteY47" fmla="*/ 7209 h 10000"/>
              <a:gd name="connsiteX48" fmla="*/ 6729 w 10000"/>
              <a:gd name="connsiteY48" fmla="*/ 6997 h 10000"/>
              <a:gd name="connsiteX49" fmla="*/ 6785 w 10000"/>
              <a:gd name="connsiteY49" fmla="*/ 6989 h 10000"/>
              <a:gd name="connsiteX50" fmla="*/ 6998 w 10000"/>
              <a:gd name="connsiteY50" fmla="*/ 7043 h 10000"/>
              <a:gd name="connsiteX51" fmla="*/ 7230 w 10000"/>
              <a:gd name="connsiteY51" fmla="*/ 7023 h 10000"/>
              <a:gd name="connsiteX52" fmla="*/ 7295 w 10000"/>
              <a:gd name="connsiteY52" fmla="*/ 6949 h 10000"/>
              <a:gd name="connsiteX53" fmla="*/ 7074 w 10000"/>
              <a:gd name="connsiteY53" fmla="*/ 6806 h 10000"/>
              <a:gd name="connsiteX54" fmla="*/ 6414 w 10000"/>
              <a:gd name="connsiteY54" fmla="*/ 6711 h 10000"/>
              <a:gd name="connsiteX55" fmla="*/ 6458 w 10000"/>
              <a:gd name="connsiteY55" fmla="*/ 6668 h 10000"/>
              <a:gd name="connsiteX56" fmla="*/ 6998 w 10000"/>
              <a:gd name="connsiteY56" fmla="*/ 6638 h 10000"/>
              <a:gd name="connsiteX57" fmla="*/ 7295 w 10000"/>
              <a:gd name="connsiteY57" fmla="*/ 6724 h 10000"/>
              <a:gd name="connsiteX58" fmla="*/ 7466 w 10000"/>
              <a:gd name="connsiteY58" fmla="*/ 6668 h 10000"/>
              <a:gd name="connsiteX59" fmla="*/ 7529 w 10000"/>
              <a:gd name="connsiteY59" fmla="*/ 6520 h 10000"/>
              <a:gd name="connsiteX60" fmla="*/ 7840 w 10000"/>
              <a:gd name="connsiteY60" fmla="*/ 6520 h 10000"/>
              <a:gd name="connsiteX61" fmla="*/ 8261 w 10000"/>
              <a:gd name="connsiteY61" fmla="*/ 6219 h 10000"/>
              <a:gd name="connsiteX62" fmla="*/ 8275 w 10000"/>
              <a:gd name="connsiteY62" fmla="*/ 6019 h 10000"/>
              <a:gd name="connsiteX63" fmla="*/ 8453 w 10000"/>
              <a:gd name="connsiteY63" fmla="*/ 6064 h 10000"/>
              <a:gd name="connsiteX64" fmla="*/ 8446 w 10000"/>
              <a:gd name="connsiteY64" fmla="*/ 6266 h 10000"/>
              <a:gd name="connsiteX65" fmla="*/ 8727 w 10000"/>
              <a:gd name="connsiteY65" fmla="*/ 6251 h 10000"/>
              <a:gd name="connsiteX66" fmla="*/ 8913 w 10000"/>
              <a:gd name="connsiteY66" fmla="*/ 6043 h 10000"/>
              <a:gd name="connsiteX67" fmla="*/ 9258 w 10000"/>
              <a:gd name="connsiteY67" fmla="*/ 5856 h 10000"/>
              <a:gd name="connsiteX68" fmla="*/ 9203 w 10000"/>
              <a:gd name="connsiteY68" fmla="*/ 5644 h 10000"/>
              <a:gd name="connsiteX69" fmla="*/ 9306 w 10000"/>
              <a:gd name="connsiteY69" fmla="*/ 5730 h 10000"/>
              <a:gd name="connsiteX70" fmla="*/ 9464 w 10000"/>
              <a:gd name="connsiteY70" fmla="*/ 5730 h 10000"/>
              <a:gd name="connsiteX71" fmla="*/ 9464 w 10000"/>
              <a:gd name="connsiteY71" fmla="*/ 5630 h 10000"/>
              <a:gd name="connsiteX72" fmla="*/ 9611 w 10000"/>
              <a:gd name="connsiteY72" fmla="*/ 5558 h 10000"/>
              <a:gd name="connsiteX73" fmla="*/ 9592 w 10000"/>
              <a:gd name="connsiteY73" fmla="*/ 5481 h 10000"/>
              <a:gd name="connsiteX74" fmla="*/ 8350 w 10000"/>
              <a:gd name="connsiteY74" fmla="*/ 5632 h 10000"/>
              <a:gd name="connsiteX75" fmla="*/ 8058 w 10000"/>
              <a:gd name="connsiteY75" fmla="*/ 5590 h 10000"/>
              <a:gd name="connsiteX76" fmla="*/ 7942 w 10000"/>
              <a:gd name="connsiteY76" fmla="*/ 5644 h 10000"/>
              <a:gd name="connsiteX77" fmla="*/ 7903 w 10000"/>
              <a:gd name="connsiteY77" fmla="*/ 5537 h 10000"/>
              <a:gd name="connsiteX78" fmla="*/ 7765 w 10000"/>
              <a:gd name="connsiteY78" fmla="*/ 5443 h 10000"/>
              <a:gd name="connsiteX79" fmla="*/ 7213 w 10000"/>
              <a:gd name="connsiteY79" fmla="*/ 5249 h 10000"/>
              <a:gd name="connsiteX80" fmla="*/ 6887 w 10000"/>
              <a:gd name="connsiteY80" fmla="*/ 5282 h 10000"/>
              <a:gd name="connsiteX81" fmla="*/ 6757 w 10000"/>
              <a:gd name="connsiteY81" fmla="*/ 5227 h 10000"/>
              <a:gd name="connsiteX82" fmla="*/ 6894 w 10000"/>
              <a:gd name="connsiteY82" fmla="*/ 5180 h 10000"/>
              <a:gd name="connsiteX83" fmla="*/ 6998 w 10000"/>
              <a:gd name="connsiteY83" fmla="*/ 5078 h 10000"/>
              <a:gd name="connsiteX84" fmla="*/ 7152 w 10000"/>
              <a:gd name="connsiteY84" fmla="*/ 5110 h 10000"/>
              <a:gd name="connsiteX85" fmla="*/ 7335 w 10000"/>
              <a:gd name="connsiteY85" fmla="*/ 5085 h 10000"/>
              <a:gd name="connsiteX86" fmla="*/ 7611 w 10000"/>
              <a:gd name="connsiteY86" fmla="*/ 5118 h 10000"/>
              <a:gd name="connsiteX87" fmla="*/ 7645 w 10000"/>
              <a:gd name="connsiteY87" fmla="*/ 5104 h 10000"/>
              <a:gd name="connsiteX88" fmla="*/ 7859 w 10000"/>
              <a:gd name="connsiteY88" fmla="*/ 5259 h 10000"/>
              <a:gd name="connsiteX89" fmla="*/ 8017 w 10000"/>
              <a:gd name="connsiteY89" fmla="*/ 5201 h 10000"/>
              <a:gd name="connsiteX90" fmla="*/ 8032 w 10000"/>
              <a:gd name="connsiteY90" fmla="*/ 5148 h 10000"/>
              <a:gd name="connsiteX91" fmla="*/ 8176 w 10000"/>
              <a:gd name="connsiteY91" fmla="*/ 5241 h 10000"/>
              <a:gd name="connsiteX92" fmla="*/ 8369 w 10000"/>
              <a:gd name="connsiteY92" fmla="*/ 5291 h 10000"/>
              <a:gd name="connsiteX93" fmla="*/ 8446 w 10000"/>
              <a:gd name="connsiteY93" fmla="*/ 5199 h 10000"/>
              <a:gd name="connsiteX94" fmla="*/ 8507 w 10000"/>
              <a:gd name="connsiteY94" fmla="*/ 5249 h 10000"/>
              <a:gd name="connsiteX95" fmla="*/ 8596 w 10000"/>
              <a:gd name="connsiteY95" fmla="*/ 5430 h 10000"/>
              <a:gd name="connsiteX96" fmla="*/ 8782 w 10000"/>
              <a:gd name="connsiteY96" fmla="*/ 5470 h 10000"/>
              <a:gd name="connsiteX97" fmla="*/ 9542 w 10000"/>
              <a:gd name="connsiteY97" fmla="*/ 5208 h 10000"/>
              <a:gd name="connsiteX98" fmla="*/ 9914 w 10000"/>
              <a:gd name="connsiteY98" fmla="*/ 4838 h 10000"/>
              <a:gd name="connsiteX99" fmla="*/ 10000 w 10000"/>
              <a:gd name="connsiteY99" fmla="*/ 4574 h 10000"/>
              <a:gd name="connsiteX100" fmla="*/ 9866 w 10000"/>
              <a:gd name="connsiteY100" fmla="*/ 4330 h 10000"/>
              <a:gd name="connsiteX101" fmla="*/ 9582 w 10000"/>
              <a:gd name="connsiteY101" fmla="*/ 4188 h 10000"/>
              <a:gd name="connsiteX102" fmla="*/ 9382 w 10000"/>
              <a:gd name="connsiteY102" fmla="*/ 3948 h 10000"/>
              <a:gd name="connsiteX103" fmla="*/ 9569 w 10000"/>
              <a:gd name="connsiteY103" fmla="*/ 3941 h 10000"/>
              <a:gd name="connsiteX104" fmla="*/ 9555 w 10000"/>
              <a:gd name="connsiteY104" fmla="*/ 3886 h 10000"/>
              <a:gd name="connsiteX105" fmla="*/ 9068 w 10000"/>
              <a:gd name="connsiteY105" fmla="*/ 3720 h 10000"/>
              <a:gd name="connsiteX106" fmla="*/ 9047 w 10000"/>
              <a:gd name="connsiteY106" fmla="*/ 3566 h 10000"/>
              <a:gd name="connsiteX107" fmla="*/ 8953 w 10000"/>
              <a:gd name="connsiteY107" fmla="*/ 3406 h 10000"/>
              <a:gd name="connsiteX108" fmla="*/ 8569 w 10000"/>
              <a:gd name="connsiteY108" fmla="*/ 3436 h 10000"/>
              <a:gd name="connsiteX109" fmla="*/ 8431 w 10000"/>
              <a:gd name="connsiteY109" fmla="*/ 3265 h 10000"/>
              <a:gd name="connsiteX110" fmla="*/ 8350 w 10000"/>
              <a:gd name="connsiteY110" fmla="*/ 3254 h 10000"/>
              <a:gd name="connsiteX111" fmla="*/ 8350 w 10000"/>
              <a:gd name="connsiteY111" fmla="*/ 3331 h 10000"/>
              <a:gd name="connsiteX112" fmla="*/ 8176 w 10000"/>
              <a:gd name="connsiteY112" fmla="*/ 3613 h 10000"/>
              <a:gd name="connsiteX113" fmla="*/ 7990 w 10000"/>
              <a:gd name="connsiteY113" fmla="*/ 3783 h 10000"/>
              <a:gd name="connsiteX114" fmla="*/ 7401 w 10000"/>
              <a:gd name="connsiteY114" fmla="*/ 4066 h 10000"/>
              <a:gd name="connsiteX115" fmla="*/ 7198 w 10000"/>
              <a:gd name="connsiteY115" fmla="*/ 4058 h 10000"/>
              <a:gd name="connsiteX116" fmla="*/ 6915 w 10000"/>
              <a:gd name="connsiteY116" fmla="*/ 4101 h 10000"/>
              <a:gd name="connsiteX117" fmla="*/ 6757 w 10000"/>
              <a:gd name="connsiteY117" fmla="*/ 4058 h 10000"/>
              <a:gd name="connsiteX118" fmla="*/ 6965 w 10000"/>
              <a:gd name="connsiteY118" fmla="*/ 3976 h 10000"/>
              <a:gd name="connsiteX119" fmla="*/ 7235 w 10000"/>
              <a:gd name="connsiteY119" fmla="*/ 3941 h 10000"/>
              <a:gd name="connsiteX120" fmla="*/ 7455 w 10000"/>
              <a:gd name="connsiteY120" fmla="*/ 3809 h 10000"/>
              <a:gd name="connsiteX121" fmla="*/ 7674 w 10000"/>
              <a:gd name="connsiteY121" fmla="*/ 3746 h 10000"/>
              <a:gd name="connsiteX122" fmla="*/ 8082 w 10000"/>
              <a:gd name="connsiteY122" fmla="*/ 3512 h 10000"/>
              <a:gd name="connsiteX123" fmla="*/ 8157 w 10000"/>
              <a:gd name="connsiteY123" fmla="*/ 3359 h 10000"/>
              <a:gd name="connsiteX124" fmla="*/ 8165 w 10000"/>
              <a:gd name="connsiteY124" fmla="*/ 3163 h 10000"/>
              <a:gd name="connsiteX125" fmla="*/ 7978 w 10000"/>
              <a:gd name="connsiteY125" fmla="*/ 3129 h 10000"/>
              <a:gd name="connsiteX126" fmla="*/ 8058 w 10000"/>
              <a:gd name="connsiteY126" fmla="*/ 3009 h 10000"/>
              <a:gd name="connsiteX127" fmla="*/ 8087 w 10000"/>
              <a:gd name="connsiteY127" fmla="*/ 2856 h 10000"/>
              <a:gd name="connsiteX128" fmla="*/ 8007 w 10000"/>
              <a:gd name="connsiteY128" fmla="*/ 2714 h 10000"/>
              <a:gd name="connsiteX129" fmla="*/ 7450 w 10000"/>
              <a:gd name="connsiteY129" fmla="*/ 2910 h 10000"/>
              <a:gd name="connsiteX130" fmla="*/ 6694 w 10000"/>
              <a:gd name="connsiteY130" fmla="*/ 2823 h 10000"/>
              <a:gd name="connsiteX131" fmla="*/ 6304 w 10000"/>
              <a:gd name="connsiteY131" fmla="*/ 2276 h 10000"/>
              <a:gd name="connsiteX132" fmla="*/ 5294 w 10000"/>
              <a:gd name="connsiteY132" fmla="*/ 2173 h 10000"/>
              <a:gd name="connsiteX133" fmla="*/ 4505 w 10000"/>
              <a:gd name="connsiteY133" fmla="*/ 1721 h 10000"/>
              <a:gd name="connsiteX134" fmla="*/ 3730 w 10000"/>
              <a:gd name="connsiteY134" fmla="*/ 1176 h 10000"/>
              <a:gd name="connsiteX135" fmla="*/ 3154 w 10000"/>
              <a:gd name="connsiteY135" fmla="*/ 173 h 10000"/>
              <a:gd name="connsiteX136" fmla="*/ 2375 w 10000"/>
              <a:gd name="connsiteY136" fmla="*/ 0 h 10000"/>
              <a:gd name="connsiteX137" fmla="*/ 2226 w 10000"/>
              <a:gd name="connsiteY137" fmla="*/ 941 h 10000"/>
              <a:gd name="connsiteX138" fmla="*/ 2375 w 10000"/>
              <a:gd name="connsiteY138" fmla="*/ 1181 h 10000"/>
              <a:gd name="connsiteX139" fmla="*/ 2791 w 10000"/>
              <a:gd name="connsiteY139" fmla="*/ 1446 h 10000"/>
              <a:gd name="connsiteX140" fmla="*/ 2808 w 10000"/>
              <a:gd name="connsiteY140" fmla="*/ 1767 h 10000"/>
              <a:gd name="connsiteX141" fmla="*/ 2632 w 10000"/>
              <a:gd name="connsiteY141" fmla="*/ 2035 h 10000"/>
              <a:gd name="connsiteX142" fmla="*/ 2375 w 10000"/>
              <a:gd name="connsiteY142" fmla="*/ 2196 h 10000"/>
              <a:gd name="connsiteX143" fmla="*/ 2039 w 10000"/>
              <a:gd name="connsiteY143" fmla="*/ 2260 h 10000"/>
              <a:gd name="connsiteX144" fmla="*/ 1950 w 10000"/>
              <a:gd name="connsiteY144" fmla="*/ 2357 h 10000"/>
              <a:gd name="connsiteX145" fmla="*/ 2148 w 10000"/>
              <a:gd name="connsiteY145" fmla="*/ 2577 h 10000"/>
              <a:gd name="connsiteX146" fmla="*/ 2261 w 10000"/>
              <a:gd name="connsiteY146" fmla="*/ 3104 h 10000"/>
              <a:gd name="connsiteX147" fmla="*/ 2005 w 10000"/>
              <a:gd name="connsiteY147" fmla="*/ 3555 h 10000"/>
              <a:gd name="connsiteX148" fmla="*/ 2094 w 10000"/>
              <a:gd name="connsiteY148" fmla="*/ 3692 h 10000"/>
              <a:gd name="connsiteX149" fmla="*/ 2012 w 10000"/>
              <a:gd name="connsiteY149" fmla="*/ 3926 h 10000"/>
              <a:gd name="connsiteX150" fmla="*/ 1850 w 10000"/>
              <a:gd name="connsiteY150" fmla="*/ 4089 h 10000"/>
              <a:gd name="connsiteX151" fmla="*/ 1199 w 10000"/>
              <a:gd name="connsiteY151" fmla="*/ 4215 h 10000"/>
              <a:gd name="connsiteX152" fmla="*/ 1158 w 10000"/>
              <a:gd name="connsiteY152" fmla="*/ 4432 h 10000"/>
              <a:gd name="connsiteX153" fmla="*/ 808 w 10000"/>
              <a:gd name="connsiteY153" fmla="*/ 4754 h 10000"/>
              <a:gd name="connsiteX154" fmla="*/ 854 w 10000"/>
              <a:gd name="connsiteY154" fmla="*/ 5224 h 10000"/>
              <a:gd name="connsiteX155" fmla="*/ 560 w 10000"/>
              <a:gd name="connsiteY155" fmla="*/ 5822 h 10000"/>
              <a:gd name="connsiteX156" fmla="*/ 358 w 10000"/>
              <a:gd name="connsiteY156" fmla="*/ 5891 h 10000"/>
              <a:gd name="connsiteX157" fmla="*/ 275 w 10000"/>
              <a:gd name="connsiteY157" fmla="*/ 5749 h 10000"/>
              <a:gd name="connsiteX158" fmla="*/ 174 w 10000"/>
              <a:gd name="connsiteY158" fmla="*/ 5964 h 10000"/>
              <a:gd name="connsiteX159" fmla="*/ 239 w 10000"/>
              <a:gd name="connsiteY159" fmla="*/ 5592 h 10000"/>
              <a:gd name="connsiteX160" fmla="*/ 197 w 10000"/>
              <a:gd name="connsiteY160"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3819 w 10000"/>
              <a:gd name="connsiteY28" fmla="*/ 9296 h 10000"/>
              <a:gd name="connsiteX29" fmla="*/ 4166 w 10000"/>
              <a:gd name="connsiteY29" fmla="*/ 8956 h 10000"/>
              <a:gd name="connsiteX30" fmla="*/ 6419 w 10000"/>
              <a:gd name="connsiteY30" fmla="*/ 10000 h 10000"/>
              <a:gd name="connsiteX31" fmla="*/ 6586 w 10000"/>
              <a:gd name="connsiteY31" fmla="*/ 9169 h 10000"/>
              <a:gd name="connsiteX32" fmla="*/ 6855 w 10000"/>
              <a:gd name="connsiteY32" fmla="*/ 8801 h 10000"/>
              <a:gd name="connsiteX33" fmla="*/ 6855 w 10000"/>
              <a:gd name="connsiteY33" fmla="*/ 8603 h 10000"/>
              <a:gd name="connsiteX34" fmla="*/ 6757 w 10000"/>
              <a:gd name="connsiteY34" fmla="*/ 8497 h 10000"/>
              <a:gd name="connsiteX35" fmla="*/ 6915 w 10000"/>
              <a:gd name="connsiteY35" fmla="*/ 8318 h 10000"/>
              <a:gd name="connsiteX36" fmla="*/ 6887 w 10000"/>
              <a:gd name="connsiteY36" fmla="*/ 8175 h 10000"/>
              <a:gd name="connsiteX37" fmla="*/ 6779 w 10000"/>
              <a:gd name="connsiteY37" fmla="*/ 8053 h 10000"/>
              <a:gd name="connsiteX38" fmla="*/ 6757 w 10000"/>
              <a:gd name="connsiteY38" fmla="*/ 7956 h 10000"/>
              <a:gd name="connsiteX39" fmla="*/ 6785 w 10000"/>
              <a:gd name="connsiteY39" fmla="*/ 7886 h 10000"/>
              <a:gd name="connsiteX40" fmla="*/ 6931 w 10000"/>
              <a:gd name="connsiteY40" fmla="*/ 7942 h 10000"/>
              <a:gd name="connsiteX41" fmla="*/ 7045 w 10000"/>
              <a:gd name="connsiteY41" fmla="*/ 7939 h 10000"/>
              <a:gd name="connsiteX42" fmla="*/ 6983 w 10000"/>
              <a:gd name="connsiteY42" fmla="*/ 7822 h 10000"/>
              <a:gd name="connsiteX43" fmla="*/ 7003 w 10000"/>
              <a:gd name="connsiteY43" fmla="*/ 7752 h 10000"/>
              <a:gd name="connsiteX44" fmla="*/ 7089 w 10000"/>
              <a:gd name="connsiteY44" fmla="*/ 7653 h 10000"/>
              <a:gd name="connsiteX45" fmla="*/ 7074 w 10000"/>
              <a:gd name="connsiteY45" fmla="*/ 7570 h 10000"/>
              <a:gd name="connsiteX46" fmla="*/ 7152 w 10000"/>
              <a:gd name="connsiteY46" fmla="*/ 7295 h 10000"/>
              <a:gd name="connsiteX47" fmla="*/ 7130 w 10000"/>
              <a:gd name="connsiteY47" fmla="*/ 7209 h 10000"/>
              <a:gd name="connsiteX48" fmla="*/ 6729 w 10000"/>
              <a:gd name="connsiteY48" fmla="*/ 6997 h 10000"/>
              <a:gd name="connsiteX49" fmla="*/ 6785 w 10000"/>
              <a:gd name="connsiteY49" fmla="*/ 6989 h 10000"/>
              <a:gd name="connsiteX50" fmla="*/ 6998 w 10000"/>
              <a:gd name="connsiteY50" fmla="*/ 7043 h 10000"/>
              <a:gd name="connsiteX51" fmla="*/ 7230 w 10000"/>
              <a:gd name="connsiteY51" fmla="*/ 7023 h 10000"/>
              <a:gd name="connsiteX52" fmla="*/ 7295 w 10000"/>
              <a:gd name="connsiteY52" fmla="*/ 6949 h 10000"/>
              <a:gd name="connsiteX53" fmla="*/ 7074 w 10000"/>
              <a:gd name="connsiteY53" fmla="*/ 6806 h 10000"/>
              <a:gd name="connsiteX54" fmla="*/ 6414 w 10000"/>
              <a:gd name="connsiteY54" fmla="*/ 6711 h 10000"/>
              <a:gd name="connsiteX55" fmla="*/ 6458 w 10000"/>
              <a:gd name="connsiteY55" fmla="*/ 6668 h 10000"/>
              <a:gd name="connsiteX56" fmla="*/ 6998 w 10000"/>
              <a:gd name="connsiteY56" fmla="*/ 6638 h 10000"/>
              <a:gd name="connsiteX57" fmla="*/ 7295 w 10000"/>
              <a:gd name="connsiteY57" fmla="*/ 6724 h 10000"/>
              <a:gd name="connsiteX58" fmla="*/ 7466 w 10000"/>
              <a:gd name="connsiteY58" fmla="*/ 6668 h 10000"/>
              <a:gd name="connsiteX59" fmla="*/ 7529 w 10000"/>
              <a:gd name="connsiteY59" fmla="*/ 6520 h 10000"/>
              <a:gd name="connsiteX60" fmla="*/ 7840 w 10000"/>
              <a:gd name="connsiteY60" fmla="*/ 6520 h 10000"/>
              <a:gd name="connsiteX61" fmla="*/ 8261 w 10000"/>
              <a:gd name="connsiteY61" fmla="*/ 6219 h 10000"/>
              <a:gd name="connsiteX62" fmla="*/ 8275 w 10000"/>
              <a:gd name="connsiteY62" fmla="*/ 6019 h 10000"/>
              <a:gd name="connsiteX63" fmla="*/ 8453 w 10000"/>
              <a:gd name="connsiteY63" fmla="*/ 6064 h 10000"/>
              <a:gd name="connsiteX64" fmla="*/ 8446 w 10000"/>
              <a:gd name="connsiteY64" fmla="*/ 6266 h 10000"/>
              <a:gd name="connsiteX65" fmla="*/ 8727 w 10000"/>
              <a:gd name="connsiteY65" fmla="*/ 6251 h 10000"/>
              <a:gd name="connsiteX66" fmla="*/ 8913 w 10000"/>
              <a:gd name="connsiteY66" fmla="*/ 6043 h 10000"/>
              <a:gd name="connsiteX67" fmla="*/ 9258 w 10000"/>
              <a:gd name="connsiteY67" fmla="*/ 5856 h 10000"/>
              <a:gd name="connsiteX68" fmla="*/ 9203 w 10000"/>
              <a:gd name="connsiteY68" fmla="*/ 5644 h 10000"/>
              <a:gd name="connsiteX69" fmla="*/ 9306 w 10000"/>
              <a:gd name="connsiteY69" fmla="*/ 5730 h 10000"/>
              <a:gd name="connsiteX70" fmla="*/ 9464 w 10000"/>
              <a:gd name="connsiteY70" fmla="*/ 5730 h 10000"/>
              <a:gd name="connsiteX71" fmla="*/ 9464 w 10000"/>
              <a:gd name="connsiteY71" fmla="*/ 5630 h 10000"/>
              <a:gd name="connsiteX72" fmla="*/ 9611 w 10000"/>
              <a:gd name="connsiteY72" fmla="*/ 5558 h 10000"/>
              <a:gd name="connsiteX73" fmla="*/ 9592 w 10000"/>
              <a:gd name="connsiteY73" fmla="*/ 5481 h 10000"/>
              <a:gd name="connsiteX74" fmla="*/ 8350 w 10000"/>
              <a:gd name="connsiteY74" fmla="*/ 5632 h 10000"/>
              <a:gd name="connsiteX75" fmla="*/ 8058 w 10000"/>
              <a:gd name="connsiteY75" fmla="*/ 5590 h 10000"/>
              <a:gd name="connsiteX76" fmla="*/ 7942 w 10000"/>
              <a:gd name="connsiteY76" fmla="*/ 5644 h 10000"/>
              <a:gd name="connsiteX77" fmla="*/ 7903 w 10000"/>
              <a:gd name="connsiteY77" fmla="*/ 5537 h 10000"/>
              <a:gd name="connsiteX78" fmla="*/ 7765 w 10000"/>
              <a:gd name="connsiteY78" fmla="*/ 5443 h 10000"/>
              <a:gd name="connsiteX79" fmla="*/ 7213 w 10000"/>
              <a:gd name="connsiteY79" fmla="*/ 5249 h 10000"/>
              <a:gd name="connsiteX80" fmla="*/ 6887 w 10000"/>
              <a:gd name="connsiteY80" fmla="*/ 5282 h 10000"/>
              <a:gd name="connsiteX81" fmla="*/ 6757 w 10000"/>
              <a:gd name="connsiteY81" fmla="*/ 5227 h 10000"/>
              <a:gd name="connsiteX82" fmla="*/ 6894 w 10000"/>
              <a:gd name="connsiteY82" fmla="*/ 5180 h 10000"/>
              <a:gd name="connsiteX83" fmla="*/ 6998 w 10000"/>
              <a:gd name="connsiteY83" fmla="*/ 5078 h 10000"/>
              <a:gd name="connsiteX84" fmla="*/ 7152 w 10000"/>
              <a:gd name="connsiteY84" fmla="*/ 5110 h 10000"/>
              <a:gd name="connsiteX85" fmla="*/ 7335 w 10000"/>
              <a:gd name="connsiteY85" fmla="*/ 5085 h 10000"/>
              <a:gd name="connsiteX86" fmla="*/ 7611 w 10000"/>
              <a:gd name="connsiteY86" fmla="*/ 5118 h 10000"/>
              <a:gd name="connsiteX87" fmla="*/ 7645 w 10000"/>
              <a:gd name="connsiteY87" fmla="*/ 5104 h 10000"/>
              <a:gd name="connsiteX88" fmla="*/ 7859 w 10000"/>
              <a:gd name="connsiteY88" fmla="*/ 5259 h 10000"/>
              <a:gd name="connsiteX89" fmla="*/ 8017 w 10000"/>
              <a:gd name="connsiteY89" fmla="*/ 5201 h 10000"/>
              <a:gd name="connsiteX90" fmla="*/ 8032 w 10000"/>
              <a:gd name="connsiteY90" fmla="*/ 5148 h 10000"/>
              <a:gd name="connsiteX91" fmla="*/ 8176 w 10000"/>
              <a:gd name="connsiteY91" fmla="*/ 5241 h 10000"/>
              <a:gd name="connsiteX92" fmla="*/ 8369 w 10000"/>
              <a:gd name="connsiteY92" fmla="*/ 5291 h 10000"/>
              <a:gd name="connsiteX93" fmla="*/ 8446 w 10000"/>
              <a:gd name="connsiteY93" fmla="*/ 5199 h 10000"/>
              <a:gd name="connsiteX94" fmla="*/ 8507 w 10000"/>
              <a:gd name="connsiteY94" fmla="*/ 5249 h 10000"/>
              <a:gd name="connsiteX95" fmla="*/ 8596 w 10000"/>
              <a:gd name="connsiteY95" fmla="*/ 5430 h 10000"/>
              <a:gd name="connsiteX96" fmla="*/ 8782 w 10000"/>
              <a:gd name="connsiteY96" fmla="*/ 5470 h 10000"/>
              <a:gd name="connsiteX97" fmla="*/ 9542 w 10000"/>
              <a:gd name="connsiteY97" fmla="*/ 5208 h 10000"/>
              <a:gd name="connsiteX98" fmla="*/ 9914 w 10000"/>
              <a:gd name="connsiteY98" fmla="*/ 4838 h 10000"/>
              <a:gd name="connsiteX99" fmla="*/ 10000 w 10000"/>
              <a:gd name="connsiteY99" fmla="*/ 4574 h 10000"/>
              <a:gd name="connsiteX100" fmla="*/ 9866 w 10000"/>
              <a:gd name="connsiteY100" fmla="*/ 4330 h 10000"/>
              <a:gd name="connsiteX101" fmla="*/ 9582 w 10000"/>
              <a:gd name="connsiteY101" fmla="*/ 4188 h 10000"/>
              <a:gd name="connsiteX102" fmla="*/ 9382 w 10000"/>
              <a:gd name="connsiteY102" fmla="*/ 3948 h 10000"/>
              <a:gd name="connsiteX103" fmla="*/ 9569 w 10000"/>
              <a:gd name="connsiteY103" fmla="*/ 3941 h 10000"/>
              <a:gd name="connsiteX104" fmla="*/ 9555 w 10000"/>
              <a:gd name="connsiteY104" fmla="*/ 3886 h 10000"/>
              <a:gd name="connsiteX105" fmla="*/ 9068 w 10000"/>
              <a:gd name="connsiteY105" fmla="*/ 3720 h 10000"/>
              <a:gd name="connsiteX106" fmla="*/ 9047 w 10000"/>
              <a:gd name="connsiteY106" fmla="*/ 3566 h 10000"/>
              <a:gd name="connsiteX107" fmla="*/ 8953 w 10000"/>
              <a:gd name="connsiteY107" fmla="*/ 3406 h 10000"/>
              <a:gd name="connsiteX108" fmla="*/ 8569 w 10000"/>
              <a:gd name="connsiteY108" fmla="*/ 3436 h 10000"/>
              <a:gd name="connsiteX109" fmla="*/ 8431 w 10000"/>
              <a:gd name="connsiteY109" fmla="*/ 3265 h 10000"/>
              <a:gd name="connsiteX110" fmla="*/ 8350 w 10000"/>
              <a:gd name="connsiteY110" fmla="*/ 3254 h 10000"/>
              <a:gd name="connsiteX111" fmla="*/ 8350 w 10000"/>
              <a:gd name="connsiteY111" fmla="*/ 3331 h 10000"/>
              <a:gd name="connsiteX112" fmla="*/ 8176 w 10000"/>
              <a:gd name="connsiteY112" fmla="*/ 3613 h 10000"/>
              <a:gd name="connsiteX113" fmla="*/ 7990 w 10000"/>
              <a:gd name="connsiteY113" fmla="*/ 3783 h 10000"/>
              <a:gd name="connsiteX114" fmla="*/ 7401 w 10000"/>
              <a:gd name="connsiteY114" fmla="*/ 4066 h 10000"/>
              <a:gd name="connsiteX115" fmla="*/ 7198 w 10000"/>
              <a:gd name="connsiteY115" fmla="*/ 4058 h 10000"/>
              <a:gd name="connsiteX116" fmla="*/ 6915 w 10000"/>
              <a:gd name="connsiteY116" fmla="*/ 4101 h 10000"/>
              <a:gd name="connsiteX117" fmla="*/ 6757 w 10000"/>
              <a:gd name="connsiteY117" fmla="*/ 4058 h 10000"/>
              <a:gd name="connsiteX118" fmla="*/ 6965 w 10000"/>
              <a:gd name="connsiteY118" fmla="*/ 3976 h 10000"/>
              <a:gd name="connsiteX119" fmla="*/ 7235 w 10000"/>
              <a:gd name="connsiteY119" fmla="*/ 3941 h 10000"/>
              <a:gd name="connsiteX120" fmla="*/ 7455 w 10000"/>
              <a:gd name="connsiteY120" fmla="*/ 3809 h 10000"/>
              <a:gd name="connsiteX121" fmla="*/ 7674 w 10000"/>
              <a:gd name="connsiteY121" fmla="*/ 3746 h 10000"/>
              <a:gd name="connsiteX122" fmla="*/ 8082 w 10000"/>
              <a:gd name="connsiteY122" fmla="*/ 3512 h 10000"/>
              <a:gd name="connsiteX123" fmla="*/ 8157 w 10000"/>
              <a:gd name="connsiteY123" fmla="*/ 3359 h 10000"/>
              <a:gd name="connsiteX124" fmla="*/ 8165 w 10000"/>
              <a:gd name="connsiteY124" fmla="*/ 3163 h 10000"/>
              <a:gd name="connsiteX125" fmla="*/ 7978 w 10000"/>
              <a:gd name="connsiteY125" fmla="*/ 3129 h 10000"/>
              <a:gd name="connsiteX126" fmla="*/ 8058 w 10000"/>
              <a:gd name="connsiteY126" fmla="*/ 3009 h 10000"/>
              <a:gd name="connsiteX127" fmla="*/ 8087 w 10000"/>
              <a:gd name="connsiteY127" fmla="*/ 2856 h 10000"/>
              <a:gd name="connsiteX128" fmla="*/ 8007 w 10000"/>
              <a:gd name="connsiteY128" fmla="*/ 2714 h 10000"/>
              <a:gd name="connsiteX129" fmla="*/ 7450 w 10000"/>
              <a:gd name="connsiteY129" fmla="*/ 2910 h 10000"/>
              <a:gd name="connsiteX130" fmla="*/ 6694 w 10000"/>
              <a:gd name="connsiteY130" fmla="*/ 2823 h 10000"/>
              <a:gd name="connsiteX131" fmla="*/ 6304 w 10000"/>
              <a:gd name="connsiteY131" fmla="*/ 2276 h 10000"/>
              <a:gd name="connsiteX132" fmla="*/ 5294 w 10000"/>
              <a:gd name="connsiteY132" fmla="*/ 2173 h 10000"/>
              <a:gd name="connsiteX133" fmla="*/ 4505 w 10000"/>
              <a:gd name="connsiteY133" fmla="*/ 1721 h 10000"/>
              <a:gd name="connsiteX134" fmla="*/ 3730 w 10000"/>
              <a:gd name="connsiteY134" fmla="*/ 1176 h 10000"/>
              <a:gd name="connsiteX135" fmla="*/ 3154 w 10000"/>
              <a:gd name="connsiteY135" fmla="*/ 173 h 10000"/>
              <a:gd name="connsiteX136" fmla="*/ 2375 w 10000"/>
              <a:gd name="connsiteY136" fmla="*/ 0 h 10000"/>
              <a:gd name="connsiteX137" fmla="*/ 2226 w 10000"/>
              <a:gd name="connsiteY137" fmla="*/ 941 h 10000"/>
              <a:gd name="connsiteX138" fmla="*/ 2375 w 10000"/>
              <a:gd name="connsiteY138" fmla="*/ 1181 h 10000"/>
              <a:gd name="connsiteX139" fmla="*/ 2791 w 10000"/>
              <a:gd name="connsiteY139" fmla="*/ 1446 h 10000"/>
              <a:gd name="connsiteX140" fmla="*/ 2808 w 10000"/>
              <a:gd name="connsiteY140" fmla="*/ 1767 h 10000"/>
              <a:gd name="connsiteX141" fmla="*/ 2632 w 10000"/>
              <a:gd name="connsiteY141" fmla="*/ 2035 h 10000"/>
              <a:gd name="connsiteX142" fmla="*/ 2375 w 10000"/>
              <a:gd name="connsiteY142" fmla="*/ 2196 h 10000"/>
              <a:gd name="connsiteX143" fmla="*/ 2039 w 10000"/>
              <a:gd name="connsiteY143" fmla="*/ 2260 h 10000"/>
              <a:gd name="connsiteX144" fmla="*/ 1950 w 10000"/>
              <a:gd name="connsiteY144" fmla="*/ 2357 h 10000"/>
              <a:gd name="connsiteX145" fmla="*/ 2148 w 10000"/>
              <a:gd name="connsiteY145" fmla="*/ 2577 h 10000"/>
              <a:gd name="connsiteX146" fmla="*/ 2261 w 10000"/>
              <a:gd name="connsiteY146" fmla="*/ 3104 h 10000"/>
              <a:gd name="connsiteX147" fmla="*/ 2005 w 10000"/>
              <a:gd name="connsiteY147" fmla="*/ 3555 h 10000"/>
              <a:gd name="connsiteX148" fmla="*/ 2094 w 10000"/>
              <a:gd name="connsiteY148" fmla="*/ 3692 h 10000"/>
              <a:gd name="connsiteX149" fmla="*/ 2012 w 10000"/>
              <a:gd name="connsiteY149" fmla="*/ 3926 h 10000"/>
              <a:gd name="connsiteX150" fmla="*/ 1850 w 10000"/>
              <a:gd name="connsiteY150" fmla="*/ 4089 h 10000"/>
              <a:gd name="connsiteX151" fmla="*/ 1199 w 10000"/>
              <a:gd name="connsiteY151" fmla="*/ 4215 h 10000"/>
              <a:gd name="connsiteX152" fmla="*/ 1158 w 10000"/>
              <a:gd name="connsiteY152" fmla="*/ 4432 h 10000"/>
              <a:gd name="connsiteX153" fmla="*/ 808 w 10000"/>
              <a:gd name="connsiteY153" fmla="*/ 4754 h 10000"/>
              <a:gd name="connsiteX154" fmla="*/ 854 w 10000"/>
              <a:gd name="connsiteY154" fmla="*/ 5224 h 10000"/>
              <a:gd name="connsiteX155" fmla="*/ 560 w 10000"/>
              <a:gd name="connsiteY155" fmla="*/ 5822 h 10000"/>
              <a:gd name="connsiteX156" fmla="*/ 358 w 10000"/>
              <a:gd name="connsiteY156" fmla="*/ 5891 h 10000"/>
              <a:gd name="connsiteX157" fmla="*/ 275 w 10000"/>
              <a:gd name="connsiteY157" fmla="*/ 5749 h 10000"/>
              <a:gd name="connsiteX158" fmla="*/ 174 w 10000"/>
              <a:gd name="connsiteY158" fmla="*/ 5964 h 10000"/>
              <a:gd name="connsiteX159" fmla="*/ 239 w 10000"/>
              <a:gd name="connsiteY159" fmla="*/ 5592 h 10000"/>
              <a:gd name="connsiteX160" fmla="*/ 197 w 10000"/>
              <a:gd name="connsiteY160"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16 w 10000"/>
              <a:gd name="connsiteY25" fmla="*/ 8985 h 10000"/>
              <a:gd name="connsiteX26" fmla="*/ 1990 w 10000"/>
              <a:gd name="connsiteY26" fmla="*/ 9254 h 10000"/>
              <a:gd name="connsiteX27" fmla="*/ 2443 w 10000"/>
              <a:gd name="connsiteY27" fmla="*/ 8769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990 w 10000"/>
              <a:gd name="connsiteY26" fmla="*/ 9254 h 10000"/>
              <a:gd name="connsiteX27" fmla="*/ 2443 w 10000"/>
              <a:gd name="connsiteY27" fmla="*/ 8769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43 w 10000"/>
              <a:gd name="connsiteY27" fmla="*/ 8769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4123 w 10000"/>
              <a:gd name="connsiteY29" fmla="*/ 9257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4123 w 10000"/>
              <a:gd name="connsiteY29" fmla="*/ 9257 h 10000"/>
              <a:gd name="connsiteX30" fmla="*/ 5496 w 10000"/>
              <a:gd name="connsiteY30" fmla="*/ 9206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4123 w 10000"/>
              <a:gd name="connsiteY29" fmla="*/ 9257 h 10000"/>
              <a:gd name="connsiteX30" fmla="*/ 5255 w 10000"/>
              <a:gd name="connsiteY30" fmla="*/ 9402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3743 w 10000"/>
              <a:gd name="connsiteY29" fmla="*/ 9229 h 10000"/>
              <a:gd name="connsiteX30" fmla="*/ 5255 w 10000"/>
              <a:gd name="connsiteY30" fmla="*/ 9402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3743 w 10000"/>
              <a:gd name="connsiteY29" fmla="*/ 9229 h 10000"/>
              <a:gd name="connsiteX30" fmla="*/ 5095 w 10000"/>
              <a:gd name="connsiteY30" fmla="*/ 9329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3743 w 10000"/>
              <a:gd name="connsiteY29" fmla="*/ 9229 h 10000"/>
              <a:gd name="connsiteX30" fmla="*/ 5168 w 10000"/>
              <a:gd name="connsiteY30" fmla="*/ 9121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3743 w 10000"/>
              <a:gd name="connsiteY29" fmla="*/ 9229 h 10000"/>
              <a:gd name="connsiteX30" fmla="*/ 5433 w 10000"/>
              <a:gd name="connsiteY30" fmla="*/ 935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9723"/>
              <a:gd name="connsiteX1" fmla="*/ 0 w 10000"/>
              <a:gd name="connsiteY1" fmla="*/ 5717 h 9723"/>
              <a:gd name="connsiteX2" fmla="*/ 0 w 10000"/>
              <a:gd name="connsiteY2" fmla="*/ 6668 h 9723"/>
              <a:gd name="connsiteX3" fmla="*/ 109 w 10000"/>
              <a:gd name="connsiteY3" fmla="*/ 6693 h 9723"/>
              <a:gd name="connsiteX4" fmla="*/ 134 w 10000"/>
              <a:gd name="connsiteY4" fmla="*/ 6769 h 9723"/>
              <a:gd name="connsiteX5" fmla="*/ 130 w 10000"/>
              <a:gd name="connsiteY5" fmla="*/ 6897 h 9723"/>
              <a:gd name="connsiteX6" fmla="*/ 89 w 10000"/>
              <a:gd name="connsiteY6" fmla="*/ 6953 h 9723"/>
              <a:gd name="connsiteX7" fmla="*/ 255 w 10000"/>
              <a:gd name="connsiteY7" fmla="*/ 6842 h 9723"/>
              <a:gd name="connsiteX8" fmla="*/ 325 w 10000"/>
              <a:gd name="connsiteY8" fmla="*/ 6737 h 9723"/>
              <a:gd name="connsiteX9" fmla="*/ 413 w 10000"/>
              <a:gd name="connsiteY9" fmla="*/ 6809 h 9723"/>
              <a:gd name="connsiteX10" fmla="*/ 316 w 10000"/>
              <a:gd name="connsiteY10" fmla="*/ 6965 h 9723"/>
              <a:gd name="connsiteX11" fmla="*/ 419 w 10000"/>
              <a:gd name="connsiteY11" fmla="*/ 6969 h 9723"/>
              <a:gd name="connsiteX12" fmla="*/ 469 w 10000"/>
              <a:gd name="connsiteY12" fmla="*/ 7008 h 9723"/>
              <a:gd name="connsiteX13" fmla="*/ 337 w 10000"/>
              <a:gd name="connsiteY13" fmla="*/ 7059 h 9723"/>
              <a:gd name="connsiteX14" fmla="*/ 130 w 10000"/>
              <a:gd name="connsiteY14" fmla="*/ 7220 h 9723"/>
              <a:gd name="connsiteX15" fmla="*/ 497 w 10000"/>
              <a:gd name="connsiteY15" fmla="*/ 7345 h 9723"/>
              <a:gd name="connsiteX16" fmla="*/ 545 w 10000"/>
              <a:gd name="connsiteY16" fmla="*/ 7522 h 9723"/>
              <a:gd name="connsiteX17" fmla="*/ 419 w 10000"/>
              <a:gd name="connsiteY17" fmla="*/ 7785 h 9723"/>
              <a:gd name="connsiteX18" fmla="*/ 688 w 10000"/>
              <a:gd name="connsiteY18" fmla="*/ 7770 h 9723"/>
              <a:gd name="connsiteX19" fmla="*/ 709 w 10000"/>
              <a:gd name="connsiteY19" fmla="*/ 7965 h 9723"/>
              <a:gd name="connsiteX20" fmla="*/ 530 w 10000"/>
              <a:gd name="connsiteY20" fmla="*/ 8105 h 9723"/>
              <a:gd name="connsiteX21" fmla="*/ 560 w 10000"/>
              <a:gd name="connsiteY21" fmla="*/ 8362 h 9723"/>
              <a:gd name="connsiteX22" fmla="*/ 489 w 10000"/>
              <a:gd name="connsiteY22" fmla="*/ 8568 h 9723"/>
              <a:gd name="connsiteX23" fmla="*/ 703 w 10000"/>
              <a:gd name="connsiteY23" fmla="*/ 8587 h 9723"/>
              <a:gd name="connsiteX24" fmla="*/ 992 w 10000"/>
              <a:gd name="connsiteY24" fmla="*/ 9678 h 9723"/>
              <a:gd name="connsiteX25" fmla="*/ 1653 w 10000"/>
              <a:gd name="connsiteY25" fmla="*/ 9323 h 9723"/>
              <a:gd name="connsiteX26" fmla="*/ 1883 w 10000"/>
              <a:gd name="connsiteY26" fmla="*/ 9703 h 9723"/>
              <a:gd name="connsiteX27" fmla="*/ 2400 w 10000"/>
              <a:gd name="connsiteY27" fmla="*/ 9070 h 9723"/>
              <a:gd name="connsiteX28" fmla="*/ 3729 w 10000"/>
              <a:gd name="connsiteY28" fmla="*/ 9624 h 9723"/>
              <a:gd name="connsiteX29" fmla="*/ 3743 w 10000"/>
              <a:gd name="connsiteY29" fmla="*/ 9229 h 9723"/>
              <a:gd name="connsiteX30" fmla="*/ 5433 w 10000"/>
              <a:gd name="connsiteY30" fmla="*/ 9354 h 9723"/>
              <a:gd name="connsiteX31" fmla="*/ 6373 w 10000"/>
              <a:gd name="connsiteY31" fmla="*/ 9723 h 9723"/>
              <a:gd name="connsiteX32" fmla="*/ 6586 w 10000"/>
              <a:gd name="connsiteY32" fmla="*/ 9169 h 9723"/>
              <a:gd name="connsiteX33" fmla="*/ 6855 w 10000"/>
              <a:gd name="connsiteY33" fmla="*/ 8801 h 9723"/>
              <a:gd name="connsiteX34" fmla="*/ 6855 w 10000"/>
              <a:gd name="connsiteY34" fmla="*/ 8603 h 9723"/>
              <a:gd name="connsiteX35" fmla="*/ 6757 w 10000"/>
              <a:gd name="connsiteY35" fmla="*/ 8497 h 9723"/>
              <a:gd name="connsiteX36" fmla="*/ 6915 w 10000"/>
              <a:gd name="connsiteY36" fmla="*/ 8318 h 9723"/>
              <a:gd name="connsiteX37" fmla="*/ 6887 w 10000"/>
              <a:gd name="connsiteY37" fmla="*/ 8175 h 9723"/>
              <a:gd name="connsiteX38" fmla="*/ 6779 w 10000"/>
              <a:gd name="connsiteY38" fmla="*/ 8053 h 9723"/>
              <a:gd name="connsiteX39" fmla="*/ 6757 w 10000"/>
              <a:gd name="connsiteY39" fmla="*/ 7956 h 9723"/>
              <a:gd name="connsiteX40" fmla="*/ 6785 w 10000"/>
              <a:gd name="connsiteY40" fmla="*/ 7886 h 9723"/>
              <a:gd name="connsiteX41" fmla="*/ 6931 w 10000"/>
              <a:gd name="connsiteY41" fmla="*/ 7942 h 9723"/>
              <a:gd name="connsiteX42" fmla="*/ 7045 w 10000"/>
              <a:gd name="connsiteY42" fmla="*/ 7939 h 9723"/>
              <a:gd name="connsiteX43" fmla="*/ 6983 w 10000"/>
              <a:gd name="connsiteY43" fmla="*/ 7822 h 9723"/>
              <a:gd name="connsiteX44" fmla="*/ 7003 w 10000"/>
              <a:gd name="connsiteY44" fmla="*/ 7752 h 9723"/>
              <a:gd name="connsiteX45" fmla="*/ 7089 w 10000"/>
              <a:gd name="connsiteY45" fmla="*/ 7653 h 9723"/>
              <a:gd name="connsiteX46" fmla="*/ 7074 w 10000"/>
              <a:gd name="connsiteY46" fmla="*/ 7570 h 9723"/>
              <a:gd name="connsiteX47" fmla="*/ 7152 w 10000"/>
              <a:gd name="connsiteY47" fmla="*/ 7295 h 9723"/>
              <a:gd name="connsiteX48" fmla="*/ 7130 w 10000"/>
              <a:gd name="connsiteY48" fmla="*/ 7209 h 9723"/>
              <a:gd name="connsiteX49" fmla="*/ 6729 w 10000"/>
              <a:gd name="connsiteY49" fmla="*/ 6997 h 9723"/>
              <a:gd name="connsiteX50" fmla="*/ 6785 w 10000"/>
              <a:gd name="connsiteY50" fmla="*/ 6989 h 9723"/>
              <a:gd name="connsiteX51" fmla="*/ 6998 w 10000"/>
              <a:gd name="connsiteY51" fmla="*/ 7043 h 9723"/>
              <a:gd name="connsiteX52" fmla="*/ 7230 w 10000"/>
              <a:gd name="connsiteY52" fmla="*/ 7023 h 9723"/>
              <a:gd name="connsiteX53" fmla="*/ 7295 w 10000"/>
              <a:gd name="connsiteY53" fmla="*/ 6949 h 9723"/>
              <a:gd name="connsiteX54" fmla="*/ 7074 w 10000"/>
              <a:gd name="connsiteY54" fmla="*/ 6806 h 9723"/>
              <a:gd name="connsiteX55" fmla="*/ 6414 w 10000"/>
              <a:gd name="connsiteY55" fmla="*/ 6711 h 9723"/>
              <a:gd name="connsiteX56" fmla="*/ 6458 w 10000"/>
              <a:gd name="connsiteY56" fmla="*/ 6668 h 9723"/>
              <a:gd name="connsiteX57" fmla="*/ 6998 w 10000"/>
              <a:gd name="connsiteY57" fmla="*/ 6638 h 9723"/>
              <a:gd name="connsiteX58" fmla="*/ 7295 w 10000"/>
              <a:gd name="connsiteY58" fmla="*/ 6724 h 9723"/>
              <a:gd name="connsiteX59" fmla="*/ 7466 w 10000"/>
              <a:gd name="connsiteY59" fmla="*/ 6668 h 9723"/>
              <a:gd name="connsiteX60" fmla="*/ 7529 w 10000"/>
              <a:gd name="connsiteY60" fmla="*/ 6520 h 9723"/>
              <a:gd name="connsiteX61" fmla="*/ 7840 w 10000"/>
              <a:gd name="connsiteY61" fmla="*/ 6520 h 9723"/>
              <a:gd name="connsiteX62" fmla="*/ 8261 w 10000"/>
              <a:gd name="connsiteY62" fmla="*/ 6219 h 9723"/>
              <a:gd name="connsiteX63" fmla="*/ 8275 w 10000"/>
              <a:gd name="connsiteY63" fmla="*/ 6019 h 9723"/>
              <a:gd name="connsiteX64" fmla="*/ 8453 w 10000"/>
              <a:gd name="connsiteY64" fmla="*/ 6064 h 9723"/>
              <a:gd name="connsiteX65" fmla="*/ 8446 w 10000"/>
              <a:gd name="connsiteY65" fmla="*/ 6266 h 9723"/>
              <a:gd name="connsiteX66" fmla="*/ 8727 w 10000"/>
              <a:gd name="connsiteY66" fmla="*/ 6251 h 9723"/>
              <a:gd name="connsiteX67" fmla="*/ 8913 w 10000"/>
              <a:gd name="connsiteY67" fmla="*/ 6043 h 9723"/>
              <a:gd name="connsiteX68" fmla="*/ 9258 w 10000"/>
              <a:gd name="connsiteY68" fmla="*/ 5856 h 9723"/>
              <a:gd name="connsiteX69" fmla="*/ 9203 w 10000"/>
              <a:gd name="connsiteY69" fmla="*/ 5644 h 9723"/>
              <a:gd name="connsiteX70" fmla="*/ 9306 w 10000"/>
              <a:gd name="connsiteY70" fmla="*/ 5730 h 9723"/>
              <a:gd name="connsiteX71" fmla="*/ 9464 w 10000"/>
              <a:gd name="connsiteY71" fmla="*/ 5730 h 9723"/>
              <a:gd name="connsiteX72" fmla="*/ 9464 w 10000"/>
              <a:gd name="connsiteY72" fmla="*/ 5630 h 9723"/>
              <a:gd name="connsiteX73" fmla="*/ 9611 w 10000"/>
              <a:gd name="connsiteY73" fmla="*/ 5558 h 9723"/>
              <a:gd name="connsiteX74" fmla="*/ 9592 w 10000"/>
              <a:gd name="connsiteY74" fmla="*/ 5481 h 9723"/>
              <a:gd name="connsiteX75" fmla="*/ 8350 w 10000"/>
              <a:gd name="connsiteY75" fmla="*/ 5632 h 9723"/>
              <a:gd name="connsiteX76" fmla="*/ 8058 w 10000"/>
              <a:gd name="connsiteY76" fmla="*/ 5590 h 9723"/>
              <a:gd name="connsiteX77" fmla="*/ 7942 w 10000"/>
              <a:gd name="connsiteY77" fmla="*/ 5644 h 9723"/>
              <a:gd name="connsiteX78" fmla="*/ 7903 w 10000"/>
              <a:gd name="connsiteY78" fmla="*/ 5537 h 9723"/>
              <a:gd name="connsiteX79" fmla="*/ 7765 w 10000"/>
              <a:gd name="connsiteY79" fmla="*/ 5443 h 9723"/>
              <a:gd name="connsiteX80" fmla="*/ 7213 w 10000"/>
              <a:gd name="connsiteY80" fmla="*/ 5249 h 9723"/>
              <a:gd name="connsiteX81" fmla="*/ 6887 w 10000"/>
              <a:gd name="connsiteY81" fmla="*/ 5282 h 9723"/>
              <a:gd name="connsiteX82" fmla="*/ 6757 w 10000"/>
              <a:gd name="connsiteY82" fmla="*/ 5227 h 9723"/>
              <a:gd name="connsiteX83" fmla="*/ 6894 w 10000"/>
              <a:gd name="connsiteY83" fmla="*/ 5180 h 9723"/>
              <a:gd name="connsiteX84" fmla="*/ 6998 w 10000"/>
              <a:gd name="connsiteY84" fmla="*/ 5078 h 9723"/>
              <a:gd name="connsiteX85" fmla="*/ 7152 w 10000"/>
              <a:gd name="connsiteY85" fmla="*/ 5110 h 9723"/>
              <a:gd name="connsiteX86" fmla="*/ 7335 w 10000"/>
              <a:gd name="connsiteY86" fmla="*/ 5085 h 9723"/>
              <a:gd name="connsiteX87" fmla="*/ 7611 w 10000"/>
              <a:gd name="connsiteY87" fmla="*/ 5118 h 9723"/>
              <a:gd name="connsiteX88" fmla="*/ 7645 w 10000"/>
              <a:gd name="connsiteY88" fmla="*/ 5104 h 9723"/>
              <a:gd name="connsiteX89" fmla="*/ 7859 w 10000"/>
              <a:gd name="connsiteY89" fmla="*/ 5259 h 9723"/>
              <a:gd name="connsiteX90" fmla="*/ 8017 w 10000"/>
              <a:gd name="connsiteY90" fmla="*/ 5201 h 9723"/>
              <a:gd name="connsiteX91" fmla="*/ 8032 w 10000"/>
              <a:gd name="connsiteY91" fmla="*/ 5148 h 9723"/>
              <a:gd name="connsiteX92" fmla="*/ 8176 w 10000"/>
              <a:gd name="connsiteY92" fmla="*/ 5241 h 9723"/>
              <a:gd name="connsiteX93" fmla="*/ 8369 w 10000"/>
              <a:gd name="connsiteY93" fmla="*/ 5291 h 9723"/>
              <a:gd name="connsiteX94" fmla="*/ 8446 w 10000"/>
              <a:gd name="connsiteY94" fmla="*/ 5199 h 9723"/>
              <a:gd name="connsiteX95" fmla="*/ 8507 w 10000"/>
              <a:gd name="connsiteY95" fmla="*/ 5249 h 9723"/>
              <a:gd name="connsiteX96" fmla="*/ 8596 w 10000"/>
              <a:gd name="connsiteY96" fmla="*/ 5430 h 9723"/>
              <a:gd name="connsiteX97" fmla="*/ 8782 w 10000"/>
              <a:gd name="connsiteY97" fmla="*/ 5470 h 9723"/>
              <a:gd name="connsiteX98" fmla="*/ 9542 w 10000"/>
              <a:gd name="connsiteY98" fmla="*/ 5208 h 9723"/>
              <a:gd name="connsiteX99" fmla="*/ 9914 w 10000"/>
              <a:gd name="connsiteY99" fmla="*/ 4838 h 9723"/>
              <a:gd name="connsiteX100" fmla="*/ 10000 w 10000"/>
              <a:gd name="connsiteY100" fmla="*/ 4574 h 9723"/>
              <a:gd name="connsiteX101" fmla="*/ 9866 w 10000"/>
              <a:gd name="connsiteY101" fmla="*/ 4330 h 9723"/>
              <a:gd name="connsiteX102" fmla="*/ 9582 w 10000"/>
              <a:gd name="connsiteY102" fmla="*/ 4188 h 9723"/>
              <a:gd name="connsiteX103" fmla="*/ 9382 w 10000"/>
              <a:gd name="connsiteY103" fmla="*/ 3948 h 9723"/>
              <a:gd name="connsiteX104" fmla="*/ 9569 w 10000"/>
              <a:gd name="connsiteY104" fmla="*/ 3941 h 9723"/>
              <a:gd name="connsiteX105" fmla="*/ 9555 w 10000"/>
              <a:gd name="connsiteY105" fmla="*/ 3886 h 9723"/>
              <a:gd name="connsiteX106" fmla="*/ 9068 w 10000"/>
              <a:gd name="connsiteY106" fmla="*/ 3720 h 9723"/>
              <a:gd name="connsiteX107" fmla="*/ 9047 w 10000"/>
              <a:gd name="connsiteY107" fmla="*/ 3566 h 9723"/>
              <a:gd name="connsiteX108" fmla="*/ 8953 w 10000"/>
              <a:gd name="connsiteY108" fmla="*/ 3406 h 9723"/>
              <a:gd name="connsiteX109" fmla="*/ 8569 w 10000"/>
              <a:gd name="connsiteY109" fmla="*/ 3436 h 9723"/>
              <a:gd name="connsiteX110" fmla="*/ 8431 w 10000"/>
              <a:gd name="connsiteY110" fmla="*/ 3265 h 9723"/>
              <a:gd name="connsiteX111" fmla="*/ 8350 w 10000"/>
              <a:gd name="connsiteY111" fmla="*/ 3254 h 9723"/>
              <a:gd name="connsiteX112" fmla="*/ 8350 w 10000"/>
              <a:gd name="connsiteY112" fmla="*/ 3331 h 9723"/>
              <a:gd name="connsiteX113" fmla="*/ 8176 w 10000"/>
              <a:gd name="connsiteY113" fmla="*/ 3613 h 9723"/>
              <a:gd name="connsiteX114" fmla="*/ 7990 w 10000"/>
              <a:gd name="connsiteY114" fmla="*/ 3783 h 9723"/>
              <a:gd name="connsiteX115" fmla="*/ 7401 w 10000"/>
              <a:gd name="connsiteY115" fmla="*/ 4066 h 9723"/>
              <a:gd name="connsiteX116" fmla="*/ 7198 w 10000"/>
              <a:gd name="connsiteY116" fmla="*/ 4058 h 9723"/>
              <a:gd name="connsiteX117" fmla="*/ 6915 w 10000"/>
              <a:gd name="connsiteY117" fmla="*/ 4101 h 9723"/>
              <a:gd name="connsiteX118" fmla="*/ 6757 w 10000"/>
              <a:gd name="connsiteY118" fmla="*/ 4058 h 9723"/>
              <a:gd name="connsiteX119" fmla="*/ 6965 w 10000"/>
              <a:gd name="connsiteY119" fmla="*/ 3976 h 9723"/>
              <a:gd name="connsiteX120" fmla="*/ 7235 w 10000"/>
              <a:gd name="connsiteY120" fmla="*/ 3941 h 9723"/>
              <a:gd name="connsiteX121" fmla="*/ 7455 w 10000"/>
              <a:gd name="connsiteY121" fmla="*/ 3809 h 9723"/>
              <a:gd name="connsiteX122" fmla="*/ 7674 w 10000"/>
              <a:gd name="connsiteY122" fmla="*/ 3746 h 9723"/>
              <a:gd name="connsiteX123" fmla="*/ 8082 w 10000"/>
              <a:gd name="connsiteY123" fmla="*/ 3512 h 9723"/>
              <a:gd name="connsiteX124" fmla="*/ 8157 w 10000"/>
              <a:gd name="connsiteY124" fmla="*/ 3359 h 9723"/>
              <a:gd name="connsiteX125" fmla="*/ 8165 w 10000"/>
              <a:gd name="connsiteY125" fmla="*/ 3163 h 9723"/>
              <a:gd name="connsiteX126" fmla="*/ 7978 w 10000"/>
              <a:gd name="connsiteY126" fmla="*/ 3129 h 9723"/>
              <a:gd name="connsiteX127" fmla="*/ 8058 w 10000"/>
              <a:gd name="connsiteY127" fmla="*/ 3009 h 9723"/>
              <a:gd name="connsiteX128" fmla="*/ 8087 w 10000"/>
              <a:gd name="connsiteY128" fmla="*/ 2856 h 9723"/>
              <a:gd name="connsiteX129" fmla="*/ 8007 w 10000"/>
              <a:gd name="connsiteY129" fmla="*/ 2714 h 9723"/>
              <a:gd name="connsiteX130" fmla="*/ 7450 w 10000"/>
              <a:gd name="connsiteY130" fmla="*/ 2910 h 9723"/>
              <a:gd name="connsiteX131" fmla="*/ 6694 w 10000"/>
              <a:gd name="connsiteY131" fmla="*/ 2823 h 9723"/>
              <a:gd name="connsiteX132" fmla="*/ 6304 w 10000"/>
              <a:gd name="connsiteY132" fmla="*/ 2276 h 9723"/>
              <a:gd name="connsiteX133" fmla="*/ 5294 w 10000"/>
              <a:gd name="connsiteY133" fmla="*/ 2173 h 9723"/>
              <a:gd name="connsiteX134" fmla="*/ 4505 w 10000"/>
              <a:gd name="connsiteY134" fmla="*/ 1721 h 9723"/>
              <a:gd name="connsiteX135" fmla="*/ 3730 w 10000"/>
              <a:gd name="connsiteY135" fmla="*/ 1176 h 9723"/>
              <a:gd name="connsiteX136" fmla="*/ 3154 w 10000"/>
              <a:gd name="connsiteY136" fmla="*/ 173 h 9723"/>
              <a:gd name="connsiteX137" fmla="*/ 2375 w 10000"/>
              <a:gd name="connsiteY137" fmla="*/ 0 h 9723"/>
              <a:gd name="connsiteX138" fmla="*/ 2226 w 10000"/>
              <a:gd name="connsiteY138" fmla="*/ 941 h 9723"/>
              <a:gd name="connsiteX139" fmla="*/ 2375 w 10000"/>
              <a:gd name="connsiteY139" fmla="*/ 1181 h 9723"/>
              <a:gd name="connsiteX140" fmla="*/ 2791 w 10000"/>
              <a:gd name="connsiteY140" fmla="*/ 1446 h 9723"/>
              <a:gd name="connsiteX141" fmla="*/ 2808 w 10000"/>
              <a:gd name="connsiteY141" fmla="*/ 1767 h 9723"/>
              <a:gd name="connsiteX142" fmla="*/ 2632 w 10000"/>
              <a:gd name="connsiteY142" fmla="*/ 2035 h 9723"/>
              <a:gd name="connsiteX143" fmla="*/ 2375 w 10000"/>
              <a:gd name="connsiteY143" fmla="*/ 2196 h 9723"/>
              <a:gd name="connsiteX144" fmla="*/ 2039 w 10000"/>
              <a:gd name="connsiteY144" fmla="*/ 2260 h 9723"/>
              <a:gd name="connsiteX145" fmla="*/ 1950 w 10000"/>
              <a:gd name="connsiteY145" fmla="*/ 2357 h 9723"/>
              <a:gd name="connsiteX146" fmla="*/ 2148 w 10000"/>
              <a:gd name="connsiteY146" fmla="*/ 2577 h 9723"/>
              <a:gd name="connsiteX147" fmla="*/ 2261 w 10000"/>
              <a:gd name="connsiteY147" fmla="*/ 3104 h 9723"/>
              <a:gd name="connsiteX148" fmla="*/ 2005 w 10000"/>
              <a:gd name="connsiteY148" fmla="*/ 3555 h 9723"/>
              <a:gd name="connsiteX149" fmla="*/ 2094 w 10000"/>
              <a:gd name="connsiteY149" fmla="*/ 3692 h 9723"/>
              <a:gd name="connsiteX150" fmla="*/ 2012 w 10000"/>
              <a:gd name="connsiteY150" fmla="*/ 3926 h 9723"/>
              <a:gd name="connsiteX151" fmla="*/ 1850 w 10000"/>
              <a:gd name="connsiteY151" fmla="*/ 4089 h 9723"/>
              <a:gd name="connsiteX152" fmla="*/ 1199 w 10000"/>
              <a:gd name="connsiteY152" fmla="*/ 4215 h 9723"/>
              <a:gd name="connsiteX153" fmla="*/ 1158 w 10000"/>
              <a:gd name="connsiteY153" fmla="*/ 4432 h 9723"/>
              <a:gd name="connsiteX154" fmla="*/ 808 w 10000"/>
              <a:gd name="connsiteY154" fmla="*/ 4754 h 9723"/>
              <a:gd name="connsiteX155" fmla="*/ 854 w 10000"/>
              <a:gd name="connsiteY155" fmla="*/ 5224 h 9723"/>
              <a:gd name="connsiteX156" fmla="*/ 560 w 10000"/>
              <a:gd name="connsiteY156" fmla="*/ 5822 h 9723"/>
              <a:gd name="connsiteX157" fmla="*/ 358 w 10000"/>
              <a:gd name="connsiteY157" fmla="*/ 5891 h 9723"/>
              <a:gd name="connsiteX158" fmla="*/ 275 w 10000"/>
              <a:gd name="connsiteY158" fmla="*/ 5749 h 9723"/>
              <a:gd name="connsiteX159" fmla="*/ 174 w 10000"/>
              <a:gd name="connsiteY159" fmla="*/ 5964 h 9723"/>
              <a:gd name="connsiteX160" fmla="*/ 239 w 10000"/>
              <a:gd name="connsiteY160" fmla="*/ 5592 h 9723"/>
              <a:gd name="connsiteX161" fmla="*/ 197 w 10000"/>
              <a:gd name="connsiteY161" fmla="*/ 5523 h 9723"/>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361 w 10000"/>
              <a:gd name="connsiteY26" fmla="*/ 9921 h 10000"/>
              <a:gd name="connsiteX27" fmla="*/ 2400 w 10000"/>
              <a:gd name="connsiteY27" fmla="*/ 9328 h 10000"/>
              <a:gd name="connsiteX28" fmla="*/ 3729 w 10000"/>
              <a:gd name="connsiteY28" fmla="*/ 9898 h 10000"/>
              <a:gd name="connsiteX29" fmla="*/ 3743 w 10000"/>
              <a:gd name="connsiteY29" fmla="*/ 9492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252 w 10000"/>
              <a:gd name="connsiteY26" fmla="*/ 9787 h 10000"/>
              <a:gd name="connsiteX27" fmla="*/ 2400 w 10000"/>
              <a:gd name="connsiteY27" fmla="*/ 9328 h 10000"/>
              <a:gd name="connsiteX28" fmla="*/ 3729 w 10000"/>
              <a:gd name="connsiteY28" fmla="*/ 9898 h 10000"/>
              <a:gd name="connsiteX29" fmla="*/ 3743 w 10000"/>
              <a:gd name="connsiteY29" fmla="*/ 9492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252 w 10000"/>
              <a:gd name="connsiteY26" fmla="*/ 9787 h 10000"/>
              <a:gd name="connsiteX27" fmla="*/ 2712 w 10000"/>
              <a:gd name="connsiteY27" fmla="*/ 9539 h 10000"/>
              <a:gd name="connsiteX28" fmla="*/ 3729 w 10000"/>
              <a:gd name="connsiteY28" fmla="*/ 9898 h 10000"/>
              <a:gd name="connsiteX29" fmla="*/ 3743 w 10000"/>
              <a:gd name="connsiteY29" fmla="*/ 9492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252 w 10000"/>
              <a:gd name="connsiteY26" fmla="*/ 9787 h 10000"/>
              <a:gd name="connsiteX27" fmla="*/ 2467 w 10000"/>
              <a:gd name="connsiteY27" fmla="*/ 9458 h 10000"/>
              <a:gd name="connsiteX28" fmla="*/ 3729 w 10000"/>
              <a:gd name="connsiteY28" fmla="*/ 9898 h 10000"/>
              <a:gd name="connsiteX29" fmla="*/ 3743 w 10000"/>
              <a:gd name="connsiteY29" fmla="*/ 9492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252 w 10000"/>
              <a:gd name="connsiteY26" fmla="*/ 9787 h 10000"/>
              <a:gd name="connsiteX27" fmla="*/ 2467 w 10000"/>
              <a:gd name="connsiteY27" fmla="*/ 9458 h 10000"/>
              <a:gd name="connsiteX28" fmla="*/ 3729 w 10000"/>
              <a:gd name="connsiteY28" fmla="*/ 9898 h 10000"/>
              <a:gd name="connsiteX29" fmla="*/ 4039 w 10000"/>
              <a:gd name="connsiteY29" fmla="*/ 9514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000" h="10000">
                <a:moveTo>
                  <a:pt x="197" y="5680"/>
                </a:moveTo>
                <a:lnTo>
                  <a:pt x="0" y="5880"/>
                </a:lnTo>
                <a:lnTo>
                  <a:pt x="0" y="6858"/>
                </a:lnTo>
                <a:cubicBezTo>
                  <a:pt x="36" y="6867"/>
                  <a:pt x="73" y="6875"/>
                  <a:pt x="109" y="6884"/>
                </a:cubicBezTo>
                <a:cubicBezTo>
                  <a:pt x="121" y="6907"/>
                  <a:pt x="127" y="6938"/>
                  <a:pt x="134" y="6962"/>
                </a:cubicBezTo>
                <a:cubicBezTo>
                  <a:pt x="133" y="7003"/>
                  <a:pt x="131" y="7049"/>
                  <a:pt x="130" y="7093"/>
                </a:cubicBezTo>
                <a:cubicBezTo>
                  <a:pt x="116" y="7114"/>
                  <a:pt x="104" y="7134"/>
                  <a:pt x="89" y="7151"/>
                </a:cubicBezTo>
                <a:cubicBezTo>
                  <a:pt x="143" y="7114"/>
                  <a:pt x="200" y="7076"/>
                  <a:pt x="255" y="7037"/>
                </a:cubicBezTo>
                <a:cubicBezTo>
                  <a:pt x="277" y="7002"/>
                  <a:pt x="303" y="6967"/>
                  <a:pt x="325" y="6929"/>
                </a:cubicBezTo>
                <a:cubicBezTo>
                  <a:pt x="354" y="6953"/>
                  <a:pt x="384" y="6978"/>
                  <a:pt x="413" y="7003"/>
                </a:cubicBezTo>
                <a:cubicBezTo>
                  <a:pt x="381" y="7061"/>
                  <a:pt x="348" y="7111"/>
                  <a:pt x="316" y="7163"/>
                </a:cubicBezTo>
                <a:cubicBezTo>
                  <a:pt x="350" y="7165"/>
                  <a:pt x="385" y="7166"/>
                  <a:pt x="419" y="7168"/>
                </a:cubicBezTo>
                <a:cubicBezTo>
                  <a:pt x="435" y="7180"/>
                  <a:pt x="451" y="7194"/>
                  <a:pt x="469" y="7208"/>
                </a:cubicBezTo>
                <a:cubicBezTo>
                  <a:pt x="424" y="7221"/>
                  <a:pt x="381" y="7241"/>
                  <a:pt x="337" y="7260"/>
                </a:cubicBezTo>
                <a:cubicBezTo>
                  <a:pt x="269" y="7321"/>
                  <a:pt x="197" y="7368"/>
                  <a:pt x="130" y="7426"/>
                </a:cubicBezTo>
                <a:lnTo>
                  <a:pt x="497" y="7554"/>
                </a:lnTo>
                <a:cubicBezTo>
                  <a:pt x="514" y="7614"/>
                  <a:pt x="529" y="7675"/>
                  <a:pt x="545" y="7736"/>
                </a:cubicBezTo>
                <a:cubicBezTo>
                  <a:pt x="503" y="7828"/>
                  <a:pt x="462" y="7918"/>
                  <a:pt x="419" y="8007"/>
                </a:cubicBezTo>
                <a:lnTo>
                  <a:pt x="688" y="7991"/>
                </a:lnTo>
                <a:cubicBezTo>
                  <a:pt x="696" y="8057"/>
                  <a:pt x="704" y="8127"/>
                  <a:pt x="709" y="8192"/>
                </a:cubicBezTo>
                <a:lnTo>
                  <a:pt x="530" y="8336"/>
                </a:lnTo>
                <a:cubicBezTo>
                  <a:pt x="541" y="8425"/>
                  <a:pt x="549" y="8509"/>
                  <a:pt x="560" y="8600"/>
                </a:cubicBezTo>
                <a:cubicBezTo>
                  <a:pt x="535" y="8675"/>
                  <a:pt x="514" y="8741"/>
                  <a:pt x="489" y="8812"/>
                </a:cubicBezTo>
                <a:lnTo>
                  <a:pt x="703" y="8832"/>
                </a:lnTo>
                <a:cubicBezTo>
                  <a:pt x="773" y="9093"/>
                  <a:pt x="922" y="9682"/>
                  <a:pt x="992" y="9954"/>
                </a:cubicBezTo>
                <a:lnTo>
                  <a:pt x="1653" y="9589"/>
                </a:lnTo>
                <a:lnTo>
                  <a:pt x="2252" y="9787"/>
                </a:lnTo>
                <a:cubicBezTo>
                  <a:pt x="2265" y="9589"/>
                  <a:pt x="2454" y="9656"/>
                  <a:pt x="2467" y="9458"/>
                </a:cubicBezTo>
                <a:lnTo>
                  <a:pt x="3729" y="9898"/>
                </a:lnTo>
                <a:cubicBezTo>
                  <a:pt x="3734" y="9762"/>
                  <a:pt x="4034" y="9650"/>
                  <a:pt x="4039" y="9514"/>
                </a:cubicBezTo>
                <a:lnTo>
                  <a:pt x="5433" y="9620"/>
                </a:lnTo>
                <a:lnTo>
                  <a:pt x="6373" y="10000"/>
                </a:lnTo>
                <a:cubicBezTo>
                  <a:pt x="6429" y="9713"/>
                  <a:pt x="6532" y="9713"/>
                  <a:pt x="6586" y="9430"/>
                </a:cubicBezTo>
                <a:lnTo>
                  <a:pt x="6855" y="9052"/>
                </a:lnTo>
                <a:lnTo>
                  <a:pt x="6855" y="8848"/>
                </a:lnTo>
                <a:cubicBezTo>
                  <a:pt x="6823" y="8812"/>
                  <a:pt x="6790" y="8778"/>
                  <a:pt x="6757" y="8739"/>
                </a:cubicBezTo>
                <a:cubicBezTo>
                  <a:pt x="6811" y="8678"/>
                  <a:pt x="6861" y="8618"/>
                  <a:pt x="6915" y="8555"/>
                </a:cubicBezTo>
                <a:cubicBezTo>
                  <a:pt x="6907" y="8507"/>
                  <a:pt x="6895" y="8453"/>
                  <a:pt x="6887" y="8408"/>
                </a:cubicBezTo>
                <a:cubicBezTo>
                  <a:pt x="6850" y="8361"/>
                  <a:pt x="6815" y="8324"/>
                  <a:pt x="6779" y="8282"/>
                </a:cubicBezTo>
                <a:cubicBezTo>
                  <a:pt x="6774" y="8244"/>
                  <a:pt x="6766" y="8216"/>
                  <a:pt x="6757" y="8183"/>
                </a:cubicBezTo>
                <a:cubicBezTo>
                  <a:pt x="6769" y="8160"/>
                  <a:pt x="6777" y="8134"/>
                  <a:pt x="6785" y="8111"/>
                </a:cubicBezTo>
                <a:lnTo>
                  <a:pt x="6931" y="8168"/>
                </a:lnTo>
                <a:lnTo>
                  <a:pt x="7045" y="8165"/>
                </a:lnTo>
                <a:cubicBezTo>
                  <a:pt x="7025" y="8125"/>
                  <a:pt x="7003" y="8085"/>
                  <a:pt x="6983" y="8045"/>
                </a:cubicBezTo>
                <a:cubicBezTo>
                  <a:pt x="6989" y="8022"/>
                  <a:pt x="6998" y="7998"/>
                  <a:pt x="7003" y="7973"/>
                </a:cubicBezTo>
                <a:cubicBezTo>
                  <a:pt x="7032" y="7940"/>
                  <a:pt x="7060" y="7904"/>
                  <a:pt x="7089" y="7871"/>
                </a:cubicBezTo>
                <a:cubicBezTo>
                  <a:pt x="7085" y="7843"/>
                  <a:pt x="7080" y="7818"/>
                  <a:pt x="7074" y="7786"/>
                </a:cubicBezTo>
                <a:cubicBezTo>
                  <a:pt x="7100" y="7693"/>
                  <a:pt x="7126" y="7595"/>
                  <a:pt x="7152" y="7503"/>
                </a:cubicBezTo>
                <a:cubicBezTo>
                  <a:pt x="7147" y="7474"/>
                  <a:pt x="7136" y="7445"/>
                  <a:pt x="7130" y="7414"/>
                </a:cubicBezTo>
                <a:lnTo>
                  <a:pt x="6729" y="7196"/>
                </a:lnTo>
                <a:cubicBezTo>
                  <a:pt x="6749" y="7194"/>
                  <a:pt x="6768" y="7189"/>
                  <a:pt x="6785" y="7188"/>
                </a:cubicBezTo>
                <a:lnTo>
                  <a:pt x="6998" y="7244"/>
                </a:lnTo>
                <a:lnTo>
                  <a:pt x="7230" y="7223"/>
                </a:lnTo>
                <a:cubicBezTo>
                  <a:pt x="7250" y="7198"/>
                  <a:pt x="7269" y="7170"/>
                  <a:pt x="7295" y="7147"/>
                </a:cubicBezTo>
                <a:lnTo>
                  <a:pt x="7074" y="7000"/>
                </a:lnTo>
                <a:lnTo>
                  <a:pt x="6414" y="6902"/>
                </a:lnTo>
                <a:cubicBezTo>
                  <a:pt x="6429" y="6888"/>
                  <a:pt x="6443" y="6872"/>
                  <a:pt x="6458" y="6858"/>
                </a:cubicBezTo>
                <a:lnTo>
                  <a:pt x="6998" y="6827"/>
                </a:lnTo>
                <a:lnTo>
                  <a:pt x="7295" y="6916"/>
                </a:lnTo>
                <a:lnTo>
                  <a:pt x="7466" y="6858"/>
                </a:lnTo>
                <a:cubicBezTo>
                  <a:pt x="7487" y="6808"/>
                  <a:pt x="7507" y="6753"/>
                  <a:pt x="7529" y="6706"/>
                </a:cubicBezTo>
                <a:lnTo>
                  <a:pt x="7840" y="6706"/>
                </a:lnTo>
                <a:lnTo>
                  <a:pt x="8261" y="6396"/>
                </a:lnTo>
                <a:cubicBezTo>
                  <a:pt x="8266" y="6327"/>
                  <a:pt x="8271" y="6257"/>
                  <a:pt x="8275" y="6190"/>
                </a:cubicBezTo>
                <a:lnTo>
                  <a:pt x="8453" y="6237"/>
                </a:lnTo>
                <a:cubicBezTo>
                  <a:pt x="8452" y="6306"/>
                  <a:pt x="8448" y="6373"/>
                  <a:pt x="8446" y="6445"/>
                </a:cubicBezTo>
                <a:lnTo>
                  <a:pt x="8727" y="6429"/>
                </a:lnTo>
                <a:cubicBezTo>
                  <a:pt x="8790" y="6359"/>
                  <a:pt x="8850" y="6288"/>
                  <a:pt x="8913" y="6215"/>
                </a:cubicBezTo>
                <a:lnTo>
                  <a:pt x="9258" y="6023"/>
                </a:lnTo>
                <a:cubicBezTo>
                  <a:pt x="9242" y="5957"/>
                  <a:pt x="9218" y="5881"/>
                  <a:pt x="9203" y="5805"/>
                </a:cubicBezTo>
                <a:cubicBezTo>
                  <a:pt x="9240" y="5839"/>
                  <a:pt x="9272" y="5862"/>
                  <a:pt x="9306" y="5893"/>
                </a:cubicBezTo>
                <a:lnTo>
                  <a:pt x="9464" y="5893"/>
                </a:lnTo>
                <a:lnTo>
                  <a:pt x="9464" y="5790"/>
                </a:lnTo>
                <a:lnTo>
                  <a:pt x="9611" y="5716"/>
                </a:lnTo>
                <a:cubicBezTo>
                  <a:pt x="9604" y="5687"/>
                  <a:pt x="9597" y="5664"/>
                  <a:pt x="9592" y="5637"/>
                </a:cubicBezTo>
                <a:lnTo>
                  <a:pt x="8350" y="5792"/>
                </a:lnTo>
                <a:lnTo>
                  <a:pt x="8058" y="5749"/>
                </a:lnTo>
                <a:cubicBezTo>
                  <a:pt x="8019" y="5768"/>
                  <a:pt x="7981" y="5787"/>
                  <a:pt x="7942" y="5805"/>
                </a:cubicBezTo>
                <a:cubicBezTo>
                  <a:pt x="7930" y="5772"/>
                  <a:pt x="7914" y="5732"/>
                  <a:pt x="7903" y="5695"/>
                </a:cubicBezTo>
                <a:lnTo>
                  <a:pt x="7765" y="5598"/>
                </a:lnTo>
                <a:lnTo>
                  <a:pt x="7213" y="5399"/>
                </a:lnTo>
                <a:lnTo>
                  <a:pt x="6887" y="5432"/>
                </a:lnTo>
                <a:cubicBezTo>
                  <a:pt x="6844" y="5413"/>
                  <a:pt x="6800" y="5395"/>
                  <a:pt x="6757" y="5376"/>
                </a:cubicBezTo>
                <a:cubicBezTo>
                  <a:pt x="6801" y="5359"/>
                  <a:pt x="6849" y="5341"/>
                  <a:pt x="6894" y="5328"/>
                </a:cubicBezTo>
                <a:cubicBezTo>
                  <a:pt x="6931" y="5293"/>
                  <a:pt x="6965" y="5256"/>
                  <a:pt x="6998" y="5223"/>
                </a:cubicBezTo>
                <a:lnTo>
                  <a:pt x="7152" y="5256"/>
                </a:lnTo>
                <a:lnTo>
                  <a:pt x="7335" y="5230"/>
                </a:lnTo>
                <a:lnTo>
                  <a:pt x="7611" y="5264"/>
                </a:lnTo>
                <a:cubicBezTo>
                  <a:pt x="7621" y="5256"/>
                  <a:pt x="7634" y="5251"/>
                  <a:pt x="7645" y="5249"/>
                </a:cubicBezTo>
                <a:lnTo>
                  <a:pt x="7859" y="5409"/>
                </a:lnTo>
                <a:lnTo>
                  <a:pt x="8017" y="5349"/>
                </a:lnTo>
                <a:cubicBezTo>
                  <a:pt x="8023" y="5334"/>
                  <a:pt x="8027" y="5314"/>
                  <a:pt x="8032" y="5295"/>
                </a:cubicBezTo>
                <a:cubicBezTo>
                  <a:pt x="8079" y="5329"/>
                  <a:pt x="8129" y="5359"/>
                  <a:pt x="8176" y="5390"/>
                </a:cubicBezTo>
                <a:lnTo>
                  <a:pt x="8369" y="5442"/>
                </a:lnTo>
                <a:cubicBezTo>
                  <a:pt x="8398" y="5409"/>
                  <a:pt x="8419" y="5379"/>
                  <a:pt x="8446" y="5347"/>
                </a:cubicBezTo>
                <a:cubicBezTo>
                  <a:pt x="8467" y="5363"/>
                  <a:pt x="8485" y="5381"/>
                  <a:pt x="8507" y="5399"/>
                </a:cubicBezTo>
                <a:cubicBezTo>
                  <a:pt x="8537" y="5461"/>
                  <a:pt x="8568" y="5520"/>
                  <a:pt x="8596" y="5585"/>
                </a:cubicBezTo>
                <a:lnTo>
                  <a:pt x="8782" y="5626"/>
                </a:lnTo>
                <a:lnTo>
                  <a:pt x="9542" y="5356"/>
                </a:lnTo>
                <a:lnTo>
                  <a:pt x="9914" y="4976"/>
                </a:lnTo>
                <a:cubicBezTo>
                  <a:pt x="9939" y="4887"/>
                  <a:pt x="9971" y="4797"/>
                  <a:pt x="10000" y="4704"/>
                </a:cubicBezTo>
                <a:cubicBezTo>
                  <a:pt x="9957" y="4623"/>
                  <a:pt x="9911" y="4536"/>
                  <a:pt x="9866" y="4453"/>
                </a:cubicBezTo>
                <a:lnTo>
                  <a:pt x="9582" y="4307"/>
                </a:lnTo>
                <a:cubicBezTo>
                  <a:pt x="9514" y="4226"/>
                  <a:pt x="9449" y="4146"/>
                  <a:pt x="9382" y="4060"/>
                </a:cubicBezTo>
                <a:lnTo>
                  <a:pt x="9569" y="4053"/>
                </a:lnTo>
                <a:cubicBezTo>
                  <a:pt x="9564" y="4034"/>
                  <a:pt x="9559" y="4016"/>
                  <a:pt x="9555" y="3997"/>
                </a:cubicBezTo>
                <a:lnTo>
                  <a:pt x="9068" y="3826"/>
                </a:lnTo>
                <a:cubicBezTo>
                  <a:pt x="9060" y="3772"/>
                  <a:pt x="9054" y="3721"/>
                  <a:pt x="9047" y="3668"/>
                </a:cubicBezTo>
                <a:cubicBezTo>
                  <a:pt x="9016" y="3612"/>
                  <a:pt x="8985" y="3555"/>
                  <a:pt x="8953" y="3503"/>
                </a:cubicBezTo>
                <a:lnTo>
                  <a:pt x="8569" y="3534"/>
                </a:lnTo>
                <a:cubicBezTo>
                  <a:pt x="8524" y="3477"/>
                  <a:pt x="8476" y="3420"/>
                  <a:pt x="8431" y="3358"/>
                </a:cubicBezTo>
                <a:cubicBezTo>
                  <a:pt x="8404" y="3353"/>
                  <a:pt x="8377" y="3351"/>
                  <a:pt x="8350" y="3347"/>
                </a:cubicBezTo>
                <a:lnTo>
                  <a:pt x="8350" y="3426"/>
                </a:lnTo>
                <a:lnTo>
                  <a:pt x="8176" y="3716"/>
                </a:lnTo>
                <a:cubicBezTo>
                  <a:pt x="8116" y="3772"/>
                  <a:pt x="8050" y="3831"/>
                  <a:pt x="7990" y="3891"/>
                </a:cubicBezTo>
                <a:lnTo>
                  <a:pt x="7401" y="4182"/>
                </a:lnTo>
                <a:lnTo>
                  <a:pt x="7198" y="4174"/>
                </a:lnTo>
                <a:lnTo>
                  <a:pt x="6915" y="4218"/>
                </a:lnTo>
                <a:lnTo>
                  <a:pt x="6757" y="4174"/>
                </a:lnTo>
                <a:lnTo>
                  <a:pt x="6965" y="4089"/>
                </a:lnTo>
                <a:lnTo>
                  <a:pt x="7235" y="4053"/>
                </a:lnTo>
                <a:lnTo>
                  <a:pt x="7455" y="3918"/>
                </a:lnTo>
                <a:lnTo>
                  <a:pt x="7674" y="3853"/>
                </a:lnTo>
                <a:lnTo>
                  <a:pt x="8082" y="3612"/>
                </a:lnTo>
                <a:cubicBezTo>
                  <a:pt x="8106" y="3557"/>
                  <a:pt x="8132" y="3508"/>
                  <a:pt x="8157" y="3455"/>
                </a:cubicBezTo>
                <a:cubicBezTo>
                  <a:pt x="8159" y="3390"/>
                  <a:pt x="8163" y="3320"/>
                  <a:pt x="8165" y="3253"/>
                </a:cubicBezTo>
                <a:lnTo>
                  <a:pt x="7978" y="3218"/>
                </a:lnTo>
                <a:cubicBezTo>
                  <a:pt x="8002" y="3180"/>
                  <a:pt x="8033" y="3141"/>
                  <a:pt x="8058" y="3095"/>
                </a:cubicBezTo>
                <a:cubicBezTo>
                  <a:pt x="8069" y="3039"/>
                  <a:pt x="8079" y="2994"/>
                  <a:pt x="8087" y="2937"/>
                </a:cubicBezTo>
                <a:cubicBezTo>
                  <a:pt x="8060" y="2888"/>
                  <a:pt x="8038" y="2837"/>
                  <a:pt x="8007" y="2791"/>
                </a:cubicBezTo>
                <a:lnTo>
                  <a:pt x="7450" y="2993"/>
                </a:lnTo>
                <a:lnTo>
                  <a:pt x="6694" y="2903"/>
                </a:lnTo>
                <a:cubicBezTo>
                  <a:pt x="6608" y="2708"/>
                  <a:pt x="6390" y="2535"/>
                  <a:pt x="6304" y="2341"/>
                </a:cubicBezTo>
                <a:lnTo>
                  <a:pt x="5294" y="2235"/>
                </a:lnTo>
                <a:lnTo>
                  <a:pt x="4505" y="1770"/>
                </a:lnTo>
                <a:lnTo>
                  <a:pt x="3730" y="1210"/>
                </a:lnTo>
                <a:lnTo>
                  <a:pt x="3154" y="178"/>
                </a:lnTo>
                <a:lnTo>
                  <a:pt x="2375" y="0"/>
                </a:lnTo>
                <a:cubicBezTo>
                  <a:pt x="2328" y="318"/>
                  <a:pt x="2278" y="642"/>
                  <a:pt x="2226" y="968"/>
                </a:cubicBezTo>
                <a:cubicBezTo>
                  <a:pt x="2275" y="1052"/>
                  <a:pt x="2326" y="1130"/>
                  <a:pt x="2375" y="1215"/>
                </a:cubicBezTo>
                <a:lnTo>
                  <a:pt x="2791" y="1487"/>
                </a:lnTo>
                <a:cubicBezTo>
                  <a:pt x="2796" y="1599"/>
                  <a:pt x="2803" y="1707"/>
                  <a:pt x="2808" y="1817"/>
                </a:cubicBezTo>
                <a:cubicBezTo>
                  <a:pt x="2748" y="1911"/>
                  <a:pt x="2696" y="2002"/>
                  <a:pt x="2632" y="2093"/>
                </a:cubicBezTo>
                <a:lnTo>
                  <a:pt x="2375" y="2259"/>
                </a:lnTo>
                <a:lnTo>
                  <a:pt x="2039" y="2324"/>
                </a:lnTo>
                <a:cubicBezTo>
                  <a:pt x="2010" y="2357"/>
                  <a:pt x="1983" y="2386"/>
                  <a:pt x="1950" y="2424"/>
                </a:cubicBezTo>
                <a:cubicBezTo>
                  <a:pt x="2017" y="2496"/>
                  <a:pt x="2081" y="2575"/>
                  <a:pt x="2148" y="2650"/>
                </a:cubicBezTo>
                <a:cubicBezTo>
                  <a:pt x="2184" y="2828"/>
                  <a:pt x="2225" y="3010"/>
                  <a:pt x="2261" y="3192"/>
                </a:cubicBezTo>
                <a:cubicBezTo>
                  <a:pt x="2176" y="3347"/>
                  <a:pt x="2090" y="3501"/>
                  <a:pt x="2005" y="3656"/>
                </a:cubicBezTo>
                <a:cubicBezTo>
                  <a:pt x="2033" y="3699"/>
                  <a:pt x="2063" y="3744"/>
                  <a:pt x="2094" y="3797"/>
                </a:cubicBezTo>
                <a:cubicBezTo>
                  <a:pt x="2066" y="3879"/>
                  <a:pt x="2039" y="3963"/>
                  <a:pt x="2012" y="4038"/>
                </a:cubicBezTo>
                <a:lnTo>
                  <a:pt x="1850" y="4205"/>
                </a:lnTo>
                <a:lnTo>
                  <a:pt x="1199" y="4335"/>
                </a:lnTo>
                <a:cubicBezTo>
                  <a:pt x="1183" y="4411"/>
                  <a:pt x="1171" y="4481"/>
                  <a:pt x="1158" y="4558"/>
                </a:cubicBezTo>
                <a:lnTo>
                  <a:pt x="808" y="4889"/>
                </a:lnTo>
                <a:cubicBezTo>
                  <a:pt x="822" y="5052"/>
                  <a:pt x="838" y="5211"/>
                  <a:pt x="854" y="5373"/>
                </a:cubicBezTo>
                <a:lnTo>
                  <a:pt x="560" y="5988"/>
                </a:lnTo>
                <a:lnTo>
                  <a:pt x="358" y="6059"/>
                </a:lnTo>
                <a:cubicBezTo>
                  <a:pt x="329" y="6009"/>
                  <a:pt x="303" y="5962"/>
                  <a:pt x="275" y="5913"/>
                </a:cubicBezTo>
                <a:cubicBezTo>
                  <a:pt x="241" y="5988"/>
                  <a:pt x="205" y="6059"/>
                  <a:pt x="174" y="6134"/>
                </a:cubicBezTo>
                <a:cubicBezTo>
                  <a:pt x="193" y="6008"/>
                  <a:pt x="222" y="5881"/>
                  <a:pt x="239" y="5751"/>
                </a:cubicBezTo>
                <a:cubicBezTo>
                  <a:pt x="228" y="5729"/>
                  <a:pt x="215" y="5705"/>
                  <a:pt x="197" y="5680"/>
                </a:cubicBezTo>
              </a:path>
            </a:pathLst>
          </a:custGeom>
          <a:solidFill>
            <a:srgbClr val="00A194"/>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17" name="Freihandform: Form 16">
            <a:extLst>
              <a:ext uri="{FF2B5EF4-FFF2-40B4-BE49-F238E27FC236}">
                <a16:creationId xmlns:a16="http://schemas.microsoft.com/office/drawing/2014/main" id="{2018CE2F-70DF-17FC-A84F-3BE665BF10C0}"/>
              </a:ext>
            </a:extLst>
          </p:cNvPr>
          <p:cNvSpPr/>
          <p:nvPr/>
        </p:nvSpPr>
        <p:spPr>
          <a:xfrm>
            <a:off x="9334972" y="2318140"/>
            <a:ext cx="428993" cy="259556"/>
          </a:xfrm>
          <a:custGeom>
            <a:avLst/>
            <a:gdLst>
              <a:gd name="connsiteX0" fmla="*/ 83625 w 428993"/>
              <a:gd name="connsiteY0" fmla="*/ 38100 h 259556"/>
              <a:gd name="connsiteX1" fmla="*/ 90769 w 428993"/>
              <a:gd name="connsiteY1" fmla="*/ 26193 h 259556"/>
              <a:gd name="connsiteX2" fmla="*/ 81244 w 428993"/>
              <a:gd name="connsiteY2" fmla="*/ 23812 h 259556"/>
              <a:gd name="connsiteX3" fmla="*/ 71719 w 428993"/>
              <a:gd name="connsiteY3" fmla="*/ 19050 h 259556"/>
              <a:gd name="connsiteX4" fmla="*/ 57432 w 428993"/>
              <a:gd name="connsiteY4" fmla="*/ 21431 h 259556"/>
              <a:gd name="connsiteX5" fmla="*/ 282 w 428993"/>
              <a:gd name="connsiteY5" fmla="*/ 26193 h 259556"/>
              <a:gd name="connsiteX6" fmla="*/ 7425 w 428993"/>
              <a:gd name="connsiteY6" fmla="*/ 30956 h 259556"/>
              <a:gd name="connsiteX7" fmla="*/ 282 w 428993"/>
              <a:gd name="connsiteY7" fmla="*/ 28575 h 259556"/>
              <a:gd name="connsiteX8" fmla="*/ 2663 w 428993"/>
              <a:gd name="connsiteY8" fmla="*/ 21431 h 259556"/>
              <a:gd name="connsiteX9" fmla="*/ 14569 w 428993"/>
              <a:gd name="connsiteY9" fmla="*/ 2381 h 259556"/>
              <a:gd name="connsiteX10" fmla="*/ 64575 w 428993"/>
              <a:gd name="connsiteY10" fmla="*/ 0 h 259556"/>
              <a:gd name="connsiteX11" fmla="*/ 159825 w 428993"/>
              <a:gd name="connsiteY11" fmla="*/ 2381 h 259556"/>
              <a:gd name="connsiteX12" fmla="*/ 169350 w 428993"/>
              <a:gd name="connsiteY12" fmla="*/ 4762 h 259556"/>
              <a:gd name="connsiteX13" fmla="*/ 195544 w 428993"/>
              <a:gd name="connsiteY13" fmla="*/ 9525 h 259556"/>
              <a:gd name="connsiteX14" fmla="*/ 319369 w 428993"/>
              <a:gd name="connsiteY14" fmla="*/ 11906 h 259556"/>
              <a:gd name="connsiteX15" fmla="*/ 426525 w 428993"/>
              <a:gd name="connsiteY15" fmla="*/ 61912 h 259556"/>
              <a:gd name="connsiteX16" fmla="*/ 428907 w 428993"/>
              <a:gd name="connsiteY16" fmla="*/ 69056 h 259556"/>
              <a:gd name="connsiteX17" fmla="*/ 424144 w 428993"/>
              <a:gd name="connsiteY17" fmla="*/ 80962 h 259556"/>
              <a:gd name="connsiteX18" fmla="*/ 421763 w 428993"/>
              <a:gd name="connsiteY18" fmla="*/ 100012 h 259556"/>
              <a:gd name="connsiteX19" fmla="*/ 407475 w 428993"/>
              <a:gd name="connsiteY19" fmla="*/ 104775 h 259556"/>
              <a:gd name="connsiteX20" fmla="*/ 405094 w 428993"/>
              <a:gd name="connsiteY20" fmla="*/ 111918 h 259556"/>
              <a:gd name="connsiteX21" fmla="*/ 374138 w 428993"/>
              <a:gd name="connsiteY21" fmla="*/ 109537 h 259556"/>
              <a:gd name="connsiteX22" fmla="*/ 359850 w 428993"/>
              <a:gd name="connsiteY22" fmla="*/ 109537 h 259556"/>
              <a:gd name="connsiteX23" fmla="*/ 357469 w 428993"/>
              <a:gd name="connsiteY23" fmla="*/ 119062 h 259556"/>
              <a:gd name="connsiteX24" fmla="*/ 336038 w 428993"/>
              <a:gd name="connsiteY24" fmla="*/ 135731 h 259556"/>
              <a:gd name="connsiteX25" fmla="*/ 328894 w 428993"/>
              <a:gd name="connsiteY25" fmla="*/ 145256 h 259556"/>
              <a:gd name="connsiteX26" fmla="*/ 314607 w 428993"/>
              <a:gd name="connsiteY26" fmla="*/ 152400 h 259556"/>
              <a:gd name="connsiteX27" fmla="*/ 312225 w 428993"/>
              <a:gd name="connsiteY27" fmla="*/ 171450 h 259556"/>
              <a:gd name="connsiteX28" fmla="*/ 297938 w 428993"/>
              <a:gd name="connsiteY28" fmla="*/ 183356 h 259556"/>
              <a:gd name="connsiteX29" fmla="*/ 288413 w 428993"/>
              <a:gd name="connsiteY29" fmla="*/ 188118 h 259556"/>
              <a:gd name="connsiteX30" fmla="*/ 278888 w 428993"/>
              <a:gd name="connsiteY30" fmla="*/ 195262 h 259556"/>
              <a:gd name="connsiteX31" fmla="*/ 262219 w 428993"/>
              <a:gd name="connsiteY31" fmla="*/ 207168 h 259556"/>
              <a:gd name="connsiteX32" fmla="*/ 259838 w 428993"/>
              <a:gd name="connsiteY32" fmla="*/ 216693 h 259556"/>
              <a:gd name="connsiteX33" fmla="*/ 245550 w 428993"/>
              <a:gd name="connsiteY33" fmla="*/ 228600 h 259556"/>
              <a:gd name="connsiteX34" fmla="*/ 224119 w 428993"/>
              <a:gd name="connsiteY34" fmla="*/ 242887 h 259556"/>
              <a:gd name="connsiteX35" fmla="*/ 209832 w 428993"/>
              <a:gd name="connsiteY35" fmla="*/ 235743 h 259556"/>
              <a:gd name="connsiteX36" fmla="*/ 200307 w 428993"/>
              <a:gd name="connsiteY36" fmla="*/ 242887 h 259556"/>
              <a:gd name="connsiteX37" fmla="*/ 171732 w 428993"/>
              <a:gd name="connsiteY37" fmla="*/ 259556 h 259556"/>
              <a:gd name="connsiteX38" fmla="*/ 150300 w 428993"/>
              <a:gd name="connsiteY38" fmla="*/ 238125 h 259556"/>
              <a:gd name="connsiteX39" fmla="*/ 143157 w 428993"/>
              <a:gd name="connsiteY39" fmla="*/ 235743 h 259556"/>
              <a:gd name="connsiteX40" fmla="*/ 107438 w 428993"/>
              <a:gd name="connsiteY40" fmla="*/ 233362 h 259556"/>
              <a:gd name="connsiteX41" fmla="*/ 109819 w 428993"/>
              <a:gd name="connsiteY41" fmla="*/ 209550 h 259556"/>
              <a:gd name="connsiteX42" fmla="*/ 74100 w 428993"/>
              <a:gd name="connsiteY42" fmla="*/ 192881 h 259556"/>
              <a:gd name="connsiteX43" fmla="*/ 78863 w 428993"/>
              <a:gd name="connsiteY43" fmla="*/ 204787 h 259556"/>
              <a:gd name="connsiteX44" fmla="*/ 81244 w 428993"/>
              <a:gd name="connsiteY44" fmla="*/ 211931 h 259556"/>
              <a:gd name="connsiteX45" fmla="*/ 74100 w 428993"/>
              <a:gd name="connsiteY45" fmla="*/ 219075 h 259556"/>
              <a:gd name="connsiteX46" fmla="*/ 62194 w 428993"/>
              <a:gd name="connsiteY46" fmla="*/ 204787 h 259556"/>
              <a:gd name="connsiteX47" fmla="*/ 55050 w 428993"/>
              <a:gd name="connsiteY47" fmla="*/ 195262 h 259556"/>
              <a:gd name="connsiteX48" fmla="*/ 40763 w 428993"/>
              <a:gd name="connsiteY48" fmla="*/ 180975 h 259556"/>
              <a:gd name="connsiteX49" fmla="*/ 33619 w 428993"/>
              <a:gd name="connsiteY49" fmla="*/ 166687 h 259556"/>
              <a:gd name="connsiteX50" fmla="*/ 26475 w 428993"/>
              <a:gd name="connsiteY50" fmla="*/ 159543 h 259556"/>
              <a:gd name="connsiteX51" fmla="*/ 16950 w 428993"/>
              <a:gd name="connsiteY51" fmla="*/ 145256 h 259556"/>
              <a:gd name="connsiteX52" fmla="*/ 14569 w 428993"/>
              <a:gd name="connsiteY52" fmla="*/ 138112 h 259556"/>
              <a:gd name="connsiteX53" fmla="*/ 50288 w 428993"/>
              <a:gd name="connsiteY53" fmla="*/ 121443 h 259556"/>
              <a:gd name="connsiteX54" fmla="*/ 57432 w 428993"/>
              <a:gd name="connsiteY54" fmla="*/ 92868 h 259556"/>
              <a:gd name="connsiteX55" fmla="*/ 64575 w 428993"/>
              <a:gd name="connsiteY55" fmla="*/ 88106 h 259556"/>
              <a:gd name="connsiteX56" fmla="*/ 71719 w 428993"/>
              <a:gd name="connsiteY56" fmla="*/ 71437 h 259556"/>
              <a:gd name="connsiteX57" fmla="*/ 81244 w 428993"/>
              <a:gd name="connsiteY57" fmla="*/ 59531 h 259556"/>
              <a:gd name="connsiteX58" fmla="*/ 90769 w 428993"/>
              <a:gd name="connsiteY58" fmla="*/ 50006 h 259556"/>
              <a:gd name="connsiteX59" fmla="*/ 95532 w 428993"/>
              <a:gd name="connsiteY59" fmla="*/ 40481 h 259556"/>
              <a:gd name="connsiteX60" fmla="*/ 97913 w 428993"/>
              <a:gd name="connsiteY60" fmla="*/ 33337 h 259556"/>
              <a:gd name="connsiteX61" fmla="*/ 90769 w 428993"/>
              <a:gd name="connsiteY61" fmla="*/ 38100 h 259556"/>
              <a:gd name="connsiteX62" fmla="*/ 83625 w 428993"/>
              <a:gd name="connsiteY62" fmla="*/ 38100 h 259556"/>
              <a:gd name="connsiteX0" fmla="*/ 83625 w 428993"/>
              <a:gd name="connsiteY0" fmla="*/ 38100 h 259556"/>
              <a:gd name="connsiteX1" fmla="*/ 90769 w 428993"/>
              <a:gd name="connsiteY1" fmla="*/ 26193 h 259556"/>
              <a:gd name="connsiteX2" fmla="*/ 81244 w 428993"/>
              <a:gd name="connsiteY2" fmla="*/ 23812 h 259556"/>
              <a:gd name="connsiteX3" fmla="*/ 71719 w 428993"/>
              <a:gd name="connsiteY3" fmla="*/ 19050 h 259556"/>
              <a:gd name="connsiteX4" fmla="*/ 57432 w 428993"/>
              <a:gd name="connsiteY4" fmla="*/ 21431 h 259556"/>
              <a:gd name="connsiteX5" fmla="*/ 282 w 428993"/>
              <a:gd name="connsiteY5" fmla="*/ 26193 h 259556"/>
              <a:gd name="connsiteX6" fmla="*/ 7425 w 428993"/>
              <a:gd name="connsiteY6" fmla="*/ 30956 h 259556"/>
              <a:gd name="connsiteX7" fmla="*/ 282 w 428993"/>
              <a:gd name="connsiteY7" fmla="*/ 28575 h 259556"/>
              <a:gd name="connsiteX8" fmla="*/ 2663 w 428993"/>
              <a:gd name="connsiteY8" fmla="*/ 21431 h 259556"/>
              <a:gd name="connsiteX9" fmla="*/ 14569 w 428993"/>
              <a:gd name="connsiteY9" fmla="*/ 2381 h 259556"/>
              <a:gd name="connsiteX10" fmla="*/ 64575 w 428993"/>
              <a:gd name="connsiteY10" fmla="*/ 0 h 259556"/>
              <a:gd name="connsiteX11" fmla="*/ 159825 w 428993"/>
              <a:gd name="connsiteY11" fmla="*/ 2381 h 259556"/>
              <a:gd name="connsiteX12" fmla="*/ 169350 w 428993"/>
              <a:gd name="connsiteY12" fmla="*/ 4762 h 259556"/>
              <a:gd name="connsiteX13" fmla="*/ 195544 w 428993"/>
              <a:gd name="connsiteY13" fmla="*/ 9525 h 259556"/>
              <a:gd name="connsiteX14" fmla="*/ 319369 w 428993"/>
              <a:gd name="connsiteY14" fmla="*/ 11906 h 259556"/>
              <a:gd name="connsiteX15" fmla="*/ 426525 w 428993"/>
              <a:gd name="connsiteY15" fmla="*/ 61912 h 259556"/>
              <a:gd name="connsiteX16" fmla="*/ 428907 w 428993"/>
              <a:gd name="connsiteY16" fmla="*/ 69056 h 259556"/>
              <a:gd name="connsiteX17" fmla="*/ 424144 w 428993"/>
              <a:gd name="connsiteY17" fmla="*/ 80962 h 259556"/>
              <a:gd name="connsiteX18" fmla="*/ 421763 w 428993"/>
              <a:gd name="connsiteY18" fmla="*/ 100012 h 259556"/>
              <a:gd name="connsiteX19" fmla="*/ 407475 w 428993"/>
              <a:gd name="connsiteY19" fmla="*/ 104775 h 259556"/>
              <a:gd name="connsiteX20" fmla="*/ 405094 w 428993"/>
              <a:gd name="connsiteY20" fmla="*/ 111918 h 259556"/>
              <a:gd name="connsiteX21" fmla="*/ 374138 w 428993"/>
              <a:gd name="connsiteY21" fmla="*/ 109537 h 259556"/>
              <a:gd name="connsiteX22" fmla="*/ 359850 w 428993"/>
              <a:gd name="connsiteY22" fmla="*/ 109537 h 259556"/>
              <a:gd name="connsiteX23" fmla="*/ 357469 w 428993"/>
              <a:gd name="connsiteY23" fmla="*/ 119062 h 259556"/>
              <a:gd name="connsiteX24" fmla="*/ 336038 w 428993"/>
              <a:gd name="connsiteY24" fmla="*/ 135731 h 259556"/>
              <a:gd name="connsiteX25" fmla="*/ 328894 w 428993"/>
              <a:gd name="connsiteY25" fmla="*/ 145256 h 259556"/>
              <a:gd name="connsiteX26" fmla="*/ 314607 w 428993"/>
              <a:gd name="connsiteY26" fmla="*/ 152400 h 259556"/>
              <a:gd name="connsiteX27" fmla="*/ 312225 w 428993"/>
              <a:gd name="connsiteY27" fmla="*/ 171450 h 259556"/>
              <a:gd name="connsiteX28" fmla="*/ 297938 w 428993"/>
              <a:gd name="connsiteY28" fmla="*/ 183356 h 259556"/>
              <a:gd name="connsiteX29" fmla="*/ 288413 w 428993"/>
              <a:gd name="connsiteY29" fmla="*/ 188118 h 259556"/>
              <a:gd name="connsiteX30" fmla="*/ 278888 w 428993"/>
              <a:gd name="connsiteY30" fmla="*/ 195262 h 259556"/>
              <a:gd name="connsiteX31" fmla="*/ 262219 w 428993"/>
              <a:gd name="connsiteY31" fmla="*/ 207168 h 259556"/>
              <a:gd name="connsiteX32" fmla="*/ 259838 w 428993"/>
              <a:gd name="connsiteY32" fmla="*/ 216693 h 259556"/>
              <a:gd name="connsiteX33" fmla="*/ 245550 w 428993"/>
              <a:gd name="connsiteY33" fmla="*/ 228600 h 259556"/>
              <a:gd name="connsiteX34" fmla="*/ 224119 w 428993"/>
              <a:gd name="connsiteY34" fmla="*/ 242887 h 259556"/>
              <a:gd name="connsiteX35" fmla="*/ 209832 w 428993"/>
              <a:gd name="connsiteY35" fmla="*/ 235743 h 259556"/>
              <a:gd name="connsiteX36" fmla="*/ 200307 w 428993"/>
              <a:gd name="connsiteY36" fmla="*/ 242887 h 259556"/>
              <a:gd name="connsiteX37" fmla="*/ 171732 w 428993"/>
              <a:gd name="connsiteY37" fmla="*/ 259556 h 259556"/>
              <a:gd name="connsiteX38" fmla="*/ 150300 w 428993"/>
              <a:gd name="connsiteY38" fmla="*/ 238125 h 259556"/>
              <a:gd name="connsiteX39" fmla="*/ 143157 w 428993"/>
              <a:gd name="connsiteY39" fmla="*/ 235743 h 259556"/>
              <a:gd name="connsiteX40" fmla="*/ 107438 w 428993"/>
              <a:gd name="connsiteY40" fmla="*/ 233362 h 259556"/>
              <a:gd name="connsiteX41" fmla="*/ 109819 w 428993"/>
              <a:gd name="connsiteY41" fmla="*/ 209550 h 259556"/>
              <a:gd name="connsiteX42" fmla="*/ 74100 w 428993"/>
              <a:gd name="connsiteY42" fmla="*/ 192881 h 259556"/>
              <a:gd name="connsiteX43" fmla="*/ 78863 w 428993"/>
              <a:gd name="connsiteY43" fmla="*/ 204787 h 259556"/>
              <a:gd name="connsiteX44" fmla="*/ 81244 w 428993"/>
              <a:gd name="connsiteY44" fmla="*/ 211931 h 259556"/>
              <a:gd name="connsiteX45" fmla="*/ 74100 w 428993"/>
              <a:gd name="connsiteY45" fmla="*/ 219075 h 259556"/>
              <a:gd name="connsiteX46" fmla="*/ 76482 w 428993"/>
              <a:gd name="connsiteY46" fmla="*/ 214312 h 259556"/>
              <a:gd name="connsiteX47" fmla="*/ 55050 w 428993"/>
              <a:gd name="connsiteY47" fmla="*/ 195262 h 259556"/>
              <a:gd name="connsiteX48" fmla="*/ 40763 w 428993"/>
              <a:gd name="connsiteY48" fmla="*/ 180975 h 259556"/>
              <a:gd name="connsiteX49" fmla="*/ 33619 w 428993"/>
              <a:gd name="connsiteY49" fmla="*/ 166687 h 259556"/>
              <a:gd name="connsiteX50" fmla="*/ 26475 w 428993"/>
              <a:gd name="connsiteY50" fmla="*/ 159543 h 259556"/>
              <a:gd name="connsiteX51" fmla="*/ 16950 w 428993"/>
              <a:gd name="connsiteY51" fmla="*/ 145256 h 259556"/>
              <a:gd name="connsiteX52" fmla="*/ 14569 w 428993"/>
              <a:gd name="connsiteY52" fmla="*/ 138112 h 259556"/>
              <a:gd name="connsiteX53" fmla="*/ 50288 w 428993"/>
              <a:gd name="connsiteY53" fmla="*/ 121443 h 259556"/>
              <a:gd name="connsiteX54" fmla="*/ 57432 w 428993"/>
              <a:gd name="connsiteY54" fmla="*/ 92868 h 259556"/>
              <a:gd name="connsiteX55" fmla="*/ 64575 w 428993"/>
              <a:gd name="connsiteY55" fmla="*/ 88106 h 259556"/>
              <a:gd name="connsiteX56" fmla="*/ 71719 w 428993"/>
              <a:gd name="connsiteY56" fmla="*/ 71437 h 259556"/>
              <a:gd name="connsiteX57" fmla="*/ 81244 w 428993"/>
              <a:gd name="connsiteY57" fmla="*/ 59531 h 259556"/>
              <a:gd name="connsiteX58" fmla="*/ 90769 w 428993"/>
              <a:gd name="connsiteY58" fmla="*/ 50006 h 259556"/>
              <a:gd name="connsiteX59" fmla="*/ 95532 w 428993"/>
              <a:gd name="connsiteY59" fmla="*/ 40481 h 259556"/>
              <a:gd name="connsiteX60" fmla="*/ 97913 w 428993"/>
              <a:gd name="connsiteY60" fmla="*/ 33337 h 259556"/>
              <a:gd name="connsiteX61" fmla="*/ 90769 w 428993"/>
              <a:gd name="connsiteY61" fmla="*/ 38100 h 259556"/>
              <a:gd name="connsiteX62" fmla="*/ 83625 w 428993"/>
              <a:gd name="connsiteY62" fmla="*/ 3810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28993" h="259556">
                <a:moveTo>
                  <a:pt x="83625" y="38100"/>
                </a:moveTo>
                <a:cubicBezTo>
                  <a:pt x="83625" y="36116"/>
                  <a:pt x="91530" y="30759"/>
                  <a:pt x="90769" y="26193"/>
                </a:cubicBezTo>
                <a:cubicBezTo>
                  <a:pt x="90231" y="22965"/>
                  <a:pt x="84308" y="24961"/>
                  <a:pt x="81244" y="23812"/>
                </a:cubicBezTo>
                <a:cubicBezTo>
                  <a:pt x="77920" y="22566"/>
                  <a:pt x="74894" y="20637"/>
                  <a:pt x="71719" y="19050"/>
                </a:cubicBezTo>
                <a:cubicBezTo>
                  <a:pt x="66957" y="19844"/>
                  <a:pt x="62247" y="21074"/>
                  <a:pt x="57432" y="21431"/>
                </a:cubicBezTo>
                <a:cubicBezTo>
                  <a:pt x="-440" y="25717"/>
                  <a:pt x="24062" y="18266"/>
                  <a:pt x="282" y="26193"/>
                </a:cubicBezTo>
                <a:cubicBezTo>
                  <a:pt x="2663" y="27781"/>
                  <a:pt x="7425" y="28094"/>
                  <a:pt x="7425" y="30956"/>
                </a:cubicBezTo>
                <a:cubicBezTo>
                  <a:pt x="7425" y="33466"/>
                  <a:pt x="1404" y="30820"/>
                  <a:pt x="282" y="28575"/>
                </a:cubicBezTo>
                <a:cubicBezTo>
                  <a:pt x="-840" y="26330"/>
                  <a:pt x="1674" y="23738"/>
                  <a:pt x="2663" y="21431"/>
                </a:cubicBezTo>
                <a:cubicBezTo>
                  <a:pt x="3784" y="18815"/>
                  <a:pt x="11351" y="3052"/>
                  <a:pt x="14569" y="2381"/>
                </a:cubicBezTo>
                <a:cubicBezTo>
                  <a:pt x="30906" y="-1022"/>
                  <a:pt x="47906" y="794"/>
                  <a:pt x="64575" y="0"/>
                </a:cubicBezTo>
                <a:cubicBezTo>
                  <a:pt x="96325" y="794"/>
                  <a:pt x="128098" y="939"/>
                  <a:pt x="159825" y="2381"/>
                </a:cubicBezTo>
                <a:cubicBezTo>
                  <a:pt x="163094" y="2530"/>
                  <a:pt x="166141" y="4120"/>
                  <a:pt x="169350" y="4762"/>
                </a:cubicBezTo>
                <a:cubicBezTo>
                  <a:pt x="178052" y="6502"/>
                  <a:pt x="186680" y="9103"/>
                  <a:pt x="195544" y="9525"/>
                </a:cubicBezTo>
                <a:cubicBezTo>
                  <a:pt x="236780" y="11489"/>
                  <a:pt x="278094" y="11112"/>
                  <a:pt x="319369" y="11906"/>
                </a:cubicBezTo>
                <a:cubicBezTo>
                  <a:pt x="355088" y="28575"/>
                  <a:pt x="391579" y="43679"/>
                  <a:pt x="426525" y="61912"/>
                </a:cubicBezTo>
                <a:cubicBezTo>
                  <a:pt x="428751" y="63073"/>
                  <a:pt x="429218" y="66565"/>
                  <a:pt x="428907" y="69056"/>
                </a:cubicBezTo>
                <a:cubicBezTo>
                  <a:pt x="428377" y="73297"/>
                  <a:pt x="425732" y="76993"/>
                  <a:pt x="424144" y="80962"/>
                </a:cubicBezTo>
                <a:cubicBezTo>
                  <a:pt x="423350" y="87312"/>
                  <a:pt x="425433" y="94769"/>
                  <a:pt x="421763" y="100012"/>
                </a:cubicBezTo>
                <a:cubicBezTo>
                  <a:pt x="418884" y="104125"/>
                  <a:pt x="411560" y="101857"/>
                  <a:pt x="407475" y="104775"/>
                </a:cubicBezTo>
                <a:cubicBezTo>
                  <a:pt x="405433" y="106234"/>
                  <a:pt x="405888" y="109537"/>
                  <a:pt x="405094" y="111918"/>
                </a:cubicBezTo>
                <a:cubicBezTo>
                  <a:pt x="394775" y="111124"/>
                  <a:pt x="384407" y="110821"/>
                  <a:pt x="374138" y="109537"/>
                </a:cubicBezTo>
                <a:cubicBezTo>
                  <a:pt x="360283" y="107805"/>
                  <a:pt x="373705" y="104919"/>
                  <a:pt x="359850" y="109537"/>
                </a:cubicBezTo>
                <a:cubicBezTo>
                  <a:pt x="359056" y="112712"/>
                  <a:pt x="359670" y="116640"/>
                  <a:pt x="357469" y="119062"/>
                </a:cubicBezTo>
                <a:cubicBezTo>
                  <a:pt x="351381" y="125759"/>
                  <a:pt x="341468" y="128491"/>
                  <a:pt x="336038" y="135731"/>
                </a:cubicBezTo>
                <a:cubicBezTo>
                  <a:pt x="333657" y="138906"/>
                  <a:pt x="332027" y="142819"/>
                  <a:pt x="328894" y="145256"/>
                </a:cubicBezTo>
                <a:cubicBezTo>
                  <a:pt x="324691" y="148525"/>
                  <a:pt x="319369" y="150019"/>
                  <a:pt x="314607" y="152400"/>
                </a:cubicBezTo>
                <a:cubicBezTo>
                  <a:pt x="300111" y="174140"/>
                  <a:pt x="319873" y="140855"/>
                  <a:pt x="312225" y="171450"/>
                </a:cubicBezTo>
                <a:cubicBezTo>
                  <a:pt x="311404" y="174733"/>
                  <a:pt x="300790" y="181727"/>
                  <a:pt x="297938" y="183356"/>
                </a:cubicBezTo>
                <a:cubicBezTo>
                  <a:pt x="294856" y="185117"/>
                  <a:pt x="291423" y="186237"/>
                  <a:pt x="288413" y="188118"/>
                </a:cubicBezTo>
                <a:cubicBezTo>
                  <a:pt x="285047" y="190221"/>
                  <a:pt x="282117" y="192955"/>
                  <a:pt x="278888" y="195262"/>
                </a:cubicBezTo>
                <a:cubicBezTo>
                  <a:pt x="254473" y="212702"/>
                  <a:pt x="293403" y="183783"/>
                  <a:pt x="262219" y="207168"/>
                </a:cubicBezTo>
                <a:cubicBezTo>
                  <a:pt x="261425" y="210343"/>
                  <a:pt x="261462" y="213851"/>
                  <a:pt x="259838" y="216693"/>
                </a:cubicBezTo>
                <a:cubicBezTo>
                  <a:pt x="256044" y="223333"/>
                  <a:pt x="250929" y="224117"/>
                  <a:pt x="245550" y="228600"/>
                </a:cubicBezTo>
                <a:cubicBezTo>
                  <a:pt x="229188" y="242235"/>
                  <a:pt x="250043" y="229925"/>
                  <a:pt x="224119" y="242887"/>
                </a:cubicBezTo>
                <a:cubicBezTo>
                  <a:pt x="222195" y="241605"/>
                  <a:pt x="213280" y="234758"/>
                  <a:pt x="209832" y="235743"/>
                </a:cubicBezTo>
                <a:cubicBezTo>
                  <a:pt x="206016" y="236833"/>
                  <a:pt x="203735" y="240887"/>
                  <a:pt x="200307" y="242887"/>
                </a:cubicBezTo>
                <a:cubicBezTo>
                  <a:pt x="166407" y="262662"/>
                  <a:pt x="193253" y="243414"/>
                  <a:pt x="171732" y="259556"/>
                </a:cubicBezTo>
                <a:cubicBezTo>
                  <a:pt x="147527" y="249874"/>
                  <a:pt x="171462" y="262311"/>
                  <a:pt x="150300" y="238125"/>
                </a:cubicBezTo>
                <a:cubicBezTo>
                  <a:pt x="148647" y="236236"/>
                  <a:pt x="145652" y="236020"/>
                  <a:pt x="143157" y="235743"/>
                </a:cubicBezTo>
                <a:cubicBezTo>
                  <a:pt x="131297" y="234425"/>
                  <a:pt x="119344" y="234156"/>
                  <a:pt x="107438" y="233362"/>
                </a:cubicBezTo>
                <a:cubicBezTo>
                  <a:pt x="108232" y="225425"/>
                  <a:pt x="113192" y="216779"/>
                  <a:pt x="109819" y="209550"/>
                </a:cubicBezTo>
                <a:cubicBezTo>
                  <a:pt x="105443" y="200172"/>
                  <a:pt x="82865" y="195385"/>
                  <a:pt x="74100" y="192881"/>
                </a:cubicBezTo>
                <a:cubicBezTo>
                  <a:pt x="75688" y="196850"/>
                  <a:pt x="77362" y="200785"/>
                  <a:pt x="78863" y="204787"/>
                </a:cubicBezTo>
                <a:cubicBezTo>
                  <a:pt x="79744" y="207137"/>
                  <a:pt x="82038" y="209550"/>
                  <a:pt x="81244" y="211931"/>
                </a:cubicBezTo>
                <a:cubicBezTo>
                  <a:pt x="80179" y="215126"/>
                  <a:pt x="76481" y="216694"/>
                  <a:pt x="74100" y="219075"/>
                </a:cubicBezTo>
                <a:cubicBezTo>
                  <a:pt x="63578" y="203290"/>
                  <a:pt x="90230" y="230351"/>
                  <a:pt x="76482" y="214312"/>
                </a:cubicBezTo>
                <a:cubicBezTo>
                  <a:pt x="73899" y="211299"/>
                  <a:pt x="61003" y="200818"/>
                  <a:pt x="55050" y="195262"/>
                </a:cubicBezTo>
                <a:cubicBezTo>
                  <a:pt x="49097" y="189706"/>
                  <a:pt x="40763" y="180975"/>
                  <a:pt x="40763" y="180975"/>
                </a:cubicBezTo>
                <a:cubicBezTo>
                  <a:pt x="38382" y="176212"/>
                  <a:pt x="36573" y="171118"/>
                  <a:pt x="33619" y="166687"/>
                </a:cubicBezTo>
                <a:cubicBezTo>
                  <a:pt x="31751" y="163885"/>
                  <a:pt x="28543" y="162201"/>
                  <a:pt x="26475" y="159543"/>
                </a:cubicBezTo>
                <a:cubicBezTo>
                  <a:pt x="22961" y="155025"/>
                  <a:pt x="20125" y="150018"/>
                  <a:pt x="16950" y="145256"/>
                </a:cubicBezTo>
                <a:cubicBezTo>
                  <a:pt x="16156" y="142875"/>
                  <a:pt x="14569" y="140622"/>
                  <a:pt x="14569" y="138112"/>
                </a:cubicBezTo>
                <a:cubicBezTo>
                  <a:pt x="14569" y="113137"/>
                  <a:pt x="21855" y="123475"/>
                  <a:pt x="50288" y="121443"/>
                </a:cubicBezTo>
                <a:cubicBezTo>
                  <a:pt x="51612" y="109525"/>
                  <a:pt x="49229" y="101071"/>
                  <a:pt x="57432" y="92868"/>
                </a:cubicBezTo>
                <a:cubicBezTo>
                  <a:pt x="59455" y="90845"/>
                  <a:pt x="62194" y="89693"/>
                  <a:pt x="64575" y="88106"/>
                </a:cubicBezTo>
                <a:cubicBezTo>
                  <a:pt x="66691" y="81759"/>
                  <a:pt x="67798" y="77319"/>
                  <a:pt x="71719" y="71437"/>
                </a:cubicBezTo>
                <a:cubicBezTo>
                  <a:pt x="74538" y="67208"/>
                  <a:pt x="77867" y="63330"/>
                  <a:pt x="81244" y="59531"/>
                </a:cubicBezTo>
                <a:cubicBezTo>
                  <a:pt x="84227" y="56175"/>
                  <a:pt x="88075" y="53598"/>
                  <a:pt x="90769" y="50006"/>
                </a:cubicBezTo>
                <a:cubicBezTo>
                  <a:pt x="92899" y="47166"/>
                  <a:pt x="94134" y="43744"/>
                  <a:pt x="95532" y="40481"/>
                </a:cubicBezTo>
                <a:cubicBezTo>
                  <a:pt x="96521" y="38174"/>
                  <a:pt x="100158" y="34459"/>
                  <a:pt x="97913" y="33337"/>
                </a:cubicBezTo>
                <a:cubicBezTo>
                  <a:pt x="95353" y="32057"/>
                  <a:pt x="93150" y="36512"/>
                  <a:pt x="90769" y="38100"/>
                </a:cubicBezTo>
                <a:cubicBezTo>
                  <a:pt x="85567" y="45904"/>
                  <a:pt x="83625" y="40084"/>
                  <a:pt x="83625" y="38100"/>
                </a:cubicBezTo>
                <a:close/>
              </a:path>
            </a:pathLst>
          </a:custGeom>
          <a:solidFill>
            <a:srgbClr val="00A194"/>
          </a:solidFill>
          <a:ln w="12700">
            <a:solidFill>
              <a:schemeClr val="bg1"/>
            </a:solidFill>
            <a:round/>
            <a:headEnd/>
            <a:tailEnd/>
          </a:ln>
          <a:effectLst/>
        </p:spPr>
        <p:txBody>
          <a:bodyPr wrap="square"/>
          <a:lstStyle/>
          <a:p>
            <a:endParaRPr lang="en-US" sz="1100" i="1">
              <a:latin typeface="+mn-lt"/>
              <a:ea typeface="+mn-ea"/>
            </a:endParaRPr>
          </a:p>
        </p:txBody>
      </p:sp>
      <p:sp>
        <p:nvSpPr>
          <p:cNvPr id="18" name="PT">
            <a:extLst>
              <a:ext uri="{FF2B5EF4-FFF2-40B4-BE49-F238E27FC236}">
                <a16:creationId xmlns:a16="http://schemas.microsoft.com/office/drawing/2014/main" id="{2B0DDCCB-4C69-B03E-EA69-8650BB69DC25}"/>
              </a:ext>
            </a:extLst>
          </p:cNvPr>
          <p:cNvSpPr>
            <a:spLocks/>
          </p:cNvSpPr>
          <p:nvPr/>
        </p:nvSpPr>
        <p:spPr bwMode="auto">
          <a:xfrm rot="21143802">
            <a:off x="6984918" y="4904315"/>
            <a:ext cx="671723" cy="834918"/>
          </a:xfrm>
          <a:custGeom>
            <a:avLst/>
            <a:gdLst>
              <a:gd name="T0" fmla="*/ 2147483647 w 1252"/>
              <a:gd name="T1" fmla="*/ 2147483647 h 1779"/>
              <a:gd name="T2" fmla="*/ 2147483647 w 1252"/>
              <a:gd name="T3" fmla="*/ 2147483647 h 1779"/>
              <a:gd name="T4" fmla="*/ 2147483647 w 1252"/>
              <a:gd name="T5" fmla="*/ 2147483647 h 1779"/>
              <a:gd name="T6" fmla="*/ 2147483647 w 1252"/>
              <a:gd name="T7" fmla="*/ 2147483647 h 1779"/>
              <a:gd name="T8" fmla="*/ 2147483647 w 1252"/>
              <a:gd name="T9" fmla="*/ 2147483647 h 1779"/>
              <a:gd name="T10" fmla="*/ 2147483647 w 1252"/>
              <a:gd name="T11" fmla="*/ 2147483647 h 1779"/>
              <a:gd name="T12" fmla="*/ 2147483647 w 1252"/>
              <a:gd name="T13" fmla="*/ 0 h 1779"/>
              <a:gd name="T14" fmla="*/ 2147483647 w 1252"/>
              <a:gd name="T15" fmla="*/ 2147483647 h 1779"/>
              <a:gd name="T16" fmla="*/ 2147483647 w 1252"/>
              <a:gd name="T17" fmla="*/ 2147483647 h 1779"/>
              <a:gd name="T18" fmla="*/ 2147483647 w 1252"/>
              <a:gd name="T19" fmla="*/ 2147483647 h 1779"/>
              <a:gd name="T20" fmla="*/ 2147483647 w 1252"/>
              <a:gd name="T21" fmla="*/ 2147483647 h 1779"/>
              <a:gd name="T22" fmla="*/ 2147483647 w 1252"/>
              <a:gd name="T23" fmla="*/ 2147483647 h 1779"/>
              <a:gd name="T24" fmla="*/ 2147483647 w 1252"/>
              <a:gd name="T25" fmla="*/ 2147483647 h 1779"/>
              <a:gd name="T26" fmla="*/ 2147483647 w 1252"/>
              <a:gd name="T27" fmla="*/ 2147483647 h 1779"/>
              <a:gd name="T28" fmla="*/ 2147483647 w 1252"/>
              <a:gd name="T29" fmla="*/ 2147483647 h 1779"/>
              <a:gd name="T30" fmla="*/ 2147483647 w 1252"/>
              <a:gd name="T31" fmla="*/ 2147483647 h 1779"/>
              <a:gd name="T32" fmla="*/ 2147483647 w 1252"/>
              <a:gd name="T33" fmla="*/ 2147483647 h 1779"/>
              <a:gd name="T34" fmla="*/ 2147483647 w 1252"/>
              <a:gd name="T35" fmla="*/ 2147483647 h 1779"/>
              <a:gd name="T36" fmla="*/ 2147483647 w 1252"/>
              <a:gd name="T37" fmla="*/ 2147483647 h 1779"/>
              <a:gd name="T38" fmla="*/ 2147483647 w 1252"/>
              <a:gd name="T39" fmla="*/ 2147483647 h 1779"/>
              <a:gd name="T40" fmla="*/ 2147483647 w 1252"/>
              <a:gd name="T41" fmla="*/ 2147483647 h 1779"/>
              <a:gd name="T42" fmla="*/ 0 w 1252"/>
              <a:gd name="T43" fmla="*/ 2147483647 h 1779"/>
              <a:gd name="T44" fmla="*/ 2147483647 w 1252"/>
              <a:gd name="T45" fmla="*/ 2147483647 h 1779"/>
              <a:gd name="T46" fmla="*/ 2147483647 w 1252"/>
              <a:gd name="T47" fmla="*/ 2147483647 h 1779"/>
              <a:gd name="T48" fmla="*/ 2147483647 w 1252"/>
              <a:gd name="T49" fmla="*/ 2147483647 h 1779"/>
              <a:gd name="T50" fmla="*/ 2147483647 w 1252"/>
              <a:gd name="T51" fmla="*/ 2147483647 h 1779"/>
              <a:gd name="T52" fmla="*/ 2147483647 w 1252"/>
              <a:gd name="T53" fmla="*/ 2147483647 h 1779"/>
              <a:gd name="T54" fmla="*/ 2147483647 w 1252"/>
              <a:gd name="T55" fmla="*/ 2147483647 h 1779"/>
              <a:gd name="T56" fmla="*/ 2147483647 w 1252"/>
              <a:gd name="T57" fmla="*/ 2147483647 h 1779"/>
              <a:gd name="T58" fmla="*/ 2147483647 w 1252"/>
              <a:gd name="T59" fmla="*/ 2147483647 h 1779"/>
              <a:gd name="T60" fmla="*/ 2147483647 w 1252"/>
              <a:gd name="T61" fmla="*/ 2147483647 h 1779"/>
              <a:gd name="T62" fmla="*/ 2147483647 w 1252"/>
              <a:gd name="T63" fmla="*/ 2147483647 h 1779"/>
              <a:gd name="T64" fmla="*/ 2147483647 w 1252"/>
              <a:gd name="T65" fmla="*/ 2147483647 h 1779"/>
              <a:gd name="T66" fmla="*/ 2147483647 w 1252"/>
              <a:gd name="T67" fmla="*/ 2147483647 h 1779"/>
              <a:gd name="T68" fmla="*/ 2147483647 w 1252"/>
              <a:gd name="T69" fmla="*/ 2147483647 h 1779"/>
              <a:gd name="T70" fmla="*/ 2147483647 w 1252"/>
              <a:gd name="T71" fmla="*/ 2147483647 h 1779"/>
              <a:gd name="T72" fmla="*/ 2147483647 w 1252"/>
              <a:gd name="T73" fmla="*/ 2147483647 h 1779"/>
              <a:gd name="T74" fmla="*/ 2147483647 w 1252"/>
              <a:gd name="T75" fmla="*/ 2147483647 h 1779"/>
              <a:gd name="T76" fmla="*/ 2147483647 w 1252"/>
              <a:gd name="T77" fmla="*/ 2147483647 h 1779"/>
              <a:gd name="T78" fmla="*/ 2147483647 w 1252"/>
              <a:gd name="T79" fmla="*/ 2147483647 h 1779"/>
              <a:gd name="T80" fmla="*/ 2147483647 w 1252"/>
              <a:gd name="T81" fmla="*/ 2147483647 h 1779"/>
              <a:gd name="T82" fmla="*/ 2147483647 w 1252"/>
              <a:gd name="T83" fmla="*/ 2147483647 h 1779"/>
              <a:gd name="T84" fmla="*/ 2147483647 w 1252"/>
              <a:gd name="T85" fmla="*/ 2147483647 h 1779"/>
              <a:gd name="T86" fmla="*/ 2147483647 w 1252"/>
              <a:gd name="T87" fmla="*/ 2147483647 h 1779"/>
              <a:gd name="T88" fmla="*/ 2147483647 w 1252"/>
              <a:gd name="T89" fmla="*/ 2147483647 h 1779"/>
              <a:gd name="T90" fmla="*/ 2147483647 w 1252"/>
              <a:gd name="T91" fmla="*/ 2147483647 h 1779"/>
              <a:gd name="T92" fmla="*/ 2147483647 w 1252"/>
              <a:gd name="T93" fmla="*/ 2147483647 h 177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52"/>
              <a:gd name="T142" fmla="*/ 0 h 1779"/>
              <a:gd name="T143" fmla="*/ 1252 w 1252"/>
              <a:gd name="T144" fmla="*/ 1779 h 177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52" h="1779">
                <a:moveTo>
                  <a:pt x="1220" y="237"/>
                </a:moveTo>
                <a:lnTo>
                  <a:pt x="1073" y="164"/>
                </a:lnTo>
                <a:lnTo>
                  <a:pt x="1001" y="173"/>
                </a:lnTo>
                <a:lnTo>
                  <a:pt x="830" y="106"/>
                </a:lnTo>
                <a:lnTo>
                  <a:pt x="805" y="71"/>
                </a:lnTo>
                <a:lnTo>
                  <a:pt x="819" y="11"/>
                </a:lnTo>
                <a:lnTo>
                  <a:pt x="674" y="0"/>
                </a:lnTo>
                <a:lnTo>
                  <a:pt x="616" y="32"/>
                </a:lnTo>
                <a:lnTo>
                  <a:pt x="569" y="314"/>
                </a:lnTo>
                <a:lnTo>
                  <a:pt x="284" y="747"/>
                </a:lnTo>
                <a:lnTo>
                  <a:pt x="144" y="856"/>
                </a:lnTo>
                <a:lnTo>
                  <a:pt x="111" y="946"/>
                </a:lnTo>
                <a:lnTo>
                  <a:pt x="66" y="1008"/>
                </a:lnTo>
                <a:lnTo>
                  <a:pt x="64" y="1025"/>
                </a:lnTo>
                <a:lnTo>
                  <a:pt x="94" y="1068"/>
                </a:lnTo>
                <a:lnTo>
                  <a:pt x="114" y="1164"/>
                </a:lnTo>
                <a:lnTo>
                  <a:pt x="230" y="1178"/>
                </a:lnTo>
                <a:lnTo>
                  <a:pt x="219" y="1198"/>
                </a:lnTo>
                <a:lnTo>
                  <a:pt x="197" y="1214"/>
                </a:lnTo>
                <a:lnTo>
                  <a:pt x="97" y="1498"/>
                </a:lnTo>
                <a:lnTo>
                  <a:pt x="22" y="1593"/>
                </a:lnTo>
                <a:lnTo>
                  <a:pt x="0" y="1647"/>
                </a:lnTo>
                <a:lnTo>
                  <a:pt x="8" y="1672"/>
                </a:lnTo>
                <a:lnTo>
                  <a:pt x="69" y="1677"/>
                </a:lnTo>
                <a:lnTo>
                  <a:pt x="191" y="1727"/>
                </a:lnTo>
                <a:lnTo>
                  <a:pt x="232" y="1759"/>
                </a:lnTo>
                <a:lnTo>
                  <a:pt x="286" y="1779"/>
                </a:lnTo>
                <a:lnTo>
                  <a:pt x="430" y="1770"/>
                </a:lnTo>
                <a:lnTo>
                  <a:pt x="455" y="1621"/>
                </a:lnTo>
                <a:lnTo>
                  <a:pt x="647" y="1521"/>
                </a:lnTo>
                <a:lnTo>
                  <a:pt x="650" y="1459"/>
                </a:lnTo>
                <a:lnTo>
                  <a:pt x="622" y="1392"/>
                </a:lnTo>
                <a:lnTo>
                  <a:pt x="626" y="1319"/>
                </a:lnTo>
                <a:lnTo>
                  <a:pt x="652" y="1251"/>
                </a:lnTo>
                <a:lnTo>
                  <a:pt x="741" y="1165"/>
                </a:lnTo>
                <a:lnTo>
                  <a:pt x="709" y="1023"/>
                </a:lnTo>
                <a:lnTo>
                  <a:pt x="720" y="941"/>
                </a:lnTo>
                <a:lnTo>
                  <a:pt x="772" y="924"/>
                </a:lnTo>
                <a:lnTo>
                  <a:pt x="830" y="928"/>
                </a:lnTo>
                <a:lnTo>
                  <a:pt x="895" y="889"/>
                </a:lnTo>
                <a:lnTo>
                  <a:pt x="914" y="842"/>
                </a:lnTo>
                <a:lnTo>
                  <a:pt x="899" y="782"/>
                </a:lnTo>
                <a:lnTo>
                  <a:pt x="1042" y="509"/>
                </a:lnTo>
                <a:lnTo>
                  <a:pt x="1180" y="441"/>
                </a:lnTo>
                <a:lnTo>
                  <a:pt x="1239" y="388"/>
                </a:lnTo>
                <a:lnTo>
                  <a:pt x="1252" y="347"/>
                </a:lnTo>
                <a:lnTo>
                  <a:pt x="1220" y="237"/>
                </a:lnTo>
                <a:close/>
              </a:path>
            </a:pathLst>
          </a:custGeom>
          <a:solidFill>
            <a:srgbClr val="9C9C9C"/>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19" name="SK">
            <a:extLst>
              <a:ext uri="{FF2B5EF4-FFF2-40B4-BE49-F238E27FC236}">
                <a16:creationId xmlns:a16="http://schemas.microsoft.com/office/drawing/2014/main" id="{6C930813-2D9F-6816-7C65-1B8D16A8C243}"/>
              </a:ext>
            </a:extLst>
          </p:cNvPr>
          <p:cNvSpPr>
            <a:spLocks/>
          </p:cNvSpPr>
          <p:nvPr/>
        </p:nvSpPr>
        <p:spPr bwMode="auto">
          <a:xfrm rot="21249101">
            <a:off x="10438145" y="3986945"/>
            <a:ext cx="631097" cy="293812"/>
          </a:xfrm>
          <a:custGeom>
            <a:avLst/>
            <a:gdLst>
              <a:gd name="T0" fmla="*/ 2147483647 w 1324"/>
              <a:gd name="T1" fmla="*/ 2147483647 h 646"/>
              <a:gd name="T2" fmla="*/ 2147483647 w 1324"/>
              <a:gd name="T3" fmla="*/ 2147483647 h 646"/>
              <a:gd name="T4" fmla="*/ 2147483647 w 1324"/>
              <a:gd name="T5" fmla="*/ 2147483647 h 646"/>
              <a:gd name="T6" fmla="*/ 2147483647 w 1324"/>
              <a:gd name="T7" fmla="*/ 2147483647 h 646"/>
              <a:gd name="T8" fmla="*/ 2147483647 w 1324"/>
              <a:gd name="T9" fmla="*/ 2147483647 h 646"/>
              <a:gd name="T10" fmla="*/ 2147483647 w 1324"/>
              <a:gd name="T11" fmla="*/ 2147483647 h 646"/>
              <a:gd name="T12" fmla="*/ 2147483647 w 1324"/>
              <a:gd name="T13" fmla="*/ 2147483647 h 646"/>
              <a:gd name="T14" fmla="*/ 2147483647 w 1324"/>
              <a:gd name="T15" fmla="*/ 2147483647 h 646"/>
              <a:gd name="T16" fmla="*/ 2147483647 w 1324"/>
              <a:gd name="T17" fmla="*/ 2147483647 h 646"/>
              <a:gd name="T18" fmla="*/ 2147483647 w 1324"/>
              <a:gd name="T19" fmla="*/ 2147483647 h 646"/>
              <a:gd name="T20" fmla="*/ 2147483647 w 1324"/>
              <a:gd name="T21" fmla="*/ 2147483647 h 646"/>
              <a:gd name="T22" fmla="*/ 2147483647 w 1324"/>
              <a:gd name="T23" fmla="*/ 2147483647 h 646"/>
              <a:gd name="T24" fmla="*/ 2147483647 w 1324"/>
              <a:gd name="T25" fmla="*/ 2147483647 h 646"/>
              <a:gd name="T26" fmla="*/ 2147483647 w 1324"/>
              <a:gd name="T27" fmla="*/ 2147483647 h 646"/>
              <a:gd name="T28" fmla="*/ 0 w 1324"/>
              <a:gd name="T29" fmla="*/ 2147483647 h 646"/>
              <a:gd name="T30" fmla="*/ 2147483647 w 1324"/>
              <a:gd name="T31" fmla="*/ 2147483647 h 646"/>
              <a:gd name="T32" fmla="*/ 2147483647 w 1324"/>
              <a:gd name="T33" fmla="*/ 2147483647 h 646"/>
              <a:gd name="T34" fmla="*/ 2147483647 w 1324"/>
              <a:gd name="T35" fmla="*/ 2147483647 h 646"/>
              <a:gd name="T36" fmla="*/ 2147483647 w 1324"/>
              <a:gd name="T37" fmla="*/ 2147483647 h 646"/>
              <a:gd name="T38" fmla="*/ 2147483647 w 1324"/>
              <a:gd name="T39" fmla="*/ 2147483647 h 646"/>
              <a:gd name="T40" fmla="*/ 2147483647 w 1324"/>
              <a:gd name="T41" fmla="*/ 2147483647 h 646"/>
              <a:gd name="T42" fmla="*/ 2147483647 w 1324"/>
              <a:gd name="T43" fmla="*/ 2147483647 h 646"/>
              <a:gd name="T44" fmla="*/ 2147483647 w 1324"/>
              <a:gd name="T45" fmla="*/ 2147483647 h 646"/>
              <a:gd name="T46" fmla="*/ 2147483647 w 1324"/>
              <a:gd name="T47" fmla="*/ 2147483647 h 646"/>
              <a:gd name="T48" fmla="*/ 2147483647 w 1324"/>
              <a:gd name="T49" fmla="*/ 2147483647 h 646"/>
              <a:gd name="T50" fmla="*/ 2147483647 w 1324"/>
              <a:gd name="T51" fmla="*/ 2147483647 h 646"/>
              <a:gd name="T52" fmla="*/ 2147483647 w 1324"/>
              <a:gd name="T53" fmla="*/ 2147483647 h 646"/>
              <a:gd name="T54" fmla="*/ 2147483647 w 1324"/>
              <a:gd name="T55" fmla="*/ 2147483647 h 646"/>
              <a:gd name="T56" fmla="*/ 2147483647 w 1324"/>
              <a:gd name="T57" fmla="*/ 2147483647 h 646"/>
              <a:gd name="T58" fmla="*/ 2147483647 w 1324"/>
              <a:gd name="T59" fmla="*/ 2147483647 h 646"/>
              <a:gd name="T60" fmla="*/ 2147483647 w 1324"/>
              <a:gd name="T61" fmla="*/ 0 h 646"/>
              <a:gd name="T62" fmla="*/ 2147483647 w 1324"/>
              <a:gd name="T63" fmla="*/ 2147483647 h 646"/>
              <a:gd name="T64" fmla="*/ 2147483647 w 1324"/>
              <a:gd name="T65" fmla="*/ 2147483647 h 646"/>
              <a:gd name="T66" fmla="*/ 2147483647 w 1324"/>
              <a:gd name="T67" fmla="*/ 2147483647 h 646"/>
              <a:gd name="T68" fmla="*/ 2147483647 w 1324"/>
              <a:gd name="T69" fmla="*/ 2147483647 h 646"/>
              <a:gd name="T70" fmla="*/ 2147483647 w 1324"/>
              <a:gd name="T71" fmla="*/ 2147483647 h 646"/>
              <a:gd name="T72" fmla="*/ 2147483647 w 1324"/>
              <a:gd name="T73" fmla="*/ 2147483647 h 646"/>
              <a:gd name="T74" fmla="*/ 2147483647 w 1324"/>
              <a:gd name="T75" fmla="*/ 2147483647 h 646"/>
              <a:gd name="T76" fmla="*/ 2147483647 w 1324"/>
              <a:gd name="T77" fmla="*/ 2147483647 h 646"/>
              <a:gd name="T78" fmla="*/ 2147483647 w 1324"/>
              <a:gd name="T79" fmla="*/ 2147483647 h 646"/>
              <a:gd name="T80" fmla="*/ 2147483647 w 1324"/>
              <a:gd name="T81" fmla="*/ 2147483647 h 646"/>
              <a:gd name="T82" fmla="*/ 2147483647 w 1324"/>
              <a:gd name="T83" fmla="*/ 2147483647 h 6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24"/>
              <a:gd name="T127" fmla="*/ 0 h 646"/>
              <a:gd name="T128" fmla="*/ 1324 w 1324"/>
              <a:gd name="T129" fmla="*/ 646 h 6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24" h="646">
                <a:moveTo>
                  <a:pt x="1253" y="411"/>
                </a:moveTo>
                <a:lnTo>
                  <a:pt x="1198" y="427"/>
                </a:lnTo>
                <a:lnTo>
                  <a:pt x="1124" y="380"/>
                </a:lnTo>
                <a:lnTo>
                  <a:pt x="1055" y="363"/>
                </a:lnTo>
                <a:lnTo>
                  <a:pt x="1003" y="376"/>
                </a:lnTo>
                <a:lnTo>
                  <a:pt x="928" y="370"/>
                </a:lnTo>
                <a:lnTo>
                  <a:pt x="857" y="410"/>
                </a:lnTo>
                <a:lnTo>
                  <a:pt x="836" y="460"/>
                </a:lnTo>
                <a:lnTo>
                  <a:pt x="731" y="503"/>
                </a:lnTo>
                <a:lnTo>
                  <a:pt x="657" y="479"/>
                </a:lnTo>
                <a:lnTo>
                  <a:pt x="450" y="557"/>
                </a:lnTo>
                <a:lnTo>
                  <a:pt x="389" y="642"/>
                </a:lnTo>
                <a:lnTo>
                  <a:pt x="215" y="646"/>
                </a:lnTo>
                <a:lnTo>
                  <a:pt x="52" y="524"/>
                </a:lnTo>
                <a:lnTo>
                  <a:pt x="0" y="365"/>
                </a:lnTo>
                <a:lnTo>
                  <a:pt x="57" y="275"/>
                </a:lnTo>
                <a:lnTo>
                  <a:pt x="88" y="278"/>
                </a:lnTo>
                <a:lnTo>
                  <a:pt x="111" y="297"/>
                </a:lnTo>
                <a:lnTo>
                  <a:pt x="177" y="293"/>
                </a:lnTo>
                <a:lnTo>
                  <a:pt x="235" y="251"/>
                </a:lnTo>
                <a:lnTo>
                  <a:pt x="236" y="220"/>
                </a:lnTo>
                <a:lnTo>
                  <a:pt x="274" y="214"/>
                </a:lnTo>
                <a:lnTo>
                  <a:pt x="299" y="177"/>
                </a:lnTo>
                <a:lnTo>
                  <a:pt x="303" y="123"/>
                </a:lnTo>
                <a:lnTo>
                  <a:pt x="313" y="103"/>
                </a:lnTo>
                <a:lnTo>
                  <a:pt x="350" y="94"/>
                </a:lnTo>
                <a:lnTo>
                  <a:pt x="397" y="30"/>
                </a:lnTo>
                <a:lnTo>
                  <a:pt x="445" y="34"/>
                </a:lnTo>
                <a:lnTo>
                  <a:pt x="477" y="7"/>
                </a:lnTo>
                <a:lnTo>
                  <a:pt x="524" y="30"/>
                </a:lnTo>
                <a:lnTo>
                  <a:pt x="615" y="0"/>
                </a:lnTo>
                <a:lnTo>
                  <a:pt x="722" y="110"/>
                </a:lnTo>
                <a:lnTo>
                  <a:pt x="756" y="121"/>
                </a:lnTo>
                <a:lnTo>
                  <a:pt x="797" y="99"/>
                </a:lnTo>
                <a:lnTo>
                  <a:pt x="837" y="58"/>
                </a:lnTo>
                <a:lnTo>
                  <a:pt x="920" y="58"/>
                </a:lnTo>
                <a:lnTo>
                  <a:pt x="964" y="89"/>
                </a:lnTo>
                <a:lnTo>
                  <a:pt x="1039" y="43"/>
                </a:lnTo>
                <a:lnTo>
                  <a:pt x="1152" y="41"/>
                </a:lnTo>
                <a:lnTo>
                  <a:pt x="1283" y="139"/>
                </a:lnTo>
                <a:lnTo>
                  <a:pt x="1324" y="150"/>
                </a:lnTo>
                <a:lnTo>
                  <a:pt x="1253" y="411"/>
                </a:lnTo>
                <a:close/>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20" name="RO">
            <a:extLst>
              <a:ext uri="{FF2B5EF4-FFF2-40B4-BE49-F238E27FC236}">
                <a16:creationId xmlns:a16="http://schemas.microsoft.com/office/drawing/2014/main" id="{029305E4-7BAA-2A4D-1B1D-FF1A18751B71}"/>
              </a:ext>
            </a:extLst>
          </p:cNvPr>
          <p:cNvSpPr>
            <a:spLocks/>
          </p:cNvSpPr>
          <p:nvPr/>
        </p:nvSpPr>
        <p:spPr bwMode="auto">
          <a:xfrm rot="21249101">
            <a:off x="10859568" y="4103283"/>
            <a:ext cx="1166825" cy="768087"/>
          </a:xfrm>
          <a:custGeom>
            <a:avLst/>
            <a:gdLst>
              <a:gd name="T0" fmla="*/ 2147483647 w 2439"/>
              <a:gd name="T1" fmla="*/ 2147483647 h 1690"/>
              <a:gd name="T2" fmla="*/ 2147483647 w 2439"/>
              <a:gd name="T3" fmla="*/ 2147483647 h 1690"/>
              <a:gd name="T4" fmla="*/ 2147483647 w 2439"/>
              <a:gd name="T5" fmla="*/ 2147483647 h 1690"/>
              <a:gd name="T6" fmla="*/ 2147483647 w 2439"/>
              <a:gd name="T7" fmla="*/ 2147483647 h 1690"/>
              <a:gd name="T8" fmla="*/ 2147483647 w 2439"/>
              <a:gd name="T9" fmla="*/ 2147483647 h 1690"/>
              <a:gd name="T10" fmla="*/ 2147483647 w 2439"/>
              <a:gd name="T11" fmla="*/ 2147483647 h 1690"/>
              <a:gd name="T12" fmla="*/ 2147483647 w 2439"/>
              <a:gd name="T13" fmla="*/ 2147483647 h 1690"/>
              <a:gd name="T14" fmla="*/ 2147483647 w 2439"/>
              <a:gd name="T15" fmla="*/ 2147483647 h 1690"/>
              <a:gd name="T16" fmla="*/ 2147483647 w 2439"/>
              <a:gd name="T17" fmla="*/ 2147483647 h 1690"/>
              <a:gd name="T18" fmla="*/ 2147483647 w 2439"/>
              <a:gd name="T19" fmla="*/ 2147483647 h 1690"/>
              <a:gd name="T20" fmla="*/ 2147483647 w 2439"/>
              <a:gd name="T21" fmla="*/ 2147483647 h 1690"/>
              <a:gd name="T22" fmla="*/ 0 w 2439"/>
              <a:gd name="T23" fmla="*/ 2147483647 h 1690"/>
              <a:gd name="T24" fmla="*/ 2147483647 w 2439"/>
              <a:gd name="T25" fmla="*/ 2147483647 h 1690"/>
              <a:gd name="T26" fmla="*/ 2147483647 w 2439"/>
              <a:gd name="T27" fmla="*/ 2147483647 h 1690"/>
              <a:gd name="T28" fmla="*/ 2147483647 w 2439"/>
              <a:gd name="T29" fmla="*/ 2147483647 h 1690"/>
              <a:gd name="T30" fmla="*/ 2147483647 w 2439"/>
              <a:gd name="T31" fmla="*/ 2147483647 h 1690"/>
              <a:gd name="T32" fmla="*/ 2147483647 w 2439"/>
              <a:gd name="T33" fmla="*/ 2147483647 h 1690"/>
              <a:gd name="T34" fmla="*/ 2147483647 w 2439"/>
              <a:gd name="T35" fmla="*/ 2147483647 h 1690"/>
              <a:gd name="T36" fmla="*/ 2147483647 w 2439"/>
              <a:gd name="T37" fmla="*/ 2147483647 h 1690"/>
              <a:gd name="T38" fmla="*/ 2147483647 w 2439"/>
              <a:gd name="T39" fmla="*/ 2147483647 h 1690"/>
              <a:gd name="T40" fmla="*/ 2147483647 w 2439"/>
              <a:gd name="T41" fmla="*/ 0 h 1690"/>
              <a:gd name="T42" fmla="*/ 2147483647 w 2439"/>
              <a:gd name="T43" fmla="*/ 2147483647 h 1690"/>
              <a:gd name="T44" fmla="*/ 2147483647 w 2439"/>
              <a:gd name="T45" fmla="*/ 2147483647 h 1690"/>
              <a:gd name="T46" fmla="*/ 2147483647 w 2439"/>
              <a:gd name="T47" fmla="*/ 2147483647 h 1690"/>
              <a:gd name="T48" fmla="*/ 2147483647 w 2439"/>
              <a:gd name="T49" fmla="*/ 2147483647 h 1690"/>
              <a:gd name="T50" fmla="*/ 2147483647 w 2439"/>
              <a:gd name="T51" fmla="*/ 2147483647 h 1690"/>
              <a:gd name="T52" fmla="*/ 2147483647 w 2439"/>
              <a:gd name="T53" fmla="*/ 2147483647 h 1690"/>
              <a:gd name="T54" fmla="*/ 2147483647 w 2439"/>
              <a:gd name="T55" fmla="*/ 2147483647 h 1690"/>
              <a:gd name="T56" fmla="*/ 2147483647 w 2439"/>
              <a:gd name="T57" fmla="*/ 2147483647 h 1690"/>
              <a:gd name="T58" fmla="*/ 2147483647 w 2439"/>
              <a:gd name="T59" fmla="*/ 2147483647 h 1690"/>
              <a:gd name="T60" fmla="*/ 2147483647 w 2439"/>
              <a:gd name="T61" fmla="*/ 2147483647 h 1690"/>
              <a:gd name="T62" fmla="*/ 2147483647 w 2439"/>
              <a:gd name="T63" fmla="*/ 2147483647 h 1690"/>
              <a:gd name="T64" fmla="*/ 2147483647 w 2439"/>
              <a:gd name="T65" fmla="*/ 2147483647 h 16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39"/>
              <a:gd name="T100" fmla="*/ 0 h 1690"/>
              <a:gd name="T101" fmla="*/ 2439 w 2439"/>
              <a:gd name="T102" fmla="*/ 1690 h 16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39" h="1690">
                <a:moveTo>
                  <a:pt x="2233" y="1572"/>
                </a:moveTo>
                <a:lnTo>
                  <a:pt x="2149" y="1590"/>
                </a:lnTo>
                <a:lnTo>
                  <a:pt x="2045" y="1531"/>
                </a:lnTo>
                <a:lnTo>
                  <a:pt x="1902" y="1508"/>
                </a:lnTo>
                <a:lnTo>
                  <a:pt x="1869" y="1486"/>
                </a:lnTo>
                <a:lnTo>
                  <a:pt x="1778" y="1491"/>
                </a:lnTo>
                <a:lnTo>
                  <a:pt x="1398" y="1690"/>
                </a:lnTo>
                <a:lnTo>
                  <a:pt x="758" y="1670"/>
                </a:lnTo>
                <a:lnTo>
                  <a:pt x="704" y="1628"/>
                </a:lnTo>
                <a:lnTo>
                  <a:pt x="733" y="1559"/>
                </a:lnTo>
                <a:lnTo>
                  <a:pt x="627" y="1531"/>
                </a:lnTo>
                <a:lnTo>
                  <a:pt x="586" y="1455"/>
                </a:lnTo>
                <a:lnTo>
                  <a:pt x="633" y="1403"/>
                </a:lnTo>
                <a:lnTo>
                  <a:pt x="598" y="1351"/>
                </a:lnTo>
                <a:lnTo>
                  <a:pt x="545" y="1396"/>
                </a:lnTo>
                <a:lnTo>
                  <a:pt x="409" y="1351"/>
                </a:lnTo>
                <a:lnTo>
                  <a:pt x="337" y="1296"/>
                </a:lnTo>
                <a:lnTo>
                  <a:pt x="318" y="1181"/>
                </a:lnTo>
                <a:lnTo>
                  <a:pt x="280" y="1157"/>
                </a:lnTo>
                <a:lnTo>
                  <a:pt x="229" y="1146"/>
                </a:lnTo>
                <a:lnTo>
                  <a:pt x="187" y="1084"/>
                </a:lnTo>
                <a:lnTo>
                  <a:pt x="138" y="946"/>
                </a:lnTo>
                <a:lnTo>
                  <a:pt x="90" y="889"/>
                </a:lnTo>
                <a:lnTo>
                  <a:pt x="0" y="843"/>
                </a:lnTo>
                <a:lnTo>
                  <a:pt x="14" y="843"/>
                </a:lnTo>
                <a:lnTo>
                  <a:pt x="232" y="764"/>
                </a:lnTo>
                <a:lnTo>
                  <a:pt x="354" y="504"/>
                </a:lnTo>
                <a:lnTo>
                  <a:pt x="408" y="441"/>
                </a:lnTo>
                <a:lnTo>
                  <a:pt x="418" y="390"/>
                </a:lnTo>
                <a:lnTo>
                  <a:pt x="443" y="343"/>
                </a:lnTo>
                <a:lnTo>
                  <a:pt x="445" y="310"/>
                </a:lnTo>
                <a:lnTo>
                  <a:pt x="489" y="261"/>
                </a:lnTo>
                <a:lnTo>
                  <a:pt x="553" y="232"/>
                </a:lnTo>
                <a:lnTo>
                  <a:pt x="586" y="231"/>
                </a:lnTo>
                <a:lnTo>
                  <a:pt x="634" y="168"/>
                </a:lnTo>
                <a:lnTo>
                  <a:pt x="666" y="154"/>
                </a:lnTo>
                <a:lnTo>
                  <a:pt x="1062" y="133"/>
                </a:lnTo>
                <a:lnTo>
                  <a:pt x="1160" y="194"/>
                </a:lnTo>
                <a:lnTo>
                  <a:pt x="1230" y="139"/>
                </a:lnTo>
                <a:lnTo>
                  <a:pt x="1375" y="107"/>
                </a:lnTo>
                <a:lnTo>
                  <a:pt x="1520" y="4"/>
                </a:lnTo>
                <a:lnTo>
                  <a:pt x="1581" y="0"/>
                </a:lnTo>
                <a:lnTo>
                  <a:pt x="1748" y="149"/>
                </a:lnTo>
                <a:lnTo>
                  <a:pt x="1768" y="223"/>
                </a:lnTo>
                <a:lnTo>
                  <a:pt x="1960" y="486"/>
                </a:lnTo>
                <a:lnTo>
                  <a:pt x="2008" y="703"/>
                </a:lnTo>
                <a:lnTo>
                  <a:pt x="2001" y="781"/>
                </a:lnTo>
                <a:lnTo>
                  <a:pt x="2042" y="973"/>
                </a:lnTo>
                <a:lnTo>
                  <a:pt x="2080" y="964"/>
                </a:lnTo>
                <a:lnTo>
                  <a:pt x="2147" y="1036"/>
                </a:lnTo>
                <a:lnTo>
                  <a:pt x="2197" y="1027"/>
                </a:lnTo>
                <a:lnTo>
                  <a:pt x="2241" y="985"/>
                </a:lnTo>
                <a:lnTo>
                  <a:pt x="2350" y="944"/>
                </a:lnTo>
                <a:lnTo>
                  <a:pt x="2389" y="942"/>
                </a:lnTo>
                <a:lnTo>
                  <a:pt x="2416" y="952"/>
                </a:lnTo>
                <a:lnTo>
                  <a:pt x="2434" y="984"/>
                </a:lnTo>
                <a:lnTo>
                  <a:pt x="2439" y="1118"/>
                </a:lnTo>
                <a:lnTo>
                  <a:pt x="2408" y="1173"/>
                </a:lnTo>
                <a:lnTo>
                  <a:pt x="2361" y="1190"/>
                </a:lnTo>
                <a:lnTo>
                  <a:pt x="2256" y="1317"/>
                </a:lnTo>
                <a:lnTo>
                  <a:pt x="2241" y="1291"/>
                </a:lnTo>
                <a:lnTo>
                  <a:pt x="2269" y="1252"/>
                </a:lnTo>
                <a:lnTo>
                  <a:pt x="2290" y="1191"/>
                </a:lnTo>
                <a:lnTo>
                  <a:pt x="2283" y="1126"/>
                </a:lnTo>
                <a:lnTo>
                  <a:pt x="2246" y="1130"/>
                </a:lnTo>
                <a:lnTo>
                  <a:pt x="2233" y="1572"/>
                </a:lnTo>
                <a:close/>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dirty="0"/>
          </a:p>
        </p:txBody>
      </p:sp>
      <p:sp>
        <p:nvSpPr>
          <p:cNvPr id="21" name="EE">
            <a:extLst>
              <a:ext uri="{FF2B5EF4-FFF2-40B4-BE49-F238E27FC236}">
                <a16:creationId xmlns:a16="http://schemas.microsoft.com/office/drawing/2014/main" id="{A16FA601-9D89-35CA-A73C-193CD250A47A}"/>
              </a:ext>
            </a:extLst>
          </p:cNvPr>
          <p:cNvSpPr>
            <a:spLocks/>
          </p:cNvSpPr>
          <p:nvPr/>
        </p:nvSpPr>
        <p:spPr bwMode="auto">
          <a:xfrm rot="21249101">
            <a:off x="10922051" y="2250296"/>
            <a:ext cx="447332" cy="336853"/>
          </a:xfrm>
          <a:custGeom>
            <a:avLst/>
            <a:gdLst>
              <a:gd name="T0" fmla="*/ 2147483647 w 937"/>
              <a:gd name="T1" fmla="*/ 0 h 739"/>
              <a:gd name="T2" fmla="*/ 2147483647 w 937"/>
              <a:gd name="T3" fmla="*/ 2147483647 h 739"/>
              <a:gd name="T4" fmla="*/ 2147483647 w 937"/>
              <a:gd name="T5" fmla="*/ 2147483647 h 739"/>
              <a:gd name="T6" fmla="*/ 2147483647 w 937"/>
              <a:gd name="T7" fmla="*/ 2147483647 h 739"/>
              <a:gd name="T8" fmla="*/ 2147483647 w 937"/>
              <a:gd name="T9" fmla="*/ 2147483647 h 739"/>
              <a:gd name="T10" fmla="*/ 2147483647 w 937"/>
              <a:gd name="T11" fmla="*/ 2147483647 h 739"/>
              <a:gd name="T12" fmla="*/ 2147483647 w 937"/>
              <a:gd name="T13" fmla="*/ 2147483647 h 739"/>
              <a:gd name="T14" fmla="*/ 2147483647 w 937"/>
              <a:gd name="T15" fmla="*/ 2147483647 h 739"/>
              <a:gd name="T16" fmla="*/ 2147483647 w 937"/>
              <a:gd name="T17" fmla="*/ 2147483647 h 739"/>
              <a:gd name="T18" fmla="*/ 2147483647 w 937"/>
              <a:gd name="T19" fmla="*/ 2147483647 h 739"/>
              <a:gd name="T20" fmla="*/ 2147483647 w 937"/>
              <a:gd name="T21" fmla="*/ 2147483647 h 739"/>
              <a:gd name="T22" fmla="*/ 2147483647 w 937"/>
              <a:gd name="T23" fmla="*/ 2147483647 h 739"/>
              <a:gd name="T24" fmla="*/ 2147483647 w 937"/>
              <a:gd name="T25" fmla="*/ 2147483647 h 739"/>
              <a:gd name="T26" fmla="*/ 2147483647 w 937"/>
              <a:gd name="T27" fmla="*/ 2147483647 h 739"/>
              <a:gd name="T28" fmla="*/ 2147483647 w 937"/>
              <a:gd name="T29" fmla="*/ 2147483647 h 739"/>
              <a:gd name="T30" fmla="*/ 2147483647 w 937"/>
              <a:gd name="T31" fmla="*/ 2147483647 h 739"/>
              <a:gd name="T32" fmla="*/ 2147483647 w 937"/>
              <a:gd name="T33" fmla="*/ 2147483647 h 739"/>
              <a:gd name="T34" fmla="*/ 2147483647 w 937"/>
              <a:gd name="T35" fmla="*/ 2147483647 h 739"/>
              <a:gd name="T36" fmla="*/ 2147483647 w 937"/>
              <a:gd name="T37" fmla="*/ 2147483647 h 739"/>
              <a:gd name="T38" fmla="*/ 2147483647 w 937"/>
              <a:gd name="T39" fmla="*/ 2147483647 h 739"/>
              <a:gd name="T40" fmla="*/ 2147483647 w 937"/>
              <a:gd name="T41" fmla="*/ 2147483647 h 739"/>
              <a:gd name="T42" fmla="*/ 2147483647 w 937"/>
              <a:gd name="T43" fmla="*/ 2147483647 h 739"/>
              <a:gd name="T44" fmla="*/ 2147483647 w 937"/>
              <a:gd name="T45" fmla="*/ 2147483647 h 739"/>
              <a:gd name="T46" fmla="*/ 2147483647 w 937"/>
              <a:gd name="T47" fmla="*/ 2147483647 h 739"/>
              <a:gd name="T48" fmla="*/ 2147483647 w 937"/>
              <a:gd name="T49" fmla="*/ 2147483647 h 739"/>
              <a:gd name="T50" fmla="*/ 2147483647 w 937"/>
              <a:gd name="T51" fmla="*/ 2147483647 h 739"/>
              <a:gd name="T52" fmla="*/ 2147483647 w 937"/>
              <a:gd name="T53" fmla="*/ 2147483647 h 739"/>
              <a:gd name="T54" fmla="*/ 2147483647 w 937"/>
              <a:gd name="T55" fmla="*/ 2147483647 h 739"/>
              <a:gd name="T56" fmla="*/ 2147483647 w 937"/>
              <a:gd name="T57" fmla="*/ 2147483647 h 739"/>
              <a:gd name="T58" fmla="*/ 2147483647 w 937"/>
              <a:gd name="T59" fmla="*/ 2147483647 h 739"/>
              <a:gd name="T60" fmla="*/ 2147483647 w 937"/>
              <a:gd name="T61" fmla="*/ 2147483647 h 739"/>
              <a:gd name="T62" fmla="*/ 2147483647 w 937"/>
              <a:gd name="T63" fmla="*/ 2147483647 h 739"/>
              <a:gd name="T64" fmla="*/ 2147483647 w 937"/>
              <a:gd name="T65" fmla="*/ 2147483647 h 739"/>
              <a:gd name="T66" fmla="*/ 2147483647 w 937"/>
              <a:gd name="T67" fmla="*/ 2147483647 h 739"/>
              <a:gd name="T68" fmla="*/ 2147483647 w 937"/>
              <a:gd name="T69" fmla="*/ 2147483647 h 739"/>
              <a:gd name="T70" fmla="*/ 2147483647 w 937"/>
              <a:gd name="T71" fmla="*/ 2147483647 h 739"/>
              <a:gd name="T72" fmla="*/ 2147483647 w 937"/>
              <a:gd name="T73" fmla="*/ 2147483647 h 739"/>
              <a:gd name="T74" fmla="*/ 2147483647 w 937"/>
              <a:gd name="T75" fmla="*/ 2147483647 h 739"/>
              <a:gd name="T76" fmla="*/ 2147483647 w 937"/>
              <a:gd name="T77" fmla="*/ 2147483647 h 7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37"/>
              <a:gd name="T118" fmla="*/ 0 h 739"/>
              <a:gd name="T119" fmla="*/ 937 w 937"/>
              <a:gd name="T120" fmla="*/ 739 h 73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37" h="739">
                <a:moveTo>
                  <a:pt x="395" y="18"/>
                </a:moveTo>
                <a:lnTo>
                  <a:pt x="401" y="0"/>
                </a:lnTo>
                <a:lnTo>
                  <a:pt x="430" y="27"/>
                </a:lnTo>
                <a:lnTo>
                  <a:pt x="457" y="14"/>
                </a:lnTo>
                <a:lnTo>
                  <a:pt x="593" y="34"/>
                </a:lnTo>
                <a:lnTo>
                  <a:pt x="611" y="53"/>
                </a:lnTo>
                <a:lnTo>
                  <a:pt x="653" y="63"/>
                </a:lnTo>
                <a:lnTo>
                  <a:pt x="799" y="50"/>
                </a:lnTo>
                <a:lnTo>
                  <a:pt x="837" y="32"/>
                </a:lnTo>
                <a:lnTo>
                  <a:pt x="842" y="5"/>
                </a:lnTo>
                <a:lnTo>
                  <a:pt x="864" y="7"/>
                </a:lnTo>
                <a:lnTo>
                  <a:pt x="886" y="28"/>
                </a:lnTo>
                <a:lnTo>
                  <a:pt x="896" y="53"/>
                </a:lnTo>
                <a:lnTo>
                  <a:pt x="889" y="81"/>
                </a:lnTo>
                <a:lnTo>
                  <a:pt x="856" y="122"/>
                </a:lnTo>
                <a:lnTo>
                  <a:pt x="815" y="225"/>
                </a:lnTo>
                <a:lnTo>
                  <a:pt x="833" y="270"/>
                </a:lnTo>
                <a:lnTo>
                  <a:pt x="831" y="332"/>
                </a:lnTo>
                <a:lnTo>
                  <a:pt x="850" y="369"/>
                </a:lnTo>
                <a:lnTo>
                  <a:pt x="853" y="391"/>
                </a:lnTo>
                <a:lnTo>
                  <a:pt x="847" y="417"/>
                </a:lnTo>
                <a:lnTo>
                  <a:pt x="804" y="464"/>
                </a:lnTo>
                <a:lnTo>
                  <a:pt x="797" y="491"/>
                </a:lnTo>
                <a:lnTo>
                  <a:pt x="812" y="516"/>
                </a:lnTo>
                <a:lnTo>
                  <a:pt x="891" y="506"/>
                </a:lnTo>
                <a:lnTo>
                  <a:pt x="935" y="563"/>
                </a:lnTo>
                <a:lnTo>
                  <a:pt x="937" y="617"/>
                </a:lnTo>
                <a:lnTo>
                  <a:pt x="903" y="621"/>
                </a:lnTo>
                <a:lnTo>
                  <a:pt x="837" y="563"/>
                </a:lnTo>
                <a:lnTo>
                  <a:pt x="844" y="614"/>
                </a:lnTo>
                <a:lnTo>
                  <a:pt x="813" y="696"/>
                </a:lnTo>
                <a:lnTo>
                  <a:pt x="822" y="724"/>
                </a:lnTo>
                <a:lnTo>
                  <a:pt x="820" y="722"/>
                </a:lnTo>
                <a:lnTo>
                  <a:pt x="758" y="710"/>
                </a:lnTo>
                <a:lnTo>
                  <a:pt x="702" y="723"/>
                </a:lnTo>
                <a:lnTo>
                  <a:pt x="677" y="738"/>
                </a:lnTo>
                <a:lnTo>
                  <a:pt x="648" y="739"/>
                </a:lnTo>
                <a:lnTo>
                  <a:pt x="565" y="677"/>
                </a:lnTo>
                <a:lnTo>
                  <a:pt x="544" y="647"/>
                </a:lnTo>
                <a:lnTo>
                  <a:pt x="487" y="630"/>
                </a:lnTo>
                <a:lnTo>
                  <a:pt x="440" y="598"/>
                </a:lnTo>
                <a:lnTo>
                  <a:pt x="381" y="590"/>
                </a:lnTo>
                <a:lnTo>
                  <a:pt x="291" y="609"/>
                </a:lnTo>
                <a:lnTo>
                  <a:pt x="248" y="647"/>
                </a:lnTo>
                <a:lnTo>
                  <a:pt x="220" y="654"/>
                </a:lnTo>
                <a:lnTo>
                  <a:pt x="200" y="675"/>
                </a:lnTo>
                <a:lnTo>
                  <a:pt x="223" y="505"/>
                </a:lnTo>
                <a:lnTo>
                  <a:pt x="219" y="486"/>
                </a:lnTo>
                <a:lnTo>
                  <a:pt x="169" y="482"/>
                </a:lnTo>
                <a:lnTo>
                  <a:pt x="159" y="510"/>
                </a:lnTo>
                <a:lnTo>
                  <a:pt x="133" y="529"/>
                </a:lnTo>
                <a:lnTo>
                  <a:pt x="110" y="500"/>
                </a:lnTo>
                <a:lnTo>
                  <a:pt x="90" y="504"/>
                </a:lnTo>
                <a:lnTo>
                  <a:pt x="63" y="497"/>
                </a:lnTo>
                <a:lnTo>
                  <a:pt x="47" y="458"/>
                </a:lnTo>
                <a:lnTo>
                  <a:pt x="24" y="430"/>
                </a:lnTo>
                <a:lnTo>
                  <a:pt x="19" y="394"/>
                </a:lnTo>
                <a:lnTo>
                  <a:pt x="29" y="361"/>
                </a:lnTo>
                <a:lnTo>
                  <a:pt x="67" y="352"/>
                </a:lnTo>
                <a:lnTo>
                  <a:pt x="59" y="341"/>
                </a:lnTo>
                <a:lnTo>
                  <a:pt x="11" y="336"/>
                </a:lnTo>
                <a:lnTo>
                  <a:pt x="13" y="291"/>
                </a:lnTo>
                <a:lnTo>
                  <a:pt x="21" y="280"/>
                </a:lnTo>
                <a:lnTo>
                  <a:pt x="14" y="264"/>
                </a:lnTo>
                <a:lnTo>
                  <a:pt x="0" y="263"/>
                </a:lnTo>
                <a:lnTo>
                  <a:pt x="8" y="192"/>
                </a:lnTo>
                <a:lnTo>
                  <a:pt x="22" y="178"/>
                </a:lnTo>
                <a:lnTo>
                  <a:pt x="112" y="146"/>
                </a:lnTo>
                <a:lnTo>
                  <a:pt x="113" y="131"/>
                </a:lnTo>
                <a:lnTo>
                  <a:pt x="125" y="119"/>
                </a:lnTo>
                <a:lnTo>
                  <a:pt x="154" y="109"/>
                </a:lnTo>
                <a:lnTo>
                  <a:pt x="175" y="87"/>
                </a:lnTo>
                <a:lnTo>
                  <a:pt x="242" y="85"/>
                </a:lnTo>
                <a:lnTo>
                  <a:pt x="249" y="51"/>
                </a:lnTo>
                <a:lnTo>
                  <a:pt x="284" y="69"/>
                </a:lnTo>
                <a:lnTo>
                  <a:pt x="353" y="59"/>
                </a:lnTo>
                <a:lnTo>
                  <a:pt x="370" y="43"/>
                </a:lnTo>
                <a:lnTo>
                  <a:pt x="365" y="21"/>
                </a:lnTo>
                <a:lnTo>
                  <a:pt x="395" y="18"/>
                </a:lnTo>
                <a:close/>
              </a:path>
            </a:pathLst>
          </a:custGeom>
          <a:solidFill>
            <a:schemeClr val="tx2">
              <a:lumMod val="60000"/>
              <a:lumOff val="40000"/>
            </a:schemeClr>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22" name="DE" descr="Wide upward diagonal">
            <a:extLst>
              <a:ext uri="{FF2B5EF4-FFF2-40B4-BE49-F238E27FC236}">
                <a16:creationId xmlns:a16="http://schemas.microsoft.com/office/drawing/2014/main" id="{6C5E6692-EB5C-3FEB-F7CF-C7D6FB249335}"/>
              </a:ext>
            </a:extLst>
          </p:cNvPr>
          <p:cNvSpPr>
            <a:spLocks/>
          </p:cNvSpPr>
          <p:nvPr/>
        </p:nvSpPr>
        <p:spPr bwMode="auto">
          <a:xfrm rot="21249101">
            <a:off x="9210889" y="3123521"/>
            <a:ext cx="985511" cy="1258420"/>
          </a:xfrm>
          <a:custGeom>
            <a:avLst/>
            <a:gdLst>
              <a:gd name="T0" fmla="*/ 2147483647 w 2065"/>
              <a:gd name="T1" fmla="*/ 2147483647 h 2763"/>
              <a:gd name="T2" fmla="*/ 2147483647 w 2065"/>
              <a:gd name="T3" fmla="*/ 2147483647 h 2763"/>
              <a:gd name="T4" fmla="*/ 2147483647 w 2065"/>
              <a:gd name="T5" fmla="*/ 2147483647 h 2763"/>
              <a:gd name="T6" fmla="*/ 2147483647 w 2065"/>
              <a:gd name="T7" fmla="*/ 2147483647 h 2763"/>
              <a:gd name="T8" fmla="*/ 2147483647 w 2065"/>
              <a:gd name="T9" fmla="*/ 2147483647 h 2763"/>
              <a:gd name="T10" fmla="*/ 2147483647 w 2065"/>
              <a:gd name="T11" fmla="*/ 2147483647 h 2763"/>
              <a:gd name="T12" fmla="*/ 2147483647 w 2065"/>
              <a:gd name="T13" fmla="*/ 2147483647 h 2763"/>
              <a:gd name="T14" fmla="*/ 2147483647 w 2065"/>
              <a:gd name="T15" fmla="*/ 2147483647 h 2763"/>
              <a:gd name="T16" fmla="*/ 2147483647 w 2065"/>
              <a:gd name="T17" fmla="*/ 2147483647 h 2763"/>
              <a:gd name="T18" fmla="*/ 2147483647 w 2065"/>
              <a:gd name="T19" fmla="*/ 2147483647 h 2763"/>
              <a:gd name="T20" fmla="*/ 2147483647 w 2065"/>
              <a:gd name="T21" fmla="*/ 2147483647 h 2763"/>
              <a:gd name="T22" fmla="*/ 2147483647 w 2065"/>
              <a:gd name="T23" fmla="*/ 2147483647 h 2763"/>
              <a:gd name="T24" fmla="*/ 2147483647 w 2065"/>
              <a:gd name="T25" fmla="*/ 2147483647 h 2763"/>
              <a:gd name="T26" fmla="*/ 2147483647 w 2065"/>
              <a:gd name="T27" fmla="*/ 2147483647 h 2763"/>
              <a:gd name="T28" fmla="*/ 2147483647 w 2065"/>
              <a:gd name="T29" fmla="*/ 2147483647 h 2763"/>
              <a:gd name="T30" fmla="*/ 2147483647 w 2065"/>
              <a:gd name="T31" fmla="*/ 2147483647 h 2763"/>
              <a:gd name="T32" fmla="*/ 2147483647 w 2065"/>
              <a:gd name="T33" fmla="*/ 2147483647 h 2763"/>
              <a:gd name="T34" fmla="*/ 2147483647 w 2065"/>
              <a:gd name="T35" fmla="*/ 2147483647 h 2763"/>
              <a:gd name="T36" fmla="*/ 2147483647 w 2065"/>
              <a:gd name="T37" fmla="*/ 2147483647 h 2763"/>
              <a:gd name="T38" fmla="*/ 2147483647 w 2065"/>
              <a:gd name="T39" fmla="*/ 2147483647 h 2763"/>
              <a:gd name="T40" fmla="*/ 2147483647 w 2065"/>
              <a:gd name="T41" fmla="*/ 2147483647 h 2763"/>
              <a:gd name="T42" fmla="*/ 2147483647 w 2065"/>
              <a:gd name="T43" fmla="*/ 2147483647 h 2763"/>
              <a:gd name="T44" fmla="*/ 2147483647 w 2065"/>
              <a:gd name="T45" fmla="*/ 2147483647 h 2763"/>
              <a:gd name="T46" fmla="*/ 2147483647 w 2065"/>
              <a:gd name="T47" fmla="*/ 2147483647 h 2763"/>
              <a:gd name="T48" fmla="*/ 2147483647 w 2065"/>
              <a:gd name="T49" fmla="*/ 2147483647 h 2763"/>
              <a:gd name="T50" fmla="*/ 2147483647 w 2065"/>
              <a:gd name="T51" fmla="*/ 2147483647 h 2763"/>
              <a:gd name="T52" fmla="*/ 2147483647 w 2065"/>
              <a:gd name="T53" fmla="*/ 2147483647 h 2763"/>
              <a:gd name="T54" fmla="*/ 0 w 2065"/>
              <a:gd name="T55" fmla="*/ 2147483647 h 2763"/>
              <a:gd name="T56" fmla="*/ 2147483647 w 2065"/>
              <a:gd name="T57" fmla="*/ 2147483647 h 2763"/>
              <a:gd name="T58" fmla="*/ 2147483647 w 2065"/>
              <a:gd name="T59" fmla="*/ 2147483647 h 2763"/>
              <a:gd name="T60" fmla="*/ 2147483647 w 2065"/>
              <a:gd name="T61" fmla="*/ 2147483647 h 2763"/>
              <a:gd name="T62" fmla="*/ 2147483647 w 2065"/>
              <a:gd name="T63" fmla="*/ 2147483647 h 2763"/>
              <a:gd name="T64" fmla="*/ 2147483647 w 2065"/>
              <a:gd name="T65" fmla="*/ 2147483647 h 2763"/>
              <a:gd name="T66" fmla="*/ 2147483647 w 2065"/>
              <a:gd name="T67" fmla="*/ 2147483647 h 2763"/>
              <a:gd name="T68" fmla="*/ 2147483647 w 2065"/>
              <a:gd name="T69" fmla="*/ 2147483647 h 2763"/>
              <a:gd name="T70" fmla="*/ 2147483647 w 2065"/>
              <a:gd name="T71" fmla="*/ 2147483647 h 2763"/>
              <a:gd name="T72" fmla="*/ 2147483647 w 2065"/>
              <a:gd name="T73" fmla="*/ 2147483647 h 2763"/>
              <a:gd name="T74" fmla="*/ 2147483647 w 2065"/>
              <a:gd name="T75" fmla="*/ 2147483647 h 2763"/>
              <a:gd name="T76" fmla="*/ 2147483647 w 2065"/>
              <a:gd name="T77" fmla="*/ 2147483647 h 2763"/>
              <a:gd name="T78" fmla="*/ 2147483647 w 2065"/>
              <a:gd name="T79" fmla="*/ 2147483647 h 2763"/>
              <a:gd name="T80" fmla="*/ 2147483647 w 2065"/>
              <a:gd name="T81" fmla="*/ 2147483647 h 2763"/>
              <a:gd name="T82" fmla="*/ 2147483647 w 2065"/>
              <a:gd name="T83" fmla="*/ 2147483647 h 2763"/>
              <a:gd name="T84" fmla="*/ 2147483647 w 2065"/>
              <a:gd name="T85" fmla="*/ 2147483647 h 2763"/>
              <a:gd name="T86" fmla="*/ 2147483647 w 2065"/>
              <a:gd name="T87" fmla="*/ 2147483647 h 2763"/>
              <a:gd name="T88" fmla="*/ 2147483647 w 2065"/>
              <a:gd name="T89" fmla="*/ 2147483647 h 2763"/>
              <a:gd name="T90" fmla="*/ 2147483647 w 2065"/>
              <a:gd name="T91" fmla="*/ 2147483647 h 2763"/>
              <a:gd name="T92" fmla="*/ 2147483647 w 2065"/>
              <a:gd name="T93" fmla="*/ 2147483647 h 2763"/>
              <a:gd name="T94" fmla="*/ 2147483647 w 2065"/>
              <a:gd name="T95" fmla="*/ 2147483647 h 2763"/>
              <a:gd name="T96" fmla="*/ 2147483647 w 2065"/>
              <a:gd name="T97" fmla="*/ 2147483647 h 2763"/>
              <a:gd name="T98" fmla="*/ 2147483647 w 2065"/>
              <a:gd name="T99" fmla="*/ 2147483647 h 2763"/>
              <a:gd name="T100" fmla="*/ 2147483647 w 2065"/>
              <a:gd name="T101" fmla="*/ 2147483647 h 2763"/>
              <a:gd name="T102" fmla="*/ 2147483647 w 2065"/>
              <a:gd name="T103" fmla="*/ 2147483647 h 2763"/>
              <a:gd name="T104" fmla="*/ 2147483647 w 2065"/>
              <a:gd name="T105" fmla="*/ 2147483647 h 2763"/>
              <a:gd name="T106" fmla="*/ 2147483647 w 2065"/>
              <a:gd name="T107" fmla="*/ 2147483647 h 2763"/>
              <a:gd name="T108" fmla="*/ 2147483647 w 2065"/>
              <a:gd name="T109" fmla="*/ 2147483647 h 2763"/>
              <a:gd name="T110" fmla="*/ 2147483647 w 2065"/>
              <a:gd name="T111" fmla="*/ 2147483647 h 2763"/>
              <a:gd name="T112" fmla="*/ 2147483647 w 2065"/>
              <a:gd name="T113" fmla="*/ 2147483647 h 2763"/>
              <a:gd name="T114" fmla="*/ 2147483647 w 2065"/>
              <a:gd name="T115" fmla="*/ 2147483647 h 2763"/>
              <a:gd name="T116" fmla="*/ 2147483647 w 2065"/>
              <a:gd name="T117" fmla="*/ 2147483647 h 2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5"/>
              <a:gd name="T178" fmla="*/ 0 h 2763"/>
              <a:gd name="T179" fmla="*/ 2065 w 2065"/>
              <a:gd name="T180" fmla="*/ 2763 h 2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5" h="2763">
                <a:moveTo>
                  <a:pt x="1247" y="395"/>
                </a:moveTo>
                <a:lnTo>
                  <a:pt x="1241" y="376"/>
                </a:lnTo>
                <a:lnTo>
                  <a:pt x="1260" y="342"/>
                </a:lnTo>
                <a:lnTo>
                  <a:pt x="1290" y="325"/>
                </a:lnTo>
                <a:lnTo>
                  <a:pt x="1314" y="301"/>
                </a:lnTo>
                <a:lnTo>
                  <a:pt x="1318" y="267"/>
                </a:lnTo>
                <a:lnTo>
                  <a:pt x="1304" y="251"/>
                </a:lnTo>
                <a:lnTo>
                  <a:pt x="1238" y="266"/>
                </a:lnTo>
                <a:lnTo>
                  <a:pt x="1213" y="263"/>
                </a:lnTo>
                <a:lnTo>
                  <a:pt x="1200" y="235"/>
                </a:lnTo>
                <a:lnTo>
                  <a:pt x="1157" y="211"/>
                </a:lnTo>
                <a:lnTo>
                  <a:pt x="1138" y="232"/>
                </a:lnTo>
                <a:lnTo>
                  <a:pt x="1117" y="229"/>
                </a:lnTo>
                <a:lnTo>
                  <a:pt x="1118" y="200"/>
                </a:lnTo>
                <a:lnTo>
                  <a:pt x="1089" y="196"/>
                </a:lnTo>
                <a:lnTo>
                  <a:pt x="1076" y="180"/>
                </a:lnTo>
                <a:lnTo>
                  <a:pt x="1104" y="153"/>
                </a:lnTo>
                <a:lnTo>
                  <a:pt x="1110" y="120"/>
                </a:lnTo>
                <a:lnTo>
                  <a:pt x="1097" y="75"/>
                </a:lnTo>
                <a:lnTo>
                  <a:pt x="1039" y="47"/>
                </a:lnTo>
                <a:lnTo>
                  <a:pt x="1012" y="45"/>
                </a:lnTo>
                <a:lnTo>
                  <a:pt x="1017" y="28"/>
                </a:lnTo>
                <a:lnTo>
                  <a:pt x="983" y="38"/>
                </a:lnTo>
                <a:lnTo>
                  <a:pt x="898" y="2"/>
                </a:lnTo>
                <a:lnTo>
                  <a:pt x="867" y="0"/>
                </a:lnTo>
                <a:lnTo>
                  <a:pt x="858" y="38"/>
                </a:lnTo>
                <a:lnTo>
                  <a:pt x="907" y="153"/>
                </a:lnTo>
                <a:lnTo>
                  <a:pt x="851" y="176"/>
                </a:lnTo>
                <a:lnTo>
                  <a:pt x="846" y="189"/>
                </a:lnTo>
                <a:lnTo>
                  <a:pt x="829" y="205"/>
                </a:lnTo>
                <a:lnTo>
                  <a:pt x="853" y="211"/>
                </a:lnTo>
                <a:lnTo>
                  <a:pt x="867" y="224"/>
                </a:lnTo>
                <a:lnTo>
                  <a:pt x="856" y="247"/>
                </a:lnTo>
                <a:lnTo>
                  <a:pt x="864" y="272"/>
                </a:lnTo>
                <a:lnTo>
                  <a:pt x="880" y="292"/>
                </a:lnTo>
                <a:lnTo>
                  <a:pt x="873" y="306"/>
                </a:lnTo>
                <a:lnTo>
                  <a:pt x="856" y="306"/>
                </a:lnTo>
                <a:lnTo>
                  <a:pt x="850" y="336"/>
                </a:lnTo>
                <a:lnTo>
                  <a:pt x="895" y="380"/>
                </a:lnTo>
                <a:lnTo>
                  <a:pt x="887" y="387"/>
                </a:lnTo>
                <a:lnTo>
                  <a:pt x="799" y="377"/>
                </a:lnTo>
                <a:lnTo>
                  <a:pt x="772" y="418"/>
                </a:lnTo>
                <a:lnTo>
                  <a:pt x="759" y="486"/>
                </a:lnTo>
                <a:lnTo>
                  <a:pt x="769" y="569"/>
                </a:lnTo>
                <a:lnTo>
                  <a:pt x="740" y="485"/>
                </a:lnTo>
                <a:lnTo>
                  <a:pt x="710" y="471"/>
                </a:lnTo>
                <a:lnTo>
                  <a:pt x="701" y="511"/>
                </a:lnTo>
                <a:lnTo>
                  <a:pt x="675" y="509"/>
                </a:lnTo>
                <a:lnTo>
                  <a:pt x="676" y="460"/>
                </a:lnTo>
                <a:lnTo>
                  <a:pt x="661" y="419"/>
                </a:lnTo>
                <a:lnTo>
                  <a:pt x="602" y="397"/>
                </a:lnTo>
                <a:lnTo>
                  <a:pt x="493" y="400"/>
                </a:lnTo>
                <a:lnTo>
                  <a:pt x="476" y="429"/>
                </a:lnTo>
                <a:lnTo>
                  <a:pt x="457" y="443"/>
                </a:lnTo>
                <a:lnTo>
                  <a:pt x="439" y="468"/>
                </a:lnTo>
                <a:lnTo>
                  <a:pt x="441" y="478"/>
                </a:lnTo>
                <a:lnTo>
                  <a:pt x="480" y="497"/>
                </a:lnTo>
                <a:lnTo>
                  <a:pt x="512" y="537"/>
                </a:lnTo>
                <a:lnTo>
                  <a:pt x="515" y="575"/>
                </a:lnTo>
                <a:lnTo>
                  <a:pt x="509" y="570"/>
                </a:lnTo>
                <a:lnTo>
                  <a:pt x="496" y="531"/>
                </a:lnTo>
                <a:lnTo>
                  <a:pt x="435" y="535"/>
                </a:lnTo>
                <a:lnTo>
                  <a:pt x="362" y="709"/>
                </a:lnTo>
                <a:lnTo>
                  <a:pt x="295" y="739"/>
                </a:lnTo>
                <a:lnTo>
                  <a:pt x="297" y="779"/>
                </a:lnTo>
                <a:lnTo>
                  <a:pt x="363" y="823"/>
                </a:lnTo>
                <a:lnTo>
                  <a:pt x="350" y="869"/>
                </a:lnTo>
                <a:lnTo>
                  <a:pt x="314" y="903"/>
                </a:lnTo>
                <a:lnTo>
                  <a:pt x="270" y="924"/>
                </a:lnTo>
                <a:lnTo>
                  <a:pt x="254" y="969"/>
                </a:lnTo>
                <a:lnTo>
                  <a:pt x="228" y="1006"/>
                </a:lnTo>
                <a:lnTo>
                  <a:pt x="195" y="1008"/>
                </a:lnTo>
                <a:lnTo>
                  <a:pt x="148" y="976"/>
                </a:lnTo>
                <a:lnTo>
                  <a:pt x="106" y="969"/>
                </a:lnTo>
                <a:lnTo>
                  <a:pt x="69" y="1232"/>
                </a:lnTo>
                <a:lnTo>
                  <a:pt x="38" y="1258"/>
                </a:lnTo>
                <a:lnTo>
                  <a:pt x="29" y="1287"/>
                </a:lnTo>
                <a:lnTo>
                  <a:pt x="35" y="1364"/>
                </a:lnTo>
                <a:lnTo>
                  <a:pt x="31" y="1386"/>
                </a:lnTo>
                <a:lnTo>
                  <a:pt x="45" y="1417"/>
                </a:lnTo>
                <a:lnTo>
                  <a:pt x="44" y="1462"/>
                </a:lnTo>
                <a:lnTo>
                  <a:pt x="60" y="1504"/>
                </a:lnTo>
                <a:lnTo>
                  <a:pt x="55" y="1536"/>
                </a:lnTo>
                <a:lnTo>
                  <a:pt x="0" y="1597"/>
                </a:lnTo>
                <a:lnTo>
                  <a:pt x="28" y="1622"/>
                </a:lnTo>
                <a:lnTo>
                  <a:pt x="12" y="1651"/>
                </a:lnTo>
                <a:lnTo>
                  <a:pt x="9" y="1682"/>
                </a:lnTo>
                <a:lnTo>
                  <a:pt x="32" y="1749"/>
                </a:lnTo>
                <a:lnTo>
                  <a:pt x="27" y="1801"/>
                </a:lnTo>
                <a:lnTo>
                  <a:pt x="2" y="1824"/>
                </a:lnTo>
                <a:lnTo>
                  <a:pt x="72" y="1915"/>
                </a:lnTo>
                <a:lnTo>
                  <a:pt x="89" y="1964"/>
                </a:lnTo>
                <a:lnTo>
                  <a:pt x="388" y="2103"/>
                </a:lnTo>
                <a:lnTo>
                  <a:pt x="370" y="2151"/>
                </a:lnTo>
                <a:lnTo>
                  <a:pt x="279" y="2238"/>
                </a:lnTo>
                <a:lnTo>
                  <a:pt x="207" y="2391"/>
                </a:lnTo>
                <a:lnTo>
                  <a:pt x="183" y="2556"/>
                </a:lnTo>
                <a:lnTo>
                  <a:pt x="188" y="2570"/>
                </a:lnTo>
                <a:lnTo>
                  <a:pt x="217" y="2603"/>
                </a:lnTo>
                <a:lnTo>
                  <a:pt x="490" y="2601"/>
                </a:lnTo>
                <a:lnTo>
                  <a:pt x="647" y="2687"/>
                </a:lnTo>
                <a:lnTo>
                  <a:pt x="695" y="2675"/>
                </a:lnTo>
                <a:lnTo>
                  <a:pt x="738" y="2678"/>
                </a:lnTo>
                <a:lnTo>
                  <a:pt x="775" y="2694"/>
                </a:lnTo>
                <a:lnTo>
                  <a:pt x="793" y="2735"/>
                </a:lnTo>
                <a:lnTo>
                  <a:pt x="834" y="2763"/>
                </a:lnTo>
                <a:lnTo>
                  <a:pt x="859" y="2751"/>
                </a:lnTo>
                <a:lnTo>
                  <a:pt x="877" y="2723"/>
                </a:lnTo>
                <a:lnTo>
                  <a:pt x="910" y="2698"/>
                </a:lnTo>
                <a:lnTo>
                  <a:pt x="960" y="2709"/>
                </a:lnTo>
                <a:lnTo>
                  <a:pt x="1015" y="2751"/>
                </a:lnTo>
                <a:lnTo>
                  <a:pt x="1074" y="2758"/>
                </a:lnTo>
                <a:lnTo>
                  <a:pt x="1167" y="2711"/>
                </a:lnTo>
                <a:lnTo>
                  <a:pt x="1316" y="2709"/>
                </a:lnTo>
                <a:lnTo>
                  <a:pt x="1337" y="2689"/>
                </a:lnTo>
                <a:lnTo>
                  <a:pt x="1386" y="2710"/>
                </a:lnTo>
                <a:lnTo>
                  <a:pt x="1451" y="2717"/>
                </a:lnTo>
                <a:lnTo>
                  <a:pt x="1466" y="2753"/>
                </a:lnTo>
                <a:lnTo>
                  <a:pt x="1503" y="2740"/>
                </a:lnTo>
                <a:lnTo>
                  <a:pt x="1503" y="2706"/>
                </a:lnTo>
                <a:lnTo>
                  <a:pt x="1480" y="2633"/>
                </a:lnTo>
                <a:lnTo>
                  <a:pt x="1482" y="2560"/>
                </a:lnTo>
                <a:lnTo>
                  <a:pt x="1508" y="2512"/>
                </a:lnTo>
                <a:lnTo>
                  <a:pt x="1610" y="2482"/>
                </a:lnTo>
                <a:lnTo>
                  <a:pt x="1649" y="2405"/>
                </a:lnTo>
                <a:lnTo>
                  <a:pt x="1727" y="2380"/>
                </a:lnTo>
                <a:lnTo>
                  <a:pt x="1736" y="2346"/>
                </a:lnTo>
                <a:lnTo>
                  <a:pt x="1429" y="1995"/>
                </a:lnTo>
                <a:lnTo>
                  <a:pt x="1432" y="1865"/>
                </a:lnTo>
                <a:lnTo>
                  <a:pt x="1383" y="1836"/>
                </a:lnTo>
                <a:lnTo>
                  <a:pt x="1352" y="1789"/>
                </a:lnTo>
                <a:lnTo>
                  <a:pt x="1356" y="1752"/>
                </a:lnTo>
                <a:lnTo>
                  <a:pt x="1364" y="1734"/>
                </a:lnTo>
                <a:lnTo>
                  <a:pt x="1422" y="1802"/>
                </a:lnTo>
                <a:lnTo>
                  <a:pt x="1433" y="1800"/>
                </a:lnTo>
                <a:lnTo>
                  <a:pt x="1460" y="1747"/>
                </a:lnTo>
                <a:lnTo>
                  <a:pt x="1679" y="1679"/>
                </a:lnTo>
                <a:lnTo>
                  <a:pt x="1711" y="1633"/>
                </a:lnTo>
                <a:lnTo>
                  <a:pt x="1875" y="1588"/>
                </a:lnTo>
                <a:lnTo>
                  <a:pt x="1897" y="1496"/>
                </a:lnTo>
                <a:lnTo>
                  <a:pt x="1937" y="1509"/>
                </a:lnTo>
                <a:lnTo>
                  <a:pt x="1988" y="1602"/>
                </a:lnTo>
                <a:lnTo>
                  <a:pt x="2016" y="1604"/>
                </a:lnTo>
                <a:lnTo>
                  <a:pt x="2065" y="1414"/>
                </a:lnTo>
                <a:lnTo>
                  <a:pt x="2061" y="1396"/>
                </a:lnTo>
                <a:lnTo>
                  <a:pt x="2002" y="1314"/>
                </a:lnTo>
                <a:lnTo>
                  <a:pt x="1988" y="934"/>
                </a:lnTo>
                <a:lnTo>
                  <a:pt x="1934" y="886"/>
                </a:lnTo>
                <a:lnTo>
                  <a:pt x="1935" y="857"/>
                </a:lnTo>
                <a:lnTo>
                  <a:pt x="1983" y="762"/>
                </a:lnTo>
                <a:lnTo>
                  <a:pt x="1997" y="647"/>
                </a:lnTo>
                <a:lnTo>
                  <a:pt x="1965" y="543"/>
                </a:lnTo>
                <a:lnTo>
                  <a:pt x="1879" y="507"/>
                </a:lnTo>
                <a:lnTo>
                  <a:pt x="1874" y="454"/>
                </a:lnTo>
                <a:lnTo>
                  <a:pt x="1846" y="398"/>
                </a:lnTo>
                <a:lnTo>
                  <a:pt x="1809" y="399"/>
                </a:lnTo>
                <a:lnTo>
                  <a:pt x="1788" y="377"/>
                </a:lnTo>
                <a:lnTo>
                  <a:pt x="1776" y="374"/>
                </a:lnTo>
                <a:lnTo>
                  <a:pt x="1770" y="344"/>
                </a:lnTo>
                <a:lnTo>
                  <a:pt x="1741" y="322"/>
                </a:lnTo>
                <a:lnTo>
                  <a:pt x="1722" y="295"/>
                </a:lnTo>
                <a:lnTo>
                  <a:pt x="1629" y="309"/>
                </a:lnTo>
                <a:lnTo>
                  <a:pt x="1601" y="325"/>
                </a:lnTo>
                <a:lnTo>
                  <a:pt x="1613" y="304"/>
                </a:lnTo>
                <a:lnTo>
                  <a:pt x="1676" y="266"/>
                </a:lnTo>
                <a:lnTo>
                  <a:pt x="1650" y="259"/>
                </a:lnTo>
                <a:lnTo>
                  <a:pt x="1617" y="263"/>
                </a:lnTo>
                <a:lnTo>
                  <a:pt x="1558" y="320"/>
                </a:lnTo>
                <a:lnTo>
                  <a:pt x="1536" y="355"/>
                </a:lnTo>
                <a:lnTo>
                  <a:pt x="1519" y="365"/>
                </a:lnTo>
                <a:lnTo>
                  <a:pt x="1522" y="341"/>
                </a:lnTo>
                <a:lnTo>
                  <a:pt x="1446" y="350"/>
                </a:lnTo>
                <a:lnTo>
                  <a:pt x="1381" y="393"/>
                </a:lnTo>
                <a:lnTo>
                  <a:pt x="1391" y="415"/>
                </a:lnTo>
                <a:lnTo>
                  <a:pt x="1355" y="411"/>
                </a:lnTo>
                <a:lnTo>
                  <a:pt x="1311" y="391"/>
                </a:lnTo>
                <a:lnTo>
                  <a:pt x="1252" y="418"/>
                </a:lnTo>
                <a:lnTo>
                  <a:pt x="1247" y="395"/>
                </a:lnTo>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solidFill>
                <a:srgbClr val="002060"/>
              </a:solidFill>
            </a:endParaRPr>
          </a:p>
        </p:txBody>
      </p:sp>
      <p:sp>
        <p:nvSpPr>
          <p:cNvPr id="23" name="CZ">
            <a:extLst>
              <a:ext uri="{FF2B5EF4-FFF2-40B4-BE49-F238E27FC236}">
                <a16:creationId xmlns:a16="http://schemas.microsoft.com/office/drawing/2014/main" id="{2F80353D-C8FA-A5E4-79CF-19A4B421D050}"/>
              </a:ext>
            </a:extLst>
          </p:cNvPr>
          <p:cNvSpPr>
            <a:spLocks/>
          </p:cNvSpPr>
          <p:nvPr/>
        </p:nvSpPr>
        <p:spPr bwMode="auto">
          <a:xfrm rot="21249101">
            <a:off x="9882753" y="3756293"/>
            <a:ext cx="758267" cy="446385"/>
          </a:xfrm>
          <a:custGeom>
            <a:avLst/>
            <a:gdLst>
              <a:gd name="T0" fmla="*/ 2147483647 w 1599"/>
              <a:gd name="T1" fmla="*/ 2147483647 h 983"/>
              <a:gd name="T2" fmla="*/ 2147483647 w 1599"/>
              <a:gd name="T3" fmla="*/ 2147483647 h 983"/>
              <a:gd name="T4" fmla="*/ 2147483647 w 1599"/>
              <a:gd name="T5" fmla="*/ 2147483647 h 983"/>
              <a:gd name="T6" fmla="*/ 2147483647 w 1599"/>
              <a:gd name="T7" fmla="*/ 2147483647 h 983"/>
              <a:gd name="T8" fmla="*/ 2147483647 w 1599"/>
              <a:gd name="T9" fmla="*/ 2147483647 h 983"/>
              <a:gd name="T10" fmla="*/ 2147483647 w 1599"/>
              <a:gd name="T11" fmla="*/ 2147483647 h 983"/>
              <a:gd name="T12" fmla="*/ 2147483647 w 1599"/>
              <a:gd name="T13" fmla="*/ 2147483647 h 983"/>
              <a:gd name="T14" fmla="*/ 2147483647 w 1599"/>
              <a:gd name="T15" fmla="*/ 2147483647 h 983"/>
              <a:gd name="T16" fmla="*/ 2147483647 w 1599"/>
              <a:gd name="T17" fmla="*/ 2147483647 h 983"/>
              <a:gd name="T18" fmla="*/ 2147483647 w 1599"/>
              <a:gd name="T19" fmla="*/ 2147483647 h 983"/>
              <a:gd name="T20" fmla="*/ 2147483647 w 1599"/>
              <a:gd name="T21" fmla="*/ 2147483647 h 983"/>
              <a:gd name="T22" fmla="*/ 2147483647 w 1599"/>
              <a:gd name="T23" fmla="*/ 2147483647 h 983"/>
              <a:gd name="T24" fmla="*/ 2147483647 w 1599"/>
              <a:gd name="T25" fmla="*/ 2147483647 h 983"/>
              <a:gd name="T26" fmla="*/ 2147483647 w 1599"/>
              <a:gd name="T27" fmla="*/ 2147483647 h 983"/>
              <a:gd name="T28" fmla="*/ 2147483647 w 1599"/>
              <a:gd name="T29" fmla="*/ 2147483647 h 983"/>
              <a:gd name="T30" fmla="*/ 2147483647 w 1599"/>
              <a:gd name="T31" fmla="*/ 2147483647 h 983"/>
              <a:gd name="T32" fmla="*/ 2147483647 w 1599"/>
              <a:gd name="T33" fmla="*/ 2147483647 h 983"/>
              <a:gd name="T34" fmla="*/ 2147483647 w 1599"/>
              <a:gd name="T35" fmla="*/ 2147483647 h 983"/>
              <a:gd name="T36" fmla="*/ 2147483647 w 1599"/>
              <a:gd name="T37" fmla="*/ 2147483647 h 983"/>
              <a:gd name="T38" fmla="*/ 2147483647 w 1599"/>
              <a:gd name="T39" fmla="*/ 2147483647 h 983"/>
              <a:gd name="T40" fmla="*/ 2147483647 w 1599"/>
              <a:gd name="T41" fmla="*/ 2147483647 h 983"/>
              <a:gd name="T42" fmla="*/ 2147483647 w 1599"/>
              <a:gd name="T43" fmla="*/ 2147483647 h 983"/>
              <a:gd name="T44" fmla="*/ 2147483647 w 1599"/>
              <a:gd name="T45" fmla="*/ 0 h 983"/>
              <a:gd name="T46" fmla="*/ 2147483647 w 1599"/>
              <a:gd name="T47" fmla="*/ 2147483647 h 983"/>
              <a:gd name="T48" fmla="*/ 2147483647 w 1599"/>
              <a:gd name="T49" fmla="*/ 2147483647 h 983"/>
              <a:gd name="T50" fmla="*/ 2147483647 w 1599"/>
              <a:gd name="T51" fmla="*/ 2147483647 h 983"/>
              <a:gd name="T52" fmla="*/ 2147483647 w 1599"/>
              <a:gd name="T53" fmla="*/ 2147483647 h 983"/>
              <a:gd name="T54" fmla="*/ 2147483647 w 1599"/>
              <a:gd name="T55" fmla="*/ 2147483647 h 983"/>
              <a:gd name="T56" fmla="*/ 2147483647 w 1599"/>
              <a:gd name="T57" fmla="*/ 2147483647 h 983"/>
              <a:gd name="T58" fmla="*/ 2147483647 w 1599"/>
              <a:gd name="T59" fmla="*/ 2147483647 h 983"/>
              <a:gd name="T60" fmla="*/ 2147483647 w 1599"/>
              <a:gd name="T61" fmla="*/ 2147483647 h 983"/>
              <a:gd name="T62" fmla="*/ 2147483647 w 1599"/>
              <a:gd name="T63" fmla="*/ 2147483647 h 983"/>
              <a:gd name="T64" fmla="*/ 2147483647 w 1599"/>
              <a:gd name="T65" fmla="*/ 2147483647 h 983"/>
              <a:gd name="T66" fmla="*/ 2147483647 w 1599"/>
              <a:gd name="T67" fmla="*/ 2147483647 h 983"/>
              <a:gd name="T68" fmla="*/ 2147483647 w 1599"/>
              <a:gd name="T69" fmla="*/ 2147483647 h 9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9"/>
              <a:gd name="T106" fmla="*/ 0 h 983"/>
              <a:gd name="T107" fmla="*/ 1599 w 1599"/>
              <a:gd name="T108" fmla="*/ 983 h 98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9" h="983">
                <a:moveTo>
                  <a:pt x="1599" y="625"/>
                </a:moveTo>
                <a:lnTo>
                  <a:pt x="1567" y="652"/>
                </a:lnTo>
                <a:lnTo>
                  <a:pt x="1519" y="648"/>
                </a:lnTo>
                <a:lnTo>
                  <a:pt x="1472" y="712"/>
                </a:lnTo>
                <a:lnTo>
                  <a:pt x="1435" y="721"/>
                </a:lnTo>
                <a:lnTo>
                  <a:pt x="1425" y="741"/>
                </a:lnTo>
                <a:lnTo>
                  <a:pt x="1421" y="795"/>
                </a:lnTo>
                <a:lnTo>
                  <a:pt x="1396" y="832"/>
                </a:lnTo>
                <a:lnTo>
                  <a:pt x="1358" y="838"/>
                </a:lnTo>
                <a:lnTo>
                  <a:pt x="1357" y="869"/>
                </a:lnTo>
                <a:lnTo>
                  <a:pt x="1299" y="911"/>
                </a:lnTo>
                <a:lnTo>
                  <a:pt x="1233" y="915"/>
                </a:lnTo>
                <a:lnTo>
                  <a:pt x="1210" y="896"/>
                </a:lnTo>
                <a:lnTo>
                  <a:pt x="1179" y="893"/>
                </a:lnTo>
                <a:lnTo>
                  <a:pt x="1122" y="983"/>
                </a:lnTo>
                <a:lnTo>
                  <a:pt x="1124" y="923"/>
                </a:lnTo>
                <a:lnTo>
                  <a:pt x="1092" y="877"/>
                </a:lnTo>
                <a:lnTo>
                  <a:pt x="935" y="882"/>
                </a:lnTo>
                <a:lnTo>
                  <a:pt x="878" y="824"/>
                </a:lnTo>
                <a:lnTo>
                  <a:pt x="841" y="803"/>
                </a:lnTo>
                <a:lnTo>
                  <a:pt x="696" y="786"/>
                </a:lnTo>
                <a:lnTo>
                  <a:pt x="651" y="865"/>
                </a:lnTo>
                <a:lnTo>
                  <a:pt x="606" y="898"/>
                </a:lnTo>
                <a:lnTo>
                  <a:pt x="568" y="912"/>
                </a:lnTo>
                <a:lnTo>
                  <a:pt x="468" y="905"/>
                </a:lnTo>
                <a:lnTo>
                  <a:pt x="463" y="902"/>
                </a:lnTo>
                <a:lnTo>
                  <a:pt x="455" y="896"/>
                </a:lnTo>
                <a:lnTo>
                  <a:pt x="441" y="888"/>
                </a:lnTo>
                <a:lnTo>
                  <a:pt x="426" y="877"/>
                </a:lnTo>
                <a:lnTo>
                  <a:pt x="411" y="867"/>
                </a:lnTo>
                <a:lnTo>
                  <a:pt x="397" y="859"/>
                </a:lnTo>
                <a:lnTo>
                  <a:pt x="388" y="852"/>
                </a:lnTo>
                <a:lnTo>
                  <a:pt x="385" y="850"/>
                </a:lnTo>
                <a:lnTo>
                  <a:pt x="78" y="499"/>
                </a:lnTo>
                <a:lnTo>
                  <a:pt x="80" y="369"/>
                </a:lnTo>
                <a:lnTo>
                  <a:pt x="32" y="340"/>
                </a:lnTo>
                <a:lnTo>
                  <a:pt x="0" y="293"/>
                </a:lnTo>
                <a:lnTo>
                  <a:pt x="4" y="256"/>
                </a:lnTo>
                <a:lnTo>
                  <a:pt x="12" y="238"/>
                </a:lnTo>
                <a:lnTo>
                  <a:pt x="71" y="305"/>
                </a:lnTo>
                <a:lnTo>
                  <a:pt x="82" y="304"/>
                </a:lnTo>
                <a:lnTo>
                  <a:pt x="108" y="251"/>
                </a:lnTo>
                <a:lnTo>
                  <a:pt x="327" y="183"/>
                </a:lnTo>
                <a:lnTo>
                  <a:pt x="360" y="137"/>
                </a:lnTo>
                <a:lnTo>
                  <a:pt x="524" y="92"/>
                </a:lnTo>
                <a:lnTo>
                  <a:pt x="545" y="0"/>
                </a:lnTo>
                <a:lnTo>
                  <a:pt x="585" y="13"/>
                </a:lnTo>
                <a:lnTo>
                  <a:pt x="637" y="106"/>
                </a:lnTo>
                <a:lnTo>
                  <a:pt x="665" y="108"/>
                </a:lnTo>
                <a:lnTo>
                  <a:pt x="690" y="127"/>
                </a:lnTo>
                <a:lnTo>
                  <a:pt x="756" y="66"/>
                </a:lnTo>
                <a:lnTo>
                  <a:pt x="797" y="91"/>
                </a:lnTo>
                <a:lnTo>
                  <a:pt x="817" y="134"/>
                </a:lnTo>
                <a:lnTo>
                  <a:pt x="938" y="155"/>
                </a:lnTo>
                <a:lnTo>
                  <a:pt x="974" y="208"/>
                </a:lnTo>
                <a:lnTo>
                  <a:pt x="1020" y="218"/>
                </a:lnTo>
                <a:lnTo>
                  <a:pt x="1026" y="225"/>
                </a:lnTo>
                <a:lnTo>
                  <a:pt x="1025" y="238"/>
                </a:lnTo>
                <a:lnTo>
                  <a:pt x="1002" y="283"/>
                </a:lnTo>
                <a:lnTo>
                  <a:pt x="1081" y="364"/>
                </a:lnTo>
                <a:lnTo>
                  <a:pt x="1111" y="378"/>
                </a:lnTo>
                <a:lnTo>
                  <a:pt x="1161" y="347"/>
                </a:lnTo>
                <a:lnTo>
                  <a:pt x="1149" y="321"/>
                </a:lnTo>
                <a:lnTo>
                  <a:pt x="1156" y="296"/>
                </a:lnTo>
                <a:lnTo>
                  <a:pt x="1340" y="351"/>
                </a:lnTo>
                <a:lnTo>
                  <a:pt x="1341" y="418"/>
                </a:lnTo>
                <a:lnTo>
                  <a:pt x="1378" y="449"/>
                </a:lnTo>
                <a:lnTo>
                  <a:pt x="1398" y="443"/>
                </a:lnTo>
                <a:lnTo>
                  <a:pt x="1437" y="464"/>
                </a:lnTo>
                <a:lnTo>
                  <a:pt x="1517" y="586"/>
                </a:lnTo>
                <a:lnTo>
                  <a:pt x="1599" y="625"/>
                </a:lnTo>
                <a:close/>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dirty="0"/>
          </a:p>
        </p:txBody>
      </p:sp>
      <p:sp>
        <p:nvSpPr>
          <p:cNvPr id="24" name="BE">
            <a:extLst>
              <a:ext uri="{FF2B5EF4-FFF2-40B4-BE49-F238E27FC236}">
                <a16:creationId xmlns:a16="http://schemas.microsoft.com/office/drawing/2014/main" id="{4D5F5957-41E7-88D6-E1C1-CE69D7296A29}"/>
              </a:ext>
            </a:extLst>
          </p:cNvPr>
          <p:cNvSpPr>
            <a:spLocks/>
          </p:cNvSpPr>
          <p:nvPr/>
        </p:nvSpPr>
        <p:spPr bwMode="auto">
          <a:xfrm rot="21249101">
            <a:off x="8892651" y="3669143"/>
            <a:ext cx="352361" cy="333451"/>
          </a:xfrm>
          <a:custGeom>
            <a:avLst/>
            <a:gdLst>
              <a:gd name="T0" fmla="*/ 2147483647 w 737"/>
              <a:gd name="T1" fmla="*/ 2147483647 h 728"/>
              <a:gd name="T2" fmla="*/ 2147483647 w 737"/>
              <a:gd name="T3" fmla="*/ 2147483647 h 728"/>
              <a:gd name="T4" fmla="*/ 2147483647 w 737"/>
              <a:gd name="T5" fmla="*/ 2147483647 h 728"/>
              <a:gd name="T6" fmla="*/ 2147483647 w 737"/>
              <a:gd name="T7" fmla="*/ 2147483647 h 728"/>
              <a:gd name="T8" fmla="*/ 2147483647 w 737"/>
              <a:gd name="T9" fmla="*/ 2147483647 h 728"/>
              <a:gd name="T10" fmla="*/ 2147483647 w 737"/>
              <a:gd name="T11" fmla="*/ 2147483647 h 728"/>
              <a:gd name="T12" fmla="*/ 2147483647 w 737"/>
              <a:gd name="T13" fmla="*/ 2147483647 h 728"/>
              <a:gd name="T14" fmla="*/ 2147483647 w 737"/>
              <a:gd name="T15" fmla="*/ 2147483647 h 728"/>
              <a:gd name="T16" fmla="*/ 2147483647 w 737"/>
              <a:gd name="T17" fmla="*/ 2147483647 h 728"/>
              <a:gd name="T18" fmla="*/ 2147483647 w 737"/>
              <a:gd name="T19" fmla="*/ 2147483647 h 728"/>
              <a:gd name="T20" fmla="*/ 2147483647 w 737"/>
              <a:gd name="T21" fmla="*/ 2147483647 h 728"/>
              <a:gd name="T22" fmla="*/ 2147483647 w 737"/>
              <a:gd name="T23" fmla="*/ 2147483647 h 728"/>
              <a:gd name="T24" fmla="*/ 2147483647 w 737"/>
              <a:gd name="T25" fmla="*/ 2147483647 h 728"/>
              <a:gd name="T26" fmla="*/ 2147483647 w 737"/>
              <a:gd name="T27" fmla="*/ 2147483647 h 728"/>
              <a:gd name="T28" fmla="*/ 2147483647 w 737"/>
              <a:gd name="T29" fmla="*/ 2147483647 h 728"/>
              <a:gd name="T30" fmla="*/ 2147483647 w 737"/>
              <a:gd name="T31" fmla="*/ 2147483647 h 728"/>
              <a:gd name="T32" fmla="*/ 2147483647 w 737"/>
              <a:gd name="T33" fmla="*/ 2147483647 h 728"/>
              <a:gd name="T34" fmla="*/ 0 w 737"/>
              <a:gd name="T35" fmla="*/ 2147483647 h 728"/>
              <a:gd name="T36" fmla="*/ 2147483647 w 737"/>
              <a:gd name="T37" fmla="*/ 2147483647 h 728"/>
              <a:gd name="T38" fmla="*/ 2147483647 w 737"/>
              <a:gd name="T39" fmla="*/ 0 h 728"/>
              <a:gd name="T40" fmla="*/ 2147483647 w 737"/>
              <a:gd name="T41" fmla="*/ 2147483647 h 728"/>
              <a:gd name="T42" fmla="*/ 2147483647 w 737"/>
              <a:gd name="T43" fmla="*/ 2147483647 h 728"/>
              <a:gd name="T44" fmla="*/ 2147483647 w 737"/>
              <a:gd name="T45" fmla="*/ 2147483647 h 728"/>
              <a:gd name="T46" fmla="*/ 2147483647 w 737"/>
              <a:gd name="T47" fmla="*/ 2147483647 h 728"/>
              <a:gd name="T48" fmla="*/ 2147483647 w 737"/>
              <a:gd name="T49" fmla="*/ 2147483647 h 728"/>
              <a:gd name="T50" fmla="*/ 2147483647 w 737"/>
              <a:gd name="T51" fmla="*/ 2147483647 h 728"/>
              <a:gd name="T52" fmla="*/ 2147483647 w 737"/>
              <a:gd name="T53" fmla="*/ 2147483647 h 728"/>
              <a:gd name="T54" fmla="*/ 2147483647 w 737"/>
              <a:gd name="T55" fmla="*/ 2147483647 h 728"/>
              <a:gd name="T56" fmla="*/ 2147483647 w 737"/>
              <a:gd name="T57" fmla="*/ 2147483647 h 728"/>
              <a:gd name="T58" fmla="*/ 2147483647 w 737"/>
              <a:gd name="T59" fmla="*/ 2147483647 h 728"/>
              <a:gd name="T60" fmla="*/ 2147483647 w 737"/>
              <a:gd name="T61" fmla="*/ 2147483647 h 728"/>
              <a:gd name="T62" fmla="*/ 2147483647 w 737"/>
              <a:gd name="T63" fmla="*/ 2147483647 h 728"/>
              <a:gd name="T64" fmla="*/ 2147483647 w 737"/>
              <a:gd name="T65" fmla="*/ 2147483647 h 728"/>
              <a:gd name="T66" fmla="*/ 2147483647 w 737"/>
              <a:gd name="T67" fmla="*/ 2147483647 h 728"/>
              <a:gd name="T68" fmla="*/ 2147483647 w 737"/>
              <a:gd name="T69" fmla="*/ 2147483647 h 728"/>
              <a:gd name="T70" fmla="*/ 2147483647 w 737"/>
              <a:gd name="T71" fmla="*/ 2147483647 h 728"/>
              <a:gd name="T72" fmla="*/ 2147483647 w 737"/>
              <a:gd name="T73" fmla="*/ 2147483647 h 728"/>
              <a:gd name="T74" fmla="*/ 2147483647 w 737"/>
              <a:gd name="T75" fmla="*/ 2147483647 h 728"/>
              <a:gd name="T76" fmla="*/ 2147483647 w 737"/>
              <a:gd name="T77" fmla="*/ 2147483647 h 728"/>
              <a:gd name="T78" fmla="*/ 2147483647 w 737"/>
              <a:gd name="T79" fmla="*/ 2147483647 h 728"/>
              <a:gd name="T80" fmla="*/ 2147483647 w 737"/>
              <a:gd name="T81" fmla="*/ 2147483647 h 728"/>
              <a:gd name="T82" fmla="*/ 2147483647 w 737"/>
              <a:gd name="T83" fmla="*/ 2147483647 h 728"/>
              <a:gd name="T84" fmla="*/ 2147483647 w 737"/>
              <a:gd name="T85" fmla="*/ 2147483647 h 728"/>
              <a:gd name="T86" fmla="*/ 2147483647 w 737"/>
              <a:gd name="T87" fmla="*/ 2147483647 h 728"/>
              <a:gd name="T88" fmla="*/ 2147483647 w 737"/>
              <a:gd name="T89" fmla="*/ 2147483647 h 7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37"/>
              <a:gd name="T136" fmla="*/ 0 h 728"/>
              <a:gd name="T137" fmla="*/ 737 w 737"/>
              <a:gd name="T138" fmla="*/ 728 h 7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37" h="728">
                <a:moveTo>
                  <a:pt x="561" y="727"/>
                </a:moveTo>
                <a:lnTo>
                  <a:pt x="523" y="728"/>
                </a:lnTo>
                <a:lnTo>
                  <a:pt x="480" y="708"/>
                </a:lnTo>
                <a:lnTo>
                  <a:pt x="409" y="636"/>
                </a:lnTo>
                <a:lnTo>
                  <a:pt x="424" y="614"/>
                </a:lnTo>
                <a:lnTo>
                  <a:pt x="406" y="599"/>
                </a:lnTo>
                <a:lnTo>
                  <a:pt x="426" y="502"/>
                </a:lnTo>
                <a:lnTo>
                  <a:pt x="401" y="496"/>
                </a:lnTo>
                <a:lnTo>
                  <a:pt x="343" y="549"/>
                </a:lnTo>
                <a:lnTo>
                  <a:pt x="300" y="541"/>
                </a:lnTo>
                <a:lnTo>
                  <a:pt x="262" y="516"/>
                </a:lnTo>
                <a:lnTo>
                  <a:pt x="263" y="412"/>
                </a:lnTo>
                <a:lnTo>
                  <a:pt x="246" y="384"/>
                </a:lnTo>
                <a:lnTo>
                  <a:pt x="109" y="286"/>
                </a:lnTo>
                <a:lnTo>
                  <a:pt x="90" y="200"/>
                </a:lnTo>
                <a:lnTo>
                  <a:pt x="43" y="195"/>
                </a:lnTo>
                <a:lnTo>
                  <a:pt x="2" y="162"/>
                </a:lnTo>
                <a:lnTo>
                  <a:pt x="0" y="123"/>
                </a:lnTo>
                <a:lnTo>
                  <a:pt x="20" y="41"/>
                </a:lnTo>
                <a:lnTo>
                  <a:pt x="169" y="0"/>
                </a:lnTo>
                <a:lnTo>
                  <a:pt x="200" y="2"/>
                </a:lnTo>
                <a:lnTo>
                  <a:pt x="198" y="6"/>
                </a:lnTo>
                <a:lnTo>
                  <a:pt x="258" y="59"/>
                </a:lnTo>
                <a:lnTo>
                  <a:pt x="342" y="51"/>
                </a:lnTo>
                <a:lnTo>
                  <a:pt x="411" y="25"/>
                </a:lnTo>
                <a:lnTo>
                  <a:pt x="525" y="33"/>
                </a:lnTo>
                <a:lnTo>
                  <a:pt x="541" y="63"/>
                </a:lnTo>
                <a:lnTo>
                  <a:pt x="554" y="65"/>
                </a:lnTo>
                <a:lnTo>
                  <a:pt x="558" y="93"/>
                </a:lnTo>
                <a:lnTo>
                  <a:pt x="586" y="118"/>
                </a:lnTo>
                <a:lnTo>
                  <a:pt x="626" y="129"/>
                </a:lnTo>
                <a:lnTo>
                  <a:pt x="653" y="158"/>
                </a:lnTo>
                <a:lnTo>
                  <a:pt x="633" y="288"/>
                </a:lnTo>
                <a:lnTo>
                  <a:pt x="660" y="319"/>
                </a:lnTo>
                <a:lnTo>
                  <a:pt x="708" y="328"/>
                </a:lnTo>
                <a:lnTo>
                  <a:pt x="722" y="359"/>
                </a:lnTo>
                <a:lnTo>
                  <a:pt x="721" y="404"/>
                </a:lnTo>
                <a:lnTo>
                  <a:pt x="737" y="445"/>
                </a:lnTo>
                <a:lnTo>
                  <a:pt x="731" y="478"/>
                </a:lnTo>
                <a:lnTo>
                  <a:pt x="676" y="539"/>
                </a:lnTo>
                <a:lnTo>
                  <a:pt x="647" y="536"/>
                </a:lnTo>
                <a:lnTo>
                  <a:pt x="601" y="558"/>
                </a:lnTo>
                <a:lnTo>
                  <a:pt x="565" y="607"/>
                </a:lnTo>
                <a:lnTo>
                  <a:pt x="572" y="663"/>
                </a:lnTo>
                <a:lnTo>
                  <a:pt x="561" y="727"/>
                </a:lnTo>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dirty="0">
              <a:solidFill>
                <a:srgbClr val="DDDDDD"/>
              </a:solidFill>
              <a:highlight>
                <a:srgbClr val="FC7B10"/>
              </a:highlight>
            </a:endParaRPr>
          </a:p>
        </p:txBody>
      </p:sp>
      <p:sp>
        <p:nvSpPr>
          <p:cNvPr id="25" name="ES">
            <a:extLst>
              <a:ext uri="{FF2B5EF4-FFF2-40B4-BE49-F238E27FC236}">
                <a16:creationId xmlns:a16="http://schemas.microsoft.com/office/drawing/2014/main" id="{C2C6037E-465A-3DEC-FEF7-96ADDADB7383}"/>
              </a:ext>
            </a:extLst>
          </p:cNvPr>
          <p:cNvSpPr>
            <a:spLocks/>
          </p:cNvSpPr>
          <p:nvPr/>
        </p:nvSpPr>
        <p:spPr bwMode="auto">
          <a:xfrm rot="21249101">
            <a:off x="7185592" y="4629855"/>
            <a:ext cx="1600166" cy="1340611"/>
          </a:xfrm>
          <a:custGeom>
            <a:avLst/>
            <a:gdLst>
              <a:gd name="T0" fmla="*/ 2147483647 w 3350"/>
              <a:gd name="T1" fmla="*/ 2147483647 h 2942"/>
              <a:gd name="T2" fmla="*/ 2147483647 w 3350"/>
              <a:gd name="T3" fmla="*/ 2147483647 h 2942"/>
              <a:gd name="T4" fmla="*/ 2147483647 w 3350"/>
              <a:gd name="T5" fmla="*/ 2147483647 h 2942"/>
              <a:gd name="T6" fmla="*/ 2147483647 w 3350"/>
              <a:gd name="T7" fmla="*/ 2147483647 h 2942"/>
              <a:gd name="T8" fmla="*/ 2147483647 w 3350"/>
              <a:gd name="T9" fmla="*/ 2147483647 h 2942"/>
              <a:gd name="T10" fmla="*/ 2147483647 w 3350"/>
              <a:gd name="T11" fmla="*/ 2147483647 h 2942"/>
              <a:gd name="T12" fmla="*/ 2147483647 w 3350"/>
              <a:gd name="T13" fmla="*/ 2147483647 h 2942"/>
              <a:gd name="T14" fmla="*/ 2147483647 w 3350"/>
              <a:gd name="T15" fmla="*/ 2147483647 h 2942"/>
              <a:gd name="T16" fmla="*/ 2147483647 w 3350"/>
              <a:gd name="T17" fmla="*/ 2147483647 h 2942"/>
              <a:gd name="T18" fmla="*/ 2147483647 w 3350"/>
              <a:gd name="T19" fmla="*/ 2147483647 h 2942"/>
              <a:gd name="T20" fmla="*/ 2147483647 w 3350"/>
              <a:gd name="T21" fmla="*/ 2147483647 h 2942"/>
              <a:gd name="T22" fmla="*/ 2147483647 w 3350"/>
              <a:gd name="T23" fmla="*/ 2147483647 h 2942"/>
              <a:gd name="T24" fmla="*/ 2147483647 w 3350"/>
              <a:gd name="T25" fmla="*/ 2147483647 h 2942"/>
              <a:gd name="T26" fmla="*/ 2147483647 w 3350"/>
              <a:gd name="T27" fmla="*/ 2147483647 h 2942"/>
              <a:gd name="T28" fmla="*/ 2147483647 w 3350"/>
              <a:gd name="T29" fmla="*/ 2147483647 h 2942"/>
              <a:gd name="T30" fmla="*/ 2147483647 w 3350"/>
              <a:gd name="T31" fmla="*/ 2147483647 h 2942"/>
              <a:gd name="T32" fmla="*/ 2147483647 w 3350"/>
              <a:gd name="T33" fmla="*/ 2147483647 h 2942"/>
              <a:gd name="T34" fmla="*/ 2147483647 w 3350"/>
              <a:gd name="T35" fmla="*/ 2147483647 h 2942"/>
              <a:gd name="T36" fmla="*/ 2147483647 w 3350"/>
              <a:gd name="T37" fmla="*/ 2147483647 h 2942"/>
              <a:gd name="T38" fmla="*/ 2147483647 w 3350"/>
              <a:gd name="T39" fmla="*/ 2147483647 h 2942"/>
              <a:gd name="T40" fmla="*/ 2147483647 w 3350"/>
              <a:gd name="T41" fmla="*/ 2147483647 h 2942"/>
              <a:gd name="T42" fmla="*/ 2147483647 w 3350"/>
              <a:gd name="T43" fmla="*/ 2147483647 h 2942"/>
              <a:gd name="T44" fmla="*/ 2147483647 w 3350"/>
              <a:gd name="T45" fmla="*/ 0 h 2942"/>
              <a:gd name="T46" fmla="*/ 2147483647 w 3350"/>
              <a:gd name="T47" fmla="*/ 2147483647 h 2942"/>
              <a:gd name="T48" fmla="*/ 2147483647 w 3350"/>
              <a:gd name="T49" fmla="*/ 2147483647 h 2942"/>
              <a:gd name="T50" fmla="*/ 2147483647 w 3350"/>
              <a:gd name="T51" fmla="*/ 2147483647 h 2942"/>
              <a:gd name="T52" fmla="*/ 2147483647 w 3350"/>
              <a:gd name="T53" fmla="*/ 2147483647 h 2942"/>
              <a:gd name="T54" fmla="*/ 2147483647 w 3350"/>
              <a:gd name="T55" fmla="*/ 2147483647 h 2942"/>
              <a:gd name="T56" fmla="*/ 2147483647 w 3350"/>
              <a:gd name="T57" fmla="*/ 2147483647 h 2942"/>
              <a:gd name="T58" fmla="*/ 2147483647 w 3350"/>
              <a:gd name="T59" fmla="*/ 2147483647 h 2942"/>
              <a:gd name="T60" fmla="*/ 2147483647 w 3350"/>
              <a:gd name="T61" fmla="*/ 2147483647 h 2942"/>
              <a:gd name="T62" fmla="*/ 2147483647 w 3350"/>
              <a:gd name="T63" fmla="*/ 2147483647 h 2942"/>
              <a:gd name="T64" fmla="*/ 2147483647 w 3350"/>
              <a:gd name="T65" fmla="*/ 2147483647 h 2942"/>
              <a:gd name="T66" fmla="*/ 2147483647 w 3350"/>
              <a:gd name="T67" fmla="*/ 2147483647 h 2942"/>
              <a:gd name="T68" fmla="*/ 2147483647 w 3350"/>
              <a:gd name="T69" fmla="*/ 2147483647 h 2942"/>
              <a:gd name="T70" fmla="*/ 2147483647 w 3350"/>
              <a:gd name="T71" fmla="*/ 2147483647 h 2942"/>
              <a:gd name="T72" fmla="*/ 2147483647 w 3350"/>
              <a:gd name="T73" fmla="*/ 2147483647 h 2942"/>
              <a:gd name="T74" fmla="*/ 2147483647 w 3350"/>
              <a:gd name="T75" fmla="*/ 2147483647 h 2942"/>
              <a:gd name="T76" fmla="*/ 2147483647 w 3350"/>
              <a:gd name="T77" fmla="*/ 2147483647 h 2942"/>
              <a:gd name="T78" fmla="*/ 2147483647 w 3350"/>
              <a:gd name="T79" fmla="*/ 2147483647 h 2942"/>
              <a:gd name="T80" fmla="*/ 2147483647 w 3350"/>
              <a:gd name="T81" fmla="*/ 2147483647 h 2942"/>
              <a:gd name="T82" fmla="*/ 2147483647 w 3350"/>
              <a:gd name="T83" fmla="*/ 2147483647 h 2942"/>
              <a:gd name="T84" fmla="*/ 2147483647 w 3350"/>
              <a:gd name="T85" fmla="*/ 2147483647 h 2942"/>
              <a:gd name="T86" fmla="*/ 2147483647 w 3350"/>
              <a:gd name="T87" fmla="*/ 2147483647 h 2942"/>
              <a:gd name="T88" fmla="*/ 2147483647 w 3350"/>
              <a:gd name="T89" fmla="*/ 2147483647 h 2942"/>
              <a:gd name="T90" fmla="*/ 2147483647 w 3350"/>
              <a:gd name="T91" fmla="*/ 2147483647 h 2942"/>
              <a:gd name="T92" fmla="*/ 2147483647 w 3350"/>
              <a:gd name="T93" fmla="*/ 2147483647 h 2942"/>
              <a:gd name="T94" fmla="*/ 2147483647 w 3350"/>
              <a:gd name="T95" fmla="*/ 2147483647 h 2942"/>
              <a:gd name="T96" fmla="*/ 2147483647 w 3350"/>
              <a:gd name="T97" fmla="*/ 2147483647 h 2942"/>
              <a:gd name="T98" fmla="*/ 2147483647 w 3350"/>
              <a:gd name="T99" fmla="*/ 2147483647 h 2942"/>
              <a:gd name="T100" fmla="*/ 2147483647 w 3350"/>
              <a:gd name="T101" fmla="*/ 2147483647 h 2942"/>
              <a:gd name="T102" fmla="*/ 2147483647 w 3350"/>
              <a:gd name="T103" fmla="*/ 2147483647 h 2942"/>
              <a:gd name="T104" fmla="*/ 2147483647 w 3350"/>
              <a:gd name="T105" fmla="*/ 2147483647 h 2942"/>
              <a:gd name="T106" fmla="*/ 2147483647 w 3350"/>
              <a:gd name="T107" fmla="*/ 2147483647 h 2942"/>
              <a:gd name="T108" fmla="*/ 2147483647 w 3350"/>
              <a:gd name="T109" fmla="*/ 2147483647 h 2942"/>
              <a:gd name="T110" fmla="*/ 2147483647 w 3350"/>
              <a:gd name="T111" fmla="*/ 2147483647 h 2942"/>
              <a:gd name="T112" fmla="*/ 2147483647 w 3350"/>
              <a:gd name="T113" fmla="*/ 2147483647 h 2942"/>
              <a:gd name="T114" fmla="*/ 2147483647 w 3350"/>
              <a:gd name="T115" fmla="*/ 2147483647 h 2942"/>
              <a:gd name="T116" fmla="*/ 2147483647 w 3350"/>
              <a:gd name="T117" fmla="*/ 2147483647 h 2942"/>
              <a:gd name="T118" fmla="*/ 2147483647 w 3350"/>
              <a:gd name="T119" fmla="*/ 2147483647 h 29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50"/>
              <a:gd name="T181" fmla="*/ 0 h 2942"/>
              <a:gd name="T182" fmla="*/ 3350 w 3350"/>
              <a:gd name="T183" fmla="*/ 2942 h 29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50" h="2942">
                <a:moveTo>
                  <a:pt x="0" y="2311"/>
                </a:moveTo>
                <a:lnTo>
                  <a:pt x="25" y="2162"/>
                </a:lnTo>
                <a:lnTo>
                  <a:pt x="217" y="2062"/>
                </a:lnTo>
                <a:lnTo>
                  <a:pt x="220" y="2001"/>
                </a:lnTo>
                <a:lnTo>
                  <a:pt x="193" y="1934"/>
                </a:lnTo>
                <a:lnTo>
                  <a:pt x="197" y="1860"/>
                </a:lnTo>
                <a:lnTo>
                  <a:pt x="224" y="1792"/>
                </a:lnTo>
                <a:lnTo>
                  <a:pt x="311" y="1706"/>
                </a:lnTo>
                <a:lnTo>
                  <a:pt x="280" y="1565"/>
                </a:lnTo>
                <a:lnTo>
                  <a:pt x="291" y="1482"/>
                </a:lnTo>
                <a:lnTo>
                  <a:pt x="343" y="1465"/>
                </a:lnTo>
                <a:lnTo>
                  <a:pt x="400" y="1469"/>
                </a:lnTo>
                <a:lnTo>
                  <a:pt x="465" y="1430"/>
                </a:lnTo>
                <a:lnTo>
                  <a:pt x="484" y="1384"/>
                </a:lnTo>
                <a:lnTo>
                  <a:pt x="469" y="1323"/>
                </a:lnTo>
                <a:lnTo>
                  <a:pt x="612" y="1050"/>
                </a:lnTo>
                <a:lnTo>
                  <a:pt x="751" y="982"/>
                </a:lnTo>
                <a:lnTo>
                  <a:pt x="810" y="928"/>
                </a:lnTo>
                <a:lnTo>
                  <a:pt x="823" y="889"/>
                </a:lnTo>
                <a:lnTo>
                  <a:pt x="790" y="778"/>
                </a:lnTo>
                <a:lnTo>
                  <a:pt x="644" y="704"/>
                </a:lnTo>
                <a:lnTo>
                  <a:pt x="571" y="714"/>
                </a:lnTo>
                <a:lnTo>
                  <a:pt x="401" y="646"/>
                </a:lnTo>
                <a:lnTo>
                  <a:pt x="375" y="612"/>
                </a:lnTo>
                <a:lnTo>
                  <a:pt x="390" y="552"/>
                </a:lnTo>
                <a:lnTo>
                  <a:pt x="245" y="540"/>
                </a:lnTo>
                <a:lnTo>
                  <a:pt x="187" y="573"/>
                </a:lnTo>
                <a:lnTo>
                  <a:pt x="184" y="547"/>
                </a:lnTo>
                <a:lnTo>
                  <a:pt x="198" y="503"/>
                </a:lnTo>
                <a:lnTo>
                  <a:pt x="235" y="453"/>
                </a:lnTo>
                <a:lnTo>
                  <a:pt x="282" y="422"/>
                </a:lnTo>
                <a:lnTo>
                  <a:pt x="241" y="412"/>
                </a:lnTo>
                <a:lnTo>
                  <a:pt x="269" y="378"/>
                </a:lnTo>
                <a:lnTo>
                  <a:pt x="234" y="342"/>
                </a:lnTo>
                <a:lnTo>
                  <a:pt x="289" y="293"/>
                </a:lnTo>
                <a:lnTo>
                  <a:pt x="265" y="288"/>
                </a:lnTo>
                <a:lnTo>
                  <a:pt x="242" y="256"/>
                </a:lnTo>
                <a:lnTo>
                  <a:pt x="263" y="219"/>
                </a:lnTo>
                <a:lnTo>
                  <a:pt x="214" y="128"/>
                </a:lnTo>
                <a:lnTo>
                  <a:pt x="259" y="76"/>
                </a:lnTo>
                <a:lnTo>
                  <a:pt x="326" y="58"/>
                </a:lnTo>
                <a:lnTo>
                  <a:pt x="383" y="62"/>
                </a:lnTo>
                <a:lnTo>
                  <a:pt x="470" y="92"/>
                </a:lnTo>
                <a:lnTo>
                  <a:pt x="519" y="70"/>
                </a:lnTo>
                <a:lnTo>
                  <a:pt x="528" y="36"/>
                </a:lnTo>
                <a:lnTo>
                  <a:pt x="575" y="0"/>
                </a:lnTo>
                <a:lnTo>
                  <a:pt x="687" y="15"/>
                </a:lnTo>
                <a:lnTo>
                  <a:pt x="786" y="103"/>
                </a:lnTo>
                <a:lnTo>
                  <a:pt x="1054" y="217"/>
                </a:lnTo>
                <a:lnTo>
                  <a:pt x="1110" y="208"/>
                </a:lnTo>
                <a:lnTo>
                  <a:pt x="1602" y="451"/>
                </a:lnTo>
                <a:lnTo>
                  <a:pt x="1668" y="454"/>
                </a:lnTo>
                <a:lnTo>
                  <a:pt x="1800" y="530"/>
                </a:lnTo>
                <a:lnTo>
                  <a:pt x="1938" y="566"/>
                </a:lnTo>
                <a:lnTo>
                  <a:pt x="1998" y="607"/>
                </a:lnTo>
                <a:lnTo>
                  <a:pt x="2081" y="635"/>
                </a:lnTo>
                <a:lnTo>
                  <a:pt x="2126" y="636"/>
                </a:lnTo>
                <a:lnTo>
                  <a:pt x="2129" y="658"/>
                </a:lnTo>
                <a:lnTo>
                  <a:pt x="2244" y="804"/>
                </a:lnTo>
                <a:lnTo>
                  <a:pt x="2292" y="830"/>
                </a:lnTo>
                <a:lnTo>
                  <a:pt x="2361" y="914"/>
                </a:lnTo>
                <a:lnTo>
                  <a:pt x="2633" y="1057"/>
                </a:lnTo>
                <a:lnTo>
                  <a:pt x="2666" y="1059"/>
                </a:lnTo>
                <a:lnTo>
                  <a:pt x="2722" y="1037"/>
                </a:lnTo>
                <a:lnTo>
                  <a:pt x="2764" y="1037"/>
                </a:lnTo>
                <a:lnTo>
                  <a:pt x="2859" y="1126"/>
                </a:lnTo>
                <a:lnTo>
                  <a:pt x="2883" y="1166"/>
                </a:lnTo>
                <a:lnTo>
                  <a:pt x="2891" y="1198"/>
                </a:lnTo>
                <a:lnTo>
                  <a:pt x="2922" y="1208"/>
                </a:lnTo>
                <a:lnTo>
                  <a:pt x="2945" y="1205"/>
                </a:lnTo>
                <a:lnTo>
                  <a:pt x="2939" y="1182"/>
                </a:lnTo>
                <a:lnTo>
                  <a:pt x="2983" y="1235"/>
                </a:lnTo>
                <a:lnTo>
                  <a:pt x="3018" y="1256"/>
                </a:lnTo>
                <a:lnTo>
                  <a:pt x="3317" y="1305"/>
                </a:lnTo>
                <a:lnTo>
                  <a:pt x="3349" y="1327"/>
                </a:lnTo>
                <a:lnTo>
                  <a:pt x="3350" y="1364"/>
                </a:lnTo>
                <a:lnTo>
                  <a:pt x="3306" y="1376"/>
                </a:lnTo>
                <a:lnTo>
                  <a:pt x="3301" y="1426"/>
                </a:lnTo>
                <a:lnTo>
                  <a:pt x="3310" y="1472"/>
                </a:lnTo>
                <a:lnTo>
                  <a:pt x="3255" y="1519"/>
                </a:lnTo>
                <a:lnTo>
                  <a:pt x="2966" y="1639"/>
                </a:lnTo>
                <a:lnTo>
                  <a:pt x="2653" y="1676"/>
                </a:lnTo>
                <a:lnTo>
                  <a:pt x="2577" y="1735"/>
                </a:lnTo>
                <a:lnTo>
                  <a:pt x="2570" y="1768"/>
                </a:lnTo>
                <a:lnTo>
                  <a:pt x="2200" y="2074"/>
                </a:lnTo>
                <a:lnTo>
                  <a:pt x="2145" y="2160"/>
                </a:lnTo>
                <a:lnTo>
                  <a:pt x="2142" y="2171"/>
                </a:lnTo>
                <a:lnTo>
                  <a:pt x="2153" y="2203"/>
                </a:lnTo>
                <a:lnTo>
                  <a:pt x="2153" y="2294"/>
                </a:lnTo>
                <a:lnTo>
                  <a:pt x="2171" y="2328"/>
                </a:lnTo>
                <a:lnTo>
                  <a:pt x="2195" y="2350"/>
                </a:lnTo>
                <a:lnTo>
                  <a:pt x="2231" y="2369"/>
                </a:lnTo>
                <a:lnTo>
                  <a:pt x="2243" y="2404"/>
                </a:lnTo>
                <a:lnTo>
                  <a:pt x="2208" y="2445"/>
                </a:lnTo>
                <a:lnTo>
                  <a:pt x="2073" y="2498"/>
                </a:lnTo>
                <a:lnTo>
                  <a:pt x="1879" y="2715"/>
                </a:lnTo>
                <a:lnTo>
                  <a:pt x="1882" y="2749"/>
                </a:lnTo>
                <a:lnTo>
                  <a:pt x="1713" y="2730"/>
                </a:lnTo>
                <a:lnTo>
                  <a:pt x="1586" y="2794"/>
                </a:lnTo>
                <a:lnTo>
                  <a:pt x="1492" y="2915"/>
                </a:lnTo>
                <a:lnTo>
                  <a:pt x="1457" y="2942"/>
                </a:lnTo>
                <a:lnTo>
                  <a:pt x="1414" y="2937"/>
                </a:lnTo>
                <a:lnTo>
                  <a:pt x="1355" y="2907"/>
                </a:lnTo>
                <a:lnTo>
                  <a:pt x="1268" y="2915"/>
                </a:lnTo>
                <a:lnTo>
                  <a:pt x="786" y="2775"/>
                </a:lnTo>
                <a:lnTo>
                  <a:pt x="708" y="2819"/>
                </a:lnTo>
                <a:lnTo>
                  <a:pt x="641" y="2805"/>
                </a:lnTo>
                <a:lnTo>
                  <a:pt x="575" y="2810"/>
                </a:lnTo>
                <a:lnTo>
                  <a:pt x="518" y="2842"/>
                </a:lnTo>
                <a:lnTo>
                  <a:pt x="493" y="2869"/>
                </a:lnTo>
                <a:lnTo>
                  <a:pt x="460" y="2886"/>
                </a:lnTo>
                <a:lnTo>
                  <a:pt x="413" y="2895"/>
                </a:lnTo>
                <a:lnTo>
                  <a:pt x="330" y="2849"/>
                </a:lnTo>
                <a:lnTo>
                  <a:pt x="282" y="2784"/>
                </a:lnTo>
                <a:lnTo>
                  <a:pt x="253" y="2679"/>
                </a:lnTo>
                <a:lnTo>
                  <a:pt x="261" y="2632"/>
                </a:lnTo>
                <a:lnTo>
                  <a:pt x="234" y="2589"/>
                </a:lnTo>
                <a:lnTo>
                  <a:pt x="249" y="2509"/>
                </a:lnTo>
                <a:lnTo>
                  <a:pt x="208" y="2433"/>
                </a:lnTo>
                <a:lnTo>
                  <a:pt x="112" y="2344"/>
                </a:lnTo>
                <a:lnTo>
                  <a:pt x="0" y="2311"/>
                </a:lnTo>
                <a:close/>
              </a:path>
            </a:pathLst>
          </a:custGeom>
          <a:solidFill>
            <a:srgbClr val="9C9C9C"/>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26" name="BG">
            <a:extLst>
              <a:ext uri="{FF2B5EF4-FFF2-40B4-BE49-F238E27FC236}">
                <a16:creationId xmlns:a16="http://schemas.microsoft.com/office/drawing/2014/main" id="{37A443B5-DA06-9877-C86C-ABA7BCDE3AA8}"/>
              </a:ext>
            </a:extLst>
          </p:cNvPr>
          <p:cNvSpPr>
            <a:spLocks/>
          </p:cNvSpPr>
          <p:nvPr/>
        </p:nvSpPr>
        <p:spPr bwMode="auto">
          <a:xfrm rot="21249101">
            <a:off x="11165506" y="4770127"/>
            <a:ext cx="781996" cy="483584"/>
          </a:xfrm>
          <a:custGeom>
            <a:avLst/>
            <a:gdLst>
              <a:gd name="T0" fmla="*/ 2147483647 w 1639"/>
              <a:gd name="T1" fmla="*/ 2147483647 h 1064"/>
              <a:gd name="T2" fmla="*/ 2147483647 w 1639"/>
              <a:gd name="T3" fmla="*/ 2147483647 h 1064"/>
              <a:gd name="T4" fmla="*/ 2147483647 w 1639"/>
              <a:gd name="T5" fmla="*/ 2147483647 h 1064"/>
              <a:gd name="T6" fmla="*/ 2147483647 w 1639"/>
              <a:gd name="T7" fmla="*/ 2147483647 h 1064"/>
              <a:gd name="T8" fmla="*/ 2147483647 w 1639"/>
              <a:gd name="T9" fmla="*/ 2147483647 h 1064"/>
              <a:gd name="T10" fmla="*/ 2147483647 w 1639"/>
              <a:gd name="T11" fmla="*/ 2147483647 h 1064"/>
              <a:gd name="T12" fmla="*/ 2147483647 w 1639"/>
              <a:gd name="T13" fmla="*/ 2147483647 h 1064"/>
              <a:gd name="T14" fmla="*/ 0 w 1639"/>
              <a:gd name="T15" fmla="*/ 2147483647 h 1064"/>
              <a:gd name="T16" fmla="*/ 2147483647 w 1639"/>
              <a:gd name="T17" fmla="*/ 2147483647 h 1064"/>
              <a:gd name="T18" fmla="*/ 2147483647 w 1639"/>
              <a:gd name="T19" fmla="*/ 2147483647 h 1064"/>
              <a:gd name="T20" fmla="*/ 2147483647 w 1639"/>
              <a:gd name="T21" fmla="*/ 2147483647 h 1064"/>
              <a:gd name="T22" fmla="*/ 2147483647 w 1639"/>
              <a:gd name="T23" fmla="*/ 2147483647 h 1064"/>
              <a:gd name="T24" fmla="*/ 2147483647 w 1639"/>
              <a:gd name="T25" fmla="*/ 2147483647 h 1064"/>
              <a:gd name="T26" fmla="*/ 2147483647 w 1639"/>
              <a:gd name="T27" fmla="*/ 2147483647 h 1064"/>
              <a:gd name="T28" fmla="*/ 2147483647 w 1639"/>
              <a:gd name="T29" fmla="*/ 0 h 1064"/>
              <a:gd name="T30" fmla="*/ 2147483647 w 1639"/>
              <a:gd name="T31" fmla="*/ 2147483647 h 1064"/>
              <a:gd name="T32" fmla="*/ 2147483647 w 1639"/>
              <a:gd name="T33" fmla="*/ 2147483647 h 1064"/>
              <a:gd name="T34" fmla="*/ 2147483647 w 1639"/>
              <a:gd name="T35" fmla="*/ 2147483647 h 1064"/>
              <a:gd name="T36" fmla="*/ 2147483647 w 1639"/>
              <a:gd name="T37" fmla="*/ 2147483647 h 1064"/>
              <a:gd name="T38" fmla="*/ 2147483647 w 1639"/>
              <a:gd name="T39" fmla="*/ 2147483647 h 1064"/>
              <a:gd name="T40" fmla="*/ 2147483647 w 1639"/>
              <a:gd name="T41" fmla="*/ 2147483647 h 1064"/>
              <a:gd name="T42" fmla="*/ 2147483647 w 1639"/>
              <a:gd name="T43" fmla="*/ 2147483647 h 1064"/>
              <a:gd name="T44" fmla="*/ 2147483647 w 1639"/>
              <a:gd name="T45" fmla="*/ 2147483647 h 1064"/>
              <a:gd name="T46" fmla="*/ 2147483647 w 1639"/>
              <a:gd name="T47" fmla="*/ 2147483647 h 1064"/>
              <a:gd name="T48" fmla="*/ 2147483647 w 1639"/>
              <a:gd name="T49" fmla="*/ 2147483647 h 1064"/>
              <a:gd name="T50" fmla="*/ 2147483647 w 1639"/>
              <a:gd name="T51" fmla="*/ 2147483647 h 1064"/>
              <a:gd name="T52" fmla="*/ 2147483647 w 1639"/>
              <a:gd name="T53" fmla="*/ 2147483647 h 1064"/>
              <a:gd name="T54" fmla="*/ 2147483647 w 1639"/>
              <a:gd name="T55" fmla="*/ 2147483647 h 1064"/>
              <a:gd name="T56" fmla="*/ 2147483647 w 1639"/>
              <a:gd name="T57" fmla="*/ 2147483647 h 1064"/>
              <a:gd name="T58" fmla="*/ 2147483647 w 1639"/>
              <a:gd name="T59" fmla="*/ 2147483647 h 1064"/>
              <a:gd name="T60" fmla="*/ 2147483647 w 1639"/>
              <a:gd name="T61" fmla="*/ 2147483647 h 1064"/>
              <a:gd name="T62" fmla="*/ 2147483647 w 1639"/>
              <a:gd name="T63" fmla="*/ 2147483647 h 1064"/>
              <a:gd name="T64" fmla="*/ 2147483647 w 1639"/>
              <a:gd name="T65" fmla="*/ 2147483647 h 1064"/>
              <a:gd name="T66" fmla="*/ 2147483647 w 1639"/>
              <a:gd name="T67" fmla="*/ 2147483647 h 1064"/>
              <a:gd name="T68" fmla="*/ 2147483647 w 1639"/>
              <a:gd name="T69" fmla="*/ 2147483647 h 1064"/>
              <a:gd name="T70" fmla="*/ 2147483647 w 1639"/>
              <a:gd name="T71" fmla="*/ 2147483647 h 1064"/>
              <a:gd name="T72" fmla="*/ 2147483647 w 1639"/>
              <a:gd name="T73" fmla="*/ 2147483647 h 1064"/>
              <a:gd name="T74" fmla="*/ 2147483647 w 1639"/>
              <a:gd name="T75" fmla="*/ 2147483647 h 1064"/>
              <a:gd name="T76" fmla="*/ 2147483647 w 1639"/>
              <a:gd name="T77" fmla="*/ 2147483647 h 1064"/>
              <a:gd name="T78" fmla="*/ 2147483647 w 1639"/>
              <a:gd name="T79" fmla="*/ 2147483647 h 1064"/>
              <a:gd name="T80" fmla="*/ 2147483647 w 1639"/>
              <a:gd name="T81" fmla="*/ 2147483647 h 1064"/>
              <a:gd name="T82" fmla="*/ 2147483647 w 1639"/>
              <a:gd name="T83" fmla="*/ 2147483647 h 1064"/>
              <a:gd name="T84" fmla="*/ 2147483647 w 1639"/>
              <a:gd name="T85" fmla="*/ 2147483647 h 10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39"/>
              <a:gd name="T130" fmla="*/ 0 h 1064"/>
              <a:gd name="T131" fmla="*/ 1639 w 1639"/>
              <a:gd name="T132" fmla="*/ 1064 h 106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39" h="1064">
                <a:moveTo>
                  <a:pt x="173" y="1064"/>
                </a:moveTo>
                <a:lnTo>
                  <a:pt x="132" y="836"/>
                </a:lnTo>
                <a:lnTo>
                  <a:pt x="15" y="745"/>
                </a:lnTo>
                <a:lnTo>
                  <a:pt x="12" y="628"/>
                </a:lnTo>
                <a:lnTo>
                  <a:pt x="68" y="502"/>
                </a:lnTo>
                <a:lnTo>
                  <a:pt x="121" y="445"/>
                </a:lnTo>
                <a:lnTo>
                  <a:pt x="2" y="297"/>
                </a:lnTo>
                <a:lnTo>
                  <a:pt x="0" y="94"/>
                </a:lnTo>
                <a:lnTo>
                  <a:pt x="78" y="55"/>
                </a:lnTo>
                <a:lnTo>
                  <a:pt x="139" y="73"/>
                </a:lnTo>
                <a:lnTo>
                  <a:pt x="110" y="142"/>
                </a:lnTo>
                <a:lnTo>
                  <a:pt x="164" y="184"/>
                </a:lnTo>
                <a:lnTo>
                  <a:pt x="804" y="204"/>
                </a:lnTo>
                <a:lnTo>
                  <a:pt x="1184" y="5"/>
                </a:lnTo>
                <a:lnTo>
                  <a:pt x="1275" y="0"/>
                </a:lnTo>
                <a:lnTo>
                  <a:pt x="1308" y="22"/>
                </a:lnTo>
                <a:lnTo>
                  <a:pt x="1451" y="45"/>
                </a:lnTo>
                <a:lnTo>
                  <a:pt x="1555" y="104"/>
                </a:lnTo>
                <a:lnTo>
                  <a:pt x="1639" y="86"/>
                </a:lnTo>
                <a:lnTo>
                  <a:pt x="1635" y="162"/>
                </a:lnTo>
                <a:lnTo>
                  <a:pt x="1615" y="220"/>
                </a:lnTo>
                <a:lnTo>
                  <a:pt x="1527" y="253"/>
                </a:lnTo>
                <a:lnTo>
                  <a:pt x="1476" y="329"/>
                </a:lnTo>
                <a:lnTo>
                  <a:pt x="1487" y="472"/>
                </a:lnTo>
                <a:lnTo>
                  <a:pt x="1448" y="491"/>
                </a:lnTo>
                <a:lnTo>
                  <a:pt x="1436" y="519"/>
                </a:lnTo>
                <a:lnTo>
                  <a:pt x="1387" y="571"/>
                </a:lnTo>
                <a:lnTo>
                  <a:pt x="1404" y="590"/>
                </a:lnTo>
                <a:lnTo>
                  <a:pt x="1429" y="596"/>
                </a:lnTo>
                <a:lnTo>
                  <a:pt x="1535" y="741"/>
                </a:lnTo>
                <a:lnTo>
                  <a:pt x="1542" y="772"/>
                </a:lnTo>
                <a:lnTo>
                  <a:pt x="1502" y="770"/>
                </a:lnTo>
                <a:lnTo>
                  <a:pt x="1390" y="797"/>
                </a:lnTo>
                <a:lnTo>
                  <a:pt x="1300" y="758"/>
                </a:lnTo>
                <a:lnTo>
                  <a:pt x="1135" y="823"/>
                </a:lnTo>
                <a:lnTo>
                  <a:pt x="1092" y="860"/>
                </a:lnTo>
                <a:lnTo>
                  <a:pt x="1036" y="869"/>
                </a:lnTo>
                <a:lnTo>
                  <a:pt x="1034" y="969"/>
                </a:lnTo>
                <a:lnTo>
                  <a:pt x="970" y="1034"/>
                </a:lnTo>
                <a:lnTo>
                  <a:pt x="871" y="1063"/>
                </a:lnTo>
                <a:lnTo>
                  <a:pt x="690" y="1012"/>
                </a:lnTo>
                <a:lnTo>
                  <a:pt x="640" y="973"/>
                </a:lnTo>
                <a:lnTo>
                  <a:pt x="173" y="1064"/>
                </a:lnTo>
                <a:close/>
              </a:path>
            </a:pathLst>
          </a:custGeom>
          <a:solidFill>
            <a:srgbClr val="9C9C9C"/>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dirty="0"/>
          </a:p>
        </p:txBody>
      </p:sp>
      <p:sp>
        <p:nvSpPr>
          <p:cNvPr id="27" name="LT">
            <a:extLst>
              <a:ext uri="{FF2B5EF4-FFF2-40B4-BE49-F238E27FC236}">
                <a16:creationId xmlns:a16="http://schemas.microsoft.com/office/drawing/2014/main" id="{6E92777B-BC5C-F4CB-919B-DD23ACE8D006}"/>
              </a:ext>
            </a:extLst>
          </p:cNvPr>
          <p:cNvSpPr>
            <a:spLocks/>
          </p:cNvSpPr>
          <p:nvPr/>
        </p:nvSpPr>
        <p:spPr bwMode="auto">
          <a:xfrm rot="21249101">
            <a:off x="10772806" y="2790071"/>
            <a:ext cx="574374" cy="426841"/>
          </a:xfrm>
          <a:custGeom>
            <a:avLst/>
            <a:gdLst>
              <a:gd name="T0" fmla="*/ 2147483647 w 1199"/>
              <a:gd name="T1" fmla="*/ 2147483647 h 936"/>
              <a:gd name="T2" fmla="*/ 2147483647 w 1199"/>
              <a:gd name="T3" fmla="*/ 2147483647 h 936"/>
              <a:gd name="T4" fmla="*/ 2147483647 w 1199"/>
              <a:gd name="T5" fmla="*/ 2147483647 h 936"/>
              <a:gd name="T6" fmla="*/ 2147483647 w 1199"/>
              <a:gd name="T7" fmla="*/ 2147483647 h 936"/>
              <a:gd name="T8" fmla="*/ 2147483647 w 1199"/>
              <a:gd name="T9" fmla="*/ 2147483647 h 936"/>
              <a:gd name="T10" fmla="*/ 2147483647 w 1199"/>
              <a:gd name="T11" fmla="*/ 2147483647 h 936"/>
              <a:gd name="T12" fmla="*/ 2147483647 w 1199"/>
              <a:gd name="T13" fmla="*/ 2147483647 h 936"/>
              <a:gd name="T14" fmla="*/ 2147483647 w 1199"/>
              <a:gd name="T15" fmla="*/ 2147483647 h 936"/>
              <a:gd name="T16" fmla="*/ 2147483647 w 1199"/>
              <a:gd name="T17" fmla="*/ 2147483647 h 936"/>
              <a:gd name="T18" fmla="*/ 2147483647 w 1199"/>
              <a:gd name="T19" fmla="*/ 2147483647 h 936"/>
              <a:gd name="T20" fmla="*/ 2147483647 w 1199"/>
              <a:gd name="T21" fmla="*/ 2147483647 h 936"/>
              <a:gd name="T22" fmla="*/ 2147483647 w 1199"/>
              <a:gd name="T23" fmla="*/ 2147483647 h 936"/>
              <a:gd name="T24" fmla="*/ 2147483647 w 1199"/>
              <a:gd name="T25" fmla="*/ 2147483647 h 936"/>
              <a:gd name="T26" fmla="*/ 2147483647 w 1199"/>
              <a:gd name="T27" fmla="*/ 2147483647 h 936"/>
              <a:gd name="T28" fmla="*/ 2147483647 w 1199"/>
              <a:gd name="T29" fmla="*/ 2147483647 h 936"/>
              <a:gd name="T30" fmla="*/ 2147483647 w 1199"/>
              <a:gd name="T31" fmla="*/ 2147483647 h 936"/>
              <a:gd name="T32" fmla="*/ 2147483647 w 1199"/>
              <a:gd name="T33" fmla="*/ 2147483647 h 936"/>
              <a:gd name="T34" fmla="*/ 2147483647 w 1199"/>
              <a:gd name="T35" fmla="*/ 2147483647 h 936"/>
              <a:gd name="T36" fmla="*/ 2147483647 w 1199"/>
              <a:gd name="T37" fmla="*/ 2147483647 h 936"/>
              <a:gd name="T38" fmla="*/ 2147483647 w 1199"/>
              <a:gd name="T39" fmla="*/ 2147483647 h 936"/>
              <a:gd name="T40" fmla="*/ 2147483647 w 1199"/>
              <a:gd name="T41" fmla="*/ 2147483647 h 936"/>
              <a:gd name="T42" fmla="*/ 2147483647 w 1199"/>
              <a:gd name="T43" fmla="*/ 2147483647 h 936"/>
              <a:gd name="T44" fmla="*/ 2147483647 w 1199"/>
              <a:gd name="T45" fmla="*/ 2147483647 h 936"/>
              <a:gd name="T46" fmla="*/ 2147483647 w 1199"/>
              <a:gd name="T47" fmla="*/ 2147483647 h 936"/>
              <a:gd name="T48" fmla="*/ 2147483647 w 1199"/>
              <a:gd name="T49" fmla="*/ 2147483647 h 936"/>
              <a:gd name="T50" fmla="*/ 2147483647 w 1199"/>
              <a:gd name="T51" fmla="*/ 2147483647 h 936"/>
              <a:gd name="T52" fmla="*/ 2147483647 w 1199"/>
              <a:gd name="T53" fmla="*/ 2147483647 h 936"/>
              <a:gd name="T54" fmla="*/ 2147483647 w 1199"/>
              <a:gd name="T55" fmla="*/ 2147483647 h 936"/>
              <a:gd name="T56" fmla="*/ 2147483647 w 1199"/>
              <a:gd name="T57" fmla="*/ 2147483647 h 936"/>
              <a:gd name="T58" fmla="*/ 2147483647 w 1199"/>
              <a:gd name="T59" fmla="*/ 0 h 936"/>
              <a:gd name="T60" fmla="*/ 2147483647 w 1199"/>
              <a:gd name="T61" fmla="*/ 2147483647 h 936"/>
              <a:gd name="T62" fmla="*/ 2147483647 w 1199"/>
              <a:gd name="T63" fmla="*/ 2147483647 h 936"/>
              <a:gd name="T64" fmla="*/ 2147483647 w 1199"/>
              <a:gd name="T65" fmla="*/ 2147483647 h 936"/>
              <a:gd name="T66" fmla="*/ 2147483647 w 1199"/>
              <a:gd name="T67" fmla="*/ 2147483647 h 936"/>
              <a:gd name="T68" fmla="*/ 2147483647 w 1199"/>
              <a:gd name="T69" fmla="*/ 2147483647 h 936"/>
              <a:gd name="T70" fmla="*/ 2147483647 w 1199"/>
              <a:gd name="T71" fmla="*/ 2147483647 h 936"/>
              <a:gd name="T72" fmla="*/ 2147483647 w 1199"/>
              <a:gd name="T73" fmla="*/ 2147483647 h 9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99"/>
              <a:gd name="T112" fmla="*/ 0 h 936"/>
              <a:gd name="T113" fmla="*/ 1199 w 1199"/>
              <a:gd name="T114" fmla="*/ 936 h 9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99" h="936">
                <a:moveTo>
                  <a:pt x="0" y="166"/>
                </a:moveTo>
                <a:lnTo>
                  <a:pt x="20" y="322"/>
                </a:lnTo>
                <a:lnTo>
                  <a:pt x="13" y="235"/>
                </a:lnTo>
                <a:lnTo>
                  <a:pt x="45" y="442"/>
                </a:lnTo>
                <a:lnTo>
                  <a:pt x="54" y="442"/>
                </a:lnTo>
                <a:lnTo>
                  <a:pt x="62" y="471"/>
                </a:lnTo>
                <a:lnTo>
                  <a:pt x="99" y="459"/>
                </a:lnTo>
                <a:lnTo>
                  <a:pt x="121" y="481"/>
                </a:lnTo>
                <a:lnTo>
                  <a:pt x="151" y="488"/>
                </a:lnTo>
                <a:lnTo>
                  <a:pt x="175" y="507"/>
                </a:lnTo>
                <a:lnTo>
                  <a:pt x="265" y="525"/>
                </a:lnTo>
                <a:lnTo>
                  <a:pt x="327" y="518"/>
                </a:lnTo>
                <a:lnTo>
                  <a:pt x="352" y="534"/>
                </a:lnTo>
                <a:lnTo>
                  <a:pt x="397" y="618"/>
                </a:lnTo>
                <a:lnTo>
                  <a:pt x="377" y="678"/>
                </a:lnTo>
                <a:lnTo>
                  <a:pt x="390" y="781"/>
                </a:lnTo>
                <a:lnTo>
                  <a:pt x="522" y="854"/>
                </a:lnTo>
                <a:lnTo>
                  <a:pt x="540" y="899"/>
                </a:lnTo>
                <a:lnTo>
                  <a:pt x="544" y="925"/>
                </a:lnTo>
                <a:lnTo>
                  <a:pt x="604" y="936"/>
                </a:lnTo>
                <a:lnTo>
                  <a:pt x="663" y="919"/>
                </a:lnTo>
                <a:lnTo>
                  <a:pt x="726" y="927"/>
                </a:lnTo>
                <a:lnTo>
                  <a:pt x="754" y="912"/>
                </a:lnTo>
                <a:lnTo>
                  <a:pt x="775" y="890"/>
                </a:lnTo>
                <a:lnTo>
                  <a:pt x="804" y="902"/>
                </a:lnTo>
                <a:lnTo>
                  <a:pt x="835" y="897"/>
                </a:lnTo>
                <a:lnTo>
                  <a:pt x="819" y="842"/>
                </a:lnTo>
                <a:lnTo>
                  <a:pt x="847" y="826"/>
                </a:lnTo>
                <a:lnTo>
                  <a:pt x="876" y="826"/>
                </a:lnTo>
                <a:lnTo>
                  <a:pt x="896" y="800"/>
                </a:lnTo>
                <a:lnTo>
                  <a:pt x="923" y="781"/>
                </a:lnTo>
                <a:lnTo>
                  <a:pt x="953" y="789"/>
                </a:lnTo>
                <a:lnTo>
                  <a:pt x="971" y="814"/>
                </a:lnTo>
                <a:lnTo>
                  <a:pt x="1001" y="827"/>
                </a:lnTo>
                <a:lnTo>
                  <a:pt x="1030" y="813"/>
                </a:lnTo>
                <a:lnTo>
                  <a:pt x="1021" y="783"/>
                </a:lnTo>
                <a:lnTo>
                  <a:pt x="999" y="760"/>
                </a:lnTo>
                <a:lnTo>
                  <a:pt x="984" y="732"/>
                </a:lnTo>
                <a:lnTo>
                  <a:pt x="988" y="701"/>
                </a:lnTo>
                <a:lnTo>
                  <a:pt x="1017" y="647"/>
                </a:lnTo>
                <a:lnTo>
                  <a:pt x="1021" y="521"/>
                </a:lnTo>
                <a:lnTo>
                  <a:pt x="1047" y="503"/>
                </a:lnTo>
                <a:lnTo>
                  <a:pt x="1077" y="496"/>
                </a:lnTo>
                <a:lnTo>
                  <a:pt x="1122" y="455"/>
                </a:lnTo>
                <a:lnTo>
                  <a:pt x="1170" y="452"/>
                </a:lnTo>
                <a:lnTo>
                  <a:pt x="1199" y="381"/>
                </a:lnTo>
                <a:lnTo>
                  <a:pt x="1169" y="369"/>
                </a:lnTo>
                <a:lnTo>
                  <a:pt x="1138" y="372"/>
                </a:lnTo>
                <a:lnTo>
                  <a:pt x="1133" y="313"/>
                </a:lnTo>
                <a:lnTo>
                  <a:pt x="1159" y="297"/>
                </a:lnTo>
                <a:lnTo>
                  <a:pt x="1177" y="272"/>
                </a:lnTo>
                <a:lnTo>
                  <a:pt x="1175" y="265"/>
                </a:lnTo>
                <a:lnTo>
                  <a:pt x="1176" y="261"/>
                </a:lnTo>
                <a:lnTo>
                  <a:pt x="1119" y="238"/>
                </a:lnTo>
                <a:lnTo>
                  <a:pt x="1043" y="160"/>
                </a:lnTo>
                <a:lnTo>
                  <a:pt x="941" y="101"/>
                </a:lnTo>
                <a:lnTo>
                  <a:pt x="882" y="107"/>
                </a:lnTo>
                <a:lnTo>
                  <a:pt x="853" y="100"/>
                </a:lnTo>
                <a:lnTo>
                  <a:pt x="810" y="19"/>
                </a:lnTo>
                <a:lnTo>
                  <a:pt x="788" y="0"/>
                </a:lnTo>
                <a:lnTo>
                  <a:pt x="760" y="11"/>
                </a:lnTo>
                <a:lnTo>
                  <a:pt x="721" y="57"/>
                </a:lnTo>
                <a:lnTo>
                  <a:pt x="664" y="74"/>
                </a:lnTo>
                <a:lnTo>
                  <a:pt x="549" y="37"/>
                </a:lnTo>
                <a:lnTo>
                  <a:pt x="461" y="35"/>
                </a:lnTo>
                <a:lnTo>
                  <a:pt x="433" y="44"/>
                </a:lnTo>
                <a:lnTo>
                  <a:pt x="406" y="37"/>
                </a:lnTo>
                <a:lnTo>
                  <a:pt x="379" y="51"/>
                </a:lnTo>
                <a:lnTo>
                  <a:pt x="348" y="52"/>
                </a:lnTo>
                <a:lnTo>
                  <a:pt x="321" y="38"/>
                </a:lnTo>
                <a:lnTo>
                  <a:pt x="232" y="41"/>
                </a:lnTo>
                <a:lnTo>
                  <a:pt x="95" y="103"/>
                </a:lnTo>
                <a:lnTo>
                  <a:pt x="64" y="155"/>
                </a:lnTo>
                <a:lnTo>
                  <a:pt x="38" y="172"/>
                </a:lnTo>
                <a:lnTo>
                  <a:pt x="0" y="166"/>
                </a:lnTo>
                <a:close/>
              </a:path>
            </a:pathLst>
          </a:custGeom>
          <a:solidFill>
            <a:schemeClr val="tx2">
              <a:lumMod val="60000"/>
              <a:lumOff val="40000"/>
            </a:schemeClr>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28" name="APG">
            <a:extLst>
              <a:ext uri="{FF2B5EF4-FFF2-40B4-BE49-F238E27FC236}">
                <a16:creationId xmlns:a16="http://schemas.microsoft.com/office/drawing/2014/main" id="{4FD85AC6-3FB4-A335-B123-27BEFD391103}"/>
              </a:ext>
            </a:extLst>
          </p:cNvPr>
          <p:cNvSpPr>
            <a:spLocks/>
          </p:cNvSpPr>
          <p:nvPr/>
        </p:nvSpPr>
        <p:spPr bwMode="auto">
          <a:xfrm rot="21249101">
            <a:off x="9583779" y="4134578"/>
            <a:ext cx="896718" cy="411688"/>
          </a:xfrm>
          <a:custGeom>
            <a:avLst/>
            <a:gdLst>
              <a:gd name="T0" fmla="*/ 2147483647 w 1879"/>
              <a:gd name="T1" fmla="*/ 2147483647 h 907"/>
              <a:gd name="T2" fmla="*/ 2147483647 w 1879"/>
              <a:gd name="T3" fmla="*/ 2147483647 h 907"/>
              <a:gd name="T4" fmla="*/ 2147483647 w 1879"/>
              <a:gd name="T5" fmla="*/ 2147483647 h 907"/>
              <a:gd name="T6" fmla="*/ 2147483647 w 1879"/>
              <a:gd name="T7" fmla="*/ 2147483647 h 907"/>
              <a:gd name="T8" fmla="*/ 2147483647 w 1879"/>
              <a:gd name="T9" fmla="*/ 2147483647 h 907"/>
              <a:gd name="T10" fmla="*/ 2147483647 w 1879"/>
              <a:gd name="T11" fmla="*/ 2147483647 h 907"/>
              <a:gd name="T12" fmla="*/ 2147483647 w 1879"/>
              <a:gd name="T13" fmla="*/ 2147483647 h 907"/>
              <a:gd name="T14" fmla="*/ 2147483647 w 1879"/>
              <a:gd name="T15" fmla="*/ 2147483647 h 907"/>
              <a:gd name="T16" fmla="*/ 2147483647 w 1879"/>
              <a:gd name="T17" fmla="*/ 2147483647 h 907"/>
              <a:gd name="T18" fmla="*/ 2147483647 w 1879"/>
              <a:gd name="T19" fmla="*/ 2147483647 h 907"/>
              <a:gd name="T20" fmla="*/ 2147483647 w 1879"/>
              <a:gd name="T21" fmla="*/ 2147483647 h 907"/>
              <a:gd name="T22" fmla="*/ 2147483647 w 1879"/>
              <a:gd name="T23" fmla="*/ 2147483647 h 907"/>
              <a:gd name="T24" fmla="*/ 2147483647 w 1879"/>
              <a:gd name="T25" fmla="*/ 2147483647 h 907"/>
              <a:gd name="T26" fmla="*/ 2147483647 w 1879"/>
              <a:gd name="T27" fmla="*/ 2147483647 h 907"/>
              <a:gd name="T28" fmla="*/ 2147483647 w 1879"/>
              <a:gd name="T29" fmla="*/ 2147483647 h 907"/>
              <a:gd name="T30" fmla="*/ 2147483647 w 1879"/>
              <a:gd name="T31" fmla="*/ 2147483647 h 907"/>
              <a:gd name="T32" fmla="*/ 2147483647 w 1879"/>
              <a:gd name="T33" fmla="*/ 2147483647 h 907"/>
              <a:gd name="T34" fmla="*/ 2147483647 w 1879"/>
              <a:gd name="T35" fmla="*/ 2147483647 h 907"/>
              <a:gd name="T36" fmla="*/ 2147483647 w 1879"/>
              <a:gd name="T37" fmla="*/ 2147483647 h 907"/>
              <a:gd name="T38" fmla="*/ 2147483647 w 1879"/>
              <a:gd name="T39" fmla="*/ 2147483647 h 907"/>
              <a:gd name="T40" fmla="*/ 2147483647 w 1879"/>
              <a:gd name="T41" fmla="*/ 2147483647 h 907"/>
              <a:gd name="T42" fmla="*/ 2147483647 w 1879"/>
              <a:gd name="T43" fmla="*/ 2147483647 h 907"/>
              <a:gd name="T44" fmla="*/ 2147483647 w 1879"/>
              <a:gd name="T45" fmla="*/ 2147483647 h 907"/>
              <a:gd name="T46" fmla="*/ 2147483647 w 1879"/>
              <a:gd name="T47" fmla="*/ 2147483647 h 907"/>
              <a:gd name="T48" fmla="*/ 2147483647 w 1879"/>
              <a:gd name="T49" fmla="*/ 2147483647 h 907"/>
              <a:gd name="T50" fmla="*/ 2147483647 w 1879"/>
              <a:gd name="T51" fmla="*/ 2147483647 h 907"/>
              <a:gd name="T52" fmla="*/ 2147483647 w 1879"/>
              <a:gd name="T53" fmla="*/ 2147483647 h 907"/>
              <a:gd name="T54" fmla="*/ 2147483647 w 1879"/>
              <a:gd name="T55" fmla="*/ 2147483647 h 907"/>
              <a:gd name="T56" fmla="*/ 2147483647 w 1879"/>
              <a:gd name="T57" fmla="*/ 2147483647 h 907"/>
              <a:gd name="T58" fmla="*/ 2147483647 w 1879"/>
              <a:gd name="T59" fmla="*/ 2147483647 h 907"/>
              <a:gd name="T60" fmla="*/ 2147483647 w 1879"/>
              <a:gd name="T61" fmla="*/ 2147483647 h 907"/>
              <a:gd name="T62" fmla="*/ 2147483647 w 1879"/>
              <a:gd name="T63" fmla="*/ 2147483647 h 907"/>
              <a:gd name="T64" fmla="*/ 2147483647 w 1879"/>
              <a:gd name="T65" fmla="*/ 2147483647 h 907"/>
              <a:gd name="T66" fmla="*/ 2147483647 w 1879"/>
              <a:gd name="T67" fmla="*/ 2147483647 h 907"/>
              <a:gd name="T68" fmla="*/ 2147483647 w 1879"/>
              <a:gd name="T69" fmla="*/ 2147483647 h 907"/>
              <a:gd name="T70" fmla="*/ 2147483647 w 1879"/>
              <a:gd name="T71" fmla="*/ 2147483647 h 907"/>
              <a:gd name="T72" fmla="*/ 2147483647 w 1879"/>
              <a:gd name="T73" fmla="*/ 2147483647 h 907"/>
              <a:gd name="T74" fmla="*/ 2147483647 w 1879"/>
              <a:gd name="T75" fmla="*/ 2147483647 h 9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79"/>
              <a:gd name="T115" fmla="*/ 0 h 907"/>
              <a:gd name="T116" fmla="*/ 1879 w 1879"/>
              <a:gd name="T117" fmla="*/ 907 h 9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79" h="907">
                <a:moveTo>
                  <a:pt x="1089" y="64"/>
                </a:moveTo>
                <a:lnTo>
                  <a:pt x="1080" y="98"/>
                </a:lnTo>
                <a:lnTo>
                  <a:pt x="1002" y="123"/>
                </a:lnTo>
                <a:lnTo>
                  <a:pt x="963" y="200"/>
                </a:lnTo>
                <a:lnTo>
                  <a:pt x="861" y="230"/>
                </a:lnTo>
                <a:lnTo>
                  <a:pt x="835" y="278"/>
                </a:lnTo>
                <a:lnTo>
                  <a:pt x="833" y="351"/>
                </a:lnTo>
                <a:lnTo>
                  <a:pt x="856" y="424"/>
                </a:lnTo>
                <a:lnTo>
                  <a:pt x="856" y="458"/>
                </a:lnTo>
                <a:lnTo>
                  <a:pt x="819" y="471"/>
                </a:lnTo>
                <a:lnTo>
                  <a:pt x="804" y="435"/>
                </a:lnTo>
                <a:lnTo>
                  <a:pt x="739" y="428"/>
                </a:lnTo>
                <a:lnTo>
                  <a:pt x="690" y="407"/>
                </a:lnTo>
                <a:lnTo>
                  <a:pt x="669" y="427"/>
                </a:lnTo>
                <a:lnTo>
                  <a:pt x="520" y="429"/>
                </a:lnTo>
                <a:lnTo>
                  <a:pt x="427" y="476"/>
                </a:lnTo>
                <a:lnTo>
                  <a:pt x="368" y="469"/>
                </a:lnTo>
                <a:lnTo>
                  <a:pt x="313" y="427"/>
                </a:lnTo>
                <a:lnTo>
                  <a:pt x="263" y="416"/>
                </a:lnTo>
                <a:lnTo>
                  <a:pt x="230" y="441"/>
                </a:lnTo>
                <a:lnTo>
                  <a:pt x="212" y="469"/>
                </a:lnTo>
                <a:lnTo>
                  <a:pt x="187" y="481"/>
                </a:lnTo>
                <a:lnTo>
                  <a:pt x="146" y="453"/>
                </a:lnTo>
                <a:lnTo>
                  <a:pt x="128" y="412"/>
                </a:lnTo>
                <a:lnTo>
                  <a:pt x="91" y="396"/>
                </a:lnTo>
                <a:lnTo>
                  <a:pt x="48" y="393"/>
                </a:lnTo>
                <a:lnTo>
                  <a:pt x="0" y="405"/>
                </a:lnTo>
                <a:lnTo>
                  <a:pt x="29" y="444"/>
                </a:lnTo>
                <a:lnTo>
                  <a:pt x="60" y="470"/>
                </a:lnTo>
                <a:lnTo>
                  <a:pt x="56" y="554"/>
                </a:lnTo>
                <a:lnTo>
                  <a:pt x="24" y="585"/>
                </a:lnTo>
                <a:lnTo>
                  <a:pt x="93" y="636"/>
                </a:lnTo>
                <a:lnTo>
                  <a:pt x="134" y="648"/>
                </a:lnTo>
                <a:lnTo>
                  <a:pt x="171" y="633"/>
                </a:lnTo>
                <a:lnTo>
                  <a:pt x="203" y="662"/>
                </a:lnTo>
                <a:lnTo>
                  <a:pt x="257" y="687"/>
                </a:lnTo>
                <a:lnTo>
                  <a:pt x="572" y="648"/>
                </a:lnTo>
                <a:lnTo>
                  <a:pt x="595" y="634"/>
                </a:lnTo>
                <a:lnTo>
                  <a:pt x="624" y="632"/>
                </a:lnTo>
                <a:lnTo>
                  <a:pt x="634" y="641"/>
                </a:lnTo>
                <a:lnTo>
                  <a:pt x="636" y="700"/>
                </a:lnTo>
                <a:lnTo>
                  <a:pt x="649" y="735"/>
                </a:lnTo>
                <a:lnTo>
                  <a:pt x="700" y="775"/>
                </a:lnTo>
                <a:lnTo>
                  <a:pt x="719" y="781"/>
                </a:lnTo>
                <a:lnTo>
                  <a:pt x="759" y="815"/>
                </a:lnTo>
                <a:lnTo>
                  <a:pt x="995" y="878"/>
                </a:lnTo>
                <a:lnTo>
                  <a:pt x="1200" y="907"/>
                </a:lnTo>
                <a:lnTo>
                  <a:pt x="1241" y="886"/>
                </a:lnTo>
                <a:lnTo>
                  <a:pt x="1282" y="840"/>
                </a:lnTo>
                <a:lnTo>
                  <a:pt x="1344" y="829"/>
                </a:lnTo>
                <a:lnTo>
                  <a:pt x="1430" y="853"/>
                </a:lnTo>
                <a:lnTo>
                  <a:pt x="1455" y="817"/>
                </a:lnTo>
                <a:lnTo>
                  <a:pt x="1553" y="831"/>
                </a:lnTo>
                <a:lnTo>
                  <a:pt x="1564" y="796"/>
                </a:lnTo>
                <a:lnTo>
                  <a:pt x="1602" y="779"/>
                </a:lnTo>
                <a:lnTo>
                  <a:pt x="1651" y="732"/>
                </a:lnTo>
                <a:lnTo>
                  <a:pt x="1701" y="721"/>
                </a:lnTo>
                <a:lnTo>
                  <a:pt x="1702" y="630"/>
                </a:lnTo>
                <a:lnTo>
                  <a:pt x="1745" y="550"/>
                </a:lnTo>
                <a:lnTo>
                  <a:pt x="1716" y="510"/>
                </a:lnTo>
                <a:lnTo>
                  <a:pt x="1736" y="477"/>
                </a:lnTo>
                <a:lnTo>
                  <a:pt x="1853" y="480"/>
                </a:lnTo>
                <a:lnTo>
                  <a:pt x="1875" y="444"/>
                </a:lnTo>
                <a:lnTo>
                  <a:pt x="1879" y="356"/>
                </a:lnTo>
                <a:lnTo>
                  <a:pt x="1827" y="197"/>
                </a:lnTo>
                <a:lnTo>
                  <a:pt x="1829" y="137"/>
                </a:lnTo>
                <a:lnTo>
                  <a:pt x="1797" y="91"/>
                </a:lnTo>
                <a:lnTo>
                  <a:pt x="1640" y="96"/>
                </a:lnTo>
                <a:lnTo>
                  <a:pt x="1583" y="38"/>
                </a:lnTo>
                <a:lnTo>
                  <a:pt x="1547" y="17"/>
                </a:lnTo>
                <a:lnTo>
                  <a:pt x="1400" y="0"/>
                </a:lnTo>
                <a:lnTo>
                  <a:pt x="1355" y="79"/>
                </a:lnTo>
                <a:lnTo>
                  <a:pt x="1311" y="112"/>
                </a:lnTo>
                <a:lnTo>
                  <a:pt x="1273" y="126"/>
                </a:lnTo>
                <a:lnTo>
                  <a:pt x="1172" y="119"/>
                </a:lnTo>
                <a:lnTo>
                  <a:pt x="1089" y="64"/>
                </a:lnTo>
                <a:close/>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29" name="NL">
            <a:extLst>
              <a:ext uri="{FF2B5EF4-FFF2-40B4-BE49-F238E27FC236}">
                <a16:creationId xmlns:a16="http://schemas.microsoft.com/office/drawing/2014/main" id="{F4326530-C825-6921-2208-0741FC7CF263}"/>
              </a:ext>
            </a:extLst>
          </p:cNvPr>
          <p:cNvSpPr>
            <a:spLocks/>
          </p:cNvSpPr>
          <p:nvPr/>
        </p:nvSpPr>
        <p:spPr bwMode="auto">
          <a:xfrm rot="21249101">
            <a:off x="8965018" y="3378735"/>
            <a:ext cx="435394" cy="428237"/>
          </a:xfrm>
          <a:custGeom>
            <a:avLst/>
            <a:gdLst>
              <a:gd name="T0" fmla="*/ 2147483647 w 914"/>
              <a:gd name="T1" fmla="*/ 2147483647 h 939"/>
              <a:gd name="T2" fmla="*/ 2147483647 w 914"/>
              <a:gd name="T3" fmla="*/ 2147483647 h 939"/>
              <a:gd name="T4" fmla="*/ 2147483647 w 914"/>
              <a:gd name="T5" fmla="*/ 2147483647 h 939"/>
              <a:gd name="T6" fmla="*/ 2147483647 w 914"/>
              <a:gd name="T7" fmla="*/ 2147483647 h 939"/>
              <a:gd name="T8" fmla="*/ 2147483647 w 914"/>
              <a:gd name="T9" fmla="*/ 2147483647 h 939"/>
              <a:gd name="T10" fmla="*/ 2147483647 w 914"/>
              <a:gd name="T11" fmla="*/ 2147483647 h 939"/>
              <a:gd name="T12" fmla="*/ 0 w 914"/>
              <a:gd name="T13" fmla="*/ 2147483647 h 939"/>
              <a:gd name="T14" fmla="*/ 2147483647 w 914"/>
              <a:gd name="T15" fmla="*/ 2147483647 h 939"/>
              <a:gd name="T16" fmla="*/ 2147483647 w 914"/>
              <a:gd name="T17" fmla="*/ 2147483647 h 939"/>
              <a:gd name="T18" fmla="*/ 2147483647 w 914"/>
              <a:gd name="T19" fmla="*/ 2147483647 h 939"/>
              <a:gd name="T20" fmla="*/ 2147483647 w 914"/>
              <a:gd name="T21" fmla="*/ 2147483647 h 939"/>
              <a:gd name="T22" fmla="*/ 2147483647 w 914"/>
              <a:gd name="T23" fmla="*/ 2147483647 h 939"/>
              <a:gd name="T24" fmla="*/ 2147483647 w 914"/>
              <a:gd name="T25" fmla="*/ 2147483647 h 939"/>
              <a:gd name="T26" fmla="*/ 2147483647 w 914"/>
              <a:gd name="T27" fmla="*/ 2147483647 h 939"/>
              <a:gd name="T28" fmla="*/ 2147483647 w 914"/>
              <a:gd name="T29" fmla="*/ 2147483647 h 939"/>
              <a:gd name="T30" fmla="*/ 2147483647 w 914"/>
              <a:gd name="T31" fmla="*/ 2147483647 h 939"/>
              <a:gd name="T32" fmla="*/ 2147483647 w 914"/>
              <a:gd name="T33" fmla="*/ 2147483647 h 939"/>
              <a:gd name="T34" fmla="*/ 2147483647 w 914"/>
              <a:gd name="T35" fmla="*/ 2147483647 h 939"/>
              <a:gd name="T36" fmla="*/ 2147483647 w 914"/>
              <a:gd name="T37" fmla="*/ 2147483647 h 939"/>
              <a:gd name="T38" fmla="*/ 2147483647 w 914"/>
              <a:gd name="T39" fmla="*/ 2147483647 h 939"/>
              <a:gd name="T40" fmla="*/ 2147483647 w 914"/>
              <a:gd name="T41" fmla="*/ 2147483647 h 939"/>
              <a:gd name="T42" fmla="*/ 2147483647 w 914"/>
              <a:gd name="T43" fmla="*/ 2147483647 h 939"/>
              <a:gd name="T44" fmla="*/ 2147483647 w 914"/>
              <a:gd name="T45" fmla="*/ 2147483647 h 939"/>
              <a:gd name="T46" fmla="*/ 2147483647 w 914"/>
              <a:gd name="T47" fmla="*/ 2147483647 h 939"/>
              <a:gd name="T48" fmla="*/ 2147483647 w 914"/>
              <a:gd name="T49" fmla="*/ 2147483647 h 939"/>
              <a:gd name="T50" fmla="*/ 2147483647 w 914"/>
              <a:gd name="T51" fmla="*/ 2147483647 h 939"/>
              <a:gd name="T52" fmla="*/ 2147483647 w 914"/>
              <a:gd name="T53" fmla="*/ 2147483647 h 939"/>
              <a:gd name="T54" fmla="*/ 2147483647 w 914"/>
              <a:gd name="T55" fmla="*/ 2147483647 h 939"/>
              <a:gd name="T56" fmla="*/ 2147483647 w 914"/>
              <a:gd name="T57" fmla="*/ 2147483647 h 939"/>
              <a:gd name="T58" fmla="*/ 2147483647 w 914"/>
              <a:gd name="T59" fmla="*/ 0 h 939"/>
              <a:gd name="T60" fmla="*/ 2147483647 w 914"/>
              <a:gd name="T61" fmla="*/ 2147483647 h 939"/>
              <a:gd name="T62" fmla="*/ 2147483647 w 914"/>
              <a:gd name="T63" fmla="*/ 2147483647 h 939"/>
              <a:gd name="T64" fmla="*/ 2147483647 w 914"/>
              <a:gd name="T65" fmla="*/ 2147483647 h 939"/>
              <a:gd name="T66" fmla="*/ 2147483647 w 914"/>
              <a:gd name="T67" fmla="*/ 2147483647 h 939"/>
              <a:gd name="T68" fmla="*/ 2147483647 w 914"/>
              <a:gd name="T69" fmla="*/ 2147483647 h 939"/>
              <a:gd name="T70" fmla="*/ 2147483647 w 914"/>
              <a:gd name="T71" fmla="*/ 2147483647 h 939"/>
              <a:gd name="T72" fmla="*/ 2147483647 w 914"/>
              <a:gd name="T73" fmla="*/ 2147483647 h 939"/>
              <a:gd name="T74" fmla="*/ 2147483647 w 914"/>
              <a:gd name="T75" fmla="*/ 2147483647 h 939"/>
              <a:gd name="T76" fmla="*/ 2147483647 w 914"/>
              <a:gd name="T77" fmla="*/ 2147483647 h 939"/>
              <a:gd name="T78" fmla="*/ 2147483647 w 914"/>
              <a:gd name="T79" fmla="*/ 2147483647 h 939"/>
              <a:gd name="T80" fmla="*/ 2147483647 w 914"/>
              <a:gd name="T81" fmla="*/ 2147483647 h 9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14"/>
              <a:gd name="T124" fmla="*/ 0 h 939"/>
              <a:gd name="T125" fmla="*/ 914 w 914"/>
              <a:gd name="T126" fmla="*/ 939 h 9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14" h="939">
                <a:moveTo>
                  <a:pt x="510" y="939"/>
                </a:moveTo>
                <a:lnTo>
                  <a:pt x="463" y="930"/>
                </a:lnTo>
                <a:lnTo>
                  <a:pt x="435" y="900"/>
                </a:lnTo>
                <a:lnTo>
                  <a:pt x="455" y="769"/>
                </a:lnTo>
                <a:lnTo>
                  <a:pt x="429" y="740"/>
                </a:lnTo>
                <a:lnTo>
                  <a:pt x="389" y="730"/>
                </a:lnTo>
                <a:lnTo>
                  <a:pt x="361" y="704"/>
                </a:lnTo>
                <a:lnTo>
                  <a:pt x="356" y="676"/>
                </a:lnTo>
                <a:lnTo>
                  <a:pt x="344" y="674"/>
                </a:lnTo>
                <a:lnTo>
                  <a:pt x="327" y="644"/>
                </a:lnTo>
                <a:lnTo>
                  <a:pt x="215" y="636"/>
                </a:lnTo>
                <a:lnTo>
                  <a:pt x="144" y="662"/>
                </a:lnTo>
                <a:lnTo>
                  <a:pt x="61" y="670"/>
                </a:lnTo>
                <a:lnTo>
                  <a:pt x="0" y="617"/>
                </a:lnTo>
                <a:lnTo>
                  <a:pt x="2" y="613"/>
                </a:lnTo>
                <a:lnTo>
                  <a:pt x="13" y="607"/>
                </a:lnTo>
                <a:lnTo>
                  <a:pt x="43" y="611"/>
                </a:lnTo>
                <a:lnTo>
                  <a:pt x="78" y="647"/>
                </a:lnTo>
                <a:lnTo>
                  <a:pt x="120" y="637"/>
                </a:lnTo>
                <a:lnTo>
                  <a:pt x="155" y="642"/>
                </a:lnTo>
                <a:lnTo>
                  <a:pt x="172" y="632"/>
                </a:lnTo>
                <a:lnTo>
                  <a:pt x="143" y="621"/>
                </a:lnTo>
                <a:lnTo>
                  <a:pt x="104" y="617"/>
                </a:lnTo>
                <a:lnTo>
                  <a:pt x="84" y="605"/>
                </a:lnTo>
                <a:lnTo>
                  <a:pt x="104" y="577"/>
                </a:lnTo>
                <a:lnTo>
                  <a:pt x="339" y="550"/>
                </a:lnTo>
                <a:lnTo>
                  <a:pt x="325" y="532"/>
                </a:lnTo>
                <a:lnTo>
                  <a:pt x="272" y="542"/>
                </a:lnTo>
                <a:lnTo>
                  <a:pt x="208" y="513"/>
                </a:lnTo>
                <a:lnTo>
                  <a:pt x="188" y="484"/>
                </a:lnTo>
                <a:lnTo>
                  <a:pt x="206" y="428"/>
                </a:lnTo>
                <a:lnTo>
                  <a:pt x="315" y="343"/>
                </a:lnTo>
                <a:lnTo>
                  <a:pt x="413" y="139"/>
                </a:lnTo>
                <a:lnTo>
                  <a:pt x="451" y="132"/>
                </a:lnTo>
                <a:lnTo>
                  <a:pt x="459" y="165"/>
                </a:lnTo>
                <a:lnTo>
                  <a:pt x="479" y="191"/>
                </a:lnTo>
                <a:lnTo>
                  <a:pt x="478" y="204"/>
                </a:lnTo>
                <a:lnTo>
                  <a:pt x="474" y="211"/>
                </a:lnTo>
                <a:lnTo>
                  <a:pt x="439" y="215"/>
                </a:lnTo>
                <a:lnTo>
                  <a:pt x="422" y="250"/>
                </a:lnTo>
                <a:lnTo>
                  <a:pt x="419" y="297"/>
                </a:lnTo>
                <a:lnTo>
                  <a:pt x="414" y="312"/>
                </a:lnTo>
                <a:lnTo>
                  <a:pt x="432" y="339"/>
                </a:lnTo>
                <a:lnTo>
                  <a:pt x="468" y="363"/>
                </a:lnTo>
                <a:lnTo>
                  <a:pt x="488" y="368"/>
                </a:lnTo>
                <a:lnTo>
                  <a:pt x="499" y="360"/>
                </a:lnTo>
                <a:lnTo>
                  <a:pt x="499" y="327"/>
                </a:lnTo>
                <a:lnTo>
                  <a:pt x="486" y="299"/>
                </a:lnTo>
                <a:lnTo>
                  <a:pt x="486" y="281"/>
                </a:lnTo>
                <a:lnTo>
                  <a:pt x="504" y="279"/>
                </a:lnTo>
                <a:lnTo>
                  <a:pt x="532" y="262"/>
                </a:lnTo>
                <a:lnTo>
                  <a:pt x="571" y="174"/>
                </a:lnTo>
                <a:lnTo>
                  <a:pt x="562" y="164"/>
                </a:lnTo>
                <a:lnTo>
                  <a:pt x="536" y="160"/>
                </a:lnTo>
                <a:lnTo>
                  <a:pt x="534" y="146"/>
                </a:lnTo>
                <a:lnTo>
                  <a:pt x="540" y="80"/>
                </a:lnTo>
                <a:lnTo>
                  <a:pt x="549" y="62"/>
                </a:lnTo>
                <a:lnTo>
                  <a:pt x="571" y="35"/>
                </a:lnTo>
                <a:lnTo>
                  <a:pt x="656" y="0"/>
                </a:lnTo>
                <a:lnTo>
                  <a:pt x="699" y="0"/>
                </a:lnTo>
                <a:lnTo>
                  <a:pt x="746" y="19"/>
                </a:lnTo>
                <a:lnTo>
                  <a:pt x="792" y="6"/>
                </a:lnTo>
                <a:lnTo>
                  <a:pt x="840" y="11"/>
                </a:lnTo>
                <a:lnTo>
                  <a:pt x="873" y="29"/>
                </a:lnTo>
                <a:lnTo>
                  <a:pt x="914" y="88"/>
                </a:lnTo>
                <a:lnTo>
                  <a:pt x="841" y="262"/>
                </a:lnTo>
                <a:lnTo>
                  <a:pt x="774" y="292"/>
                </a:lnTo>
                <a:lnTo>
                  <a:pt x="776" y="332"/>
                </a:lnTo>
                <a:lnTo>
                  <a:pt x="842" y="376"/>
                </a:lnTo>
                <a:lnTo>
                  <a:pt x="829" y="422"/>
                </a:lnTo>
                <a:lnTo>
                  <a:pt x="793" y="456"/>
                </a:lnTo>
                <a:lnTo>
                  <a:pt x="749" y="477"/>
                </a:lnTo>
                <a:lnTo>
                  <a:pt x="733" y="522"/>
                </a:lnTo>
                <a:lnTo>
                  <a:pt x="707" y="559"/>
                </a:lnTo>
                <a:lnTo>
                  <a:pt x="674" y="561"/>
                </a:lnTo>
                <a:lnTo>
                  <a:pt x="627" y="529"/>
                </a:lnTo>
                <a:lnTo>
                  <a:pt x="585" y="522"/>
                </a:lnTo>
                <a:lnTo>
                  <a:pt x="548" y="785"/>
                </a:lnTo>
                <a:lnTo>
                  <a:pt x="517" y="811"/>
                </a:lnTo>
                <a:lnTo>
                  <a:pt x="508" y="840"/>
                </a:lnTo>
                <a:lnTo>
                  <a:pt x="514" y="917"/>
                </a:lnTo>
                <a:lnTo>
                  <a:pt x="510" y="939"/>
                </a:lnTo>
                <a:close/>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grpSp>
        <p:nvGrpSpPr>
          <p:cNvPr id="30" name="FR">
            <a:extLst>
              <a:ext uri="{FF2B5EF4-FFF2-40B4-BE49-F238E27FC236}">
                <a16:creationId xmlns:a16="http://schemas.microsoft.com/office/drawing/2014/main" id="{F1907840-1BC6-74D0-23BE-9C4BC76D734D}"/>
              </a:ext>
            </a:extLst>
          </p:cNvPr>
          <p:cNvGrpSpPr>
            <a:grpSpLocks/>
          </p:cNvGrpSpPr>
          <p:nvPr/>
        </p:nvGrpSpPr>
        <p:grpSpPr bwMode="auto">
          <a:xfrm>
            <a:off x="8020687" y="3729778"/>
            <a:ext cx="1548073" cy="1642214"/>
            <a:chOff x="2519932" y="4360880"/>
            <a:chExt cx="1195387" cy="1338263"/>
          </a:xfrm>
          <a:solidFill>
            <a:srgbClr val="FFC000"/>
          </a:solidFill>
        </p:grpSpPr>
        <p:sp>
          <p:nvSpPr>
            <p:cNvPr id="31" name="Freeform 127">
              <a:extLst>
                <a:ext uri="{FF2B5EF4-FFF2-40B4-BE49-F238E27FC236}">
                  <a16:creationId xmlns:a16="http://schemas.microsoft.com/office/drawing/2014/main" id="{661AE98B-E01F-012A-255B-04967B3A0933}"/>
                </a:ext>
              </a:extLst>
            </p:cNvPr>
            <p:cNvSpPr>
              <a:spLocks/>
            </p:cNvSpPr>
            <p:nvPr/>
          </p:nvSpPr>
          <p:spPr bwMode="auto">
            <a:xfrm rot="21249101">
              <a:off x="3620069" y="5481655"/>
              <a:ext cx="95250" cy="217488"/>
            </a:xfrm>
            <a:custGeom>
              <a:avLst/>
              <a:gdLst>
                <a:gd name="T0" fmla="*/ 2147483647 w 255"/>
                <a:gd name="T1" fmla="*/ 0 h 588"/>
                <a:gd name="T2" fmla="*/ 2147483647 w 255"/>
                <a:gd name="T3" fmla="*/ 2147483647 h 588"/>
                <a:gd name="T4" fmla="*/ 2147483647 w 255"/>
                <a:gd name="T5" fmla="*/ 2147483647 h 588"/>
                <a:gd name="T6" fmla="*/ 2147483647 w 255"/>
                <a:gd name="T7" fmla="*/ 2147483647 h 588"/>
                <a:gd name="T8" fmla="*/ 2147483647 w 255"/>
                <a:gd name="T9" fmla="*/ 2147483647 h 588"/>
                <a:gd name="T10" fmla="*/ 2147483647 w 255"/>
                <a:gd name="T11" fmla="*/ 2147483647 h 588"/>
                <a:gd name="T12" fmla="*/ 2147483647 w 255"/>
                <a:gd name="T13" fmla="*/ 2147483647 h 588"/>
                <a:gd name="T14" fmla="*/ 2147483647 w 255"/>
                <a:gd name="T15" fmla="*/ 2147483647 h 588"/>
                <a:gd name="T16" fmla="*/ 2147483647 w 255"/>
                <a:gd name="T17" fmla="*/ 2147483647 h 588"/>
                <a:gd name="T18" fmla="*/ 2147483647 w 255"/>
                <a:gd name="T19" fmla="*/ 2147483647 h 588"/>
                <a:gd name="T20" fmla="*/ 2147483647 w 255"/>
                <a:gd name="T21" fmla="*/ 2147483647 h 588"/>
                <a:gd name="T22" fmla="*/ 0 w 255"/>
                <a:gd name="T23" fmla="*/ 2147483647 h 588"/>
                <a:gd name="T24" fmla="*/ 2147483647 w 255"/>
                <a:gd name="T25" fmla="*/ 2147483647 h 588"/>
                <a:gd name="T26" fmla="*/ 2147483647 w 255"/>
                <a:gd name="T27" fmla="*/ 2147483647 h 588"/>
                <a:gd name="T28" fmla="*/ 2147483647 w 255"/>
                <a:gd name="T29" fmla="*/ 2147483647 h 588"/>
                <a:gd name="T30" fmla="*/ 2147483647 w 255"/>
                <a:gd name="T31" fmla="*/ 2147483647 h 588"/>
                <a:gd name="T32" fmla="*/ 2147483647 w 255"/>
                <a:gd name="T33" fmla="*/ 2147483647 h 588"/>
                <a:gd name="T34" fmla="*/ 2147483647 w 255"/>
                <a:gd name="T35" fmla="*/ 2147483647 h 588"/>
                <a:gd name="T36" fmla="*/ 2147483647 w 255"/>
                <a:gd name="T37" fmla="*/ 2147483647 h 588"/>
                <a:gd name="T38" fmla="*/ 2147483647 w 255"/>
                <a:gd name="T39" fmla="*/ 0 h 58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5"/>
                <a:gd name="T61" fmla="*/ 0 h 588"/>
                <a:gd name="T62" fmla="*/ 255 w 255"/>
                <a:gd name="T63" fmla="*/ 588 h 58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5" h="588">
                  <a:moveTo>
                    <a:pt x="232" y="0"/>
                  </a:moveTo>
                  <a:lnTo>
                    <a:pt x="255" y="15"/>
                  </a:lnTo>
                  <a:lnTo>
                    <a:pt x="250" y="296"/>
                  </a:lnTo>
                  <a:lnTo>
                    <a:pt x="118" y="588"/>
                  </a:lnTo>
                  <a:lnTo>
                    <a:pt x="100" y="546"/>
                  </a:lnTo>
                  <a:lnTo>
                    <a:pt x="74" y="537"/>
                  </a:lnTo>
                  <a:lnTo>
                    <a:pt x="43" y="515"/>
                  </a:lnTo>
                  <a:lnTo>
                    <a:pt x="32" y="485"/>
                  </a:lnTo>
                  <a:lnTo>
                    <a:pt x="41" y="444"/>
                  </a:lnTo>
                  <a:lnTo>
                    <a:pt x="10" y="427"/>
                  </a:lnTo>
                  <a:lnTo>
                    <a:pt x="14" y="292"/>
                  </a:lnTo>
                  <a:lnTo>
                    <a:pt x="0" y="264"/>
                  </a:lnTo>
                  <a:lnTo>
                    <a:pt x="11" y="187"/>
                  </a:lnTo>
                  <a:lnTo>
                    <a:pt x="43" y="126"/>
                  </a:lnTo>
                  <a:lnTo>
                    <a:pt x="63" y="134"/>
                  </a:lnTo>
                  <a:lnTo>
                    <a:pt x="96" y="127"/>
                  </a:lnTo>
                  <a:lnTo>
                    <a:pt x="154" y="94"/>
                  </a:lnTo>
                  <a:lnTo>
                    <a:pt x="200" y="88"/>
                  </a:lnTo>
                  <a:lnTo>
                    <a:pt x="215" y="67"/>
                  </a:lnTo>
                  <a:lnTo>
                    <a:pt x="232" y="0"/>
                  </a:lnTo>
                  <a:close/>
                </a:path>
              </a:pathLst>
            </a:custGeom>
            <a:grpFill/>
            <a:ln w="12700">
              <a:solidFill>
                <a:schemeClr val="bg1"/>
              </a:solidFill>
              <a:round/>
              <a:headEnd/>
              <a:tailEnd/>
            </a:ln>
            <a:effectLst/>
          </p:spPr>
          <p:txBody>
            <a:bodyPr wrap="square"/>
            <a:lstStyle/>
            <a:p>
              <a:endParaRPr lang="cs-CZ" sz="1100" i="1">
                <a:latin typeface="+mn-lt"/>
                <a:ea typeface="+mn-ea"/>
              </a:endParaRPr>
            </a:p>
          </p:txBody>
        </p:sp>
        <p:sp>
          <p:nvSpPr>
            <p:cNvPr id="32" name="Freeform 138">
              <a:extLst>
                <a:ext uri="{FF2B5EF4-FFF2-40B4-BE49-F238E27FC236}">
                  <a16:creationId xmlns:a16="http://schemas.microsoft.com/office/drawing/2014/main" id="{4BCDC8B5-AD60-AC11-1B4D-E8BBD1C2D0B9}"/>
                </a:ext>
              </a:extLst>
            </p:cNvPr>
            <p:cNvSpPr>
              <a:spLocks/>
            </p:cNvSpPr>
            <p:nvPr/>
          </p:nvSpPr>
          <p:spPr bwMode="auto">
            <a:xfrm rot="21249101">
              <a:off x="2519932" y="4360880"/>
              <a:ext cx="1111250" cy="1157288"/>
            </a:xfrm>
            <a:custGeom>
              <a:avLst/>
              <a:gdLst>
                <a:gd name="T0" fmla="*/ 2147483647 w 3018"/>
                <a:gd name="T1" fmla="*/ 2147483647 h 3118"/>
                <a:gd name="T2" fmla="*/ 2147483647 w 3018"/>
                <a:gd name="T3" fmla="*/ 2147483647 h 3118"/>
                <a:gd name="T4" fmla="*/ 2147483647 w 3018"/>
                <a:gd name="T5" fmla="*/ 2147483647 h 3118"/>
                <a:gd name="T6" fmla="*/ 2147483647 w 3018"/>
                <a:gd name="T7" fmla="*/ 2147483647 h 3118"/>
                <a:gd name="T8" fmla="*/ 2147483647 w 3018"/>
                <a:gd name="T9" fmla="*/ 2147483647 h 3118"/>
                <a:gd name="T10" fmla="*/ 2147483647 w 3018"/>
                <a:gd name="T11" fmla="*/ 2147483647 h 3118"/>
                <a:gd name="T12" fmla="*/ 2147483647 w 3018"/>
                <a:gd name="T13" fmla="*/ 2147483647 h 3118"/>
                <a:gd name="T14" fmla="*/ 2147483647 w 3018"/>
                <a:gd name="T15" fmla="*/ 2147483647 h 3118"/>
                <a:gd name="T16" fmla="*/ 2147483647 w 3018"/>
                <a:gd name="T17" fmla="*/ 2147483647 h 3118"/>
                <a:gd name="T18" fmla="*/ 2147483647 w 3018"/>
                <a:gd name="T19" fmla="*/ 2147483647 h 3118"/>
                <a:gd name="T20" fmla="*/ 2147483647 w 3018"/>
                <a:gd name="T21" fmla="*/ 2147483647 h 3118"/>
                <a:gd name="T22" fmla="*/ 2147483647 w 3018"/>
                <a:gd name="T23" fmla="*/ 2147483647 h 3118"/>
                <a:gd name="T24" fmla="*/ 2147483647 w 3018"/>
                <a:gd name="T25" fmla="*/ 2147483647 h 3118"/>
                <a:gd name="T26" fmla="*/ 2147483647 w 3018"/>
                <a:gd name="T27" fmla="*/ 2147483647 h 3118"/>
                <a:gd name="T28" fmla="*/ 2147483647 w 3018"/>
                <a:gd name="T29" fmla="*/ 2147483647 h 3118"/>
                <a:gd name="T30" fmla="*/ 2147483647 w 3018"/>
                <a:gd name="T31" fmla="*/ 2147483647 h 3118"/>
                <a:gd name="T32" fmla="*/ 2147483647 w 3018"/>
                <a:gd name="T33" fmla="*/ 2147483647 h 3118"/>
                <a:gd name="T34" fmla="*/ 2147483647 w 3018"/>
                <a:gd name="T35" fmla="*/ 2147483647 h 3118"/>
                <a:gd name="T36" fmla="*/ 2147483647 w 3018"/>
                <a:gd name="T37" fmla="*/ 2147483647 h 3118"/>
                <a:gd name="T38" fmla="*/ 2147483647 w 3018"/>
                <a:gd name="T39" fmla="*/ 2147483647 h 3118"/>
                <a:gd name="T40" fmla="*/ 2147483647 w 3018"/>
                <a:gd name="T41" fmla="*/ 2147483647 h 3118"/>
                <a:gd name="T42" fmla="*/ 2147483647 w 3018"/>
                <a:gd name="T43" fmla="*/ 2147483647 h 3118"/>
                <a:gd name="T44" fmla="*/ 2147483647 w 3018"/>
                <a:gd name="T45" fmla="*/ 2147483647 h 3118"/>
                <a:gd name="T46" fmla="*/ 2147483647 w 3018"/>
                <a:gd name="T47" fmla="*/ 2147483647 h 3118"/>
                <a:gd name="T48" fmla="*/ 2147483647 w 3018"/>
                <a:gd name="T49" fmla="*/ 2147483647 h 3118"/>
                <a:gd name="T50" fmla="*/ 2147483647 w 3018"/>
                <a:gd name="T51" fmla="*/ 2147483647 h 3118"/>
                <a:gd name="T52" fmla="*/ 2147483647 w 3018"/>
                <a:gd name="T53" fmla="*/ 2147483647 h 3118"/>
                <a:gd name="T54" fmla="*/ 2147483647 w 3018"/>
                <a:gd name="T55" fmla="*/ 2147483647 h 3118"/>
                <a:gd name="T56" fmla="*/ 2147483647 w 3018"/>
                <a:gd name="T57" fmla="*/ 2147483647 h 3118"/>
                <a:gd name="T58" fmla="*/ 2147483647 w 3018"/>
                <a:gd name="T59" fmla="*/ 2147483647 h 3118"/>
                <a:gd name="T60" fmla="*/ 2147483647 w 3018"/>
                <a:gd name="T61" fmla="*/ 2147483647 h 3118"/>
                <a:gd name="T62" fmla="*/ 2147483647 w 3018"/>
                <a:gd name="T63" fmla="*/ 2147483647 h 3118"/>
                <a:gd name="T64" fmla="*/ 2147483647 w 3018"/>
                <a:gd name="T65" fmla="*/ 2147483647 h 3118"/>
                <a:gd name="T66" fmla="*/ 2147483647 w 3018"/>
                <a:gd name="T67" fmla="*/ 2147483647 h 3118"/>
                <a:gd name="T68" fmla="*/ 2147483647 w 3018"/>
                <a:gd name="T69" fmla="*/ 2147483647 h 3118"/>
                <a:gd name="T70" fmla="*/ 2147483647 w 3018"/>
                <a:gd name="T71" fmla="*/ 2147483647 h 3118"/>
                <a:gd name="T72" fmla="*/ 2147483647 w 3018"/>
                <a:gd name="T73" fmla="*/ 2147483647 h 3118"/>
                <a:gd name="T74" fmla="*/ 2147483647 w 3018"/>
                <a:gd name="T75" fmla="*/ 2147483647 h 3118"/>
                <a:gd name="T76" fmla="*/ 2147483647 w 3018"/>
                <a:gd name="T77" fmla="*/ 2147483647 h 3118"/>
                <a:gd name="T78" fmla="*/ 2147483647 w 3018"/>
                <a:gd name="T79" fmla="*/ 2147483647 h 3118"/>
                <a:gd name="T80" fmla="*/ 2147483647 w 3018"/>
                <a:gd name="T81" fmla="*/ 2147483647 h 3118"/>
                <a:gd name="T82" fmla="*/ 2147483647 w 3018"/>
                <a:gd name="T83" fmla="*/ 2147483647 h 3118"/>
                <a:gd name="T84" fmla="*/ 2147483647 w 3018"/>
                <a:gd name="T85" fmla="*/ 2147483647 h 3118"/>
                <a:gd name="T86" fmla="*/ 2147483647 w 3018"/>
                <a:gd name="T87" fmla="*/ 2147483647 h 3118"/>
                <a:gd name="T88" fmla="*/ 2147483647 w 3018"/>
                <a:gd name="T89" fmla="*/ 2147483647 h 3118"/>
                <a:gd name="T90" fmla="*/ 2147483647 w 3018"/>
                <a:gd name="T91" fmla="*/ 2147483647 h 3118"/>
                <a:gd name="T92" fmla="*/ 2147483647 w 3018"/>
                <a:gd name="T93" fmla="*/ 2147483647 h 3118"/>
                <a:gd name="T94" fmla="*/ 2147483647 w 3018"/>
                <a:gd name="T95" fmla="*/ 2147483647 h 3118"/>
                <a:gd name="T96" fmla="*/ 2147483647 w 3018"/>
                <a:gd name="T97" fmla="*/ 2147483647 h 3118"/>
                <a:gd name="T98" fmla="*/ 2147483647 w 3018"/>
                <a:gd name="T99" fmla="*/ 2147483647 h 31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018"/>
                <a:gd name="T151" fmla="*/ 0 h 3118"/>
                <a:gd name="T152" fmla="*/ 3018 w 3018"/>
                <a:gd name="T153" fmla="*/ 3118 h 31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018" h="3118">
                  <a:moveTo>
                    <a:pt x="1969" y="0"/>
                  </a:moveTo>
                  <a:lnTo>
                    <a:pt x="1948" y="9"/>
                  </a:lnTo>
                  <a:lnTo>
                    <a:pt x="1740" y="17"/>
                  </a:lnTo>
                  <a:lnTo>
                    <a:pt x="1648" y="208"/>
                  </a:lnTo>
                  <a:lnTo>
                    <a:pt x="1660" y="229"/>
                  </a:lnTo>
                  <a:lnTo>
                    <a:pt x="1649" y="256"/>
                  </a:lnTo>
                  <a:lnTo>
                    <a:pt x="1519" y="321"/>
                  </a:lnTo>
                  <a:lnTo>
                    <a:pt x="1302" y="354"/>
                  </a:lnTo>
                  <a:lnTo>
                    <a:pt x="1260" y="399"/>
                  </a:lnTo>
                  <a:lnTo>
                    <a:pt x="1257" y="422"/>
                  </a:lnTo>
                  <a:lnTo>
                    <a:pt x="1339" y="455"/>
                  </a:lnTo>
                  <a:lnTo>
                    <a:pt x="1328" y="467"/>
                  </a:lnTo>
                  <a:lnTo>
                    <a:pt x="1240" y="453"/>
                  </a:lnTo>
                  <a:lnTo>
                    <a:pt x="1189" y="472"/>
                  </a:lnTo>
                  <a:lnTo>
                    <a:pt x="1106" y="457"/>
                  </a:lnTo>
                  <a:lnTo>
                    <a:pt x="990" y="396"/>
                  </a:lnTo>
                  <a:lnTo>
                    <a:pt x="967" y="392"/>
                  </a:lnTo>
                  <a:lnTo>
                    <a:pt x="935" y="311"/>
                  </a:lnTo>
                  <a:lnTo>
                    <a:pt x="950" y="276"/>
                  </a:lnTo>
                  <a:lnTo>
                    <a:pt x="937" y="264"/>
                  </a:lnTo>
                  <a:lnTo>
                    <a:pt x="850" y="243"/>
                  </a:lnTo>
                  <a:lnTo>
                    <a:pt x="814" y="219"/>
                  </a:lnTo>
                  <a:lnTo>
                    <a:pt x="798" y="345"/>
                  </a:lnTo>
                  <a:lnTo>
                    <a:pt x="819" y="374"/>
                  </a:lnTo>
                  <a:lnTo>
                    <a:pt x="796" y="585"/>
                  </a:lnTo>
                  <a:lnTo>
                    <a:pt x="818" y="612"/>
                  </a:lnTo>
                  <a:lnTo>
                    <a:pt x="795" y="626"/>
                  </a:lnTo>
                  <a:lnTo>
                    <a:pt x="746" y="616"/>
                  </a:lnTo>
                  <a:lnTo>
                    <a:pt x="736" y="593"/>
                  </a:lnTo>
                  <a:lnTo>
                    <a:pt x="720" y="580"/>
                  </a:lnTo>
                  <a:lnTo>
                    <a:pt x="651" y="583"/>
                  </a:lnTo>
                  <a:lnTo>
                    <a:pt x="617" y="566"/>
                  </a:lnTo>
                  <a:lnTo>
                    <a:pt x="533" y="568"/>
                  </a:lnTo>
                  <a:lnTo>
                    <a:pt x="457" y="445"/>
                  </a:lnTo>
                  <a:lnTo>
                    <a:pt x="382" y="427"/>
                  </a:lnTo>
                  <a:lnTo>
                    <a:pt x="367" y="414"/>
                  </a:lnTo>
                  <a:lnTo>
                    <a:pt x="341" y="419"/>
                  </a:lnTo>
                  <a:lnTo>
                    <a:pt x="328" y="440"/>
                  </a:lnTo>
                  <a:lnTo>
                    <a:pt x="48" y="428"/>
                  </a:lnTo>
                  <a:lnTo>
                    <a:pt x="19" y="465"/>
                  </a:lnTo>
                  <a:lnTo>
                    <a:pt x="12" y="487"/>
                  </a:lnTo>
                  <a:lnTo>
                    <a:pt x="100" y="506"/>
                  </a:lnTo>
                  <a:lnTo>
                    <a:pt x="85" y="524"/>
                  </a:lnTo>
                  <a:lnTo>
                    <a:pt x="62" y="519"/>
                  </a:lnTo>
                  <a:lnTo>
                    <a:pt x="36" y="538"/>
                  </a:lnTo>
                  <a:lnTo>
                    <a:pt x="36" y="562"/>
                  </a:lnTo>
                  <a:lnTo>
                    <a:pt x="112" y="580"/>
                  </a:lnTo>
                  <a:lnTo>
                    <a:pt x="92" y="609"/>
                  </a:lnTo>
                  <a:lnTo>
                    <a:pt x="0" y="597"/>
                  </a:lnTo>
                  <a:lnTo>
                    <a:pt x="14" y="625"/>
                  </a:lnTo>
                  <a:lnTo>
                    <a:pt x="62" y="664"/>
                  </a:lnTo>
                  <a:lnTo>
                    <a:pt x="48" y="707"/>
                  </a:lnTo>
                  <a:lnTo>
                    <a:pt x="94" y="731"/>
                  </a:lnTo>
                  <a:lnTo>
                    <a:pt x="100" y="703"/>
                  </a:lnTo>
                  <a:lnTo>
                    <a:pt x="140" y="713"/>
                  </a:lnTo>
                  <a:lnTo>
                    <a:pt x="285" y="845"/>
                  </a:lnTo>
                  <a:lnTo>
                    <a:pt x="290" y="873"/>
                  </a:lnTo>
                  <a:lnTo>
                    <a:pt x="311" y="888"/>
                  </a:lnTo>
                  <a:lnTo>
                    <a:pt x="368" y="886"/>
                  </a:lnTo>
                  <a:lnTo>
                    <a:pt x="395" y="906"/>
                  </a:lnTo>
                  <a:lnTo>
                    <a:pt x="370" y="916"/>
                  </a:lnTo>
                  <a:lnTo>
                    <a:pt x="414" y="950"/>
                  </a:lnTo>
                  <a:lnTo>
                    <a:pt x="449" y="941"/>
                  </a:lnTo>
                  <a:lnTo>
                    <a:pt x="459" y="952"/>
                  </a:lnTo>
                  <a:lnTo>
                    <a:pt x="429" y="1023"/>
                  </a:lnTo>
                  <a:lnTo>
                    <a:pt x="486" y="1056"/>
                  </a:lnTo>
                  <a:lnTo>
                    <a:pt x="554" y="1061"/>
                  </a:lnTo>
                  <a:lnTo>
                    <a:pt x="593" y="1092"/>
                  </a:lnTo>
                  <a:lnTo>
                    <a:pt x="512" y="1095"/>
                  </a:lnTo>
                  <a:lnTo>
                    <a:pt x="506" y="1117"/>
                  </a:lnTo>
                  <a:lnTo>
                    <a:pt x="526" y="1159"/>
                  </a:lnTo>
                  <a:lnTo>
                    <a:pt x="495" y="1188"/>
                  </a:lnTo>
                  <a:lnTo>
                    <a:pt x="477" y="1156"/>
                  </a:lnTo>
                  <a:lnTo>
                    <a:pt x="464" y="1190"/>
                  </a:lnTo>
                  <a:lnTo>
                    <a:pt x="515" y="1308"/>
                  </a:lnTo>
                  <a:lnTo>
                    <a:pt x="515" y="1347"/>
                  </a:lnTo>
                  <a:lnTo>
                    <a:pt x="604" y="1445"/>
                  </a:lnTo>
                  <a:lnTo>
                    <a:pt x="662" y="1481"/>
                  </a:lnTo>
                  <a:lnTo>
                    <a:pt x="640" y="1510"/>
                  </a:lnTo>
                  <a:lnTo>
                    <a:pt x="649" y="1554"/>
                  </a:lnTo>
                  <a:lnTo>
                    <a:pt x="633" y="1612"/>
                  </a:lnTo>
                  <a:lnTo>
                    <a:pt x="594" y="1655"/>
                  </a:lnTo>
                  <a:lnTo>
                    <a:pt x="600" y="1704"/>
                  </a:lnTo>
                  <a:lnTo>
                    <a:pt x="638" y="1746"/>
                  </a:lnTo>
                  <a:lnTo>
                    <a:pt x="659" y="1802"/>
                  </a:lnTo>
                  <a:lnTo>
                    <a:pt x="657" y="1867"/>
                  </a:lnTo>
                  <a:lnTo>
                    <a:pt x="604" y="1749"/>
                  </a:lnTo>
                  <a:lnTo>
                    <a:pt x="581" y="1779"/>
                  </a:lnTo>
                  <a:lnTo>
                    <a:pt x="479" y="2045"/>
                  </a:lnTo>
                  <a:lnTo>
                    <a:pt x="515" y="2016"/>
                  </a:lnTo>
                  <a:lnTo>
                    <a:pt x="521" y="2053"/>
                  </a:lnTo>
                  <a:lnTo>
                    <a:pt x="469" y="2083"/>
                  </a:lnTo>
                  <a:lnTo>
                    <a:pt x="291" y="2447"/>
                  </a:lnTo>
                  <a:lnTo>
                    <a:pt x="234" y="2465"/>
                  </a:lnTo>
                  <a:lnTo>
                    <a:pt x="188" y="2447"/>
                  </a:lnTo>
                  <a:lnTo>
                    <a:pt x="192" y="2470"/>
                  </a:lnTo>
                  <a:lnTo>
                    <a:pt x="306" y="2616"/>
                  </a:lnTo>
                  <a:lnTo>
                    <a:pt x="354" y="2642"/>
                  </a:lnTo>
                  <a:lnTo>
                    <a:pt x="424" y="2726"/>
                  </a:lnTo>
                  <a:lnTo>
                    <a:pt x="696" y="2869"/>
                  </a:lnTo>
                  <a:lnTo>
                    <a:pt x="729" y="2871"/>
                  </a:lnTo>
                  <a:lnTo>
                    <a:pt x="785" y="2849"/>
                  </a:lnTo>
                  <a:lnTo>
                    <a:pt x="827" y="2849"/>
                  </a:lnTo>
                  <a:lnTo>
                    <a:pt x="922" y="2938"/>
                  </a:lnTo>
                  <a:lnTo>
                    <a:pt x="984" y="2961"/>
                  </a:lnTo>
                  <a:lnTo>
                    <a:pt x="1047" y="3047"/>
                  </a:lnTo>
                  <a:lnTo>
                    <a:pt x="1081" y="3068"/>
                  </a:lnTo>
                  <a:lnTo>
                    <a:pt x="1381" y="3118"/>
                  </a:lnTo>
                  <a:lnTo>
                    <a:pt x="1400" y="2976"/>
                  </a:lnTo>
                  <a:lnTo>
                    <a:pt x="1386" y="2952"/>
                  </a:lnTo>
                  <a:lnTo>
                    <a:pt x="1412" y="2886"/>
                  </a:lnTo>
                  <a:lnTo>
                    <a:pt x="1452" y="2840"/>
                  </a:lnTo>
                  <a:lnTo>
                    <a:pt x="1610" y="2797"/>
                  </a:lnTo>
                  <a:lnTo>
                    <a:pt x="1640" y="2776"/>
                  </a:lnTo>
                  <a:lnTo>
                    <a:pt x="1689" y="2763"/>
                  </a:lnTo>
                  <a:lnTo>
                    <a:pt x="1714" y="2769"/>
                  </a:lnTo>
                  <a:lnTo>
                    <a:pt x="1729" y="2789"/>
                  </a:lnTo>
                  <a:lnTo>
                    <a:pt x="1798" y="2815"/>
                  </a:lnTo>
                  <a:lnTo>
                    <a:pt x="1810" y="2826"/>
                  </a:lnTo>
                  <a:lnTo>
                    <a:pt x="1818" y="2846"/>
                  </a:lnTo>
                  <a:lnTo>
                    <a:pt x="1896" y="2874"/>
                  </a:lnTo>
                  <a:lnTo>
                    <a:pt x="1908" y="2858"/>
                  </a:lnTo>
                  <a:lnTo>
                    <a:pt x="1950" y="2869"/>
                  </a:lnTo>
                  <a:lnTo>
                    <a:pt x="1962" y="2881"/>
                  </a:lnTo>
                  <a:lnTo>
                    <a:pt x="1997" y="2891"/>
                  </a:lnTo>
                  <a:lnTo>
                    <a:pt x="2024" y="2908"/>
                  </a:lnTo>
                  <a:lnTo>
                    <a:pt x="2027" y="2934"/>
                  </a:lnTo>
                  <a:lnTo>
                    <a:pt x="2043" y="2944"/>
                  </a:lnTo>
                  <a:lnTo>
                    <a:pt x="2097" y="2958"/>
                  </a:lnTo>
                  <a:lnTo>
                    <a:pt x="2133" y="3006"/>
                  </a:lnTo>
                  <a:lnTo>
                    <a:pt x="2207" y="3025"/>
                  </a:lnTo>
                  <a:lnTo>
                    <a:pt x="2328" y="2996"/>
                  </a:lnTo>
                  <a:lnTo>
                    <a:pt x="2342" y="2985"/>
                  </a:lnTo>
                  <a:lnTo>
                    <a:pt x="2350" y="2956"/>
                  </a:lnTo>
                  <a:lnTo>
                    <a:pt x="2493" y="2877"/>
                  </a:lnTo>
                  <a:lnTo>
                    <a:pt x="2502" y="2858"/>
                  </a:lnTo>
                  <a:lnTo>
                    <a:pt x="2598" y="2827"/>
                  </a:lnTo>
                  <a:lnTo>
                    <a:pt x="2605" y="2819"/>
                  </a:lnTo>
                  <a:lnTo>
                    <a:pt x="2605" y="2802"/>
                  </a:lnTo>
                  <a:lnTo>
                    <a:pt x="2619" y="2772"/>
                  </a:lnTo>
                  <a:lnTo>
                    <a:pt x="2624" y="2732"/>
                  </a:lnTo>
                  <a:lnTo>
                    <a:pt x="2616" y="2692"/>
                  </a:lnTo>
                  <a:lnTo>
                    <a:pt x="2502" y="2659"/>
                  </a:lnTo>
                  <a:lnTo>
                    <a:pt x="2481" y="2614"/>
                  </a:lnTo>
                  <a:lnTo>
                    <a:pt x="2481" y="2509"/>
                  </a:lnTo>
                  <a:lnTo>
                    <a:pt x="2497" y="2466"/>
                  </a:lnTo>
                  <a:lnTo>
                    <a:pt x="2500" y="2430"/>
                  </a:lnTo>
                  <a:lnTo>
                    <a:pt x="2463" y="2408"/>
                  </a:lnTo>
                  <a:lnTo>
                    <a:pt x="2458" y="2387"/>
                  </a:lnTo>
                  <a:lnTo>
                    <a:pt x="2459" y="2364"/>
                  </a:lnTo>
                  <a:lnTo>
                    <a:pt x="2474" y="2327"/>
                  </a:lnTo>
                  <a:lnTo>
                    <a:pt x="2504" y="2300"/>
                  </a:lnTo>
                  <a:lnTo>
                    <a:pt x="2560" y="2272"/>
                  </a:lnTo>
                  <a:lnTo>
                    <a:pt x="2525" y="2075"/>
                  </a:lnTo>
                  <a:lnTo>
                    <a:pt x="2532" y="2053"/>
                  </a:lnTo>
                  <a:lnTo>
                    <a:pt x="2579" y="2059"/>
                  </a:lnTo>
                  <a:lnTo>
                    <a:pt x="2574" y="2007"/>
                  </a:lnTo>
                  <a:lnTo>
                    <a:pt x="2542" y="1993"/>
                  </a:lnTo>
                  <a:lnTo>
                    <a:pt x="2553" y="1866"/>
                  </a:lnTo>
                  <a:lnTo>
                    <a:pt x="2541" y="1855"/>
                  </a:lnTo>
                  <a:lnTo>
                    <a:pt x="2461" y="1841"/>
                  </a:lnTo>
                  <a:lnTo>
                    <a:pt x="2399" y="1908"/>
                  </a:lnTo>
                  <a:lnTo>
                    <a:pt x="2366" y="1922"/>
                  </a:lnTo>
                  <a:lnTo>
                    <a:pt x="2351" y="1908"/>
                  </a:lnTo>
                  <a:lnTo>
                    <a:pt x="2401" y="1757"/>
                  </a:lnTo>
                  <a:lnTo>
                    <a:pt x="2423" y="1743"/>
                  </a:lnTo>
                  <a:lnTo>
                    <a:pt x="2444" y="1717"/>
                  </a:lnTo>
                  <a:lnTo>
                    <a:pt x="2478" y="1703"/>
                  </a:lnTo>
                  <a:lnTo>
                    <a:pt x="2488" y="1692"/>
                  </a:lnTo>
                  <a:lnTo>
                    <a:pt x="2507" y="1650"/>
                  </a:lnTo>
                  <a:lnTo>
                    <a:pt x="2663" y="1522"/>
                  </a:lnTo>
                  <a:lnTo>
                    <a:pt x="2650" y="1495"/>
                  </a:lnTo>
                  <a:lnTo>
                    <a:pt x="2674" y="1469"/>
                  </a:lnTo>
                  <a:lnTo>
                    <a:pt x="2750" y="1488"/>
                  </a:lnTo>
                  <a:lnTo>
                    <a:pt x="2782" y="1479"/>
                  </a:lnTo>
                  <a:lnTo>
                    <a:pt x="2818" y="1457"/>
                  </a:lnTo>
                  <a:lnTo>
                    <a:pt x="2813" y="1443"/>
                  </a:lnTo>
                  <a:lnTo>
                    <a:pt x="2837" y="1278"/>
                  </a:lnTo>
                  <a:lnTo>
                    <a:pt x="2909" y="1125"/>
                  </a:lnTo>
                  <a:lnTo>
                    <a:pt x="3000" y="1038"/>
                  </a:lnTo>
                  <a:lnTo>
                    <a:pt x="3018" y="990"/>
                  </a:lnTo>
                  <a:lnTo>
                    <a:pt x="2719" y="851"/>
                  </a:lnTo>
                  <a:lnTo>
                    <a:pt x="2702" y="802"/>
                  </a:lnTo>
                  <a:lnTo>
                    <a:pt x="2632" y="711"/>
                  </a:lnTo>
                  <a:lnTo>
                    <a:pt x="2580" y="705"/>
                  </a:lnTo>
                  <a:lnTo>
                    <a:pt x="2514" y="672"/>
                  </a:lnTo>
                  <a:lnTo>
                    <a:pt x="2477" y="673"/>
                  </a:lnTo>
                  <a:lnTo>
                    <a:pt x="2433" y="654"/>
                  </a:lnTo>
                  <a:lnTo>
                    <a:pt x="2363" y="581"/>
                  </a:lnTo>
                  <a:lnTo>
                    <a:pt x="2378" y="559"/>
                  </a:lnTo>
                  <a:lnTo>
                    <a:pt x="2360" y="544"/>
                  </a:lnTo>
                  <a:lnTo>
                    <a:pt x="2379" y="447"/>
                  </a:lnTo>
                  <a:lnTo>
                    <a:pt x="2355" y="441"/>
                  </a:lnTo>
                  <a:lnTo>
                    <a:pt x="2296" y="496"/>
                  </a:lnTo>
                  <a:lnTo>
                    <a:pt x="2254" y="486"/>
                  </a:lnTo>
                  <a:lnTo>
                    <a:pt x="2216" y="461"/>
                  </a:lnTo>
                  <a:lnTo>
                    <a:pt x="2217" y="357"/>
                  </a:lnTo>
                  <a:lnTo>
                    <a:pt x="2200" y="329"/>
                  </a:lnTo>
                  <a:lnTo>
                    <a:pt x="2062" y="231"/>
                  </a:lnTo>
                  <a:lnTo>
                    <a:pt x="2043" y="145"/>
                  </a:lnTo>
                  <a:lnTo>
                    <a:pt x="1997" y="140"/>
                  </a:lnTo>
                  <a:lnTo>
                    <a:pt x="1955" y="107"/>
                  </a:lnTo>
                  <a:lnTo>
                    <a:pt x="1969" y="0"/>
                  </a:lnTo>
                </a:path>
              </a:pathLst>
            </a:custGeom>
            <a:grpFill/>
            <a:ln w="12700">
              <a:solidFill>
                <a:schemeClr val="bg1"/>
              </a:solidFill>
              <a:round/>
              <a:headEnd/>
              <a:tailEnd/>
            </a:ln>
            <a:effectLst/>
          </p:spPr>
          <p:txBody>
            <a:bodyPr wrap="square"/>
            <a:lstStyle/>
            <a:p>
              <a:endParaRPr lang="cs-CZ" sz="1100" i="1">
                <a:latin typeface="+mn-lt"/>
                <a:ea typeface="+mn-ea"/>
              </a:endParaRPr>
            </a:p>
          </p:txBody>
        </p:sp>
      </p:grpSp>
      <p:sp>
        <p:nvSpPr>
          <p:cNvPr id="33" name="FI">
            <a:extLst>
              <a:ext uri="{FF2B5EF4-FFF2-40B4-BE49-F238E27FC236}">
                <a16:creationId xmlns:a16="http://schemas.microsoft.com/office/drawing/2014/main" id="{5EC82CF9-7CE3-0969-3EBA-47860FF7BD8A}"/>
              </a:ext>
            </a:extLst>
          </p:cNvPr>
          <p:cNvSpPr>
            <a:spLocks/>
          </p:cNvSpPr>
          <p:nvPr/>
        </p:nvSpPr>
        <p:spPr bwMode="auto">
          <a:xfrm rot="21249101">
            <a:off x="10552090" y="525403"/>
            <a:ext cx="870807" cy="1712657"/>
          </a:xfrm>
          <a:custGeom>
            <a:avLst/>
            <a:gdLst>
              <a:gd name="T0" fmla="*/ 2147483647 w 1830"/>
              <a:gd name="T1" fmla="*/ 2147483647 h 3757"/>
              <a:gd name="T2" fmla="*/ 2147483647 w 1830"/>
              <a:gd name="T3" fmla="*/ 2147483647 h 3757"/>
              <a:gd name="T4" fmla="*/ 2147483647 w 1830"/>
              <a:gd name="T5" fmla="*/ 2147483647 h 3757"/>
              <a:gd name="T6" fmla="*/ 2147483647 w 1830"/>
              <a:gd name="T7" fmla="*/ 2147483647 h 3757"/>
              <a:gd name="T8" fmla="*/ 2147483647 w 1830"/>
              <a:gd name="T9" fmla="*/ 2147483647 h 3757"/>
              <a:gd name="T10" fmla="*/ 2147483647 w 1830"/>
              <a:gd name="T11" fmla="*/ 2147483647 h 3757"/>
              <a:gd name="T12" fmla="*/ 2147483647 w 1830"/>
              <a:gd name="T13" fmla="*/ 2147483647 h 3757"/>
              <a:gd name="T14" fmla="*/ 2147483647 w 1830"/>
              <a:gd name="T15" fmla="*/ 2147483647 h 3757"/>
              <a:gd name="T16" fmla="*/ 2147483647 w 1830"/>
              <a:gd name="T17" fmla="*/ 2147483647 h 3757"/>
              <a:gd name="T18" fmla="*/ 2147483647 w 1830"/>
              <a:gd name="T19" fmla="*/ 2147483647 h 3757"/>
              <a:gd name="T20" fmla="*/ 2147483647 w 1830"/>
              <a:gd name="T21" fmla="*/ 2147483647 h 3757"/>
              <a:gd name="T22" fmla="*/ 2147483647 w 1830"/>
              <a:gd name="T23" fmla="*/ 2147483647 h 3757"/>
              <a:gd name="T24" fmla="*/ 2147483647 w 1830"/>
              <a:gd name="T25" fmla="*/ 2147483647 h 3757"/>
              <a:gd name="T26" fmla="*/ 2147483647 w 1830"/>
              <a:gd name="T27" fmla="*/ 2147483647 h 3757"/>
              <a:gd name="T28" fmla="*/ 2147483647 w 1830"/>
              <a:gd name="T29" fmla="*/ 2147483647 h 3757"/>
              <a:gd name="T30" fmla="*/ 2147483647 w 1830"/>
              <a:gd name="T31" fmla="*/ 2147483647 h 3757"/>
              <a:gd name="T32" fmla="*/ 2147483647 w 1830"/>
              <a:gd name="T33" fmla="*/ 2147483647 h 3757"/>
              <a:gd name="T34" fmla="*/ 2147483647 w 1830"/>
              <a:gd name="T35" fmla="*/ 2147483647 h 3757"/>
              <a:gd name="T36" fmla="*/ 2147483647 w 1830"/>
              <a:gd name="T37" fmla="*/ 2147483647 h 3757"/>
              <a:gd name="T38" fmla="*/ 2147483647 w 1830"/>
              <a:gd name="T39" fmla="*/ 2147483647 h 3757"/>
              <a:gd name="T40" fmla="*/ 2147483647 w 1830"/>
              <a:gd name="T41" fmla="*/ 2147483647 h 3757"/>
              <a:gd name="T42" fmla="*/ 2147483647 w 1830"/>
              <a:gd name="T43" fmla="*/ 2147483647 h 3757"/>
              <a:gd name="T44" fmla="*/ 2147483647 w 1830"/>
              <a:gd name="T45" fmla="*/ 2147483647 h 3757"/>
              <a:gd name="T46" fmla="*/ 2147483647 w 1830"/>
              <a:gd name="T47" fmla="*/ 2147483647 h 3757"/>
              <a:gd name="T48" fmla="*/ 2147483647 w 1830"/>
              <a:gd name="T49" fmla="*/ 2147483647 h 3757"/>
              <a:gd name="T50" fmla="*/ 2147483647 w 1830"/>
              <a:gd name="T51" fmla="*/ 2147483647 h 3757"/>
              <a:gd name="T52" fmla="*/ 2147483647 w 1830"/>
              <a:gd name="T53" fmla="*/ 2147483647 h 3757"/>
              <a:gd name="T54" fmla="*/ 2147483647 w 1830"/>
              <a:gd name="T55" fmla="*/ 2147483647 h 3757"/>
              <a:gd name="T56" fmla="*/ 2147483647 w 1830"/>
              <a:gd name="T57" fmla="*/ 2147483647 h 3757"/>
              <a:gd name="T58" fmla="*/ 2147483647 w 1830"/>
              <a:gd name="T59" fmla="*/ 2147483647 h 3757"/>
              <a:gd name="T60" fmla="*/ 2147483647 w 1830"/>
              <a:gd name="T61" fmla="*/ 2147483647 h 3757"/>
              <a:gd name="T62" fmla="*/ 2147483647 w 1830"/>
              <a:gd name="T63" fmla="*/ 2147483647 h 3757"/>
              <a:gd name="T64" fmla="*/ 2147483647 w 1830"/>
              <a:gd name="T65" fmla="*/ 2147483647 h 3757"/>
              <a:gd name="T66" fmla="*/ 2147483647 w 1830"/>
              <a:gd name="T67" fmla="*/ 2147483647 h 3757"/>
              <a:gd name="T68" fmla="*/ 2147483647 w 1830"/>
              <a:gd name="T69" fmla="*/ 2147483647 h 3757"/>
              <a:gd name="T70" fmla="*/ 2147483647 w 1830"/>
              <a:gd name="T71" fmla="*/ 2147483647 h 3757"/>
              <a:gd name="T72" fmla="*/ 2147483647 w 1830"/>
              <a:gd name="T73" fmla="*/ 2147483647 h 3757"/>
              <a:gd name="T74" fmla="*/ 2147483647 w 1830"/>
              <a:gd name="T75" fmla="*/ 2147483647 h 3757"/>
              <a:gd name="T76" fmla="*/ 2147483647 w 1830"/>
              <a:gd name="T77" fmla="*/ 2147483647 h 3757"/>
              <a:gd name="T78" fmla="*/ 2147483647 w 1830"/>
              <a:gd name="T79" fmla="*/ 2147483647 h 3757"/>
              <a:gd name="T80" fmla="*/ 2147483647 w 1830"/>
              <a:gd name="T81" fmla="*/ 2147483647 h 3757"/>
              <a:gd name="T82" fmla="*/ 2147483647 w 1830"/>
              <a:gd name="T83" fmla="*/ 2147483647 h 3757"/>
              <a:gd name="T84" fmla="*/ 2147483647 w 1830"/>
              <a:gd name="T85" fmla="*/ 2147483647 h 3757"/>
              <a:gd name="T86" fmla="*/ 2147483647 w 1830"/>
              <a:gd name="T87" fmla="*/ 2147483647 h 3757"/>
              <a:gd name="T88" fmla="*/ 2147483647 w 1830"/>
              <a:gd name="T89" fmla="*/ 2147483647 h 3757"/>
              <a:gd name="T90" fmla="*/ 2147483647 w 1830"/>
              <a:gd name="T91" fmla="*/ 2147483647 h 3757"/>
              <a:gd name="T92" fmla="*/ 2147483647 w 1830"/>
              <a:gd name="T93" fmla="*/ 2147483647 h 3757"/>
              <a:gd name="T94" fmla="*/ 2147483647 w 1830"/>
              <a:gd name="T95" fmla="*/ 2147483647 h 3757"/>
              <a:gd name="T96" fmla="*/ 2147483647 w 1830"/>
              <a:gd name="T97" fmla="*/ 2147483647 h 3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0"/>
              <a:gd name="T148" fmla="*/ 0 h 3757"/>
              <a:gd name="T149" fmla="*/ 1830 w 1830"/>
              <a:gd name="T150" fmla="*/ 3757 h 3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0" h="3757">
                <a:moveTo>
                  <a:pt x="0" y="423"/>
                </a:moveTo>
                <a:lnTo>
                  <a:pt x="6" y="423"/>
                </a:lnTo>
                <a:lnTo>
                  <a:pt x="12" y="435"/>
                </a:lnTo>
                <a:lnTo>
                  <a:pt x="192" y="613"/>
                </a:lnTo>
                <a:lnTo>
                  <a:pt x="279" y="638"/>
                </a:lnTo>
                <a:lnTo>
                  <a:pt x="326" y="676"/>
                </a:lnTo>
                <a:lnTo>
                  <a:pt x="422" y="830"/>
                </a:lnTo>
                <a:lnTo>
                  <a:pt x="409" y="902"/>
                </a:lnTo>
                <a:lnTo>
                  <a:pt x="420" y="991"/>
                </a:lnTo>
                <a:lnTo>
                  <a:pt x="433" y="1008"/>
                </a:lnTo>
                <a:lnTo>
                  <a:pt x="440" y="1046"/>
                </a:lnTo>
                <a:lnTo>
                  <a:pt x="426" y="1099"/>
                </a:lnTo>
                <a:lnTo>
                  <a:pt x="436" y="1141"/>
                </a:lnTo>
                <a:lnTo>
                  <a:pt x="499" y="1256"/>
                </a:lnTo>
                <a:lnTo>
                  <a:pt x="499" y="1315"/>
                </a:lnTo>
                <a:lnTo>
                  <a:pt x="479" y="1353"/>
                </a:lnTo>
                <a:lnTo>
                  <a:pt x="470" y="1400"/>
                </a:lnTo>
                <a:lnTo>
                  <a:pt x="529" y="1542"/>
                </a:lnTo>
                <a:lnTo>
                  <a:pt x="552" y="1562"/>
                </a:lnTo>
                <a:lnTo>
                  <a:pt x="566" y="1566"/>
                </a:lnTo>
                <a:lnTo>
                  <a:pt x="575" y="1584"/>
                </a:lnTo>
                <a:lnTo>
                  <a:pt x="595" y="1592"/>
                </a:lnTo>
                <a:lnTo>
                  <a:pt x="608" y="1576"/>
                </a:lnTo>
                <a:lnTo>
                  <a:pt x="618" y="1583"/>
                </a:lnTo>
                <a:lnTo>
                  <a:pt x="630" y="1621"/>
                </a:lnTo>
                <a:lnTo>
                  <a:pt x="676" y="1648"/>
                </a:lnTo>
                <a:lnTo>
                  <a:pt x="729" y="1709"/>
                </a:lnTo>
                <a:lnTo>
                  <a:pt x="746" y="1745"/>
                </a:lnTo>
                <a:lnTo>
                  <a:pt x="746" y="1828"/>
                </a:lnTo>
                <a:lnTo>
                  <a:pt x="779" y="1879"/>
                </a:lnTo>
                <a:lnTo>
                  <a:pt x="756" y="1878"/>
                </a:lnTo>
                <a:lnTo>
                  <a:pt x="748" y="1901"/>
                </a:lnTo>
                <a:lnTo>
                  <a:pt x="759" y="1927"/>
                </a:lnTo>
                <a:lnTo>
                  <a:pt x="729" y="1912"/>
                </a:lnTo>
                <a:lnTo>
                  <a:pt x="699" y="1918"/>
                </a:lnTo>
                <a:lnTo>
                  <a:pt x="651" y="1943"/>
                </a:lnTo>
                <a:lnTo>
                  <a:pt x="631" y="2044"/>
                </a:lnTo>
                <a:lnTo>
                  <a:pt x="371" y="2437"/>
                </a:lnTo>
                <a:lnTo>
                  <a:pt x="343" y="2457"/>
                </a:lnTo>
                <a:lnTo>
                  <a:pt x="324" y="2490"/>
                </a:lnTo>
                <a:lnTo>
                  <a:pt x="310" y="2502"/>
                </a:lnTo>
                <a:lnTo>
                  <a:pt x="291" y="2532"/>
                </a:lnTo>
                <a:lnTo>
                  <a:pt x="231" y="2541"/>
                </a:lnTo>
                <a:lnTo>
                  <a:pt x="206" y="2531"/>
                </a:lnTo>
                <a:lnTo>
                  <a:pt x="187" y="2576"/>
                </a:lnTo>
                <a:lnTo>
                  <a:pt x="212" y="2601"/>
                </a:lnTo>
                <a:lnTo>
                  <a:pt x="201" y="2610"/>
                </a:lnTo>
                <a:lnTo>
                  <a:pt x="148" y="2616"/>
                </a:lnTo>
                <a:lnTo>
                  <a:pt x="150" y="2633"/>
                </a:lnTo>
                <a:lnTo>
                  <a:pt x="142" y="2658"/>
                </a:lnTo>
                <a:lnTo>
                  <a:pt x="122" y="2661"/>
                </a:lnTo>
                <a:lnTo>
                  <a:pt x="112" y="2668"/>
                </a:lnTo>
                <a:lnTo>
                  <a:pt x="86" y="2748"/>
                </a:lnTo>
                <a:lnTo>
                  <a:pt x="102" y="2831"/>
                </a:lnTo>
                <a:lnTo>
                  <a:pt x="115" y="2850"/>
                </a:lnTo>
                <a:lnTo>
                  <a:pt x="127" y="2887"/>
                </a:lnTo>
                <a:lnTo>
                  <a:pt x="117" y="2967"/>
                </a:lnTo>
                <a:lnTo>
                  <a:pt x="131" y="2999"/>
                </a:lnTo>
                <a:lnTo>
                  <a:pt x="157" y="3028"/>
                </a:lnTo>
                <a:lnTo>
                  <a:pt x="172" y="3108"/>
                </a:lnTo>
                <a:lnTo>
                  <a:pt x="186" y="3134"/>
                </a:lnTo>
                <a:lnTo>
                  <a:pt x="203" y="3151"/>
                </a:lnTo>
                <a:lnTo>
                  <a:pt x="206" y="3161"/>
                </a:lnTo>
                <a:lnTo>
                  <a:pt x="190" y="3144"/>
                </a:lnTo>
                <a:lnTo>
                  <a:pt x="173" y="3146"/>
                </a:lnTo>
                <a:lnTo>
                  <a:pt x="163" y="3160"/>
                </a:lnTo>
                <a:lnTo>
                  <a:pt x="168" y="3273"/>
                </a:lnTo>
                <a:lnTo>
                  <a:pt x="153" y="3318"/>
                </a:lnTo>
                <a:lnTo>
                  <a:pt x="143" y="3319"/>
                </a:lnTo>
                <a:lnTo>
                  <a:pt x="133" y="3351"/>
                </a:lnTo>
                <a:lnTo>
                  <a:pt x="146" y="3369"/>
                </a:lnTo>
                <a:lnTo>
                  <a:pt x="147" y="3387"/>
                </a:lnTo>
                <a:lnTo>
                  <a:pt x="142" y="3404"/>
                </a:lnTo>
                <a:lnTo>
                  <a:pt x="148" y="3421"/>
                </a:lnTo>
                <a:lnTo>
                  <a:pt x="173" y="3430"/>
                </a:lnTo>
                <a:lnTo>
                  <a:pt x="169" y="3445"/>
                </a:lnTo>
                <a:lnTo>
                  <a:pt x="152" y="3449"/>
                </a:lnTo>
                <a:lnTo>
                  <a:pt x="156" y="3471"/>
                </a:lnTo>
                <a:lnTo>
                  <a:pt x="202" y="3473"/>
                </a:lnTo>
                <a:lnTo>
                  <a:pt x="256" y="3516"/>
                </a:lnTo>
                <a:lnTo>
                  <a:pt x="350" y="3545"/>
                </a:lnTo>
                <a:lnTo>
                  <a:pt x="358" y="3560"/>
                </a:lnTo>
                <a:lnTo>
                  <a:pt x="352" y="3585"/>
                </a:lnTo>
                <a:lnTo>
                  <a:pt x="378" y="3602"/>
                </a:lnTo>
                <a:lnTo>
                  <a:pt x="426" y="3570"/>
                </a:lnTo>
                <a:lnTo>
                  <a:pt x="432" y="3588"/>
                </a:lnTo>
                <a:lnTo>
                  <a:pt x="432" y="3628"/>
                </a:lnTo>
                <a:lnTo>
                  <a:pt x="464" y="3674"/>
                </a:lnTo>
                <a:lnTo>
                  <a:pt x="461" y="3696"/>
                </a:lnTo>
                <a:lnTo>
                  <a:pt x="487" y="3707"/>
                </a:lnTo>
                <a:lnTo>
                  <a:pt x="477" y="3727"/>
                </a:lnTo>
                <a:lnTo>
                  <a:pt x="447" y="3753"/>
                </a:lnTo>
                <a:lnTo>
                  <a:pt x="463" y="3757"/>
                </a:lnTo>
                <a:lnTo>
                  <a:pt x="497" y="3737"/>
                </a:lnTo>
                <a:lnTo>
                  <a:pt x="530" y="3670"/>
                </a:lnTo>
                <a:lnTo>
                  <a:pt x="537" y="3676"/>
                </a:lnTo>
                <a:lnTo>
                  <a:pt x="537" y="3708"/>
                </a:lnTo>
                <a:lnTo>
                  <a:pt x="556" y="3714"/>
                </a:lnTo>
                <a:lnTo>
                  <a:pt x="632" y="3668"/>
                </a:lnTo>
                <a:lnTo>
                  <a:pt x="658" y="3667"/>
                </a:lnTo>
                <a:lnTo>
                  <a:pt x="681" y="3655"/>
                </a:lnTo>
                <a:lnTo>
                  <a:pt x="697" y="3668"/>
                </a:lnTo>
                <a:lnTo>
                  <a:pt x="706" y="3670"/>
                </a:lnTo>
                <a:lnTo>
                  <a:pt x="761" y="3611"/>
                </a:lnTo>
                <a:lnTo>
                  <a:pt x="786" y="3604"/>
                </a:lnTo>
                <a:lnTo>
                  <a:pt x="810" y="3614"/>
                </a:lnTo>
                <a:lnTo>
                  <a:pt x="859" y="3577"/>
                </a:lnTo>
                <a:lnTo>
                  <a:pt x="889" y="3572"/>
                </a:lnTo>
                <a:lnTo>
                  <a:pt x="911" y="3524"/>
                </a:lnTo>
                <a:lnTo>
                  <a:pt x="927" y="3555"/>
                </a:lnTo>
                <a:lnTo>
                  <a:pt x="987" y="3526"/>
                </a:lnTo>
                <a:lnTo>
                  <a:pt x="975" y="3495"/>
                </a:lnTo>
                <a:lnTo>
                  <a:pt x="983" y="3504"/>
                </a:lnTo>
                <a:lnTo>
                  <a:pt x="1011" y="3512"/>
                </a:lnTo>
                <a:lnTo>
                  <a:pt x="1029" y="3508"/>
                </a:lnTo>
                <a:lnTo>
                  <a:pt x="1049" y="3489"/>
                </a:lnTo>
                <a:lnTo>
                  <a:pt x="1108" y="3479"/>
                </a:lnTo>
                <a:lnTo>
                  <a:pt x="1176" y="3439"/>
                </a:lnTo>
                <a:lnTo>
                  <a:pt x="1206" y="3455"/>
                </a:lnTo>
                <a:lnTo>
                  <a:pt x="1266" y="3456"/>
                </a:lnTo>
                <a:lnTo>
                  <a:pt x="1280" y="3442"/>
                </a:lnTo>
                <a:lnTo>
                  <a:pt x="1290" y="3424"/>
                </a:lnTo>
                <a:lnTo>
                  <a:pt x="1292" y="3429"/>
                </a:lnTo>
                <a:lnTo>
                  <a:pt x="1768" y="2762"/>
                </a:lnTo>
                <a:lnTo>
                  <a:pt x="1830" y="2573"/>
                </a:lnTo>
                <a:lnTo>
                  <a:pt x="1812" y="2457"/>
                </a:lnTo>
                <a:lnTo>
                  <a:pt x="1800" y="2474"/>
                </a:lnTo>
                <a:lnTo>
                  <a:pt x="1761" y="2429"/>
                </a:lnTo>
                <a:lnTo>
                  <a:pt x="1741" y="2381"/>
                </a:lnTo>
                <a:lnTo>
                  <a:pt x="1641" y="2326"/>
                </a:lnTo>
                <a:lnTo>
                  <a:pt x="1611" y="2296"/>
                </a:lnTo>
                <a:lnTo>
                  <a:pt x="1583" y="2243"/>
                </a:lnTo>
                <a:lnTo>
                  <a:pt x="1589" y="2195"/>
                </a:lnTo>
                <a:lnTo>
                  <a:pt x="1612" y="2146"/>
                </a:lnTo>
                <a:lnTo>
                  <a:pt x="1621" y="2091"/>
                </a:lnTo>
                <a:lnTo>
                  <a:pt x="1608" y="2039"/>
                </a:lnTo>
                <a:lnTo>
                  <a:pt x="1555" y="2004"/>
                </a:lnTo>
                <a:lnTo>
                  <a:pt x="1528" y="1958"/>
                </a:lnTo>
                <a:lnTo>
                  <a:pt x="1524" y="1902"/>
                </a:lnTo>
                <a:lnTo>
                  <a:pt x="1493" y="1856"/>
                </a:lnTo>
                <a:lnTo>
                  <a:pt x="1447" y="1852"/>
                </a:lnTo>
                <a:lnTo>
                  <a:pt x="1436" y="1794"/>
                </a:lnTo>
                <a:lnTo>
                  <a:pt x="1448" y="1760"/>
                </a:lnTo>
                <a:lnTo>
                  <a:pt x="1436" y="1710"/>
                </a:lnTo>
                <a:lnTo>
                  <a:pt x="1423" y="1685"/>
                </a:lnTo>
                <a:lnTo>
                  <a:pt x="1424" y="1578"/>
                </a:lnTo>
                <a:lnTo>
                  <a:pt x="1459" y="1538"/>
                </a:lnTo>
                <a:lnTo>
                  <a:pt x="1266" y="1164"/>
                </a:lnTo>
                <a:lnTo>
                  <a:pt x="1254" y="1110"/>
                </a:lnTo>
                <a:lnTo>
                  <a:pt x="1328" y="858"/>
                </a:lnTo>
                <a:lnTo>
                  <a:pt x="1312" y="804"/>
                </a:lnTo>
                <a:lnTo>
                  <a:pt x="1219" y="686"/>
                </a:lnTo>
                <a:lnTo>
                  <a:pt x="1179" y="671"/>
                </a:lnTo>
                <a:lnTo>
                  <a:pt x="1143" y="671"/>
                </a:lnTo>
                <a:lnTo>
                  <a:pt x="1118" y="657"/>
                </a:lnTo>
                <a:lnTo>
                  <a:pt x="1102" y="640"/>
                </a:lnTo>
                <a:lnTo>
                  <a:pt x="1069" y="534"/>
                </a:lnTo>
                <a:lnTo>
                  <a:pt x="1088" y="438"/>
                </a:lnTo>
                <a:lnTo>
                  <a:pt x="1084" y="428"/>
                </a:lnTo>
                <a:lnTo>
                  <a:pt x="1061" y="419"/>
                </a:lnTo>
                <a:lnTo>
                  <a:pt x="1123" y="344"/>
                </a:lnTo>
                <a:lnTo>
                  <a:pt x="1097" y="330"/>
                </a:lnTo>
                <a:lnTo>
                  <a:pt x="1092" y="304"/>
                </a:lnTo>
                <a:lnTo>
                  <a:pt x="1096" y="274"/>
                </a:lnTo>
                <a:lnTo>
                  <a:pt x="1136" y="212"/>
                </a:lnTo>
                <a:lnTo>
                  <a:pt x="1100" y="114"/>
                </a:lnTo>
                <a:lnTo>
                  <a:pt x="1053" y="80"/>
                </a:lnTo>
                <a:lnTo>
                  <a:pt x="1010" y="69"/>
                </a:lnTo>
                <a:lnTo>
                  <a:pt x="982" y="53"/>
                </a:lnTo>
                <a:lnTo>
                  <a:pt x="954" y="10"/>
                </a:lnTo>
                <a:lnTo>
                  <a:pt x="940" y="0"/>
                </a:lnTo>
                <a:lnTo>
                  <a:pt x="804" y="66"/>
                </a:lnTo>
                <a:lnTo>
                  <a:pt x="747" y="77"/>
                </a:lnTo>
                <a:lnTo>
                  <a:pt x="719" y="97"/>
                </a:lnTo>
                <a:lnTo>
                  <a:pt x="697" y="128"/>
                </a:lnTo>
                <a:lnTo>
                  <a:pt x="674" y="204"/>
                </a:lnTo>
                <a:lnTo>
                  <a:pt x="684" y="418"/>
                </a:lnTo>
                <a:lnTo>
                  <a:pt x="627" y="468"/>
                </a:lnTo>
                <a:lnTo>
                  <a:pt x="608" y="502"/>
                </a:lnTo>
                <a:lnTo>
                  <a:pt x="543" y="547"/>
                </a:lnTo>
                <a:lnTo>
                  <a:pt x="517" y="542"/>
                </a:lnTo>
                <a:lnTo>
                  <a:pt x="483" y="492"/>
                </a:lnTo>
                <a:lnTo>
                  <a:pt x="460" y="477"/>
                </a:lnTo>
                <a:lnTo>
                  <a:pt x="419" y="527"/>
                </a:lnTo>
                <a:lnTo>
                  <a:pt x="385" y="550"/>
                </a:lnTo>
                <a:lnTo>
                  <a:pt x="355" y="555"/>
                </a:lnTo>
                <a:lnTo>
                  <a:pt x="317" y="537"/>
                </a:lnTo>
                <a:lnTo>
                  <a:pt x="255" y="530"/>
                </a:lnTo>
                <a:lnTo>
                  <a:pt x="240" y="511"/>
                </a:lnTo>
                <a:lnTo>
                  <a:pt x="227" y="466"/>
                </a:lnTo>
                <a:lnTo>
                  <a:pt x="123" y="338"/>
                </a:lnTo>
                <a:lnTo>
                  <a:pt x="89" y="325"/>
                </a:lnTo>
                <a:lnTo>
                  <a:pt x="59" y="341"/>
                </a:lnTo>
                <a:lnTo>
                  <a:pt x="70" y="397"/>
                </a:lnTo>
                <a:lnTo>
                  <a:pt x="47" y="406"/>
                </a:lnTo>
                <a:lnTo>
                  <a:pt x="28" y="397"/>
                </a:lnTo>
                <a:lnTo>
                  <a:pt x="8" y="404"/>
                </a:lnTo>
                <a:lnTo>
                  <a:pt x="0" y="423"/>
                </a:lnTo>
              </a:path>
            </a:pathLst>
          </a:custGeom>
          <a:solidFill>
            <a:srgbClr val="00A194"/>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grpSp>
        <p:nvGrpSpPr>
          <p:cNvPr id="34" name="SHB">
            <a:extLst>
              <a:ext uri="{FF2B5EF4-FFF2-40B4-BE49-F238E27FC236}">
                <a16:creationId xmlns:a16="http://schemas.microsoft.com/office/drawing/2014/main" id="{C1E11581-2614-B282-C7B2-AB89F493515A}"/>
              </a:ext>
            </a:extLst>
          </p:cNvPr>
          <p:cNvGrpSpPr/>
          <p:nvPr/>
        </p:nvGrpSpPr>
        <p:grpSpPr>
          <a:xfrm>
            <a:off x="10051261" y="4471935"/>
            <a:ext cx="743000" cy="627544"/>
            <a:chOff x="5341207" y="5347851"/>
            <a:chExt cx="840281" cy="747433"/>
          </a:xfrm>
          <a:solidFill>
            <a:srgbClr val="FFC000"/>
          </a:solidFill>
        </p:grpSpPr>
        <p:sp>
          <p:nvSpPr>
            <p:cNvPr id="35" name="Freeform 7">
              <a:extLst>
                <a:ext uri="{FF2B5EF4-FFF2-40B4-BE49-F238E27FC236}">
                  <a16:creationId xmlns:a16="http://schemas.microsoft.com/office/drawing/2014/main" id="{05ED669C-D15D-31E3-0DB2-5AB7395F0D52}"/>
                </a:ext>
              </a:extLst>
            </p:cNvPr>
            <p:cNvSpPr>
              <a:spLocks/>
            </p:cNvSpPr>
            <p:nvPr/>
          </p:nvSpPr>
          <p:spPr bwMode="auto">
            <a:xfrm rot="21249101">
              <a:off x="5341207" y="5347851"/>
              <a:ext cx="436389" cy="299436"/>
            </a:xfrm>
            <a:custGeom>
              <a:avLst/>
              <a:gdLst>
                <a:gd name="T0" fmla="*/ 2147483647 w 802"/>
                <a:gd name="T1" fmla="*/ 2147483647 h 550"/>
                <a:gd name="T2" fmla="*/ 2147483647 w 802"/>
                <a:gd name="T3" fmla="*/ 2147483647 h 550"/>
                <a:gd name="T4" fmla="*/ 2147483647 w 802"/>
                <a:gd name="T5" fmla="*/ 2147483647 h 550"/>
                <a:gd name="T6" fmla="*/ 2147483647 w 802"/>
                <a:gd name="T7" fmla="*/ 2147483647 h 550"/>
                <a:gd name="T8" fmla="*/ 2147483647 w 802"/>
                <a:gd name="T9" fmla="*/ 2147483647 h 550"/>
                <a:gd name="T10" fmla="*/ 2147483647 w 802"/>
                <a:gd name="T11" fmla="*/ 2147483647 h 550"/>
                <a:gd name="T12" fmla="*/ 2147483647 w 802"/>
                <a:gd name="T13" fmla="*/ 2147483647 h 550"/>
                <a:gd name="T14" fmla="*/ 2147483647 w 802"/>
                <a:gd name="T15" fmla="*/ 2147483647 h 550"/>
                <a:gd name="T16" fmla="*/ 2147483647 w 802"/>
                <a:gd name="T17" fmla="*/ 2147483647 h 550"/>
                <a:gd name="T18" fmla="*/ 2147483647 w 802"/>
                <a:gd name="T19" fmla="*/ 2147483647 h 550"/>
                <a:gd name="T20" fmla="*/ 2147483647 w 802"/>
                <a:gd name="T21" fmla="*/ 2147483647 h 550"/>
                <a:gd name="T22" fmla="*/ 2147483647 w 802"/>
                <a:gd name="T23" fmla="*/ 2147483647 h 550"/>
                <a:gd name="T24" fmla="*/ 2147483647 w 802"/>
                <a:gd name="T25" fmla="*/ 2147483647 h 550"/>
                <a:gd name="T26" fmla="*/ 2147483647 w 802"/>
                <a:gd name="T27" fmla="*/ 2147483647 h 550"/>
                <a:gd name="T28" fmla="*/ 2147483647 w 802"/>
                <a:gd name="T29" fmla="*/ 2147483647 h 550"/>
                <a:gd name="T30" fmla="*/ 2147483647 w 802"/>
                <a:gd name="T31" fmla="*/ 2147483647 h 550"/>
                <a:gd name="T32" fmla="*/ 2147483647 w 802"/>
                <a:gd name="T33" fmla="*/ 2147483647 h 550"/>
                <a:gd name="T34" fmla="*/ 2147483647 w 802"/>
                <a:gd name="T35" fmla="*/ 2147483647 h 550"/>
                <a:gd name="T36" fmla="*/ 2147483647 w 802"/>
                <a:gd name="T37" fmla="*/ 2147483647 h 550"/>
                <a:gd name="T38" fmla="*/ 2147483647 w 802"/>
                <a:gd name="T39" fmla="*/ 2147483647 h 550"/>
                <a:gd name="T40" fmla="*/ 2147483647 w 802"/>
                <a:gd name="T41" fmla="*/ 2147483647 h 550"/>
                <a:gd name="T42" fmla="*/ 2147483647 w 802"/>
                <a:gd name="T43" fmla="*/ 2147483647 h 550"/>
                <a:gd name="T44" fmla="*/ 2147483647 w 802"/>
                <a:gd name="T45" fmla="*/ 2147483647 h 550"/>
                <a:gd name="T46" fmla="*/ 2147483647 w 802"/>
                <a:gd name="T47" fmla="*/ 2147483647 h 550"/>
                <a:gd name="T48" fmla="*/ 2147483647 w 802"/>
                <a:gd name="T49" fmla="*/ 2147483647 h 550"/>
                <a:gd name="T50" fmla="*/ 2147483647 w 802"/>
                <a:gd name="T51" fmla="*/ 2147483647 h 550"/>
                <a:gd name="T52" fmla="*/ 2147483647 w 802"/>
                <a:gd name="T53" fmla="*/ 2147483647 h 550"/>
                <a:gd name="T54" fmla="*/ 2147483647 w 802"/>
                <a:gd name="T55" fmla="*/ 2147483647 h 550"/>
                <a:gd name="T56" fmla="*/ 2147483647 w 802"/>
                <a:gd name="T57" fmla="*/ 2147483647 h 550"/>
                <a:gd name="T58" fmla="*/ 2147483647 w 802"/>
                <a:gd name="T59" fmla="*/ 2147483647 h 550"/>
                <a:gd name="T60" fmla="*/ 2147483647 w 802"/>
                <a:gd name="T61" fmla="*/ 2147483647 h 550"/>
                <a:gd name="T62" fmla="*/ 2147483647 w 802"/>
                <a:gd name="T63" fmla="*/ 2147483647 h 550"/>
                <a:gd name="T64" fmla="*/ 2147483647 w 802"/>
                <a:gd name="T65" fmla="*/ 2147483647 h 550"/>
                <a:gd name="T66" fmla="*/ 2147483647 w 802"/>
                <a:gd name="T67" fmla="*/ 2147483647 h 550"/>
                <a:gd name="T68" fmla="*/ 2147483647 w 802"/>
                <a:gd name="T69" fmla="*/ 0 h 5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02"/>
                <a:gd name="T106" fmla="*/ 0 h 550"/>
                <a:gd name="T107" fmla="*/ 802 w 802"/>
                <a:gd name="T108" fmla="*/ 550 h 5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02" h="550">
                  <a:moveTo>
                    <a:pt x="676" y="0"/>
                  </a:moveTo>
                  <a:lnTo>
                    <a:pt x="638" y="17"/>
                  </a:lnTo>
                  <a:lnTo>
                    <a:pt x="627" y="52"/>
                  </a:lnTo>
                  <a:lnTo>
                    <a:pt x="529" y="38"/>
                  </a:lnTo>
                  <a:lnTo>
                    <a:pt x="504" y="74"/>
                  </a:lnTo>
                  <a:lnTo>
                    <a:pt x="418" y="50"/>
                  </a:lnTo>
                  <a:lnTo>
                    <a:pt x="356" y="61"/>
                  </a:lnTo>
                  <a:lnTo>
                    <a:pt x="315" y="107"/>
                  </a:lnTo>
                  <a:lnTo>
                    <a:pt x="274" y="128"/>
                  </a:lnTo>
                  <a:lnTo>
                    <a:pt x="69" y="99"/>
                  </a:lnTo>
                  <a:lnTo>
                    <a:pt x="19" y="139"/>
                  </a:lnTo>
                  <a:lnTo>
                    <a:pt x="2" y="171"/>
                  </a:lnTo>
                  <a:lnTo>
                    <a:pt x="0" y="192"/>
                  </a:lnTo>
                  <a:lnTo>
                    <a:pt x="10" y="202"/>
                  </a:lnTo>
                  <a:lnTo>
                    <a:pt x="36" y="198"/>
                  </a:lnTo>
                  <a:lnTo>
                    <a:pt x="13" y="266"/>
                  </a:lnTo>
                  <a:lnTo>
                    <a:pt x="33" y="296"/>
                  </a:lnTo>
                  <a:lnTo>
                    <a:pt x="31" y="332"/>
                  </a:lnTo>
                  <a:lnTo>
                    <a:pt x="40" y="344"/>
                  </a:lnTo>
                  <a:lnTo>
                    <a:pt x="75" y="363"/>
                  </a:lnTo>
                  <a:lnTo>
                    <a:pt x="85" y="387"/>
                  </a:lnTo>
                  <a:lnTo>
                    <a:pt x="101" y="396"/>
                  </a:lnTo>
                  <a:lnTo>
                    <a:pt x="110" y="416"/>
                  </a:lnTo>
                  <a:lnTo>
                    <a:pt x="103" y="435"/>
                  </a:lnTo>
                  <a:lnTo>
                    <a:pt x="85" y="448"/>
                  </a:lnTo>
                  <a:lnTo>
                    <a:pt x="60" y="452"/>
                  </a:lnTo>
                  <a:lnTo>
                    <a:pt x="38" y="444"/>
                  </a:lnTo>
                  <a:lnTo>
                    <a:pt x="6" y="461"/>
                  </a:lnTo>
                  <a:lnTo>
                    <a:pt x="37" y="492"/>
                  </a:lnTo>
                  <a:lnTo>
                    <a:pt x="105" y="496"/>
                  </a:lnTo>
                  <a:lnTo>
                    <a:pt x="118" y="471"/>
                  </a:lnTo>
                  <a:lnTo>
                    <a:pt x="140" y="496"/>
                  </a:lnTo>
                  <a:lnTo>
                    <a:pt x="219" y="500"/>
                  </a:lnTo>
                  <a:lnTo>
                    <a:pt x="259" y="431"/>
                  </a:lnTo>
                  <a:lnTo>
                    <a:pt x="272" y="433"/>
                  </a:lnTo>
                  <a:lnTo>
                    <a:pt x="320" y="525"/>
                  </a:lnTo>
                  <a:lnTo>
                    <a:pt x="339" y="523"/>
                  </a:lnTo>
                  <a:lnTo>
                    <a:pt x="344" y="504"/>
                  </a:lnTo>
                  <a:lnTo>
                    <a:pt x="356" y="505"/>
                  </a:lnTo>
                  <a:lnTo>
                    <a:pt x="363" y="519"/>
                  </a:lnTo>
                  <a:lnTo>
                    <a:pt x="383" y="521"/>
                  </a:lnTo>
                  <a:lnTo>
                    <a:pt x="403" y="549"/>
                  </a:lnTo>
                  <a:lnTo>
                    <a:pt x="419" y="550"/>
                  </a:lnTo>
                  <a:lnTo>
                    <a:pt x="444" y="534"/>
                  </a:lnTo>
                  <a:lnTo>
                    <a:pt x="443" y="479"/>
                  </a:lnTo>
                  <a:lnTo>
                    <a:pt x="461" y="456"/>
                  </a:lnTo>
                  <a:lnTo>
                    <a:pt x="447" y="432"/>
                  </a:lnTo>
                  <a:lnTo>
                    <a:pt x="498" y="393"/>
                  </a:lnTo>
                  <a:lnTo>
                    <a:pt x="539" y="393"/>
                  </a:lnTo>
                  <a:lnTo>
                    <a:pt x="561" y="358"/>
                  </a:lnTo>
                  <a:lnTo>
                    <a:pt x="565" y="305"/>
                  </a:lnTo>
                  <a:lnTo>
                    <a:pt x="537" y="275"/>
                  </a:lnTo>
                  <a:lnTo>
                    <a:pt x="536" y="258"/>
                  </a:lnTo>
                  <a:lnTo>
                    <a:pt x="552" y="233"/>
                  </a:lnTo>
                  <a:lnTo>
                    <a:pt x="645" y="207"/>
                  </a:lnTo>
                  <a:lnTo>
                    <a:pt x="660" y="195"/>
                  </a:lnTo>
                  <a:lnTo>
                    <a:pt x="663" y="174"/>
                  </a:lnTo>
                  <a:lnTo>
                    <a:pt x="696" y="175"/>
                  </a:lnTo>
                  <a:lnTo>
                    <a:pt x="711" y="184"/>
                  </a:lnTo>
                  <a:lnTo>
                    <a:pt x="715" y="177"/>
                  </a:lnTo>
                  <a:lnTo>
                    <a:pt x="707" y="148"/>
                  </a:lnTo>
                  <a:lnTo>
                    <a:pt x="708" y="125"/>
                  </a:lnTo>
                  <a:lnTo>
                    <a:pt x="726" y="110"/>
                  </a:lnTo>
                  <a:lnTo>
                    <a:pt x="743" y="113"/>
                  </a:lnTo>
                  <a:lnTo>
                    <a:pt x="781" y="144"/>
                  </a:lnTo>
                  <a:lnTo>
                    <a:pt x="798" y="136"/>
                  </a:lnTo>
                  <a:lnTo>
                    <a:pt x="802" y="146"/>
                  </a:lnTo>
                  <a:lnTo>
                    <a:pt x="741" y="22"/>
                  </a:lnTo>
                  <a:lnTo>
                    <a:pt x="709" y="3"/>
                  </a:lnTo>
                  <a:lnTo>
                    <a:pt x="676" y="0"/>
                  </a:lnTo>
                  <a:close/>
                </a:path>
              </a:pathLst>
            </a:custGeom>
            <a:grp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36" name="Freeform 109">
              <a:extLst>
                <a:ext uri="{FF2B5EF4-FFF2-40B4-BE49-F238E27FC236}">
                  <a16:creationId xmlns:a16="http://schemas.microsoft.com/office/drawing/2014/main" id="{2085BAC0-85E3-C8B1-3A65-5BFF22D07B09}"/>
                </a:ext>
              </a:extLst>
            </p:cNvPr>
            <p:cNvSpPr>
              <a:spLocks/>
            </p:cNvSpPr>
            <p:nvPr/>
          </p:nvSpPr>
          <p:spPr bwMode="auto">
            <a:xfrm rot="21249101">
              <a:off x="5373704" y="5384991"/>
              <a:ext cx="807784" cy="710293"/>
            </a:xfrm>
            <a:custGeom>
              <a:avLst/>
              <a:gdLst>
                <a:gd name="T0" fmla="*/ 2147483647 w 1497"/>
                <a:gd name="T1" fmla="*/ 2147483647 h 1310"/>
                <a:gd name="T2" fmla="*/ 2147483647 w 1497"/>
                <a:gd name="T3" fmla="*/ 2147483647 h 1310"/>
                <a:gd name="T4" fmla="*/ 2147483647 w 1497"/>
                <a:gd name="T5" fmla="*/ 2147483647 h 1310"/>
                <a:gd name="T6" fmla="*/ 2147483647 w 1497"/>
                <a:gd name="T7" fmla="*/ 2147483647 h 1310"/>
                <a:gd name="T8" fmla="*/ 2147483647 w 1497"/>
                <a:gd name="T9" fmla="*/ 2147483647 h 1310"/>
                <a:gd name="T10" fmla="*/ 2147483647 w 1497"/>
                <a:gd name="T11" fmla="*/ 2147483647 h 1310"/>
                <a:gd name="T12" fmla="*/ 2147483647 w 1497"/>
                <a:gd name="T13" fmla="*/ 2147483647 h 1310"/>
                <a:gd name="T14" fmla="*/ 2147483647 w 1497"/>
                <a:gd name="T15" fmla="*/ 2147483647 h 1310"/>
                <a:gd name="T16" fmla="*/ 2147483647 w 1497"/>
                <a:gd name="T17" fmla="*/ 2147483647 h 1310"/>
                <a:gd name="T18" fmla="*/ 2147483647 w 1497"/>
                <a:gd name="T19" fmla="*/ 2147483647 h 1310"/>
                <a:gd name="T20" fmla="*/ 2147483647 w 1497"/>
                <a:gd name="T21" fmla="*/ 2147483647 h 1310"/>
                <a:gd name="T22" fmla="*/ 2147483647 w 1497"/>
                <a:gd name="T23" fmla="*/ 2147483647 h 1310"/>
                <a:gd name="T24" fmla="*/ 2147483647 w 1497"/>
                <a:gd name="T25" fmla="*/ 2147483647 h 1310"/>
                <a:gd name="T26" fmla="*/ 2147483647 w 1497"/>
                <a:gd name="T27" fmla="*/ 2147483647 h 1310"/>
                <a:gd name="T28" fmla="*/ 2147483647 w 1497"/>
                <a:gd name="T29" fmla="*/ 2147483647 h 1310"/>
                <a:gd name="T30" fmla="*/ 0 w 1497"/>
                <a:gd name="T31" fmla="*/ 2147483647 h 1310"/>
                <a:gd name="T32" fmla="*/ 2147483647 w 1497"/>
                <a:gd name="T33" fmla="*/ 2147483647 h 1310"/>
                <a:gd name="T34" fmla="*/ 2147483647 w 1497"/>
                <a:gd name="T35" fmla="*/ 2147483647 h 1310"/>
                <a:gd name="T36" fmla="*/ 2147483647 w 1497"/>
                <a:gd name="T37" fmla="*/ 2147483647 h 1310"/>
                <a:gd name="T38" fmla="*/ 2147483647 w 1497"/>
                <a:gd name="T39" fmla="*/ 2147483647 h 1310"/>
                <a:gd name="T40" fmla="*/ 2147483647 w 1497"/>
                <a:gd name="T41" fmla="*/ 2147483647 h 1310"/>
                <a:gd name="T42" fmla="*/ 2147483647 w 1497"/>
                <a:gd name="T43" fmla="*/ 2147483647 h 1310"/>
                <a:gd name="T44" fmla="*/ 2147483647 w 1497"/>
                <a:gd name="T45" fmla="*/ 2147483647 h 1310"/>
                <a:gd name="T46" fmla="*/ 2147483647 w 1497"/>
                <a:gd name="T47" fmla="*/ 2147483647 h 1310"/>
                <a:gd name="T48" fmla="*/ 2147483647 w 1497"/>
                <a:gd name="T49" fmla="*/ 2147483647 h 1310"/>
                <a:gd name="T50" fmla="*/ 2147483647 w 1497"/>
                <a:gd name="T51" fmla="*/ 2147483647 h 1310"/>
                <a:gd name="T52" fmla="*/ 2147483647 w 1497"/>
                <a:gd name="T53" fmla="*/ 2147483647 h 1310"/>
                <a:gd name="T54" fmla="*/ 2147483647 w 1497"/>
                <a:gd name="T55" fmla="*/ 2147483647 h 1310"/>
                <a:gd name="T56" fmla="*/ 2147483647 w 1497"/>
                <a:gd name="T57" fmla="*/ 2147483647 h 1310"/>
                <a:gd name="T58" fmla="*/ 2147483647 w 1497"/>
                <a:gd name="T59" fmla="*/ 2147483647 h 1310"/>
                <a:gd name="T60" fmla="*/ 2147483647 w 1497"/>
                <a:gd name="T61" fmla="*/ 2147483647 h 1310"/>
                <a:gd name="T62" fmla="*/ 2147483647 w 1497"/>
                <a:gd name="T63" fmla="*/ 2147483647 h 1310"/>
                <a:gd name="T64" fmla="*/ 2147483647 w 1497"/>
                <a:gd name="T65" fmla="*/ 2147483647 h 1310"/>
                <a:gd name="T66" fmla="*/ 2147483647 w 1497"/>
                <a:gd name="T67" fmla="*/ 2147483647 h 1310"/>
                <a:gd name="T68" fmla="*/ 2147483647 w 1497"/>
                <a:gd name="T69" fmla="*/ 2147483647 h 1310"/>
                <a:gd name="T70" fmla="*/ 2147483647 w 1497"/>
                <a:gd name="T71" fmla="*/ 2147483647 h 1310"/>
                <a:gd name="T72" fmla="*/ 2147483647 w 1497"/>
                <a:gd name="T73" fmla="*/ 2147483647 h 1310"/>
                <a:gd name="T74" fmla="*/ 2147483647 w 1497"/>
                <a:gd name="T75" fmla="*/ 2147483647 h 1310"/>
                <a:gd name="T76" fmla="*/ 2147483647 w 1497"/>
                <a:gd name="T77" fmla="*/ 2147483647 h 1310"/>
                <a:gd name="T78" fmla="*/ 2147483647 w 1497"/>
                <a:gd name="T79" fmla="*/ 2147483647 h 1310"/>
                <a:gd name="T80" fmla="*/ 2147483647 w 1497"/>
                <a:gd name="T81" fmla="*/ 2147483647 h 1310"/>
                <a:gd name="T82" fmla="*/ 2147483647 w 1497"/>
                <a:gd name="T83" fmla="*/ 2147483647 h 1310"/>
                <a:gd name="T84" fmla="*/ 2147483647 w 1497"/>
                <a:gd name="T85" fmla="*/ 2147483647 h 1310"/>
                <a:gd name="T86" fmla="*/ 2147483647 w 1497"/>
                <a:gd name="T87" fmla="*/ 2147483647 h 1310"/>
                <a:gd name="T88" fmla="*/ 2147483647 w 1497"/>
                <a:gd name="T89" fmla="*/ 2147483647 h 1310"/>
                <a:gd name="T90" fmla="*/ 2147483647 w 1497"/>
                <a:gd name="T91" fmla="*/ 2147483647 h 1310"/>
                <a:gd name="T92" fmla="*/ 2147483647 w 1497"/>
                <a:gd name="T93" fmla="*/ 2147483647 h 1310"/>
                <a:gd name="T94" fmla="*/ 2147483647 w 1497"/>
                <a:gd name="T95" fmla="*/ 2147483647 h 1310"/>
                <a:gd name="T96" fmla="*/ 2147483647 w 1497"/>
                <a:gd name="T97" fmla="*/ 2147483647 h 1310"/>
                <a:gd name="T98" fmla="*/ 2147483647 w 1497"/>
                <a:gd name="T99" fmla="*/ 2147483647 h 1310"/>
                <a:gd name="T100" fmla="*/ 2147483647 w 1497"/>
                <a:gd name="T101" fmla="*/ 2147483647 h 1310"/>
                <a:gd name="T102" fmla="*/ 2147483647 w 1497"/>
                <a:gd name="T103" fmla="*/ 2147483647 h 1310"/>
                <a:gd name="T104" fmla="*/ 2147483647 w 1497"/>
                <a:gd name="T105" fmla="*/ 2147483647 h 13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97"/>
                <a:gd name="T160" fmla="*/ 0 h 1310"/>
                <a:gd name="T161" fmla="*/ 1497 w 1497"/>
                <a:gd name="T162" fmla="*/ 1310 h 13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97" h="1310">
                  <a:moveTo>
                    <a:pt x="1325" y="252"/>
                  </a:moveTo>
                  <a:lnTo>
                    <a:pt x="1265" y="286"/>
                  </a:lnTo>
                  <a:lnTo>
                    <a:pt x="1123" y="306"/>
                  </a:lnTo>
                  <a:lnTo>
                    <a:pt x="1057" y="259"/>
                  </a:lnTo>
                  <a:lnTo>
                    <a:pt x="1004" y="240"/>
                  </a:lnTo>
                  <a:lnTo>
                    <a:pt x="953" y="169"/>
                  </a:lnTo>
                  <a:lnTo>
                    <a:pt x="891" y="133"/>
                  </a:lnTo>
                  <a:lnTo>
                    <a:pt x="847" y="62"/>
                  </a:lnTo>
                  <a:lnTo>
                    <a:pt x="796" y="36"/>
                  </a:lnTo>
                  <a:lnTo>
                    <a:pt x="792" y="26"/>
                  </a:lnTo>
                  <a:lnTo>
                    <a:pt x="775" y="34"/>
                  </a:lnTo>
                  <a:lnTo>
                    <a:pt x="737" y="3"/>
                  </a:lnTo>
                  <a:lnTo>
                    <a:pt x="720" y="0"/>
                  </a:lnTo>
                  <a:lnTo>
                    <a:pt x="702" y="15"/>
                  </a:lnTo>
                  <a:lnTo>
                    <a:pt x="701" y="38"/>
                  </a:lnTo>
                  <a:lnTo>
                    <a:pt x="709" y="67"/>
                  </a:lnTo>
                  <a:lnTo>
                    <a:pt x="705" y="74"/>
                  </a:lnTo>
                  <a:lnTo>
                    <a:pt x="690" y="65"/>
                  </a:lnTo>
                  <a:lnTo>
                    <a:pt x="657" y="64"/>
                  </a:lnTo>
                  <a:lnTo>
                    <a:pt x="654" y="85"/>
                  </a:lnTo>
                  <a:lnTo>
                    <a:pt x="639" y="97"/>
                  </a:lnTo>
                  <a:lnTo>
                    <a:pt x="546" y="123"/>
                  </a:lnTo>
                  <a:lnTo>
                    <a:pt x="530" y="148"/>
                  </a:lnTo>
                  <a:lnTo>
                    <a:pt x="531" y="165"/>
                  </a:lnTo>
                  <a:lnTo>
                    <a:pt x="559" y="195"/>
                  </a:lnTo>
                  <a:lnTo>
                    <a:pt x="555" y="248"/>
                  </a:lnTo>
                  <a:lnTo>
                    <a:pt x="533" y="283"/>
                  </a:lnTo>
                  <a:lnTo>
                    <a:pt x="492" y="283"/>
                  </a:lnTo>
                  <a:lnTo>
                    <a:pt x="441" y="322"/>
                  </a:lnTo>
                  <a:lnTo>
                    <a:pt x="455" y="346"/>
                  </a:lnTo>
                  <a:lnTo>
                    <a:pt x="437" y="369"/>
                  </a:lnTo>
                  <a:lnTo>
                    <a:pt x="438" y="424"/>
                  </a:lnTo>
                  <a:lnTo>
                    <a:pt x="413" y="440"/>
                  </a:lnTo>
                  <a:lnTo>
                    <a:pt x="397" y="439"/>
                  </a:lnTo>
                  <a:lnTo>
                    <a:pt x="377" y="411"/>
                  </a:lnTo>
                  <a:lnTo>
                    <a:pt x="357" y="409"/>
                  </a:lnTo>
                  <a:lnTo>
                    <a:pt x="350" y="395"/>
                  </a:lnTo>
                  <a:lnTo>
                    <a:pt x="338" y="394"/>
                  </a:lnTo>
                  <a:lnTo>
                    <a:pt x="333" y="413"/>
                  </a:lnTo>
                  <a:lnTo>
                    <a:pt x="314" y="415"/>
                  </a:lnTo>
                  <a:lnTo>
                    <a:pt x="266" y="323"/>
                  </a:lnTo>
                  <a:lnTo>
                    <a:pt x="253" y="321"/>
                  </a:lnTo>
                  <a:lnTo>
                    <a:pt x="213" y="390"/>
                  </a:lnTo>
                  <a:lnTo>
                    <a:pt x="134" y="386"/>
                  </a:lnTo>
                  <a:lnTo>
                    <a:pt x="112" y="361"/>
                  </a:lnTo>
                  <a:lnTo>
                    <a:pt x="99" y="386"/>
                  </a:lnTo>
                  <a:lnTo>
                    <a:pt x="31" y="382"/>
                  </a:lnTo>
                  <a:lnTo>
                    <a:pt x="0" y="351"/>
                  </a:lnTo>
                  <a:lnTo>
                    <a:pt x="9" y="451"/>
                  </a:lnTo>
                  <a:lnTo>
                    <a:pt x="61" y="580"/>
                  </a:lnTo>
                  <a:lnTo>
                    <a:pt x="82" y="599"/>
                  </a:lnTo>
                  <a:lnTo>
                    <a:pt x="108" y="596"/>
                  </a:lnTo>
                  <a:lnTo>
                    <a:pt x="202" y="424"/>
                  </a:lnTo>
                  <a:lnTo>
                    <a:pt x="258" y="448"/>
                  </a:lnTo>
                  <a:lnTo>
                    <a:pt x="294" y="495"/>
                  </a:lnTo>
                  <a:lnTo>
                    <a:pt x="309" y="497"/>
                  </a:lnTo>
                  <a:lnTo>
                    <a:pt x="326" y="525"/>
                  </a:lnTo>
                  <a:lnTo>
                    <a:pt x="337" y="574"/>
                  </a:lnTo>
                  <a:lnTo>
                    <a:pt x="332" y="642"/>
                  </a:lnTo>
                  <a:lnTo>
                    <a:pt x="364" y="721"/>
                  </a:lnTo>
                  <a:lnTo>
                    <a:pt x="458" y="804"/>
                  </a:lnTo>
                  <a:lnTo>
                    <a:pt x="408" y="813"/>
                  </a:lnTo>
                  <a:lnTo>
                    <a:pt x="392" y="833"/>
                  </a:lnTo>
                  <a:lnTo>
                    <a:pt x="394" y="858"/>
                  </a:lnTo>
                  <a:lnTo>
                    <a:pt x="441" y="930"/>
                  </a:lnTo>
                  <a:lnTo>
                    <a:pt x="570" y="1027"/>
                  </a:lnTo>
                  <a:lnTo>
                    <a:pt x="595" y="1107"/>
                  </a:lnTo>
                  <a:lnTo>
                    <a:pt x="740" y="1117"/>
                  </a:lnTo>
                  <a:lnTo>
                    <a:pt x="989" y="1310"/>
                  </a:lnTo>
                  <a:lnTo>
                    <a:pt x="1026" y="1291"/>
                  </a:lnTo>
                  <a:lnTo>
                    <a:pt x="920" y="1173"/>
                  </a:lnTo>
                  <a:lnTo>
                    <a:pt x="915" y="1117"/>
                  </a:lnTo>
                  <a:lnTo>
                    <a:pt x="896" y="1098"/>
                  </a:lnTo>
                  <a:lnTo>
                    <a:pt x="870" y="1087"/>
                  </a:lnTo>
                  <a:lnTo>
                    <a:pt x="780" y="985"/>
                  </a:lnTo>
                  <a:lnTo>
                    <a:pt x="777" y="963"/>
                  </a:lnTo>
                  <a:lnTo>
                    <a:pt x="734" y="897"/>
                  </a:lnTo>
                  <a:lnTo>
                    <a:pt x="701" y="886"/>
                  </a:lnTo>
                  <a:lnTo>
                    <a:pt x="666" y="822"/>
                  </a:lnTo>
                  <a:lnTo>
                    <a:pt x="644" y="820"/>
                  </a:lnTo>
                  <a:lnTo>
                    <a:pt x="649" y="786"/>
                  </a:lnTo>
                  <a:lnTo>
                    <a:pt x="660" y="777"/>
                  </a:lnTo>
                  <a:lnTo>
                    <a:pt x="643" y="749"/>
                  </a:lnTo>
                  <a:lnTo>
                    <a:pt x="643" y="722"/>
                  </a:lnTo>
                  <a:lnTo>
                    <a:pt x="620" y="692"/>
                  </a:lnTo>
                  <a:lnTo>
                    <a:pt x="603" y="634"/>
                  </a:lnTo>
                  <a:lnTo>
                    <a:pt x="582" y="630"/>
                  </a:lnTo>
                  <a:lnTo>
                    <a:pt x="549" y="597"/>
                  </a:lnTo>
                  <a:lnTo>
                    <a:pt x="551" y="586"/>
                  </a:lnTo>
                  <a:lnTo>
                    <a:pt x="567" y="576"/>
                  </a:lnTo>
                  <a:lnTo>
                    <a:pt x="563" y="557"/>
                  </a:lnTo>
                  <a:lnTo>
                    <a:pt x="569" y="469"/>
                  </a:lnTo>
                  <a:lnTo>
                    <a:pt x="596" y="442"/>
                  </a:lnTo>
                  <a:lnTo>
                    <a:pt x="637" y="452"/>
                  </a:lnTo>
                  <a:lnTo>
                    <a:pt x="638" y="467"/>
                  </a:lnTo>
                  <a:lnTo>
                    <a:pt x="698" y="536"/>
                  </a:lnTo>
                  <a:lnTo>
                    <a:pt x="711" y="538"/>
                  </a:lnTo>
                  <a:lnTo>
                    <a:pt x="758" y="459"/>
                  </a:lnTo>
                  <a:lnTo>
                    <a:pt x="844" y="473"/>
                  </a:lnTo>
                  <a:lnTo>
                    <a:pt x="863" y="450"/>
                  </a:lnTo>
                  <a:lnTo>
                    <a:pt x="870" y="450"/>
                  </a:lnTo>
                  <a:lnTo>
                    <a:pt x="926" y="494"/>
                  </a:lnTo>
                  <a:lnTo>
                    <a:pt x="944" y="495"/>
                  </a:lnTo>
                  <a:lnTo>
                    <a:pt x="954" y="483"/>
                  </a:lnTo>
                  <a:lnTo>
                    <a:pt x="972" y="502"/>
                  </a:lnTo>
                  <a:lnTo>
                    <a:pt x="1043" y="514"/>
                  </a:lnTo>
                  <a:lnTo>
                    <a:pt x="1049" y="506"/>
                  </a:lnTo>
                  <a:lnTo>
                    <a:pt x="1059" y="507"/>
                  </a:lnTo>
                  <a:lnTo>
                    <a:pt x="1097" y="539"/>
                  </a:lnTo>
                  <a:lnTo>
                    <a:pt x="1110" y="538"/>
                  </a:lnTo>
                  <a:lnTo>
                    <a:pt x="1139" y="506"/>
                  </a:lnTo>
                  <a:lnTo>
                    <a:pt x="1154" y="509"/>
                  </a:lnTo>
                  <a:lnTo>
                    <a:pt x="1172" y="532"/>
                  </a:lnTo>
                  <a:lnTo>
                    <a:pt x="1185" y="535"/>
                  </a:lnTo>
                  <a:lnTo>
                    <a:pt x="1199" y="516"/>
                  </a:lnTo>
                  <a:lnTo>
                    <a:pt x="1249" y="523"/>
                  </a:lnTo>
                  <a:lnTo>
                    <a:pt x="1267" y="550"/>
                  </a:lnTo>
                  <a:lnTo>
                    <a:pt x="1278" y="542"/>
                  </a:lnTo>
                  <a:lnTo>
                    <a:pt x="1278" y="532"/>
                  </a:lnTo>
                  <a:lnTo>
                    <a:pt x="1310" y="534"/>
                  </a:lnTo>
                  <a:lnTo>
                    <a:pt x="1342" y="571"/>
                  </a:lnTo>
                  <a:lnTo>
                    <a:pt x="1334" y="589"/>
                  </a:lnTo>
                  <a:lnTo>
                    <a:pt x="1336" y="600"/>
                  </a:lnTo>
                  <a:lnTo>
                    <a:pt x="1360" y="620"/>
                  </a:lnTo>
                  <a:lnTo>
                    <a:pt x="1398" y="619"/>
                  </a:lnTo>
                  <a:lnTo>
                    <a:pt x="1428" y="597"/>
                  </a:lnTo>
                  <a:lnTo>
                    <a:pt x="1434" y="575"/>
                  </a:lnTo>
                  <a:lnTo>
                    <a:pt x="1424" y="568"/>
                  </a:lnTo>
                  <a:lnTo>
                    <a:pt x="1418" y="524"/>
                  </a:lnTo>
                  <a:lnTo>
                    <a:pt x="1429" y="510"/>
                  </a:lnTo>
                  <a:lnTo>
                    <a:pt x="1435" y="488"/>
                  </a:lnTo>
                  <a:lnTo>
                    <a:pt x="1445" y="486"/>
                  </a:lnTo>
                  <a:lnTo>
                    <a:pt x="1480" y="494"/>
                  </a:lnTo>
                  <a:lnTo>
                    <a:pt x="1497" y="485"/>
                  </a:lnTo>
                  <a:lnTo>
                    <a:pt x="1495" y="475"/>
                  </a:lnTo>
                  <a:lnTo>
                    <a:pt x="1485" y="470"/>
                  </a:lnTo>
                  <a:lnTo>
                    <a:pt x="1465" y="471"/>
                  </a:lnTo>
                  <a:lnTo>
                    <a:pt x="1448" y="462"/>
                  </a:lnTo>
                  <a:lnTo>
                    <a:pt x="1427" y="464"/>
                  </a:lnTo>
                  <a:lnTo>
                    <a:pt x="1406" y="442"/>
                  </a:lnTo>
                  <a:lnTo>
                    <a:pt x="1388" y="442"/>
                  </a:lnTo>
                  <a:lnTo>
                    <a:pt x="1381" y="434"/>
                  </a:lnTo>
                  <a:lnTo>
                    <a:pt x="1388" y="412"/>
                  </a:lnTo>
                  <a:lnTo>
                    <a:pt x="1382" y="403"/>
                  </a:lnTo>
                  <a:lnTo>
                    <a:pt x="1386" y="391"/>
                  </a:lnTo>
                  <a:lnTo>
                    <a:pt x="1395" y="391"/>
                  </a:lnTo>
                  <a:lnTo>
                    <a:pt x="1404" y="384"/>
                  </a:lnTo>
                  <a:lnTo>
                    <a:pt x="1404" y="377"/>
                  </a:lnTo>
                  <a:lnTo>
                    <a:pt x="1390" y="366"/>
                  </a:lnTo>
                  <a:lnTo>
                    <a:pt x="1381" y="366"/>
                  </a:lnTo>
                  <a:lnTo>
                    <a:pt x="1371" y="376"/>
                  </a:lnTo>
                  <a:lnTo>
                    <a:pt x="1356" y="368"/>
                  </a:lnTo>
                  <a:lnTo>
                    <a:pt x="1354" y="356"/>
                  </a:lnTo>
                  <a:lnTo>
                    <a:pt x="1367" y="338"/>
                  </a:lnTo>
                  <a:lnTo>
                    <a:pt x="1366" y="323"/>
                  </a:lnTo>
                  <a:lnTo>
                    <a:pt x="1355" y="312"/>
                  </a:lnTo>
                  <a:lnTo>
                    <a:pt x="1362" y="302"/>
                  </a:lnTo>
                  <a:lnTo>
                    <a:pt x="1360" y="286"/>
                  </a:lnTo>
                  <a:lnTo>
                    <a:pt x="1325" y="252"/>
                  </a:lnTo>
                  <a:close/>
                </a:path>
              </a:pathLst>
            </a:custGeom>
            <a:grp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grpSp>
      <p:grpSp>
        <p:nvGrpSpPr>
          <p:cNvPr id="37" name="GR">
            <a:extLst>
              <a:ext uri="{FF2B5EF4-FFF2-40B4-BE49-F238E27FC236}">
                <a16:creationId xmlns:a16="http://schemas.microsoft.com/office/drawing/2014/main" id="{B768DF26-53B1-96B9-9C76-E1806686FBF9}"/>
              </a:ext>
            </a:extLst>
          </p:cNvPr>
          <p:cNvGrpSpPr>
            <a:grpSpLocks/>
          </p:cNvGrpSpPr>
          <p:nvPr/>
        </p:nvGrpSpPr>
        <p:grpSpPr bwMode="auto">
          <a:xfrm>
            <a:off x="10974258" y="5178894"/>
            <a:ext cx="959599" cy="1125040"/>
            <a:chOff x="6623634" y="6288022"/>
            <a:chExt cx="742950" cy="915988"/>
          </a:xfrm>
          <a:solidFill>
            <a:srgbClr val="9C9C9C"/>
          </a:solidFill>
        </p:grpSpPr>
        <p:sp>
          <p:nvSpPr>
            <p:cNvPr id="38" name="Freeform 164">
              <a:extLst>
                <a:ext uri="{FF2B5EF4-FFF2-40B4-BE49-F238E27FC236}">
                  <a16:creationId xmlns:a16="http://schemas.microsoft.com/office/drawing/2014/main" id="{F58D123D-C5E9-EDF9-8CA6-CB576CAC4AB2}"/>
                </a:ext>
              </a:extLst>
            </p:cNvPr>
            <p:cNvSpPr>
              <a:spLocks/>
            </p:cNvSpPr>
            <p:nvPr/>
          </p:nvSpPr>
          <p:spPr bwMode="auto">
            <a:xfrm rot="21249101">
              <a:off x="6934784" y="6675372"/>
              <a:ext cx="182563" cy="138113"/>
            </a:xfrm>
            <a:custGeom>
              <a:avLst/>
              <a:gdLst>
                <a:gd name="T0" fmla="*/ 2147483647 w 487"/>
                <a:gd name="T1" fmla="*/ 2147483647 h 373"/>
                <a:gd name="T2" fmla="*/ 2147483647 w 487"/>
                <a:gd name="T3" fmla="*/ 2147483647 h 373"/>
                <a:gd name="T4" fmla="*/ 2147483647 w 487"/>
                <a:gd name="T5" fmla="*/ 2147483647 h 373"/>
                <a:gd name="T6" fmla="*/ 2147483647 w 487"/>
                <a:gd name="T7" fmla="*/ 2147483647 h 373"/>
                <a:gd name="T8" fmla="*/ 2147483647 w 487"/>
                <a:gd name="T9" fmla="*/ 2147483647 h 373"/>
                <a:gd name="T10" fmla="*/ 2147483647 w 487"/>
                <a:gd name="T11" fmla="*/ 2147483647 h 373"/>
                <a:gd name="T12" fmla="*/ 2147483647 w 487"/>
                <a:gd name="T13" fmla="*/ 2147483647 h 373"/>
                <a:gd name="T14" fmla="*/ 2147483647 w 487"/>
                <a:gd name="T15" fmla="*/ 2147483647 h 373"/>
                <a:gd name="T16" fmla="*/ 2147483647 w 487"/>
                <a:gd name="T17" fmla="*/ 2147483647 h 373"/>
                <a:gd name="T18" fmla="*/ 2147483647 w 487"/>
                <a:gd name="T19" fmla="*/ 0 h 373"/>
                <a:gd name="T20" fmla="*/ 2147483647 w 487"/>
                <a:gd name="T21" fmla="*/ 2147483647 h 373"/>
                <a:gd name="T22" fmla="*/ 0 w 487"/>
                <a:gd name="T23" fmla="*/ 2147483647 h 373"/>
                <a:gd name="T24" fmla="*/ 2147483647 w 487"/>
                <a:gd name="T25" fmla="*/ 2147483647 h 373"/>
                <a:gd name="T26" fmla="*/ 2147483647 w 487"/>
                <a:gd name="T27" fmla="*/ 2147483647 h 373"/>
                <a:gd name="T28" fmla="*/ 2147483647 w 487"/>
                <a:gd name="T29" fmla="*/ 2147483647 h 373"/>
                <a:gd name="T30" fmla="*/ 2147483647 w 487"/>
                <a:gd name="T31" fmla="*/ 2147483647 h 373"/>
                <a:gd name="T32" fmla="*/ 2147483647 w 487"/>
                <a:gd name="T33" fmla="*/ 2147483647 h 373"/>
                <a:gd name="T34" fmla="*/ 2147483647 w 487"/>
                <a:gd name="T35" fmla="*/ 2147483647 h 373"/>
                <a:gd name="T36" fmla="*/ 2147483647 w 487"/>
                <a:gd name="T37" fmla="*/ 2147483647 h 373"/>
                <a:gd name="T38" fmla="*/ 2147483647 w 487"/>
                <a:gd name="T39" fmla="*/ 2147483647 h 373"/>
                <a:gd name="T40" fmla="*/ 2147483647 w 487"/>
                <a:gd name="T41" fmla="*/ 2147483647 h 373"/>
                <a:gd name="T42" fmla="*/ 2147483647 w 487"/>
                <a:gd name="T43" fmla="*/ 2147483647 h 373"/>
                <a:gd name="T44" fmla="*/ 2147483647 w 487"/>
                <a:gd name="T45" fmla="*/ 2147483647 h 3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7"/>
                <a:gd name="T70" fmla="*/ 0 h 373"/>
                <a:gd name="T71" fmla="*/ 487 w 487"/>
                <a:gd name="T72" fmla="*/ 373 h 3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7" h="373">
                  <a:moveTo>
                    <a:pt x="474" y="325"/>
                  </a:moveTo>
                  <a:lnTo>
                    <a:pt x="487" y="341"/>
                  </a:lnTo>
                  <a:lnTo>
                    <a:pt x="482" y="297"/>
                  </a:lnTo>
                  <a:lnTo>
                    <a:pt x="399" y="277"/>
                  </a:lnTo>
                  <a:lnTo>
                    <a:pt x="362" y="202"/>
                  </a:lnTo>
                  <a:lnTo>
                    <a:pt x="360" y="159"/>
                  </a:lnTo>
                  <a:lnTo>
                    <a:pt x="330" y="130"/>
                  </a:lnTo>
                  <a:lnTo>
                    <a:pt x="197" y="95"/>
                  </a:lnTo>
                  <a:lnTo>
                    <a:pt x="112" y="21"/>
                  </a:lnTo>
                  <a:lnTo>
                    <a:pt x="101" y="0"/>
                  </a:lnTo>
                  <a:lnTo>
                    <a:pt x="71" y="1"/>
                  </a:lnTo>
                  <a:lnTo>
                    <a:pt x="0" y="71"/>
                  </a:lnTo>
                  <a:lnTo>
                    <a:pt x="54" y="70"/>
                  </a:lnTo>
                  <a:lnTo>
                    <a:pt x="169" y="159"/>
                  </a:lnTo>
                  <a:lnTo>
                    <a:pt x="179" y="199"/>
                  </a:lnTo>
                  <a:lnTo>
                    <a:pt x="225" y="222"/>
                  </a:lnTo>
                  <a:lnTo>
                    <a:pt x="285" y="226"/>
                  </a:lnTo>
                  <a:lnTo>
                    <a:pt x="344" y="266"/>
                  </a:lnTo>
                  <a:lnTo>
                    <a:pt x="363" y="297"/>
                  </a:lnTo>
                  <a:lnTo>
                    <a:pt x="379" y="343"/>
                  </a:lnTo>
                  <a:lnTo>
                    <a:pt x="409" y="366"/>
                  </a:lnTo>
                  <a:lnTo>
                    <a:pt x="476" y="373"/>
                  </a:lnTo>
                  <a:lnTo>
                    <a:pt x="474" y="325"/>
                  </a:lnTo>
                  <a:close/>
                </a:path>
              </a:pathLst>
            </a:custGeom>
            <a:grp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39" name="Freeform 158">
              <a:extLst>
                <a:ext uri="{FF2B5EF4-FFF2-40B4-BE49-F238E27FC236}">
                  <a16:creationId xmlns:a16="http://schemas.microsoft.com/office/drawing/2014/main" id="{E5C8B4D9-8B73-6F7C-306F-D940D663F619}"/>
                </a:ext>
              </a:extLst>
            </p:cNvPr>
            <p:cNvSpPr>
              <a:spLocks/>
            </p:cNvSpPr>
            <p:nvPr/>
          </p:nvSpPr>
          <p:spPr bwMode="auto">
            <a:xfrm rot="21249101">
              <a:off x="7061784" y="7111935"/>
              <a:ext cx="304800" cy="92075"/>
            </a:xfrm>
            <a:custGeom>
              <a:avLst/>
              <a:gdLst>
                <a:gd name="T0" fmla="*/ 2147483647 w 833"/>
                <a:gd name="T1" fmla="*/ 2147483647 h 243"/>
                <a:gd name="T2" fmla="*/ 2147483647 w 833"/>
                <a:gd name="T3" fmla="*/ 2147483647 h 243"/>
                <a:gd name="T4" fmla="*/ 2147483647 w 833"/>
                <a:gd name="T5" fmla="*/ 2147483647 h 243"/>
                <a:gd name="T6" fmla="*/ 2147483647 w 833"/>
                <a:gd name="T7" fmla="*/ 2147483647 h 243"/>
                <a:gd name="T8" fmla="*/ 2147483647 w 833"/>
                <a:gd name="T9" fmla="*/ 2147483647 h 243"/>
                <a:gd name="T10" fmla="*/ 2147483647 w 833"/>
                <a:gd name="T11" fmla="*/ 2147483647 h 243"/>
                <a:gd name="T12" fmla="*/ 2147483647 w 833"/>
                <a:gd name="T13" fmla="*/ 2147483647 h 243"/>
                <a:gd name="T14" fmla="*/ 2147483647 w 833"/>
                <a:gd name="T15" fmla="*/ 2147483647 h 243"/>
                <a:gd name="T16" fmla="*/ 2147483647 w 833"/>
                <a:gd name="T17" fmla="*/ 2147483647 h 243"/>
                <a:gd name="T18" fmla="*/ 2147483647 w 833"/>
                <a:gd name="T19" fmla="*/ 0 h 243"/>
                <a:gd name="T20" fmla="*/ 2147483647 w 833"/>
                <a:gd name="T21" fmla="*/ 2147483647 h 243"/>
                <a:gd name="T22" fmla="*/ 2147483647 w 833"/>
                <a:gd name="T23" fmla="*/ 2147483647 h 243"/>
                <a:gd name="T24" fmla="*/ 0 w 833"/>
                <a:gd name="T25" fmla="*/ 2147483647 h 243"/>
                <a:gd name="T26" fmla="*/ 2147483647 w 833"/>
                <a:gd name="T27" fmla="*/ 2147483647 h 243"/>
                <a:gd name="T28" fmla="*/ 2147483647 w 833"/>
                <a:gd name="T29" fmla="*/ 2147483647 h 243"/>
                <a:gd name="T30" fmla="*/ 2147483647 w 833"/>
                <a:gd name="T31" fmla="*/ 2147483647 h 243"/>
                <a:gd name="T32" fmla="*/ 2147483647 w 833"/>
                <a:gd name="T33" fmla="*/ 2147483647 h 243"/>
                <a:gd name="T34" fmla="*/ 2147483647 w 833"/>
                <a:gd name="T35" fmla="*/ 2147483647 h 243"/>
                <a:gd name="T36" fmla="*/ 2147483647 w 833"/>
                <a:gd name="T37" fmla="*/ 2147483647 h 243"/>
                <a:gd name="T38" fmla="*/ 2147483647 w 833"/>
                <a:gd name="T39" fmla="*/ 2147483647 h 243"/>
                <a:gd name="T40" fmla="*/ 2147483647 w 833"/>
                <a:gd name="T41" fmla="*/ 2147483647 h 243"/>
                <a:gd name="T42" fmla="*/ 2147483647 w 833"/>
                <a:gd name="T43" fmla="*/ 2147483647 h 243"/>
                <a:gd name="T44" fmla="*/ 2147483647 w 833"/>
                <a:gd name="T45" fmla="*/ 2147483647 h 243"/>
                <a:gd name="T46" fmla="*/ 2147483647 w 833"/>
                <a:gd name="T47" fmla="*/ 2147483647 h 243"/>
                <a:gd name="T48" fmla="*/ 2147483647 w 833"/>
                <a:gd name="T49" fmla="*/ 2147483647 h 243"/>
                <a:gd name="T50" fmla="*/ 2147483647 w 833"/>
                <a:gd name="T51" fmla="*/ 2147483647 h 243"/>
                <a:gd name="T52" fmla="*/ 2147483647 w 833"/>
                <a:gd name="T53" fmla="*/ 2147483647 h 243"/>
                <a:gd name="T54" fmla="*/ 2147483647 w 833"/>
                <a:gd name="T55" fmla="*/ 2147483647 h 243"/>
                <a:gd name="T56" fmla="*/ 2147483647 w 833"/>
                <a:gd name="T57" fmla="*/ 2147483647 h 2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33"/>
                <a:gd name="T88" fmla="*/ 0 h 243"/>
                <a:gd name="T89" fmla="*/ 833 w 833"/>
                <a:gd name="T90" fmla="*/ 243 h 2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33" h="243">
                  <a:moveTo>
                    <a:pt x="452" y="66"/>
                  </a:moveTo>
                  <a:lnTo>
                    <a:pt x="409" y="52"/>
                  </a:lnTo>
                  <a:lnTo>
                    <a:pt x="245" y="88"/>
                  </a:lnTo>
                  <a:lnTo>
                    <a:pt x="207" y="60"/>
                  </a:lnTo>
                  <a:lnTo>
                    <a:pt x="177" y="58"/>
                  </a:lnTo>
                  <a:lnTo>
                    <a:pt x="189" y="25"/>
                  </a:lnTo>
                  <a:lnTo>
                    <a:pt x="165" y="1"/>
                  </a:lnTo>
                  <a:lnTo>
                    <a:pt x="133" y="31"/>
                  </a:lnTo>
                  <a:lnTo>
                    <a:pt x="73" y="2"/>
                  </a:lnTo>
                  <a:lnTo>
                    <a:pt x="53" y="0"/>
                  </a:lnTo>
                  <a:lnTo>
                    <a:pt x="41" y="43"/>
                  </a:lnTo>
                  <a:lnTo>
                    <a:pt x="11" y="34"/>
                  </a:lnTo>
                  <a:lnTo>
                    <a:pt x="0" y="155"/>
                  </a:lnTo>
                  <a:lnTo>
                    <a:pt x="278" y="155"/>
                  </a:lnTo>
                  <a:lnTo>
                    <a:pt x="310" y="176"/>
                  </a:lnTo>
                  <a:lnTo>
                    <a:pt x="357" y="190"/>
                  </a:lnTo>
                  <a:lnTo>
                    <a:pt x="386" y="243"/>
                  </a:lnTo>
                  <a:lnTo>
                    <a:pt x="731" y="170"/>
                  </a:lnTo>
                  <a:lnTo>
                    <a:pt x="789" y="192"/>
                  </a:lnTo>
                  <a:lnTo>
                    <a:pt x="833" y="107"/>
                  </a:lnTo>
                  <a:lnTo>
                    <a:pt x="821" y="82"/>
                  </a:lnTo>
                  <a:lnTo>
                    <a:pt x="786" y="104"/>
                  </a:lnTo>
                  <a:lnTo>
                    <a:pt x="756" y="110"/>
                  </a:lnTo>
                  <a:lnTo>
                    <a:pt x="718" y="128"/>
                  </a:lnTo>
                  <a:lnTo>
                    <a:pt x="671" y="117"/>
                  </a:lnTo>
                  <a:lnTo>
                    <a:pt x="642" y="76"/>
                  </a:lnTo>
                  <a:lnTo>
                    <a:pt x="490" y="89"/>
                  </a:lnTo>
                  <a:lnTo>
                    <a:pt x="453" y="82"/>
                  </a:lnTo>
                  <a:lnTo>
                    <a:pt x="452" y="66"/>
                  </a:lnTo>
                  <a:close/>
                </a:path>
              </a:pathLst>
            </a:custGeom>
            <a:grp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40" name="Freeform 160">
              <a:extLst>
                <a:ext uri="{FF2B5EF4-FFF2-40B4-BE49-F238E27FC236}">
                  <a16:creationId xmlns:a16="http://schemas.microsoft.com/office/drawing/2014/main" id="{17AB085E-2583-36B6-35F1-37442E415BE2}"/>
                </a:ext>
              </a:extLst>
            </p:cNvPr>
            <p:cNvSpPr>
              <a:spLocks/>
            </p:cNvSpPr>
            <p:nvPr/>
          </p:nvSpPr>
          <p:spPr bwMode="auto">
            <a:xfrm rot="21249101">
              <a:off x="6763334" y="6791260"/>
              <a:ext cx="249238" cy="254000"/>
            </a:xfrm>
            <a:custGeom>
              <a:avLst/>
              <a:gdLst>
                <a:gd name="T0" fmla="*/ 2147483647 w 681"/>
                <a:gd name="T1" fmla="*/ 0 h 683"/>
                <a:gd name="T2" fmla="*/ 2147483647 w 681"/>
                <a:gd name="T3" fmla="*/ 2147483647 h 683"/>
                <a:gd name="T4" fmla="*/ 2147483647 w 681"/>
                <a:gd name="T5" fmla="*/ 2147483647 h 683"/>
                <a:gd name="T6" fmla="*/ 2147483647 w 681"/>
                <a:gd name="T7" fmla="*/ 2147483647 h 683"/>
                <a:gd name="T8" fmla="*/ 2147483647 w 681"/>
                <a:gd name="T9" fmla="*/ 2147483647 h 683"/>
                <a:gd name="T10" fmla="*/ 0 w 681"/>
                <a:gd name="T11" fmla="*/ 2147483647 h 683"/>
                <a:gd name="T12" fmla="*/ 2147483647 w 681"/>
                <a:gd name="T13" fmla="*/ 2147483647 h 683"/>
                <a:gd name="T14" fmla="*/ 2147483647 w 681"/>
                <a:gd name="T15" fmla="*/ 2147483647 h 683"/>
                <a:gd name="T16" fmla="*/ 2147483647 w 681"/>
                <a:gd name="T17" fmla="*/ 2147483647 h 683"/>
                <a:gd name="T18" fmla="*/ 2147483647 w 681"/>
                <a:gd name="T19" fmla="*/ 2147483647 h 683"/>
                <a:gd name="T20" fmla="*/ 2147483647 w 681"/>
                <a:gd name="T21" fmla="*/ 2147483647 h 683"/>
                <a:gd name="T22" fmla="*/ 2147483647 w 681"/>
                <a:gd name="T23" fmla="*/ 2147483647 h 683"/>
                <a:gd name="T24" fmla="*/ 2147483647 w 681"/>
                <a:gd name="T25" fmla="*/ 2147483647 h 683"/>
                <a:gd name="T26" fmla="*/ 2147483647 w 681"/>
                <a:gd name="T27" fmla="*/ 2147483647 h 683"/>
                <a:gd name="T28" fmla="*/ 2147483647 w 681"/>
                <a:gd name="T29" fmla="*/ 2147483647 h 683"/>
                <a:gd name="T30" fmla="*/ 2147483647 w 681"/>
                <a:gd name="T31" fmla="*/ 2147483647 h 683"/>
                <a:gd name="T32" fmla="*/ 2147483647 w 681"/>
                <a:gd name="T33" fmla="*/ 2147483647 h 683"/>
                <a:gd name="T34" fmla="*/ 2147483647 w 681"/>
                <a:gd name="T35" fmla="*/ 2147483647 h 683"/>
                <a:gd name="T36" fmla="*/ 2147483647 w 681"/>
                <a:gd name="T37" fmla="*/ 2147483647 h 683"/>
                <a:gd name="T38" fmla="*/ 2147483647 w 681"/>
                <a:gd name="T39" fmla="*/ 2147483647 h 683"/>
                <a:gd name="T40" fmla="*/ 2147483647 w 681"/>
                <a:gd name="T41" fmla="*/ 2147483647 h 683"/>
                <a:gd name="T42" fmla="*/ 2147483647 w 681"/>
                <a:gd name="T43" fmla="*/ 2147483647 h 683"/>
                <a:gd name="T44" fmla="*/ 2147483647 w 681"/>
                <a:gd name="T45" fmla="*/ 2147483647 h 683"/>
                <a:gd name="T46" fmla="*/ 2147483647 w 681"/>
                <a:gd name="T47" fmla="*/ 2147483647 h 683"/>
                <a:gd name="T48" fmla="*/ 2147483647 w 681"/>
                <a:gd name="T49" fmla="*/ 2147483647 h 683"/>
                <a:gd name="T50" fmla="*/ 2147483647 w 681"/>
                <a:gd name="T51" fmla="*/ 2147483647 h 683"/>
                <a:gd name="T52" fmla="*/ 2147483647 w 681"/>
                <a:gd name="T53" fmla="*/ 2147483647 h 683"/>
                <a:gd name="T54" fmla="*/ 2147483647 w 681"/>
                <a:gd name="T55" fmla="*/ 2147483647 h 683"/>
                <a:gd name="T56" fmla="*/ 2147483647 w 681"/>
                <a:gd name="T57" fmla="*/ 2147483647 h 683"/>
                <a:gd name="T58" fmla="*/ 2147483647 w 681"/>
                <a:gd name="T59" fmla="*/ 2147483647 h 683"/>
                <a:gd name="T60" fmla="*/ 2147483647 w 681"/>
                <a:gd name="T61" fmla="*/ 2147483647 h 683"/>
                <a:gd name="T62" fmla="*/ 2147483647 w 681"/>
                <a:gd name="T63" fmla="*/ 2147483647 h 683"/>
                <a:gd name="T64" fmla="*/ 2147483647 w 681"/>
                <a:gd name="T65" fmla="*/ 2147483647 h 683"/>
                <a:gd name="T66" fmla="*/ 2147483647 w 681"/>
                <a:gd name="T67" fmla="*/ 2147483647 h 683"/>
                <a:gd name="T68" fmla="*/ 2147483647 w 681"/>
                <a:gd name="T69" fmla="*/ 2147483647 h 683"/>
                <a:gd name="T70" fmla="*/ 2147483647 w 681"/>
                <a:gd name="T71" fmla="*/ 2147483647 h 683"/>
                <a:gd name="T72" fmla="*/ 2147483647 w 681"/>
                <a:gd name="T73" fmla="*/ 2147483647 h 683"/>
                <a:gd name="T74" fmla="*/ 2147483647 w 681"/>
                <a:gd name="T75" fmla="*/ 0 h 68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81"/>
                <a:gd name="T115" fmla="*/ 0 h 683"/>
                <a:gd name="T116" fmla="*/ 681 w 681"/>
                <a:gd name="T117" fmla="*/ 683 h 68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81" h="683">
                  <a:moveTo>
                    <a:pt x="256" y="0"/>
                  </a:moveTo>
                  <a:lnTo>
                    <a:pt x="187" y="11"/>
                  </a:lnTo>
                  <a:lnTo>
                    <a:pt x="112" y="62"/>
                  </a:lnTo>
                  <a:lnTo>
                    <a:pt x="70" y="48"/>
                  </a:lnTo>
                  <a:lnTo>
                    <a:pt x="12" y="147"/>
                  </a:lnTo>
                  <a:lnTo>
                    <a:pt x="0" y="194"/>
                  </a:lnTo>
                  <a:lnTo>
                    <a:pt x="36" y="264"/>
                  </a:lnTo>
                  <a:lnTo>
                    <a:pt x="116" y="300"/>
                  </a:lnTo>
                  <a:lnTo>
                    <a:pt x="156" y="366"/>
                  </a:lnTo>
                  <a:lnTo>
                    <a:pt x="132" y="452"/>
                  </a:lnTo>
                  <a:lnTo>
                    <a:pt x="147" y="522"/>
                  </a:lnTo>
                  <a:lnTo>
                    <a:pt x="176" y="553"/>
                  </a:lnTo>
                  <a:lnTo>
                    <a:pt x="219" y="569"/>
                  </a:lnTo>
                  <a:lnTo>
                    <a:pt x="231" y="511"/>
                  </a:lnTo>
                  <a:lnTo>
                    <a:pt x="265" y="466"/>
                  </a:lnTo>
                  <a:lnTo>
                    <a:pt x="288" y="503"/>
                  </a:lnTo>
                  <a:lnTo>
                    <a:pt x="331" y="537"/>
                  </a:lnTo>
                  <a:lnTo>
                    <a:pt x="367" y="681"/>
                  </a:lnTo>
                  <a:lnTo>
                    <a:pt x="394" y="683"/>
                  </a:lnTo>
                  <a:lnTo>
                    <a:pt x="413" y="575"/>
                  </a:lnTo>
                  <a:lnTo>
                    <a:pt x="461" y="552"/>
                  </a:lnTo>
                  <a:lnTo>
                    <a:pt x="495" y="605"/>
                  </a:lnTo>
                  <a:lnTo>
                    <a:pt x="586" y="666"/>
                  </a:lnTo>
                  <a:lnTo>
                    <a:pt x="527" y="393"/>
                  </a:lnTo>
                  <a:lnTo>
                    <a:pt x="487" y="337"/>
                  </a:lnTo>
                  <a:lnTo>
                    <a:pt x="468" y="274"/>
                  </a:lnTo>
                  <a:lnTo>
                    <a:pt x="566" y="332"/>
                  </a:lnTo>
                  <a:lnTo>
                    <a:pt x="577" y="363"/>
                  </a:lnTo>
                  <a:lnTo>
                    <a:pt x="603" y="355"/>
                  </a:lnTo>
                  <a:lnTo>
                    <a:pt x="637" y="322"/>
                  </a:lnTo>
                  <a:lnTo>
                    <a:pt x="681" y="315"/>
                  </a:lnTo>
                  <a:lnTo>
                    <a:pt x="671" y="276"/>
                  </a:lnTo>
                  <a:lnTo>
                    <a:pt x="605" y="237"/>
                  </a:lnTo>
                  <a:lnTo>
                    <a:pt x="563" y="160"/>
                  </a:lnTo>
                  <a:lnTo>
                    <a:pt x="565" y="120"/>
                  </a:lnTo>
                  <a:lnTo>
                    <a:pt x="321" y="39"/>
                  </a:lnTo>
                  <a:lnTo>
                    <a:pt x="293" y="40"/>
                  </a:lnTo>
                  <a:lnTo>
                    <a:pt x="256" y="0"/>
                  </a:lnTo>
                  <a:close/>
                </a:path>
              </a:pathLst>
            </a:custGeom>
            <a:grp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sp>
          <p:nvSpPr>
            <p:cNvPr id="41" name="Freeform 174">
              <a:extLst>
                <a:ext uri="{FF2B5EF4-FFF2-40B4-BE49-F238E27FC236}">
                  <a16:creationId xmlns:a16="http://schemas.microsoft.com/office/drawing/2014/main" id="{98C69938-5864-A410-E6FF-C77A3F5EC7A5}"/>
                </a:ext>
              </a:extLst>
            </p:cNvPr>
            <p:cNvSpPr>
              <a:spLocks/>
            </p:cNvSpPr>
            <p:nvPr/>
          </p:nvSpPr>
          <p:spPr bwMode="auto">
            <a:xfrm rot="21249101">
              <a:off x="6623634" y="6288022"/>
              <a:ext cx="644525" cy="571500"/>
            </a:xfrm>
            <a:custGeom>
              <a:avLst/>
              <a:gdLst>
                <a:gd name="T0" fmla="*/ 2147483647 w 1744"/>
                <a:gd name="T1" fmla="*/ 2147483647 h 1534"/>
                <a:gd name="T2" fmla="*/ 2147483647 w 1744"/>
                <a:gd name="T3" fmla="*/ 2147483647 h 1534"/>
                <a:gd name="T4" fmla="*/ 2147483647 w 1744"/>
                <a:gd name="T5" fmla="*/ 2147483647 h 1534"/>
                <a:gd name="T6" fmla="*/ 2147483647 w 1744"/>
                <a:gd name="T7" fmla="*/ 2147483647 h 1534"/>
                <a:gd name="T8" fmla="*/ 2147483647 w 1744"/>
                <a:gd name="T9" fmla="*/ 2147483647 h 1534"/>
                <a:gd name="T10" fmla="*/ 2147483647 w 1744"/>
                <a:gd name="T11" fmla="*/ 2147483647 h 1534"/>
                <a:gd name="T12" fmla="*/ 2147483647 w 1744"/>
                <a:gd name="T13" fmla="*/ 2147483647 h 1534"/>
                <a:gd name="T14" fmla="*/ 2147483647 w 1744"/>
                <a:gd name="T15" fmla="*/ 2147483647 h 1534"/>
                <a:gd name="T16" fmla="*/ 2147483647 w 1744"/>
                <a:gd name="T17" fmla="*/ 2147483647 h 1534"/>
                <a:gd name="T18" fmla="*/ 2147483647 w 1744"/>
                <a:gd name="T19" fmla="*/ 2147483647 h 1534"/>
                <a:gd name="T20" fmla="*/ 2147483647 w 1744"/>
                <a:gd name="T21" fmla="*/ 2147483647 h 1534"/>
                <a:gd name="T22" fmla="*/ 2147483647 w 1744"/>
                <a:gd name="T23" fmla="*/ 2147483647 h 1534"/>
                <a:gd name="T24" fmla="*/ 2147483647 w 1744"/>
                <a:gd name="T25" fmla="*/ 2147483647 h 1534"/>
                <a:gd name="T26" fmla="*/ 2147483647 w 1744"/>
                <a:gd name="T27" fmla="*/ 2147483647 h 1534"/>
                <a:gd name="T28" fmla="*/ 2147483647 w 1744"/>
                <a:gd name="T29" fmla="*/ 2147483647 h 1534"/>
                <a:gd name="T30" fmla="*/ 2147483647 w 1744"/>
                <a:gd name="T31" fmla="*/ 2147483647 h 1534"/>
                <a:gd name="T32" fmla="*/ 2147483647 w 1744"/>
                <a:gd name="T33" fmla="*/ 2147483647 h 1534"/>
                <a:gd name="T34" fmla="*/ 2147483647 w 1744"/>
                <a:gd name="T35" fmla="*/ 2147483647 h 1534"/>
                <a:gd name="T36" fmla="*/ 2147483647 w 1744"/>
                <a:gd name="T37" fmla="*/ 2147483647 h 1534"/>
                <a:gd name="T38" fmla="*/ 2147483647 w 1744"/>
                <a:gd name="T39" fmla="*/ 2147483647 h 1534"/>
                <a:gd name="T40" fmla="*/ 2147483647 w 1744"/>
                <a:gd name="T41" fmla="*/ 2147483647 h 1534"/>
                <a:gd name="T42" fmla="*/ 2147483647 w 1744"/>
                <a:gd name="T43" fmla="*/ 2147483647 h 1534"/>
                <a:gd name="T44" fmla="*/ 2147483647 w 1744"/>
                <a:gd name="T45" fmla="*/ 2147483647 h 1534"/>
                <a:gd name="T46" fmla="*/ 2147483647 w 1744"/>
                <a:gd name="T47" fmla="*/ 2147483647 h 1534"/>
                <a:gd name="T48" fmla="*/ 2147483647 w 1744"/>
                <a:gd name="T49" fmla="*/ 2147483647 h 1534"/>
                <a:gd name="T50" fmla="*/ 2147483647 w 1744"/>
                <a:gd name="T51" fmla="*/ 2147483647 h 1534"/>
                <a:gd name="T52" fmla="*/ 2147483647 w 1744"/>
                <a:gd name="T53" fmla="*/ 2147483647 h 1534"/>
                <a:gd name="T54" fmla="*/ 2147483647 w 1744"/>
                <a:gd name="T55" fmla="*/ 2147483647 h 1534"/>
                <a:gd name="T56" fmla="*/ 2147483647 w 1744"/>
                <a:gd name="T57" fmla="*/ 2147483647 h 1534"/>
                <a:gd name="T58" fmla="*/ 2147483647 w 1744"/>
                <a:gd name="T59" fmla="*/ 2147483647 h 1534"/>
                <a:gd name="T60" fmla="*/ 2147483647 w 1744"/>
                <a:gd name="T61" fmla="*/ 2147483647 h 1534"/>
                <a:gd name="T62" fmla="*/ 2147483647 w 1744"/>
                <a:gd name="T63" fmla="*/ 2147483647 h 1534"/>
                <a:gd name="T64" fmla="*/ 2147483647 w 1744"/>
                <a:gd name="T65" fmla="*/ 2147483647 h 1534"/>
                <a:gd name="T66" fmla="*/ 2147483647 w 1744"/>
                <a:gd name="T67" fmla="*/ 2147483647 h 1534"/>
                <a:gd name="T68" fmla="*/ 2147483647 w 1744"/>
                <a:gd name="T69" fmla="*/ 2147483647 h 1534"/>
                <a:gd name="T70" fmla="*/ 2147483647 w 1744"/>
                <a:gd name="T71" fmla="*/ 2147483647 h 1534"/>
                <a:gd name="T72" fmla="*/ 2147483647 w 1744"/>
                <a:gd name="T73" fmla="*/ 2147483647 h 1534"/>
                <a:gd name="T74" fmla="*/ 2147483647 w 1744"/>
                <a:gd name="T75" fmla="*/ 2147483647 h 1534"/>
                <a:gd name="T76" fmla="*/ 2147483647 w 1744"/>
                <a:gd name="T77" fmla="*/ 2147483647 h 1534"/>
                <a:gd name="T78" fmla="*/ 2147483647 w 1744"/>
                <a:gd name="T79" fmla="*/ 2147483647 h 1534"/>
                <a:gd name="T80" fmla="*/ 2147483647 w 1744"/>
                <a:gd name="T81" fmla="*/ 2147483647 h 1534"/>
                <a:gd name="T82" fmla="*/ 2147483647 w 1744"/>
                <a:gd name="T83" fmla="*/ 2147483647 h 1534"/>
                <a:gd name="T84" fmla="*/ 2147483647 w 1744"/>
                <a:gd name="T85" fmla="*/ 2147483647 h 1534"/>
                <a:gd name="T86" fmla="*/ 2147483647 w 1744"/>
                <a:gd name="T87" fmla="*/ 2147483647 h 1534"/>
                <a:gd name="T88" fmla="*/ 2147483647 w 1744"/>
                <a:gd name="T89" fmla="*/ 2147483647 h 1534"/>
                <a:gd name="T90" fmla="*/ 2147483647 w 1744"/>
                <a:gd name="T91" fmla="*/ 2147483647 h 1534"/>
                <a:gd name="T92" fmla="*/ 2147483647 w 1744"/>
                <a:gd name="T93" fmla="*/ 2147483647 h 1534"/>
                <a:gd name="T94" fmla="*/ 2147483647 w 1744"/>
                <a:gd name="T95" fmla="*/ 2147483647 h 1534"/>
                <a:gd name="T96" fmla="*/ 2147483647 w 1744"/>
                <a:gd name="T97" fmla="*/ 2147483647 h 1534"/>
                <a:gd name="T98" fmla="*/ 2147483647 w 1744"/>
                <a:gd name="T99" fmla="*/ 2147483647 h 1534"/>
                <a:gd name="T100" fmla="*/ 2147483647 w 1744"/>
                <a:gd name="T101" fmla="*/ 2147483647 h 1534"/>
                <a:gd name="T102" fmla="*/ 2147483647 w 1744"/>
                <a:gd name="T103" fmla="*/ 2147483647 h 1534"/>
                <a:gd name="T104" fmla="*/ 2147483647 w 1744"/>
                <a:gd name="T105" fmla="*/ 2147483647 h 15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44"/>
                <a:gd name="T160" fmla="*/ 0 h 1534"/>
                <a:gd name="T161" fmla="*/ 1744 w 1744"/>
                <a:gd name="T162" fmla="*/ 1534 h 153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44" h="1534">
                  <a:moveTo>
                    <a:pt x="1629" y="396"/>
                  </a:moveTo>
                  <a:lnTo>
                    <a:pt x="1580" y="360"/>
                  </a:lnTo>
                  <a:lnTo>
                    <a:pt x="1339" y="316"/>
                  </a:lnTo>
                  <a:lnTo>
                    <a:pt x="1266" y="361"/>
                  </a:lnTo>
                  <a:lnTo>
                    <a:pt x="1230" y="363"/>
                  </a:lnTo>
                  <a:lnTo>
                    <a:pt x="1173" y="345"/>
                  </a:lnTo>
                  <a:lnTo>
                    <a:pt x="1125" y="402"/>
                  </a:lnTo>
                  <a:lnTo>
                    <a:pt x="1043" y="424"/>
                  </a:lnTo>
                  <a:lnTo>
                    <a:pt x="970" y="477"/>
                  </a:lnTo>
                  <a:lnTo>
                    <a:pt x="1015" y="517"/>
                  </a:lnTo>
                  <a:lnTo>
                    <a:pt x="1089" y="541"/>
                  </a:lnTo>
                  <a:lnTo>
                    <a:pt x="1140" y="592"/>
                  </a:lnTo>
                  <a:lnTo>
                    <a:pt x="1154" y="619"/>
                  </a:lnTo>
                  <a:lnTo>
                    <a:pt x="1098" y="576"/>
                  </a:lnTo>
                  <a:lnTo>
                    <a:pt x="1017" y="562"/>
                  </a:lnTo>
                  <a:lnTo>
                    <a:pt x="998" y="609"/>
                  </a:lnTo>
                  <a:lnTo>
                    <a:pt x="1054" y="646"/>
                  </a:lnTo>
                  <a:lnTo>
                    <a:pt x="1064" y="710"/>
                  </a:lnTo>
                  <a:lnTo>
                    <a:pt x="988" y="622"/>
                  </a:lnTo>
                  <a:lnTo>
                    <a:pt x="939" y="606"/>
                  </a:lnTo>
                  <a:lnTo>
                    <a:pt x="918" y="612"/>
                  </a:lnTo>
                  <a:lnTo>
                    <a:pt x="932" y="667"/>
                  </a:lnTo>
                  <a:lnTo>
                    <a:pt x="981" y="701"/>
                  </a:lnTo>
                  <a:lnTo>
                    <a:pt x="953" y="725"/>
                  </a:lnTo>
                  <a:lnTo>
                    <a:pt x="898" y="676"/>
                  </a:lnTo>
                  <a:lnTo>
                    <a:pt x="869" y="612"/>
                  </a:lnTo>
                  <a:lnTo>
                    <a:pt x="749" y="540"/>
                  </a:lnTo>
                  <a:lnTo>
                    <a:pt x="745" y="521"/>
                  </a:lnTo>
                  <a:lnTo>
                    <a:pt x="759" y="485"/>
                  </a:lnTo>
                  <a:lnTo>
                    <a:pt x="690" y="512"/>
                  </a:lnTo>
                  <a:lnTo>
                    <a:pt x="693" y="723"/>
                  </a:lnTo>
                  <a:lnTo>
                    <a:pt x="729" y="758"/>
                  </a:lnTo>
                  <a:lnTo>
                    <a:pt x="753" y="833"/>
                  </a:lnTo>
                  <a:lnTo>
                    <a:pt x="846" y="916"/>
                  </a:lnTo>
                  <a:lnTo>
                    <a:pt x="887" y="1008"/>
                  </a:lnTo>
                  <a:lnTo>
                    <a:pt x="863" y="1025"/>
                  </a:lnTo>
                  <a:lnTo>
                    <a:pt x="840" y="1019"/>
                  </a:lnTo>
                  <a:lnTo>
                    <a:pt x="850" y="986"/>
                  </a:lnTo>
                  <a:lnTo>
                    <a:pt x="825" y="955"/>
                  </a:lnTo>
                  <a:lnTo>
                    <a:pt x="778" y="950"/>
                  </a:lnTo>
                  <a:lnTo>
                    <a:pt x="768" y="994"/>
                  </a:lnTo>
                  <a:lnTo>
                    <a:pt x="798" y="1064"/>
                  </a:lnTo>
                  <a:lnTo>
                    <a:pt x="783" y="1081"/>
                  </a:lnTo>
                  <a:lnTo>
                    <a:pt x="677" y="1097"/>
                  </a:lnTo>
                  <a:lnTo>
                    <a:pt x="700" y="1130"/>
                  </a:lnTo>
                  <a:lnTo>
                    <a:pt x="846" y="1188"/>
                  </a:lnTo>
                  <a:lnTo>
                    <a:pt x="894" y="1189"/>
                  </a:lnTo>
                  <a:lnTo>
                    <a:pt x="922" y="1246"/>
                  </a:lnTo>
                  <a:lnTo>
                    <a:pt x="956" y="1245"/>
                  </a:lnTo>
                  <a:lnTo>
                    <a:pt x="1038" y="1314"/>
                  </a:lnTo>
                  <a:lnTo>
                    <a:pt x="1068" y="1316"/>
                  </a:lnTo>
                  <a:lnTo>
                    <a:pt x="1106" y="1339"/>
                  </a:lnTo>
                  <a:lnTo>
                    <a:pt x="1122" y="1534"/>
                  </a:lnTo>
                  <a:lnTo>
                    <a:pt x="1050" y="1493"/>
                  </a:lnTo>
                  <a:lnTo>
                    <a:pt x="993" y="1430"/>
                  </a:lnTo>
                  <a:lnTo>
                    <a:pt x="847" y="1449"/>
                  </a:lnTo>
                  <a:lnTo>
                    <a:pt x="798" y="1424"/>
                  </a:lnTo>
                  <a:lnTo>
                    <a:pt x="852" y="1406"/>
                  </a:lnTo>
                  <a:lnTo>
                    <a:pt x="860" y="1365"/>
                  </a:lnTo>
                  <a:lnTo>
                    <a:pt x="799" y="1358"/>
                  </a:lnTo>
                  <a:lnTo>
                    <a:pt x="724" y="1292"/>
                  </a:lnTo>
                  <a:lnTo>
                    <a:pt x="694" y="1322"/>
                  </a:lnTo>
                  <a:lnTo>
                    <a:pt x="643" y="1304"/>
                  </a:lnTo>
                  <a:lnTo>
                    <a:pt x="577" y="1316"/>
                  </a:lnTo>
                  <a:lnTo>
                    <a:pt x="512" y="1305"/>
                  </a:lnTo>
                  <a:lnTo>
                    <a:pt x="421" y="1320"/>
                  </a:lnTo>
                  <a:lnTo>
                    <a:pt x="349" y="1292"/>
                  </a:lnTo>
                  <a:lnTo>
                    <a:pt x="330" y="1292"/>
                  </a:lnTo>
                  <a:lnTo>
                    <a:pt x="319" y="1311"/>
                  </a:lnTo>
                  <a:lnTo>
                    <a:pt x="288" y="1322"/>
                  </a:lnTo>
                  <a:lnTo>
                    <a:pt x="170" y="1126"/>
                  </a:lnTo>
                  <a:lnTo>
                    <a:pt x="223" y="1131"/>
                  </a:lnTo>
                  <a:lnTo>
                    <a:pt x="273" y="1122"/>
                  </a:lnTo>
                  <a:lnTo>
                    <a:pt x="254" y="1078"/>
                  </a:lnTo>
                  <a:lnTo>
                    <a:pt x="179" y="1048"/>
                  </a:lnTo>
                  <a:lnTo>
                    <a:pt x="167" y="1095"/>
                  </a:lnTo>
                  <a:lnTo>
                    <a:pt x="87" y="965"/>
                  </a:lnTo>
                  <a:lnTo>
                    <a:pt x="37" y="928"/>
                  </a:lnTo>
                  <a:lnTo>
                    <a:pt x="16" y="846"/>
                  </a:lnTo>
                  <a:lnTo>
                    <a:pt x="6" y="833"/>
                  </a:lnTo>
                  <a:lnTo>
                    <a:pt x="0" y="833"/>
                  </a:lnTo>
                  <a:lnTo>
                    <a:pt x="6" y="837"/>
                  </a:lnTo>
                  <a:lnTo>
                    <a:pt x="49" y="803"/>
                  </a:lnTo>
                  <a:lnTo>
                    <a:pt x="70" y="770"/>
                  </a:lnTo>
                  <a:lnTo>
                    <a:pt x="86" y="710"/>
                  </a:lnTo>
                  <a:lnTo>
                    <a:pt x="135" y="674"/>
                  </a:lnTo>
                  <a:lnTo>
                    <a:pt x="180" y="586"/>
                  </a:lnTo>
                  <a:lnTo>
                    <a:pt x="244" y="526"/>
                  </a:lnTo>
                  <a:lnTo>
                    <a:pt x="233" y="405"/>
                  </a:lnTo>
                  <a:lnTo>
                    <a:pt x="412" y="378"/>
                  </a:lnTo>
                  <a:lnTo>
                    <a:pt x="466" y="324"/>
                  </a:lnTo>
                  <a:lnTo>
                    <a:pt x="556" y="287"/>
                  </a:lnTo>
                  <a:lnTo>
                    <a:pt x="658" y="284"/>
                  </a:lnTo>
                  <a:lnTo>
                    <a:pt x="728" y="215"/>
                  </a:lnTo>
                  <a:lnTo>
                    <a:pt x="1228" y="113"/>
                  </a:lnTo>
                  <a:lnTo>
                    <a:pt x="1278" y="152"/>
                  </a:lnTo>
                  <a:lnTo>
                    <a:pt x="1459" y="203"/>
                  </a:lnTo>
                  <a:lnTo>
                    <a:pt x="1558" y="174"/>
                  </a:lnTo>
                  <a:lnTo>
                    <a:pt x="1622" y="109"/>
                  </a:lnTo>
                  <a:lnTo>
                    <a:pt x="1624" y="9"/>
                  </a:lnTo>
                  <a:lnTo>
                    <a:pt x="1680" y="0"/>
                  </a:lnTo>
                  <a:lnTo>
                    <a:pt x="1695" y="29"/>
                  </a:lnTo>
                  <a:lnTo>
                    <a:pt x="1744" y="64"/>
                  </a:lnTo>
                  <a:lnTo>
                    <a:pt x="1742" y="120"/>
                  </a:lnTo>
                  <a:lnTo>
                    <a:pt x="1692" y="167"/>
                  </a:lnTo>
                  <a:lnTo>
                    <a:pt x="1677" y="319"/>
                  </a:lnTo>
                  <a:lnTo>
                    <a:pt x="1629" y="396"/>
                  </a:lnTo>
                  <a:close/>
                </a:path>
              </a:pathLst>
            </a:custGeom>
            <a:grp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grpSp>
      <p:sp>
        <p:nvSpPr>
          <p:cNvPr id="42" name="HU">
            <a:extLst>
              <a:ext uri="{FF2B5EF4-FFF2-40B4-BE49-F238E27FC236}">
                <a16:creationId xmlns:a16="http://schemas.microsoft.com/office/drawing/2014/main" id="{5C006BF7-AAC4-5F4D-9306-8EBAF0A9DB67}"/>
              </a:ext>
            </a:extLst>
          </p:cNvPr>
          <p:cNvSpPr>
            <a:spLocks/>
          </p:cNvSpPr>
          <p:nvPr/>
        </p:nvSpPr>
        <p:spPr bwMode="auto">
          <a:xfrm rot="21249101">
            <a:off x="10355512" y="4154122"/>
            <a:ext cx="792259" cy="454238"/>
          </a:xfrm>
          <a:custGeom>
            <a:avLst/>
            <a:gdLst>
              <a:gd name="T0" fmla="*/ 2147483647 w 1656"/>
              <a:gd name="T1" fmla="*/ 2147483647 h 1000"/>
              <a:gd name="T2" fmla="*/ 2147483647 w 1656"/>
              <a:gd name="T3" fmla="*/ 2147483647 h 1000"/>
              <a:gd name="T4" fmla="*/ 2147483647 w 1656"/>
              <a:gd name="T5" fmla="*/ 2147483647 h 1000"/>
              <a:gd name="T6" fmla="*/ 2147483647 w 1656"/>
              <a:gd name="T7" fmla="*/ 2147483647 h 1000"/>
              <a:gd name="T8" fmla="*/ 2147483647 w 1656"/>
              <a:gd name="T9" fmla="*/ 2147483647 h 1000"/>
              <a:gd name="T10" fmla="*/ 2147483647 w 1656"/>
              <a:gd name="T11" fmla="*/ 2147483647 h 1000"/>
              <a:gd name="T12" fmla="*/ 2147483647 w 1656"/>
              <a:gd name="T13" fmla="*/ 2147483647 h 1000"/>
              <a:gd name="T14" fmla="*/ 2147483647 w 1656"/>
              <a:gd name="T15" fmla="*/ 2147483647 h 1000"/>
              <a:gd name="T16" fmla="*/ 2147483647 w 1656"/>
              <a:gd name="T17" fmla="*/ 2147483647 h 1000"/>
              <a:gd name="T18" fmla="*/ 2147483647 w 1656"/>
              <a:gd name="T19" fmla="*/ 2147483647 h 1000"/>
              <a:gd name="T20" fmla="*/ 2147483647 w 1656"/>
              <a:gd name="T21" fmla="*/ 0 h 1000"/>
              <a:gd name="T22" fmla="*/ 2147483647 w 1656"/>
              <a:gd name="T23" fmla="*/ 2147483647 h 1000"/>
              <a:gd name="T24" fmla="*/ 2147483647 w 1656"/>
              <a:gd name="T25" fmla="*/ 2147483647 h 1000"/>
              <a:gd name="T26" fmla="*/ 2147483647 w 1656"/>
              <a:gd name="T27" fmla="*/ 2147483647 h 1000"/>
              <a:gd name="T28" fmla="*/ 2147483647 w 1656"/>
              <a:gd name="T29" fmla="*/ 2147483647 h 1000"/>
              <a:gd name="T30" fmla="*/ 2147483647 w 1656"/>
              <a:gd name="T31" fmla="*/ 2147483647 h 1000"/>
              <a:gd name="T32" fmla="*/ 2147483647 w 1656"/>
              <a:gd name="T33" fmla="*/ 2147483647 h 1000"/>
              <a:gd name="T34" fmla="*/ 2147483647 w 1656"/>
              <a:gd name="T35" fmla="*/ 2147483647 h 1000"/>
              <a:gd name="T36" fmla="*/ 2147483647 w 1656"/>
              <a:gd name="T37" fmla="*/ 2147483647 h 1000"/>
              <a:gd name="T38" fmla="*/ 2147483647 w 1656"/>
              <a:gd name="T39" fmla="*/ 2147483647 h 1000"/>
              <a:gd name="T40" fmla="*/ 2147483647 w 1656"/>
              <a:gd name="T41" fmla="*/ 2147483647 h 1000"/>
              <a:gd name="T42" fmla="*/ 2147483647 w 1656"/>
              <a:gd name="T43" fmla="*/ 2147483647 h 1000"/>
              <a:gd name="T44" fmla="*/ 2147483647 w 1656"/>
              <a:gd name="T45" fmla="*/ 2147483647 h 1000"/>
              <a:gd name="T46" fmla="*/ 2147483647 w 1656"/>
              <a:gd name="T47" fmla="*/ 2147483647 h 1000"/>
              <a:gd name="T48" fmla="*/ 2147483647 w 1656"/>
              <a:gd name="T49" fmla="*/ 2147483647 h 1000"/>
              <a:gd name="T50" fmla="*/ 2147483647 w 1656"/>
              <a:gd name="T51" fmla="*/ 2147483647 h 1000"/>
              <a:gd name="T52" fmla="*/ 2147483647 w 1656"/>
              <a:gd name="T53" fmla="*/ 2147483647 h 1000"/>
              <a:gd name="T54" fmla="*/ 2147483647 w 1656"/>
              <a:gd name="T55" fmla="*/ 2147483647 h 1000"/>
              <a:gd name="T56" fmla="*/ 2147483647 w 1656"/>
              <a:gd name="T57" fmla="*/ 2147483647 h 1000"/>
              <a:gd name="T58" fmla="*/ 2147483647 w 1656"/>
              <a:gd name="T59" fmla="*/ 2147483647 h 1000"/>
              <a:gd name="T60" fmla="*/ 2147483647 w 1656"/>
              <a:gd name="T61" fmla="*/ 2147483647 h 1000"/>
              <a:gd name="T62" fmla="*/ 2147483647 w 1656"/>
              <a:gd name="T63" fmla="*/ 2147483647 h 1000"/>
              <a:gd name="T64" fmla="*/ 2147483647 w 1656"/>
              <a:gd name="T65" fmla="*/ 2147483647 h 1000"/>
              <a:gd name="T66" fmla="*/ 2147483647 w 1656"/>
              <a:gd name="T67" fmla="*/ 2147483647 h 1000"/>
              <a:gd name="T68" fmla="*/ 2147483647 w 1656"/>
              <a:gd name="T69" fmla="*/ 2147483647 h 1000"/>
              <a:gd name="T70" fmla="*/ 2147483647 w 1656"/>
              <a:gd name="T71" fmla="*/ 2147483647 h 1000"/>
              <a:gd name="T72" fmla="*/ 2147483647 w 1656"/>
              <a:gd name="T73" fmla="*/ 2147483647 h 1000"/>
              <a:gd name="T74" fmla="*/ 2147483647 w 1656"/>
              <a:gd name="T75" fmla="*/ 2147483647 h 1000"/>
              <a:gd name="T76" fmla="*/ 2147483647 w 1656"/>
              <a:gd name="T77" fmla="*/ 2147483647 h 1000"/>
              <a:gd name="T78" fmla="*/ 2147483647 w 1656"/>
              <a:gd name="T79" fmla="*/ 2147483647 h 1000"/>
              <a:gd name="T80" fmla="*/ 2147483647 w 1656"/>
              <a:gd name="T81" fmla="*/ 2147483647 h 1000"/>
              <a:gd name="T82" fmla="*/ 2147483647 w 1656"/>
              <a:gd name="T83" fmla="*/ 2147483647 h 1000"/>
              <a:gd name="T84" fmla="*/ 2147483647 w 1656"/>
              <a:gd name="T85" fmla="*/ 2147483647 h 1000"/>
              <a:gd name="T86" fmla="*/ 0 w 1656"/>
              <a:gd name="T87" fmla="*/ 2147483647 h 1000"/>
              <a:gd name="T88" fmla="*/ 2147483647 w 1656"/>
              <a:gd name="T89" fmla="*/ 2147483647 h 1000"/>
              <a:gd name="T90" fmla="*/ 2147483647 w 1656"/>
              <a:gd name="T91" fmla="*/ 2147483647 h 1000"/>
              <a:gd name="T92" fmla="*/ 2147483647 w 1656"/>
              <a:gd name="T93" fmla="*/ 2147483647 h 1000"/>
              <a:gd name="T94" fmla="*/ 2147483647 w 1656"/>
              <a:gd name="T95" fmla="*/ 2147483647 h 1000"/>
              <a:gd name="T96" fmla="*/ 2147483647 w 1656"/>
              <a:gd name="T97" fmla="*/ 2147483647 h 1000"/>
              <a:gd name="T98" fmla="*/ 2147483647 w 1656"/>
              <a:gd name="T99" fmla="*/ 2147483647 h 1000"/>
              <a:gd name="T100" fmla="*/ 2147483647 w 1656"/>
              <a:gd name="T101" fmla="*/ 2147483647 h 1000"/>
              <a:gd name="T102" fmla="*/ 2147483647 w 1656"/>
              <a:gd name="T103" fmla="*/ 2147483647 h 1000"/>
              <a:gd name="T104" fmla="*/ 2147483647 w 1656"/>
              <a:gd name="T105" fmla="*/ 2147483647 h 1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56"/>
              <a:gd name="T160" fmla="*/ 0 h 1000"/>
              <a:gd name="T161" fmla="*/ 1656 w 1656"/>
              <a:gd name="T162" fmla="*/ 1000 h 1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56" h="1000">
                <a:moveTo>
                  <a:pt x="277" y="161"/>
                </a:moveTo>
                <a:lnTo>
                  <a:pt x="440" y="283"/>
                </a:lnTo>
                <a:lnTo>
                  <a:pt x="614" y="279"/>
                </a:lnTo>
                <a:lnTo>
                  <a:pt x="675" y="194"/>
                </a:lnTo>
                <a:lnTo>
                  <a:pt x="882" y="116"/>
                </a:lnTo>
                <a:lnTo>
                  <a:pt x="956" y="140"/>
                </a:lnTo>
                <a:lnTo>
                  <a:pt x="1061" y="97"/>
                </a:lnTo>
                <a:lnTo>
                  <a:pt x="1081" y="47"/>
                </a:lnTo>
                <a:lnTo>
                  <a:pt x="1152" y="7"/>
                </a:lnTo>
                <a:lnTo>
                  <a:pt x="1228" y="13"/>
                </a:lnTo>
                <a:lnTo>
                  <a:pt x="1280" y="0"/>
                </a:lnTo>
                <a:lnTo>
                  <a:pt x="1349" y="17"/>
                </a:lnTo>
                <a:lnTo>
                  <a:pt x="1422" y="63"/>
                </a:lnTo>
                <a:lnTo>
                  <a:pt x="1478" y="48"/>
                </a:lnTo>
                <a:lnTo>
                  <a:pt x="1636" y="155"/>
                </a:lnTo>
                <a:lnTo>
                  <a:pt x="1656" y="203"/>
                </a:lnTo>
                <a:lnTo>
                  <a:pt x="1608" y="266"/>
                </a:lnTo>
                <a:lnTo>
                  <a:pt x="1575" y="267"/>
                </a:lnTo>
                <a:lnTo>
                  <a:pt x="1511" y="296"/>
                </a:lnTo>
                <a:lnTo>
                  <a:pt x="1467" y="345"/>
                </a:lnTo>
                <a:lnTo>
                  <a:pt x="1465" y="378"/>
                </a:lnTo>
                <a:lnTo>
                  <a:pt x="1440" y="425"/>
                </a:lnTo>
                <a:lnTo>
                  <a:pt x="1430" y="476"/>
                </a:lnTo>
                <a:lnTo>
                  <a:pt x="1254" y="799"/>
                </a:lnTo>
                <a:lnTo>
                  <a:pt x="1036" y="878"/>
                </a:lnTo>
                <a:lnTo>
                  <a:pt x="1022" y="878"/>
                </a:lnTo>
                <a:lnTo>
                  <a:pt x="1000" y="845"/>
                </a:lnTo>
                <a:lnTo>
                  <a:pt x="945" y="864"/>
                </a:lnTo>
                <a:lnTo>
                  <a:pt x="889" y="867"/>
                </a:lnTo>
                <a:lnTo>
                  <a:pt x="816" y="914"/>
                </a:lnTo>
                <a:lnTo>
                  <a:pt x="750" y="916"/>
                </a:lnTo>
                <a:lnTo>
                  <a:pt x="719" y="940"/>
                </a:lnTo>
                <a:lnTo>
                  <a:pt x="655" y="946"/>
                </a:lnTo>
                <a:lnTo>
                  <a:pt x="595" y="980"/>
                </a:lnTo>
                <a:lnTo>
                  <a:pt x="453" y="1000"/>
                </a:lnTo>
                <a:lnTo>
                  <a:pt x="387" y="953"/>
                </a:lnTo>
                <a:lnTo>
                  <a:pt x="334" y="934"/>
                </a:lnTo>
                <a:lnTo>
                  <a:pt x="283" y="863"/>
                </a:lnTo>
                <a:lnTo>
                  <a:pt x="221" y="827"/>
                </a:lnTo>
                <a:lnTo>
                  <a:pt x="177" y="756"/>
                </a:lnTo>
                <a:lnTo>
                  <a:pt x="126" y="730"/>
                </a:lnTo>
                <a:lnTo>
                  <a:pt x="65" y="606"/>
                </a:lnTo>
                <a:lnTo>
                  <a:pt x="33" y="587"/>
                </a:lnTo>
                <a:lnTo>
                  <a:pt x="0" y="584"/>
                </a:lnTo>
                <a:lnTo>
                  <a:pt x="49" y="537"/>
                </a:lnTo>
                <a:lnTo>
                  <a:pt x="99" y="526"/>
                </a:lnTo>
                <a:lnTo>
                  <a:pt x="100" y="435"/>
                </a:lnTo>
                <a:lnTo>
                  <a:pt x="143" y="355"/>
                </a:lnTo>
                <a:lnTo>
                  <a:pt x="114" y="315"/>
                </a:lnTo>
                <a:lnTo>
                  <a:pt x="134" y="282"/>
                </a:lnTo>
                <a:lnTo>
                  <a:pt x="251" y="285"/>
                </a:lnTo>
                <a:lnTo>
                  <a:pt x="273" y="249"/>
                </a:lnTo>
                <a:lnTo>
                  <a:pt x="277" y="161"/>
                </a:lnTo>
                <a:close/>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43" name="PL">
            <a:extLst>
              <a:ext uri="{FF2B5EF4-FFF2-40B4-BE49-F238E27FC236}">
                <a16:creationId xmlns:a16="http://schemas.microsoft.com/office/drawing/2014/main" id="{4D214256-F75E-DCEE-45A8-F1BB292906C9}"/>
              </a:ext>
            </a:extLst>
          </p:cNvPr>
          <p:cNvSpPr>
            <a:spLocks/>
          </p:cNvSpPr>
          <p:nvPr/>
        </p:nvSpPr>
        <p:spPr bwMode="auto">
          <a:xfrm rot="21249101">
            <a:off x="10119924" y="3119072"/>
            <a:ext cx="1061987" cy="945616"/>
          </a:xfrm>
          <a:custGeom>
            <a:avLst/>
            <a:gdLst>
              <a:gd name="T0" fmla="*/ 2147483647 w 2223"/>
              <a:gd name="T1" fmla="*/ 2147483647 h 2077"/>
              <a:gd name="T2" fmla="*/ 2147483647 w 2223"/>
              <a:gd name="T3" fmla="*/ 2147483647 h 2077"/>
              <a:gd name="T4" fmla="*/ 2147483647 w 2223"/>
              <a:gd name="T5" fmla="*/ 2147483647 h 2077"/>
              <a:gd name="T6" fmla="*/ 2147483647 w 2223"/>
              <a:gd name="T7" fmla="*/ 2147483647 h 2077"/>
              <a:gd name="T8" fmla="*/ 2147483647 w 2223"/>
              <a:gd name="T9" fmla="*/ 2147483647 h 2077"/>
              <a:gd name="T10" fmla="*/ 2147483647 w 2223"/>
              <a:gd name="T11" fmla="*/ 2147483647 h 2077"/>
              <a:gd name="T12" fmla="*/ 2147483647 w 2223"/>
              <a:gd name="T13" fmla="*/ 2147483647 h 2077"/>
              <a:gd name="T14" fmla="*/ 2147483647 w 2223"/>
              <a:gd name="T15" fmla="*/ 2147483647 h 2077"/>
              <a:gd name="T16" fmla="*/ 2147483647 w 2223"/>
              <a:gd name="T17" fmla="*/ 2147483647 h 2077"/>
              <a:gd name="T18" fmla="*/ 2147483647 w 2223"/>
              <a:gd name="T19" fmla="*/ 2147483647 h 2077"/>
              <a:gd name="T20" fmla="*/ 2147483647 w 2223"/>
              <a:gd name="T21" fmla="*/ 2147483647 h 2077"/>
              <a:gd name="T22" fmla="*/ 2147483647 w 2223"/>
              <a:gd name="T23" fmla="*/ 2147483647 h 2077"/>
              <a:gd name="T24" fmla="*/ 2147483647 w 2223"/>
              <a:gd name="T25" fmla="*/ 2147483647 h 2077"/>
              <a:gd name="T26" fmla="*/ 2147483647 w 2223"/>
              <a:gd name="T27" fmla="*/ 2147483647 h 2077"/>
              <a:gd name="T28" fmla="*/ 2147483647 w 2223"/>
              <a:gd name="T29" fmla="*/ 2147483647 h 2077"/>
              <a:gd name="T30" fmla="*/ 2147483647 w 2223"/>
              <a:gd name="T31" fmla="*/ 2147483647 h 2077"/>
              <a:gd name="T32" fmla="*/ 2147483647 w 2223"/>
              <a:gd name="T33" fmla="*/ 2147483647 h 2077"/>
              <a:gd name="T34" fmla="*/ 2147483647 w 2223"/>
              <a:gd name="T35" fmla="*/ 2147483647 h 2077"/>
              <a:gd name="T36" fmla="*/ 2147483647 w 2223"/>
              <a:gd name="T37" fmla="*/ 2147483647 h 2077"/>
              <a:gd name="T38" fmla="*/ 2147483647 w 2223"/>
              <a:gd name="T39" fmla="*/ 2147483647 h 2077"/>
              <a:gd name="T40" fmla="*/ 2147483647 w 2223"/>
              <a:gd name="T41" fmla="*/ 2147483647 h 2077"/>
              <a:gd name="T42" fmla="*/ 2147483647 w 2223"/>
              <a:gd name="T43" fmla="*/ 2147483647 h 2077"/>
              <a:gd name="T44" fmla="*/ 2147483647 w 2223"/>
              <a:gd name="T45" fmla="*/ 2147483647 h 2077"/>
              <a:gd name="T46" fmla="*/ 2147483647 w 2223"/>
              <a:gd name="T47" fmla="*/ 2147483647 h 2077"/>
              <a:gd name="T48" fmla="*/ 2147483647 w 2223"/>
              <a:gd name="T49" fmla="*/ 2147483647 h 2077"/>
              <a:gd name="T50" fmla="*/ 2147483647 w 2223"/>
              <a:gd name="T51" fmla="*/ 2147483647 h 2077"/>
              <a:gd name="T52" fmla="*/ 2147483647 w 2223"/>
              <a:gd name="T53" fmla="*/ 2147483647 h 2077"/>
              <a:gd name="T54" fmla="*/ 2147483647 w 2223"/>
              <a:gd name="T55" fmla="*/ 2147483647 h 2077"/>
              <a:gd name="T56" fmla="*/ 2147483647 w 2223"/>
              <a:gd name="T57" fmla="*/ 2147483647 h 2077"/>
              <a:gd name="T58" fmla="*/ 2147483647 w 2223"/>
              <a:gd name="T59" fmla="*/ 2147483647 h 2077"/>
              <a:gd name="T60" fmla="*/ 2147483647 w 2223"/>
              <a:gd name="T61" fmla="*/ 2147483647 h 2077"/>
              <a:gd name="T62" fmla="*/ 2147483647 w 2223"/>
              <a:gd name="T63" fmla="*/ 0 h 2077"/>
              <a:gd name="T64" fmla="*/ 2147483647 w 2223"/>
              <a:gd name="T65" fmla="*/ 2147483647 h 2077"/>
              <a:gd name="T66" fmla="*/ 2147483647 w 2223"/>
              <a:gd name="T67" fmla="*/ 2147483647 h 2077"/>
              <a:gd name="T68" fmla="*/ 2147483647 w 2223"/>
              <a:gd name="T69" fmla="*/ 2147483647 h 2077"/>
              <a:gd name="T70" fmla="*/ 2147483647 w 2223"/>
              <a:gd name="T71" fmla="*/ 2147483647 h 2077"/>
              <a:gd name="T72" fmla="*/ 2147483647 w 2223"/>
              <a:gd name="T73" fmla="*/ 2147483647 h 2077"/>
              <a:gd name="T74" fmla="*/ 2147483647 w 2223"/>
              <a:gd name="T75" fmla="*/ 2147483647 h 2077"/>
              <a:gd name="T76" fmla="*/ 2147483647 w 2223"/>
              <a:gd name="T77" fmla="*/ 2147483647 h 2077"/>
              <a:gd name="T78" fmla="*/ 2147483647 w 2223"/>
              <a:gd name="T79" fmla="*/ 2147483647 h 2077"/>
              <a:gd name="T80" fmla="*/ 2147483647 w 2223"/>
              <a:gd name="T81" fmla="*/ 2147483647 h 2077"/>
              <a:gd name="T82" fmla="*/ 2147483647 w 2223"/>
              <a:gd name="T83" fmla="*/ 2147483647 h 2077"/>
              <a:gd name="T84" fmla="*/ 2147483647 w 2223"/>
              <a:gd name="T85" fmla="*/ 2147483647 h 20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23"/>
              <a:gd name="T130" fmla="*/ 0 h 2077"/>
              <a:gd name="T131" fmla="*/ 2223 w 2223"/>
              <a:gd name="T132" fmla="*/ 2077 h 207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23" h="2077">
                <a:moveTo>
                  <a:pt x="2074" y="1167"/>
                </a:moveTo>
                <a:lnTo>
                  <a:pt x="2151" y="1359"/>
                </a:lnTo>
                <a:lnTo>
                  <a:pt x="2197" y="1405"/>
                </a:lnTo>
                <a:lnTo>
                  <a:pt x="2194" y="1452"/>
                </a:lnTo>
                <a:lnTo>
                  <a:pt x="2223" y="1513"/>
                </a:lnTo>
                <a:lnTo>
                  <a:pt x="2205" y="1573"/>
                </a:lnTo>
                <a:lnTo>
                  <a:pt x="2053" y="1700"/>
                </a:lnTo>
                <a:lnTo>
                  <a:pt x="1923" y="1950"/>
                </a:lnTo>
                <a:lnTo>
                  <a:pt x="1917" y="2012"/>
                </a:lnTo>
                <a:lnTo>
                  <a:pt x="1929" y="2067"/>
                </a:lnTo>
                <a:lnTo>
                  <a:pt x="1886" y="2077"/>
                </a:lnTo>
                <a:lnTo>
                  <a:pt x="1822" y="2060"/>
                </a:lnTo>
                <a:lnTo>
                  <a:pt x="1692" y="1961"/>
                </a:lnTo>
                <a:lnTo>
                  <a:pt x="1579" y="1964"/>
                </a:lnTo>
                <a:lnTo>
                  <a:pt x="1505" y="2010"/>
                </a:lnTo>
                <a:lnTo>
                  <a:pt x="1460" y="1979"/>
                </a:lnTo>
                <a:lnTo>
                  <a:pt x="1377" y="1979"/>
                </a:lnTo>
                <a:lnTo>
                  <a:pt x="1337" y="2020"/>
                </a:lnTo>
                <a:lnTo>
                  <a:pt x="1295" y="2042"/>
                </a:lnTo>
                <a:lnTo>
                  <a:pt x="1262" y="2031"/>
                </a:lnTo>
                <a:lnTo>
                  <a:pt x="1155" y="1921"/>
                </a:lnTo>
                <a:lnTo>
                  <a:pt x="1064" y="1951"/>
                </a:lnTo>
                <a:lnTo>
                  <a:pt x="935" y="1889"/>
                </a:lnTo>
                <a:lnTo>
                  <a:pt x="855" y="1767"/>
                </a:lnTo>
                <a:lnTo>
                  <a:pt x="817" y="1746"/>
                </a:lnTo>
                <a:lnTo>
                  <a:pt x="796" y="1752"/>
                </a:lnTo>
                <a:lnTo>
                  <a:pt x="758" y="1721"/>
                </a:lnTo>
                <a:lnTo>
                  <a:pt x="758" y="1654"/>
                </a:lnTo>
                <a:lnTo>
                  <a:pt x="573" y="1599"/>
                </a:lnTo>
                <a:lnTo>
                  <a:pt x="567" y="1624"/>
                </a:lnTo>
                <a:lnTo>
                  <a:pt x="578" y="1650"/>
                </a:lnTo>
                <a:lnTo>
                  <a:pt x="528" y="1681"/>
                </a:lnTo>
                <a:lnTo>
                  <a:pt x="498" y="1667"/>
                </a:lnTo>
                <a:lnTo>
                  <a:pt x="420" y="1586"/>
                </a:lnTo>
                <a:lnTo>
                  <a:pt x="443" y="1541"/>
                </a:lnTo>
                <a:lnTo>
                  <a:pt x="444" y="1528"/>
                </a:lnTo>
                <a:lnTo>
                  <a:pt x="438" y="1521"/>
                </a:lnTo>
                <a:lnTo>
                  <a:pt x="391" y="1511"/>
                </a:lnTo>
                <a:lnTo>
                  <a:pt x="355" y="1458"/>
                </a:lnTo>
                <a:lnTo>
                  <a:pt x="235" y="1437"/>
                </a:lnTo>
                <a:lnTo>
                  <a:pt x="215" y="1394"/>
                </a:lnTo>
                <a:lnTo>
                  <a:pt x="173" y="1369"/>
                </a:lnTo>
                <a:lnTo>
                  <a:pt x="108" y="1430"/>
                </a:lnTo>
                <a:lnTo>
                  <a:pt x="82" y="1411"/>
                </a:lnTo>
                <a:lnTo>
                  <a:pt x="131" y="1221"/>
                </a:lnTo>
                <a:lnTo>
                  <a:pt x="127" y="1203"/>
                </a:lnTo>
                <a:lnTo>
                  <a:pt x="68" y="1121"/>
                </a:lnTo>
                <a:lnTo>
                  <a:pt x="54" y="741"/>
                </a:lnTo>
                <a:lnTo>
                  <a:pt x="0" y="693"/>
                </a:lnTo>
                <a:lnTo>
                  <a:pt x="1" y="664"/>
                </a:lnTo>
                <a:lnTo>
                  <a:pt x="49" y="569"/>
                </a:lnTo>
                <a:lnTo>
                  <a:pt x="63" y="454"/>
                </a:lnTo>
                <a:lnTo>
                  <a:pt x="31" y="350"/>
                </a:lnTo>
                <a:lnTo>
                  <a:pt x="91" y="385"/>
                </a:lnTo>
                <a:lnTo>
                  <a:pt x="106" y="363"/>
                </a:lnTo>
                <a:lnTo>
                  <a:pt x="108" y="332"/>
                </a:lnTo>
                <a:lnTo>
                  <a:pt x="57" y="311"/>
                </a:lnTo>
                <a:lnTo>
                  <a:pt x="92" y="290"/>
                </a:lnTo>
                <a:lnTo>
                  <a:pt x="131" y="280"/>
                </a:lnTo>
                <a:lnTo>
                  <a:pt x="135" y="293"/>
                </a:lnTo>
                <a:lnTo>
                  <a:pt x="183" y="250"/>
                </a:lnTo>
                <a:lnTo>
                  <a:pt x="433" y="186"/>
                </a:lnTo>
                <a:lnTo>
                  <a:pt x="565" y="86"/>
                </a:lnTo>
                <a:lnTo>
                  <a:pt x="928" y="0"/>
                </a:lnTo>
                <a:lnTo>
                  <a:pt x="1003" y="28"/>
                </a:lnTo>
                <a:lnTo>
                  <a:pt x="1031" y="59"/>
                </a:lnTo>
                <a:lnTo>
                  <a:pt x="1025" y="84"/>
                </a:lnTo>
                <a:lnTo>
                  <a:pt x="957" y="39"/>
                </a:lnTo>
                <a:lnTo>
                  <a:pt x="1007" y="191"/>
                </a:lnTo>
                <a:lnTo>
                  <a:pt x="1033" y="203"/>
                </a:lnTo>
                <a:lnTo>
                  <a:pt x="1038" y="189"/>
                </a:lnTo>
                <a:lnTo>
                  <a:pt x="1054" y="175"/>
                </a:lnTo>
                <a:lnTo>
                  <a:pt x="1071" y="188"/>
                </a:lnTo>
                <a:lnTo>
                  <a:pt x="1165" y="163"/>
                </a:lnTo>
                <a:lnTo>
                  <a:pt x="1201" y="141"/>
                </a:lnTo>
                <a:lnTo>
                  <a:pt x="1503" y="201"/>
                </a:lnTo>
                <a:lnTo>
                  <a:pt x="1884" y="155"/>
                </a:lnTo>
                <a:lnTo>
                  <a:pt x="2016" y="228"/>
                </a:lnTo>
                <a:lnTo>
                  <a:pt x="2136" y="679"/>
                </a:lnTo>
                <a:lnTo>
                  <a:pt x="2135" y="749"/>
                </a:lnTo>
                <a:lnTo>
                  <a:pt x="2092" y="817"/>
                </a:lnTo>
                <a:lnTo>
                  <a:pt x="2033" y="854"/>
                </a:lnTo>
                <a:lnTo>
                  <a:pt x="1993" y="907"/>
                </a:lnTo>
                <a:lnTo>
                  <a:pt x="2017" y="950"/>
                </a:lnTo>
                <a:lnTo>
                  <a:pt x="2082" y="1001"/>
                </a:lnTo>
                <a:lnTo>
                  <a:pt x="2074" y="1167"/>
                </a:lnTo>
                <a:close/>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44" name="LV">
            <a:extLst>
              <a:ext uri="{FF2B5EF4-FFF2-40B4-BE49-F238E27FC236}">
                <a16:creationId xmlns:a16="http://schemas.microsoft.com/office/drawing/2014/main" id="{7E074946-D877-2124-4B92-6853FADDB8C1}"/>
              </a:ext>
            </a:extLst>
          </p:cNvPr>
          <p:cNvSpPr>
            <a:spLocks/>
          </p:cNvSpPr>
          <p:nvPr/>
        </p:nvSpPr>
        <p:spPr bwMode="auto">
          <a:xfrm rot="21249101">
            <a:off x="10738684" y="2525055"/>
            <a:ext cx="711280" cy="381847"/>
          </a:xfrm>
          <a:custGeom>
            <a:avLst/>
            <a:gdLst>
              <a:gd name="T0" fmla="*/ 0 w 1493"/>
              <a:gd name="T1" fmla="*/ 2147483647 h 838"/>
              <a:gd name="T2" fmla="*/ 2147483647 w 1493"/>
              <a:gd name="T3" fmla="*/ 2147483647 h 838"/>
              <a:gd name="T4" fmla="*/ 2147483647 w 1493"/>
              <a:gd name="T5" fmla="*/ 2147483647 h 838"/>
              <a:gd name="T6" fmla="*/ 2147483647 w 1493"/>
              <a:gd name="T7" fmla="*/ 2147483647 h 838"/>
              <a:gd name="T8" fmla="*/ 2147483647 w 1493"/>
              <a:gd name="T9" fmla="*/ 2147483647 h 838"/>
              <a:gd name="T10" fmla="*/ 2147483647 w 1493"/>
              <a:gd name="T11" fmla="*/ 2147483647 h 838"/>
              <a:gd name="T12" fmla="*/ 2147483647 w 1493"/>
              <a:gd name="T13" fmla="*/ 2147483647 h 838"/>
              <a:gd name="T14" fmla="*/ 2147483647 w 1493"/>
              <a:gd name="T15" fmla="*/ 2147483647 h 838"/>
              <a:gd name="T16" fmla="*/ 2147483647 w 1493"/>
              <a:gd name="T17" fmla="*/ 2147483647 h 838"/>
              <a:gd name="T18" fmla="*/ 2147483647 w 1493"/>
              <a:gd name="T19" fmla="*/ 2147483647 h 838"/>
              <a:gd name="T20" fmla="*/ 2147483647 w 1493"/>
              <a:gd name="T21" fmla="*/ 2147483647 h 838"/>
              <a:gd name="T22" fmla="*/ 2147483647 w 1493"/>
              <a:gd name="T23" fmla="*/ 2147483647 h 838"/>
              <a:gd name="T24" fmla="*/ 2147483647 w 1493"/>
              <a:gd name="T25" fmla="*/ 2147483647 h 838"/>
              <a:gd name="T26" fmla="*/ 2147483647 w 1493"/>
              <a:gd name="T27" fmla="*/ 2147483647 h 838"/>
              <a:gd name="T28" fmla="*/ 2147483647 w 1493"/>
              <a:gd name="T29" fmla="*/ 2147483647 h 838"/>
              <a:gd name="T30" fmla="*/ 2147483647 w 1493"/>
              <a:gd name="T31" fmla="*/ 2147483647 h 838"/>
              <a:gd name="T32" fmla="*/ 2147483647 w 1493"/>
              <a:gd name="T33" fmla="*/ 2147483647 h 838"/>
              <a:gd name="T34" fmla="*/ 2147483647 w 1493"/>
              <a:gd name="T35" fmla="*/ 2147483647 h 838"/>
              <a:gd name="T36" fmla="*/ 2147483647 w 1493"/>
              <a:gd name="T37" fmla="*/ 2147483647 h 838"/>
              <a:gd name="T38" fmla="*/ 2147483647 w 1493"/>
              <a:gd name="T39" fmla="*/ 2147483647 h 838"/>
              <a:gd name="T40" fmla="*/ 2147483647 w 1493"/>
              <a:gd name="T41" fmla="*/ 2147483647 h 838"/>
              <a:gd name="T42" fmla="*/ 2147483647 w 1493"/>
              <a:gd name="T43" fmla="*/ 2147483647 h 838"/>
              <a:gd name="T44" fmla="*/ 2147483647 w 1493"/>
              <a:gd name="T45" fmla="*/ 2147483647 h 838"/>
              <a:gd name="T46" fmla="*/ 2147483647 w 1493"/>
              <a:gd name="T47" fmla="*/ 2147483647 h 838"/>
              <a:gd name="T48" fmla="*/ 2147483647 w 1493"/>
              <a:gd name="T49" fmla="*/ 2147483647 h 838"/>
              <a:gd name="T50" fmla="*/ 2147483647 w 1493"/>
              <a:gd name="T51" fmla="*/ 2147483647 h 838"/>
              <a:gd name="T52" fmla="*/ 2147483647 w 1493"/>
              <a:gd name="T53" fmla="*/ 2147483647 h 838"/>
              <a:gd name="T54" fmla="*/ 2147483647 w 1493"/>
              <a:gd name="T55" fmla="*/ 2147483647 h 838"/>
              <a:gd name="T56" fmla="*/ 2147483647 w 1493"/>
              <a:gd name="T57" fmla="*/ 2147483647 h 838"/>
              <a:gd name="T58" fmla="*/ 2147483647 w 1493"/>
              <a:gd name="T59" fmla="*/ 2147483647 h 838"/>
              <a:gd name="T60" fmla="*/ 2147483647 w 1493"/>
              <a:gd name="T61" fmla="*/ 2147483647 h 838"/>
              <a:gd name="T62" fmla="*/ 2147483647 w 1493"/>
              <a:gd name="T63" fmla="*/ 2147483647 h 838"/>
              <a:gd name="T64" fmla="*/ 2147483647 w 1493"/>
              <a:gd name="T65" fmla="*/ 2147483647 h 838"/>
              <a:gd name="T66" fmla="*/ 2147483647 w 1493"/>
              <a:gd name="T67" fmla="*/ 2147483647 h 838"/>
              <a:gd name="T68" fmla="*/ 2147483647 w 1493"/>
              <a:gd name="T69" fmla="*/ 2147483647 h 838"/>
              <a:gd name="T70" fmla="*/ 2147483647 w 1493"/>
              <a:gd name="T71" fmla="*/ 2147483647 h 838"/>
              <a:gd name="T72" fmla="*/ 2147483647 w 1493"/>
              <a:gd name="T73" fmla="*/ 2147483647 h 8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93"/>
              <a:gd name="T112" fmla="*/ 0 h 838"/>
              <a:gd name="T113" fmla="*/ 1493 w 1493"/>
              <a:gd name="T114" fmla="*/ 838 h 8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93" h="838">
                <a:moveTo>
                  <a:pt x="12" y="739"/>
                </a:moveTo>
                <a:lnTo>
                  <a:pt x="0" y="698"/>
                </a:lnTo>
                <a:lnTo>
                  <a:pt x="15" y="513"/>
                </a:lnTo>
                <a:lnTo>
                  <a:pt x="68" y="412"/>
                </a:lnTo>
                <a:lnTo>
                  <a:pt x="89" y="309"/>
                </a:lnTo>
                <a:lnTo>
                  <a:pt x="145" y="214"/>
                </a:lnTo>
                <a:lnTo>
                  <a:pt x="177" y="188"/>
                </a:lnTo>
                <a:lnTo>
                  <a:pt x="297" y="145"/>
                </a:lnTo>
                <a:lnTo>
                  <a:pt x="400" y="265"/>
                </a:lnTo>
                <a:lnTo>
                  <a:pt x="422" y="328"/>
                </a:lnTo>
                <a:lnTo>
                  <a:pt x="426" y="288"/>
                </a:lnTo>
                <a:lnTo>
                  <a:pt x="446" y="347"/>
                </a:lnTo>
                <a:lnTo>
                  <a:pt x="470" y="375"/>
                </a:lnTo>
                <a:lnTo>
                  <a:pt x="531" y="404"/>
                </a:lnTo>
                <a:lnTo>
                  <a:pt x="550" y="403"/>
                </a:lnTo>
                <a:lnTo>
                  <a:pt x="605" y="375"/>
                </a:lnTo>
                <a:lnTo>
                  <a:pt x="608" y="396"/>
                </a:lnTo>
                <a:lnTo>
                  <a:pt x="625" y="416"/>
                </a:lnTo>
                <a:lnTo>
                  <a:pt x="629" y="362"/>
                </a:lnTo>
                <a:lnTo>
                  <a:pt x="660" y="311"/>
                </a:lnTo>
                <a:lnTo>
                  <a:pt x="649" y="85"/>
                </a:lnTo>
                <a:lnTo>
                  <a:pt x="669" y="64"/>
                </a:lnTo>
                <a:lnTo>
                  <a:pt x="697" y="57"/>
                </a:lnTo>
                <a:lnTo>
                  <a:pt x="740" y="19"/>
                </a:lnTo>
                <a:lnTo>
                  <a:pt x="830" y="0"/>
                </a:lnTo>
                <a:lnTo>
                  <a:pt x="889" y="8"/>
                </a:lnTo>
                <a:lnTo>
                  <a:pt x="936" y="40"/>
                </a:lnTo>
                <a:lnTo>
                  <a:pt x="993" y="57"/>
                </a:lnTo>
                <a:lnTo>
                  <a:pt x="1014" y="87"/>
                </a:lnTo>
                <a:lnTo>
                  <a:pt x="1097" y="149"/>
                </a:lnTo>
                <a:lnTo>
                  <a:pt x="1126" y="148"/>
                </a:lnTo>
                <a:lnTo>
                  <a:pt x="1151" y="133"/>
                </a:lnTo>
                <a:lnTo>
                  <a:pt x="1207" y="120"/>
                </a:lnTo>
                <a:lnTo>
                  <a:pt x="1269" y="132"/>
                </a:lnTo>
                <a:lnTo>
                  <a:pt x="1308" y="176"/>
                </a:lnTo>
                <a:lnTo>
                  <a:pt x="1335" y="190"/>
                </a:lnTo>
                <a:lnTo>
                  <a:pt x="1353" y="214"/>
                </a:lnTo>
                <a:lnTo>
                  <a:pt x="1360" y="240"/>
                </a:lnTo>
                <a:lnTo>
                  <a:pt x="1342" y="356"/>
                </a:lnTo>
                <a:lnTo>
                  <a:pt x="1372" y="363"/>
                </a:lnTo>
                <a:lnTo>
                  <a:pt x="1398" y="377"/>
                </a:lnTo>
                <a:lnTo>
                  <a:pt x="1401" y="405"/>
                </a:lnTo>
                <a:lnTo>
                  <a:pt x="1485" y="532"/>
                </a:lnTo>
                <a:lnTo>
                  <a:pt x="1493" y="622"/>
                </a:lnTo>
                <a:lnTo>
                  <a:pt x="1455" y="627"/>
                </a:lnTo>
                <a:lnTo>
                  <a:pt x="1393" y="694"/>
                </a:lnTo>
                <a:lnTo>
                  <a:pt x="1389" y="725"/>
                </a:lnTo>
                <a:lnTo>
                  <a:pt x="1356" y="777"/>
                </a:lnTo>
                <a:lnTo>
                  <a:pt x="1328" y="785"/>
                </a:lnTo>
                <a:lnTo>
                  <a:pt x="1268" y="768"/>
                </a:lnTo>
                <a:lnTo>
                  <a:pt x="1245" y="788"/>
                </a:lnTo>
                <a:lnTo>
                  <a:pt x="1241" y="818"/>
                </a:lnTo>
                <a:lnTo>
                  <a:pt x="1217" y="838"/>
                </a:lnTo>
                <a:lnTo>
                  <a:pt x="1131" y="811"/>
                </a:lnTo>
                <a:lnTo>
                  <a:pt x="1055" y="733"/>
                </a:lnTo>
                <a:lnTo>
                  <a:pt x="953" y="674"/>
                </a:lnTo>
                <a:lnTo>
                  <a:pt x="894" y="680"/>
                </a:lnTo>
                <a:lnTo>
                  <a:pt x="865" y="673"/>
                </a:lnTo>
                <a:lnTo>
                  <a:pt x="822" y="592"/>
                </a:lnTo>
                <a:lnTo>
                  <a:pt x="800" y="573"/>
                </a:lnTo>
                <a:lnTo>
                  <a:pt x="772" y="584"/>
                </a:lnTo>
                <a:lnTo>
                  <a:pt x="733" y="630"/>
                </a:lnTo>
                <a:lnTo>
                  <a:pt x="676" y="647"/>
                </a:lnTo>
                <a:lnTo>
                  <a:pt x="561" y="610"/>
                </a:lnTo>
                <a:lnTo>
                  <a:pt x="473" y="608"/>
                </a:lnTo>
                <a:lnTo>
                  <a:pt x="445" y="617"/>
                </a:lnTo>
                <a:lnTo>
                  <a:pt x="418" y="610"/>
                </a:lnTo>
                <a:lnTo>
                  <a:pt x="391" y="624"/>
                </a:lnTo>
                <a:lnTo>
                  <a:pt x="360" y="625"/>
                </a:lnTo>
                <a:lnTo>
                  <a:pt x="333" y="611"/>
                </a:lnTo>
                <a:lnTo>
                  <a:pt x="244" y="614"/>
                </a:lnTo>
                <a:lnTo>
                  <a:pt x="107" y="676"/>
                </a:lnTo>
                <a:lnTo>
                  <a:pt x="76" y="728"/>
                </a:lnTo>
                <a:lnTo>
                  <a:pt x="50" y="745"/>
                </a:lnTo>
                <a:lnTo>
                  <a:pt x="12" y="739"/>
                </a:lnTo>
                <a:close/>
              </a:path>
            </a:pathLst>
          </a:custGeom>
          <a:solidFill>
            <a:schemeClr val="tx2">
              <a:lumMod val="60000"/>
              <a:lumOff val="40000"/>
            </a:schemeClr>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grpSp>
        <p:nvGrpSpPr>
          <p:cNvPr id="45" name="Skupina 29">
            <a:extLst>
              <a:ext uri="{FF2B5EF4-FFF2-40B4-BE49-F238E27FC236}">
                <a16:creationId xmlns:a16="http://schemas.microsoft.com/office/drawing/2014/main" id="{BFEFD6D2-32EB-9752-2C07-0114F7008F5D}"/>
              </a:ext>
            </a:extLst>
          </p:cNvPr>
          <p:cNvGrpSpPr/>
          <p:nvPr/>
        </p:nvGrpSpPr>
        <p:grpSpPr>
          <a:xfrm>
            <a:off x="9499090" y="2688893"/>
            <a:ext cx="295165" cy="481265"/>
            <a:chOff x="4574037" y="2976600"/>
            <a:chExt cx="228600" cy="392113"/>
          </a:xfrm>
          <a:solidFill>
            <a:srgbClr val="00A194"/>
          </a:solidFill>
          <a:effectLst/>
        </p:grpSpPr>
        <p:sp>
          <p:nvSpPr>
            <p:cNvPr id="46" name="Freeform 190">
              <a:extLst>
                <a:ext uri="{FF2B5EF4-FFF2-40B4-BE49-F238E27FC236}">
                  <a16:creationId xmlns:a16="http://schemas.microsoft.com/office/drawing/2014/main" id="{037319EB-0EEB-F266-0162-4F3C999C3DC7}"/>
                </a:ext>
              </a:extLst>
            </p:cNvPr>
            <p:cNvSpPr>
              <a:spLocks/>
            </p:cNvSpPr>
            <p:nvPr/>
          </p:nvSpPr>
          <p:spPr bwMode="auto">
            <a:xfrm rot="21249101">
              <a:off x="4775650" y="3311563"/>
              <a:ext cx="26987" cy="57150"/>
            </a:xfrm>
            <a:custGeom>
              <a:avLst/>
              <a:gdLst>
                <a:gd name="T0" fmla="*/ 2147483647 w 76"/>
                <a:gd name="T1" fmla="*/ 2147483647 h 156"/>
                <a:gd name="T2" fmla="*/ 2147483647 w 76"/>
                <a:gd name="T3" fmla="*/ 2147483647 h 156"/>
                <a:gd name="T4" fmla="*/ 2147483647 w 76"/>
                <a:gd name="T5" fmla="*/ 0 h 156"/>
                <a:gd name="T6" fmla="*/ 2147483647 w 76"/>
                <a:gd name="T7" fmla="*/ 2147483647 h 156"/>
                <a:gd name="T8" fmla="*/ 2147483647 w 76"/>
                <a:gd name="T9" fmla="*/ 2147483647 h 156"/>
                <a:gd name="T10" fmla="*/ 2147483647 w 76"/>
                <a:gd name="T11" fmla="*/ 2147483647 h 156"/>
                <a:gd name="T12" fmla="*/ 2147483647 w 76"/>
                <a:gd name="T13" fmla="*/ 2147483647 h 156"/>
                <a:gd name="T14" fmla="*/ 2147483647 w 76"/>
                <a:gd name="T15" fmla="*/ 2147483647 h 156"/>
                <a:gd name="T16" fmla="*/ 2147483647 w 76"/>
                <a:gd name="T17" fmla="*/ 2147483647 h 156"/>
                <a:gd name="T18" fmla="*/ 2147483647 w 76"/>
                <a:gd name="T19" fmla="*/ 2147483647 h 156"/>
                <a:gd name="T20" fmla="*/ 2147483647 w 76"/>
                <a:gd name="T21" fmla="*/ 2147483647 h 156"/>
                <a:gd name="T22" fmla="*/ 0 w 76"/>
                <a:gd name="T23" fmla="*/ 2147483647 h 156"/>
                <a:gd name="T24" fmla="*/ 2147483647 w 76"/>
                <a:gd name="T25" fmla="*/ 2147483647 h 156"/>
                <a:gd name="T26" fmla="*/ 2147483647 w 76"/>
                <a:gd name="T27" fmla="*/ 2147483647 h 156"/>
                <a:gd name="T28" fmla="*/ 2147483647 w 76"/>
                <a:gd name="T29" fmla="*/ 2147483647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6"/>
                <a:gd name="T46" fmla="*/ 0 h 156"/>
                <a:gd name="T47" fmla="*/ 76 w 76"/>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6" h="156">
                  <a:moveTo>
                    <a:pt x="52" y="38"/>
                  </a:moveTo>
                  <a:lnTo>
                    <a:pt x="56" y="11"/>
                  </a:lnTo>
                  <a:lnTo>
                    <a:pt x="63" y="0"/>
                  </a:lnTo>
                  <a:lnTo>
                    <a:pt x="76" y="2"/>
                  </a:lnTo>
                  <a:lnTo>
                    <a:pt x="71" y="55"/>
                  </a:lnTo>
                  <a:lnTo>
                    <a:pt x="46" y="88"/>
                  </a:lnTo>
                  <a:lnTo>
                    <a:pt x="41" y="113"/>
                  </a:lnTo>
                  <a:lnTo>
                    <a:pt x="31" y="123"/>
                  </a:lnTo>
                  <a:lnTo>
                    <a:pt x="18" y="152"/>
                  </a:lnTo>
                  <a:lnTo>
                    <a:pt x="7" y="156"/>
                  </a:lnTo>
                  <a:lnTo>
                    <a:pt x="8" y="127"/>
                  </a:lnTo>
                  <a:lnTo>
                    <a:pt x="0" y="101"/>
                  </a:lnTo>
                  <a:lnTo>
                    <a:pt x="7" y="99"/>
                  </a:lnTo>
                  <a:lnTo>
                    <a:pt x="37" y="42"/>
                  </a:lnTo>
                  <a:lnTo>
                    <a:pt x="52" y="38"/>
                  </a:lnTo>
                  <a:close/>
                </a:path>
              </a:pathLst>
            </a:custGeom>
            <a:grpFill/>
            <a:ln w="12700">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47" name="Freeform 188">
              <a:extLst>
                <a:ext uri="{FF2B5EF4-FFF2-40B4-BE49-F238E27FC236}">
                  <a16:creationId xmlns:a16="http://schemas.microsoft.com/office/drawing/2014/main" id="{04A2AA84-1A50-6AA0-55AE-37AC8476E205}"/>
                </a:ext>
              </a:extLst>
            </p:cNvPr>
            <p:cNvSpPr>
              <a:spLocks/>
            </p:cNvSpPr>
            <p:nvPr/>
          </p:nvSpPr>
          <p:spPr bwMode="auto">
            <a:xfrm rot="21249101">
              <a:off x="4708975" y="3249650"/>
              <a:ext cx="82550" cy="77788"/>
            </a:xfrm>
            <a:custGeom>
              <a:avLst/>
              <a:gdLst>
                <a:gd name="T0" fmla="*/ 2147483647 w 224"/>
                <a:gd name="T1" fmla="*/ 2147483647 h 211"/>
                <a:gd name="T2" fmla="*/ 2147483647 w 224"/>
                <a:gd name="T3" fmla="*/ 2147483647 h 211"/>
                <a:gd name="T4" fmla="*/ 2147483647 w 224"/>
                <a:gd name="T5" fmla="*/ 2147483647 h 211"/>
                <a:gd name="T6" fmla="*/ 2147483647 w 224"/>
                <a:gd name="T7" fmla="*/ 2147483647 h 211"/>
                <a:gd name="T8" fmla="*/ 2147483647 w 224"/>
                <a:gd name="T9" fmla="*/ 2147483647 h 211"/>
                <a:gd name="T10" fmla="*/ 2147483647 w 224"/>
                <a:gd name="T11" fmla="*/ 2147483647 h 211"/>
                <a:gd name="T12" fmla="*/ 2147483647 w 224"/>
                <a:gd name="T13" fmla="*/ 0 h 211"/>
                <a:gd name="T14" fmla="*/ 2147483647 w 224"/>
                <a:gd name="T15" fmla="*/ 2147483647 h 211"/>
                <a:gd name="T16" fmla="*/ 2147483647 w 224"/>
                <a:gd name="T17" fmla="*/ 2147483647 h 211"/>
                <a:gd name="T18" fmla="*/ 2147483647 w 224"/>
                <a:gd name="T19" fmla="*/ 2147483647 h 211"/>
                <a:gd name="T20" fmla="*/ 2147483647 w 224"/>
                <a:gd name="T21" fmla="*/ 2147483647 h 211"/>
                <a:gd name="T22" fmla="*/ 2147483647 w 224"/>
                <a:gd name="T23" fmla="*/ 2147483647 h 211"/>
                <a:gd name="T24" fmla="*/ 2147483647 w 224"/>
                <a:gd name="T25" fmla="*/ 2147483647 h 211"/>
                <a:gd name="T26" fmla="*/ 2147483647 w 224"/>
                <a:gd name="T27" fmla="*/ 2147483647 h 211"/>
                <a:gd name="T28" fmla="*/ 2147483647 w 224"/>
                <a:gd name="T29" fmla="*/ 2147483647 h 211"/>
                <a:gd name="T30" fmla="*/ 2147483647 w 224"/>
                <a:gd name="T31" fmla="*/ 2147483647 h 211"/>
                <a:gd name="T32" fmla="*/ 2147483647 w 224"/>
                <a:gd name="T33" fmla="*/ 2147483647 h 211"/>
                <a:gd name="T34" fmla="*/ 2147483647 w 224"/>
                <a:gd name="T35" fmla="*/ 2147483647 h 211"/>
                <a:gd name="T36" fmla="*/ 2147483647 w 224"/>
                <a:gd name="T37" fmla="*/ 2147483647 h 211"/>
                <a:gd name="T38" fmla="*/ 2147483647 w 224"/>
                <a:gd name="T39" fmla="*/ 2147483647 h 211"/>
                <a:gd name="T40" fmla="*/ 2147483647 w 224"/>
                <a:gd name="T41" fmla="*/ 2147483647 h 211"/>
                <a:gd name="T42" fmla="*/ 2147483647 w 224"/>
                <a:gd name="T43" fmla="*/ 2147483647 h 211"/>
                <a:gd name="T44" fmla="*/ 2147483647 w 224"/>
                <a:gd name="T45" fmla="*/ 2147483647 h 211"/>
                <a:gd name="T46" fmla="*/ 2147483647 w 224"/>
                <a:gd name="T47" fmla="*/ 2147483647 h 211"/>
                <a:gd name="T48" fmla="*/ 2147483647 w 224"/>
                <a:gd name="T49" fmla="*/ 2147483647 h 211"/>
                <a:gd name="T50" fmla="*/ 2147483647 w 224"/>
                <a:gd name="T51" fmla="*/ 2147483647 h 211"/>
                <a:gd name="T52" fmla="*/ 2147483647 w 224"/>
                <a:gd name="T53" fmla="*/ 2147483647 h 211"/>
                <a:gd name="T54" fmla="*/ 0 w 224"/>
                <a:gd name="T55" fmla="*/ 2147483647 h 211"/>
                <a:gd name="T56" fmla="*/ 2147483647 w 224"/>
                <a:gd name="T57" fmla="*/ 2147483647 h 211"/>
                <a:gd name="T58" fmla="*/ 2147483647 w 224"/>
                <a:gd name="T59" fmla="*/ 2147483647 h 211"/>
                <a:gd name="T60" fmla="*/ 0 w 224"/>
                <a:gd name="T61" fmla="*/ 2147483647 h 211"/>
                <a:gd name="T62" fmla="*/ 2147483647 w 224"/>
                <a:gd name="T63" fmla="*/ 2147483647 h 211"/>
                <a:gd name="T64" fmla="*/ 2147483647 w 224"/>
                <a:gd name="T65" fmla="*/ 2147483647 h 211"/>
                <a:gd name="T66" fmla="*/ 2147483647 w 224"/>
                <a:gd name="T67" fmla="*/ 2147483647 h 211"/>
                <a:gd name="T68" fmla="*/ 2147483647 w 224"/>
                <a:gd name="T69" fmla="*/ 2147483647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4"/>
                <a:gd name="T106" fmla="*/ 0 h 211"/>
                <a:gd name="T107" fmla="*/ 224 w 224"/>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4" h="211">
                  <a:moveTo>
                    <a:pt x="63" y="17"/>
                  </a:moveTo>
                  <a:lnTo>
                    <a:pt x="82" y="8"/>
                  </a:lnTo>
                  <a:lnTo>
                    <a:pt x="131" y="9"/>
                  </a:lnTo>
                  <a:lnTo>
                    <a:pt x="158" y="33"/>
                  </a:lnTo>
                  <a:lnTo>
                    <a:pt x="167" y="32"/>
                  </a:lnTo>
                  <a:lnTo>
                    <a:pt x="171" y="8"/>
                  </a:lnTo>
                  <a:lnTo>
                    <a:pt x="180" y="0"/>
                  </a:lnTo>
                  <a:lnTo>
                    <a:pt x="204" y="56"/>
                  </a:lnTo>
                  <a:lnTo>
                    <a:pt x="197" y="84"/>
                  </a:lnTo>
                  <a:lnTo>
                    <a:pt x="201" y="110"/>
                  </a:lnTo>
                  <a:lnTo>
                    <a:pt x="207" y="120"/>
                  </a:lnTo>
                  <a:lnTo>
                    <a:pt x="224" y="128"/>
                  </a:lnTo>
                  <a:lnTo>
                    <a:pt x="223" y="135"/>
                  </a:lnTo>
                  <a:lnTo>
                    <a:pt x="211" y="132"/>
                  </a:lnTo>
                  <a:lnTo>
                    <a:pt x="195" y="201"/>
                  </a:lnTo>
                  <a:lnTo>
                    <a:pt x="165" y="203"/>
                  </a:lnTo>
                  <a:lnTo>
                    <a:pt x="142" y="211"/>
                  </a:lnTo>
                  <a:lnTo>
                    <a:pt x="122" y="205"/>
                  </a:lnTo>
                  <a:lnTo>
                    <a:pt x="94" y="182"/>
                  </a:lnTo>
                  <a:lnTo>
                    <a:pt x="57" y="187"/>
                  </a:lnTo>
                  <a:lnTo>
                    <a:pt x="59" y="173"/>
                  </a:lnTo>
                  <a:lnTo>
                    <a:pt x="74" y="156"/>
                  </a:lnTo>
                  <a:lnTo>
                    <a:pt x="59" y="154"/>
                  </a:lnTo>
                  <a:lnTo>
                    <a:pt x="19" y="131"/>
                  </a:lnTo>
                  <a:lnTo>
                    <a:pt x="20" y="104"/>
                  </a:lnTo>
                  <a:lnTo>
                    <a:pt x="4" y="82"/>
                  </a:lnTo>
                  <a:lnTo>
                    <a:pt x="13" y="66"/>
                  </a:lnTo>
                  <a:lnTo>
                    <a:pt x="0" y="48"/>
                  </a:lnTo>
                  <a:lnTo>
                    <a:pt x="7" y="48"/>
                  </a:lnTo>
                  <a:lnTo>
                    <a:pt x="8" y="41"/>
                  </a:lnTo>
                  <a:lnTo>
                    <a:pt x="0" y="27"/>
                  </a:lnTo>
                  <a:lnTo>
                    <a:pt x="1" y="15"/>
                  </a:lnTo>
                  <a:lnTo>
                    <a:pt x="19" y="18"/>
                  </a:lnTo>
                  <a:lnTo>
                    <a:pt x="40" y="29"/>
                  </a:lnTo>
                  <a:lnTo>
                    <a:pt x="63" y="17"/>
                  </a:lnTo>
                  <a:close/>
                </a:path>
              </a:pathLst>
            </a:custGeom>
            <a:grpFill/>
            <a:ln w="12700">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48" name="Freeform 195" descr="Široký šikmo nahoru">
              <a:extLst>
                <a:ext uri="{FF2B5EF4-FFF2-40B4-BE49-F238E27FC236}">
                  <a16:creationId xmlns:a16="http://schemas.microsoft.com/office/drawing/2014/main" id="{349964B1-C082-77DB-27BC-ACC94D18C1F4}"/>
                </a:ext>
              </a:extLst>
            </p:cNvPr>
            <p:cNvSpPr>
              <a:spLocks/>
            </p:cNvSpPr>
            <p:nvPr/>
          </p:nvSpPr>
          <p:spPr bwMode="auto">
            <a:xfrm rot="21249101">
              <a:off x="4574037" y="2976600"/>
              <a:ext cx="219075" cy="369888"/>
            </a:xfrm>
            <a:custGeom>
              <a:avLst/>
              <a:gdLst>
                <a:gd name="T0" fmla="*/ 2147483647 w 596"/>
                <a:gd name="T1" fmla="*/ 2147483647 h 1001"/>
                <a:gd name="T2" fmla="*/ 2147483647 w 596"/>
                <a:gd name="T3" fmla="*/ 2147483647 h 1001"/>
                <a:gd name="T4" fmla="*/ 2147483647 w 596"/>
                <a:gd name="T5" fmla="*/ 2147483647 h 1001"/>
                <a:gd name="T6" fmla="*/ 2147483647 w 596"/>
                <a:gd name="T7" fmla="*/ 2147483647 h 1001"/>
                <a:gd name="T8" fmla="*/ 2147483647 w 596"/>
                <a:gd name="T9" fmla="*/ 2147483647 h 1001"/>
                <a:gd name="T10" fmla="*/ 2147483647 w 596"/>
                <a:gd name="T11" fmla="*/ 2147483647 h 1001"/>
                <a:gd name="T12" fmla="*/ 2147483647 w 596"/>
                <a:gd name="T13" fmla="*/ 2147483647 h 1001"/>
                <a:gd name="T14" fmla="*/ 2147483647 w 596"/>
                <a:gd name="T15" fmla="*/ 2147483647 h 1001"/>
                <a:gd name="T16" fmla="*/ 2147483647 w 596"/>
                <a:gd name="T17" fmla="*/ 2147483647 h 1001"/>
                <a:gd name="T18" fmla="*/ 2147483647 w 596"/>
                <a:gd name="T19" fmla="*/ 2147483647 h 1001"/>
                <a:gd name="T20" fmla="*/ 2147483647 w 596"/>
                <a:gd name="T21" fmla="*/ 2147483647 h 1001"/>
                <a:gd name="T22" fmla="*/ 2147483647 w 596"/>
                <a:gd name="T23" fmla="*/ 2147483647 h 1001"/>
                <a:gd name="T24" fmla="*/ 2147483647 w 596"/>
                <a:gd name="T25" fmla="*/ 2147483647 h 1001"/>
                <a:gd name="T26" fmla="*/ 2147483647 w 596"/>
                <a:gd name="T27" fmla="*/ 2147483647 h 1001"/>
                <a:gd name="T28" fmla="*/ 2147483647 w 596"/>
                <a:gd name="T29" fmla="*/ 2147483647 h 1001"/>
                <a:gd name="T30" fmla="*/ 2147483647 w 596"/>
                <a:gd name="T31" fmla="*/ 2147483647 h 1001"/>
                <a:gd name="T32" fmla="*/ 2147483647 w 596"/>
                <a:gd name="T33" fmla="*/ 2147483647 h 1001"/>
                <a:gd name="T34" fmla="*/ 2147483647 w 596"/>
                <a:gd name="T35" fmla="*/ 2147483647 h 1001"/>
                <a:gd name="T36" fmla="*/ 2147483647 w 596"/>
                <a:gd name="T37" fmla="*/ 2147483647 h 1001"/>
                <a:gd name="T38" fmla="*/ 2147483647 w 596"/>
                <a:gd name="T39" fmla="*/ 2147483647 h 1001"/>
                <a:gd name="T40" fmla="*/ 2147483647 w 596"/>
                <a:gd name="T41" fmla="*/ 2147483647 h 1001"/>
                <a:gd name="T42" fmla="*/ 2147483647 w 596"/>
                <a:gd name="T43" fmla="*/ 2147483647 h 1001"/>
                <a:gd name="T44" fmla="*/ 2147483647 w 596"/>
                <a:gd name="T45" fmla="*/ 2147483647 h 1001"/>
                <a:gd name="T46" fmla="*/ 2147483647 w 596"/>
                <a:gd name="T47" fmla="*/ 2147483647 h 1001"/>
                <a:gd name="T48" fmla="*/ 2147483647 w 596"/>
                <a:gd name="T49" fmla="*/ 2147483647 h 1001"/>
                <a:gd name="T50" fmla="*/ 2147483647 w 596"/>
                <a:gd name="T51" fmla="*/ 2147483647 h 1001"/>
                <a:gd name="T52" fmla="*/ 2147483647 w 596"/>
                <a:gd name="T53" fmla="*/ 2147483647 h 1001"/>
                <a:gd name="T54" fmla="*/ 2147483647 w 596"/>
                <a:gd name="T55" fmla="*/ 2147483647 h 1001"/>
                <a:gd name="T56" fmla="*/ 2147483647 w 596"/>
                <a:gd name="T57" fmla="*/ 2147483647 h 1001"/>
                <a:gd name="T58" fmla="*/ 2147483647 w 596"/>
                <a:gd name="T59" fmla="*/ 0 h 1001"/>
                <a:gd name="T60" fmla="*/ 2147483647 w 596"/>
                <a:gd name="T61" fmla="*/ 2147483647 h 1001"/>
                <a:gd name="T62" fmla="*/ 2147483647 w 596"/>
                <a:gd name="T63" fmla="*/ 2147483647 h 1001"/>
                <a:gd name="T64" fmla="*/ 2147483647 w 596"/>
                <a:gd name="T65" fmla="*/ 2147483647 h 1001"/>
                <a:gd name="T66" fmla="*/ 2147483647 w 596"/>
                <a:gd name="T67" fmla="*/ 2147483647 h 1001"/>
                <a:gd name="T68" fmla="*/ 0 w 596"/>
                <a:gd name="T69" fmla="*/ 2147483647 h 1001"/>
                <a:gd name="T70" fmla="*/ 2147483647 w 596"/>
                <a:gd name="T71" fmla="*/ 2147483647 h 1001"/>
                <a:gd name="T72" fmla="*/ 2147483647 w 596"/>
                <a:gd name="T73" fmla="*/ 2147483647 h 1001"/>
                <a:gd name="T74" fmla="*/ 2147483647 w 596"/>
                <a:gd name="T75" fmla="*/ 2147483647 h 10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96"/>
                <a:gd name="T115" fmla="*/ 0 h 1001"/>
                <a:gd name="T116" fmla="*/ 596 w 596"/>
                <a:gd name="T117" fmla="*/ 1001 h 100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96" h="1001">
                  <a:moveTo>
                    <a:pt x="79" y="963"/>
                  </a:moveTo>
                  <a:lnTo>
                    <a:pt x="110" y="965"/>
                  </a:lnTo>
                  <a:lnTo>
                    <a:pt x="195" y="1001"/>
                  </a:lnTo>
                  <a:lnTo>
                    <a:pt x="244" y="987"/>
                  </a:lnTo>
                  <a:lnTo>
                    <a:pt x="249" y="981"/>
                  </a:lnTo>
                  <a:lnTo>
                    <a:pt x="259" y="980"/>
                  </a:lnTo>
                  <a:lnTo>
                    <a:pt x="264" y="991"/>
                  </a:lnTo>
                  <a:lnTo>
                    <a:pt x="282" y="996"/>
                  </a:lnTo>
                  <a:lnTo>
                    <a:pt x="284" y="979"/>
                  </a:lnTo>
                  <a:lnTo>
                    <a:pt x="277" y="962"/>
                  </a:lnTo>
                  <a:lnTo>
                    <a:pt x="264" y="946"/>
                  </a:lnTo>
                  <a:lnTo>
                    <a:pt x="238" y="943"/>
                  </a:lnTo>
                  <a:lnTo>
                    <a:pt x="244" y="892"/>
                  </a:lnTo>
                  <a:lnTo>
                    <a:pt x="284" y="872"/>
                  </a:lnTo>
                  <a:lnTo>
                    <a:pt x="286" y="859"/>
                  </a:lnTo>
                  <a:lnTo>
                    <a:pt x="277" y="857"/>
                  </a:lnTo>
                  <a:lnTo>
                    <a:pt x="279" y="826"/>
                  </a:lnTo>
                  <a:lnTo>
                    <a:pt x="294" y="786"/>
                  </a:lnTo>
                  <a:lnTo>
                    <a:pt x="286" y="771"/>
                  </a:lnTo>
                  <a:lnTo>
                    <a:pt x="327" y="738"/>
                  </a:lnTo>
                  <a:lnTo>
                    <a:pt x="326" y="724"/>
                  </a:lnTo>
                  <a:lnTo>
                    <a:pt x="305" y="696"/>
                  </a:lnTo>
                  <a:lnTo>
                    <a:pt x="329" y="691"/>
                  </a:lnTo>
                  <a:lnTo>
                    <a:pt x="375" y="704"/>
                  </a:lnTo>
                  <a:lnTo>
                    <a:pt x="382" y="680"/>
                  </a:lnTo>
                  <a:lnTo>
                    <a:pt x="369" y="649"/>
                  </a:lnTo>
                  <a:lnTo>
                    <a:pt x="386" y="637"/>
                  </a:lnTo>
                  <a:lnTo>
                    <a:pt x="432" y="649"/>
                  </a:lnTo>
                  <a:lnTo>
                    <a:pt x="454" y="625"/>
                  </a:lnTo>
                  <a:lnTo>
                    <a:pt x="451" y="579"/>
                  </a:lnTo>
                  <a:lnTo>
                    <a:pt x="473" y="536"/>
                  </a:lnTo>
                  <a:lnTo>
                    <a:pt x="494" y="533"/>
                  </a:lnTo>
                  <a:lnTo>
                    <a:pt x="491" y="551"/>
                  </a:lnTo>
                  <a:lnTo>
                    <a:pt x="501" y="576"/>
                  </a:lnTo>
                  <a:lnTo>
                    <a:pt x="527" y="551"/>
                  </a:lnTo>
                  <a:lnTo>
                    <a:pt x="530" y="564"/>
                  </a:lnTo>
                  <a:lnTo>
                    <a:pt x="589" y="522"/>
                  </a:lnTo>
                  <a:lnTo>
                    <a:pt x="596" y="483"/>
                  </a:lnTo>
                  <a:lnTo>
                    <a:pt x="594" y="456"/>
                  </a:lnTo>
                  <a:lnTo>
                    <a:pt x="578" y="444"/>
                  </a:lnTo>
                  <a:lnTo>
                    <a:pt x="541" y="444"/>
                  </a:lnTo>
                  <a:lnTo>
                    <a:pt x="514" y="452"/>
                  </a:lnTo>
                  <a:lnTo>
                    <a:pt x="501" y="428"/>
                  </a:lnTo>
                  <a:lnTo>
                    <a:pt x="478" y="425"/>
                  </a:lnTo>
                  <a:lnTo>
                    <a:pt x="459" y="448"/>
                  </a:lnTo>
                  <a:lnTo>
                    <a:pt x="452" y="427"/>
                  </a:lnTo>
                  <a:lnTo>
                    <a:pt x="458" y="406"/>
                  </a:lnTo>
                  <a:lnTo>
                    <a:pt x="485" y="384"/>
                  </a:lnTo>
                  <a:lnTo>
                    <a:pt x="480" y="374"/>
                  </a:lnTo>
                  <a:lnTo>
                    <a:pt x="446" y="380"/>
                  </a:lnTo>
                  <a:lnTo>
                    <a:pt x="448" y="363"/>
                  </a:lnTo>
                  <a:lnTo>
                    <a:pt x="478" y="356"/>
                  </a:lnTo>
                  <a:lnTo>
                    <a:pt x="484" y="326"/>
                  </a:lnTo>
                  <a:lnTo>
                    <a:pt x="490" y="322"/>
                  </a:lnTo>
                  <a:lnTo>
                    <a:pt x="494" y="278"/>
                  </a:lnTo>
                  <a:lnTo>
                    <a:pt x="560" y="169"/>
                  </a:lnTo>
                  <a:lnTo>
                    <a:pt x="564" y="139"/>
                  </a:lnTo>
                  <a:lnTo>
                    <a:pt x="554" y="65"/>
                  </a:lnTo>
                  <a:lnTo>
                    <a:pt x="579" y="10"/>
                  </a:lnTo>
                  <a:lnTo>
                    <a:pt x="574" y="0"/>
                  </a:lnTo>
                  <a:lnTo>
                    <a:pt x="466" y="44"/>
                  </a:lnTo>
                  <a:lnTo>
                    <a:pt x="400" y="99"/>
                  </a:lnTo>
                  <a:lnTo>
                    <a:pt x="384" y="135"/>
                  </a:lnTo>
                  <a:lnTo>
                    <a:pt x="341" y="160"/>
                  </a:lnTo>
                  <a:lnTo>
                    <a:pt x="185" y="166"/>
                  </a:lnTo>
                  <a:lnTo>
                    <a:pt x="148" y="195"/>
                  </a:lnTo>
                  <a:lnTo>
                    <a:pt x="40" y="408"/>
                  </a:lnTo>
                  <a:lnTo>
                    <a:pt x="21" y="558"/>
                  </a:lnTo>
                  <a:lnTo>
                    <a:pt x="28" y="597"/>
                  </a:lnTo>
                  <a:lnTo>
                    <a:pt x="0" y="709"/>
                  </a:lnTo>
                  <a:lnTo>
                    <a:pt x="18" y="712"/>
                  </a:lnTo>
                  <a:lnTo>
                    <a:pt x="33" y="705"/>
                  </a:lnTo>
                  <a:lnTo>
                    <a:pt x="65" y="733"/>
                  </a:lnTo>
                  <a:lnTo>
                    <a:pt x="86" y="764"/>
                  </a:lnTo>
                  <a:lnTo>
                    <a:pt x="98" y="803"/>
                  </a:lnTo>
                  <a:lnTo>
                    <a:pt x="79" y="963"/>
                  </a:lnTo>
                </a:path>
              </a:pathLst>
            </a:custGeom>
            <a:grpFill/>
            <a:ln w="12700">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grpSp>
      <p:sp>
        <p:nvSpPr>
          <p:cNvPr id="49" name="Freeform 196">
            <a:extLst>
              <a:ext uri="{FF2B5EF4-FFF2-40B4-BE49-F238E27FC236}">
                <a16:creationId xmlns:a16="http://schemas.microsoft.com/office/drawing/2014/main" id="{BECAAC9F-9370-8B51-D009-0E22BE61AA2A}"/>
              </a:ext>
            </a:extLst>
          </p:cNvPr>
          <p:cNvSpPr>
            <a:spLocks/>
          </p:cNvSpPr>
          <p:nvPr/>
        </p:nvSpPr>
        <p:spPr bwMode="auto">
          <a:xfrm rot="21249101">
            <a:off x="9172643" y="3900858"/>
            <a:ext cx="72369" cy="103191"/>
          </a:xfrm>
          <a:custGeom>
            <a:avLst/>
            <a:gdLst>
              <a:gd name="T0" fmla="*/ 2147483647 w 148"/>
              <a:gd name="T1" fmla="*/ 2147483647 h 230"/>
              <a:gd name="T2" fmla="*/ 2147483647 w 148"/>
              <a:gd name="T3" fmla="*/ 2147483647 h 230"/>
              <a:gd name="T4" fmla="*/ 2147483647 w 148"/>
              <a:gd name="T5" fmla="*/ 2147483647 h 230"/>
              <a:gd name="T6" fmla="*/ 2147483647 w 148"/>
              <a:gd name="T7" fmla="*/ 2147483647 h 230"/>
              <a:gd name="T8" fmla="*/ 2147483647 w 148"/>
              <a:gd name="T9" fmla="*/ 2147483647 h 230"/>
              <a:gd name="T10" fmla="*/ 2147483647 w 148"/>
              <a:gd name="T11" fmla="*/ 2147483647 h 230"/>
              <a:gd name="T12" fmla="*/ 2147483647 w 148"/>
              <a:gd name="T13" fmla="*/ 2147483647 h 230"/>
              <a:gd name="T14" fmla="*/ 2147483647 w 148"/>
              <a:gd name="T15" fmla="*/ 2147483647 h 230"/>
              <a:gd name="T16" fmla="*/ 2147483647 w 148"/>
              <a:gd name="T17" fmla="*/ 0 h 230"/>
              <a:gd name="T18" fmla="*/ 2147483647 w 148"/>
              <a:gd name="T19" fmla="*/ 2147483647 h 230"/>
              <a:gd name="T20" fmla="*/ 2147483647 w 148"/>
              <a:gd name="T21" fmla="*/ 2147483647 h 230"/>
              <a:gd name="T22" fmla="*/ 2147483647 w 148"/>
              <a:gd name="T23" fmla="*/ 2147483647 h 230"/>
              <a:gd name="T24" fmla="*/ 0 w 148"/>
              <a:gd name="T25" fmla="*/ 2147483647 h 230"/>
              <a:gd name="T26" fmla="*/ 2147483647 w 148"/>
              <a:gd name="T27" fmla="*/ 2147483647 h 2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8"/>
              <a:gd name="T43" fmla="*/ 0 h 230"/>
              <a:gd name="T44" fmla="*/ 148 w 148"/>
              <a:gd name="T45" fmla="*/ 230 h 2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8" h="230">
                <a:moveTo>
                  <a:pt x="66" y="224"/>
                </a:moveTo>
                <a:lnTo>
                  <a:pt x="118" y="230"/>
                </a:lnTo>
                <a:lnTo>
                  <a:pt x="143" y="207"/>
                </a:lnTo>
                <a:lnTo>
                  <a:pt x="148" y="155"/>
                </a:lnTo>
                <a:lnTo>
                  <a:pt x="125" y="88"/>
                </a:lnTo>
                <a:lnTo>
                  <a:pt x="128" y="57"/>
                </a:lnTo>
                <a:lnTo>
                  <a:pt x="144" y="28"/>
                </a:lnTo>
                <a:lnTo>
                  <a:pt x="116" y="3"/>
                </a:lnTo>
                <a:lnTo>
                  <a:pt x="87" y="0"/>
                </a:lnTo>
                <a:lnTo>
                  <a:pt x="41" y="22"/>
                </a:lnTo>
                <a:lnTo>
                  <a:pt x="5" y="71"/>
                </a:lnTo>
                <a:lnTo>
                  <a:pt x="12" y="127"/>
                </a:lnTo>
                <a:lnTo>
                  <a:pt x="0" y="191"/>
                </a:lnTo>
                <a:lnTo>
                  <a:pt x="66" y="224"/>
                </a:lnTo>
                <a:close/>
              </a:path>
            </a:pathLst>
          </a:custGeom>
          <a:solidFill>
            <a:srgbClr val="FFC000"/>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cs-CZ" i="1"/>
          </a:p>
        </p:txBody>
      </p:sp>
      <p:grpSp>
        <p:nvGrpSpPr>
          <p:cNvPr id="50" name="Skupina 37">
            <a:extLst>
              <a:ext uri="{FF2B5EF4-FFF2-40B4-BE49-F238E27FC236}">
                <a16:creationId xmlns:a16="http://schemas.microsoft.com/office/drawing/2014/main" id="{C28C1AD5-9D1A-0170-66CD-389647E3D65A}"/>
              </a:ext>
            </a:extLst>
          </p:cNvPr>
          <p:cNvGrpSpPr/>
          <p:nvPr/>
        </p:nvGrpSpPr>
        <p:grpSpPr>
          <a:xfrm>
            <a:off x="9669278" y="2942393"/>
            <a:ext cx="291097" cy="250649"/>
            <a:chOff x="4810370" y="3313734"/>
            <a:chExt cx="225425" cy="204788"/>
          </a:xfrm>
          <a:solidFill>
            <a:srgbClr val="00A194"/>
          </a:solidFill>
          <a:effectLst/>
        </p:grpSpPr>
        <p:sp>
          <p:nvSpPr>
            <p:cNvPr id="51" name="Freeform 190">
              <a:extLst>
                <a:ext uri="{FF2B5EF4-FFF2-40B4-BE49-F238E27FC236}">
                  <a16:creationId xmlns:a16="http://schemas.microsoft.com/office/drawing/2014/main" id="{5D8C2883-B6AE-7054-A335-14108BA8BB00}"/>
                </a:ext>
              </a:extLst>
            </p:cNvPr>
            <p:cNvSpPr>
              <a:spLocks/>
            </p:cNvSpPr>
            <p:nvPr/>
          </p:nvSpPr>
          <p:spPr bwMode="auto">
            <a:xfrm rot="21249101">
              <a:off x="4877045" y="3439147"/>
              <a:ext cx="26987" cy="57150"/>
            </a:xfrm>
            <a:custGeom>
              <a:avLst/>
              <a:gdLst>
                <a:gd name="T0" fmla="*/ 2147483647 w 76"/>
                <a:gd name="T1" fmla="*/ 2147483647 h 156"/>
                <a:gd name="T2" fmla="*/ 2147483647 w 76"/>
                <a:gd name="T3" fmla="*/ 2147483647 h 156"/>
                <a:gd name="T4" fmla="*/ 2147483647 w 76"/>
                <a:gd name="T5" fmla="*/ 0 h 156"/>
                <a:gd name="T6" fmla="*/ 2147483647 w 76"/>
                <a:gd name="T7" fmla="*/ 2147483647 h 156"/>
                <a:gd name="T8" fmla="*/ 2147483647 w 76"/>
                <a:gd name="T9" fmla="*/ 2147483647 h 156"/>
                <a:gd name="T10" fmla="*/ 2147483647 w 76"/>
                <a:gd name="T11" fmla="*/ 2147483647 h 156"/>
                <a:gd name="T12" fmla="*/ 2147483647 w 76"/>
                <a:gd name="T13" fmla="*/ 2147483647 h 156"/>
                <a:gd name="T14" fmla="*/ 2147483647 w 76"/>
                <a:gd name="T15" fmla="*/ 2147483647 h 156"/>
                <a:gd name="T16" fmla="*/ 2147483647 w 76"/>
                <a:gd name="T17" fmla="*/ 2147483647 h 156"/>
                <a:gd name="T18" fmla="*/ 2147483647 w 76"/>
                <a:gd name="T19" fmla="*/ 2147483647 h 156"/>
                <a:gd name="T20" fmla="*/ 2147483647 w 76"/>
                <a:gd name="T21" fmla="*/ 2147483647 h 156"/>
                <a:gd name="T22" fmla="*/ 0 w 76"/>
                <a:gd name="T23" fmla="*/ 2147483647 h 156"/>
                <a:gd name="T24" fmla="*/ 2147483647 w 76"/>
                <a:gd name="T25" fmla="*/ 2147483647 h 156"/>
                <a:gd name="T26" fmla="*/ 2147483647 w 76"/>
                <a:gd name="T27" fmla="*/ 2147483647 h 156"/>
                <a:gd name="T28" fmla="*/ 2147483647 w 76"/>
                <a:gd name="T29" fmla="*/ 2147483647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6"/>
                <a:gd name="T46" fmla="*/ 0 h 156"/>
                <a:gd name="T47" fmla="*/ 76 w 76"/>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6" h="156">
                  <a:moveTo>
                    <a:pt x="52" y="38"/>
                  </a:moveTo>
                  <a:lnTo>
                    <a:pt x="56" y="11"/>
                  </a:lnTo>
                  <a:lnTo>
                    <a:pt x="63" y="0"/>
                  </a:lnTo>
                  <a:lnTo>
                    <a:pt x="76" y="2"/>
                  </a:lnTo>
                  <a:lnTo>
                    <a:pt x="71" y="55"/>
                  </a:lnTo>
                  <a:lnTo>
                    <a:pt x="46" y="88"/>
                  </a:lnTo>
                  <a:lnTo>
                    <a:pt x="41" y="113"/>
                  </a:lnTo>
                  <a:lnTo>
                    <a:pt x="31" y="123"/>
                  </a:lnTo>
                  <a:lnTo>
                    <a:pt x="18" y="152"/>
                  </a:lnTo>
                  <a:lnTo>
                    <a:pt x="7" y="156"/>
                  </a:lnTo>
                  <a:lnTo>
                    <a:pt x="8" y="127"/>
                  </a:lnTo>
                  <a:lnTo>
                    <a:pt x="0" y="101"/>
                  </a:lnTo>
                  <a:lnTo>
                    <a:pt x="7" y="99"/>
                  </a:lnTo>
                  <a:lnTo>
                    <a:pt x="37" y="42"/>
                  </a:lnTo>
                  <a:lnTo>
                    <a:pt x="52" y="38"/>
                  </a:lnTo>
                  <a:close/>
                </a:path>
              </a:pathLst>
            </a:custGeom>
            <a:grpFill/>
            <a:ln w="12700">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52" name="Freeform 184">
              <a:extLst>
                <a:ext uri="{FF2B5EF4-FFF2-40B4-BE49-F238E27FC236}">
                  <a16:creationId xmlns:a16="http://schemas.microsoft.com/office/drawing/2014/main" id="{EF1A353F-4CE8-9C70-B660-76E5A873D292}"/>
                </a:ext>
              </a:extLst>
            </p:cNvPr>
            <p:cNvSpPr>
              <a:spLocks/>
            </p:cNvSpPr>
            <p:nvPr/>
          </p:nvSpPr>
          <p:spPr bwMode="auto">
            <a:xfrm rot="21249101">
              <a:off x="4962770" y="3466134"/>
              <a:ext cx="28575" cy="52388"/>
            </a:xfrm>
            <a:custGeom>
              <a:avLst/>
              <a:gdLst>
                <a:gd name="T0" fmla="*/ 2147483647 w 75"/>
                <a:gd name="T1" fmla="*/ 2147483647 h 141"/>
                <a:gd name="T2" fmla="*/ 2147483647 w 75"/>
                <a:gd name="T3" fmla="*/ 0 h 141"/>
                <a:gd name="T4" fmla="*/ 2147483647 w 75"/>
                <a:gd name="T5" fmla="*/ 2147483647 h 141"/>
                <a:gd name="T6" fmla="*/ 2147483647 w 75"/>
                <a:gd name="T7" fmla="*/ 2147483647 h 141"/>
                <a:gd name="T8" fmla="*/ 2147483647 w 75"/>
                <a:gd name="T9" fmla="*/ 2147483647 h 141"/>
                <a:gd name="T10" fmla="*/ 2147483647 w 75"/>
                <a:gd name="T11" fmla="*/ 2147483647 h 141"/>
                <a:gd name="T12" fmla="*/ 2147483647 w 75"/>
                <a:gd name="T13" fmla="*/ 2147483647 h 141"/>
                <a:gd name="T14" fmla="*/ 2147483647 w 75"/>
                <a:gd name="T15" fmla="*/ 2147483647 h 141"/>
                <a:gd name="T16" fmla="*/ 2147483647 w 75"/>
                <a:gd name="T17" fmla="*/ 2147483647 h 141"/>
                <a:gd name="T18" fmla="*/ 2147483647 w 75"/>
                <a:gd name="T19" fmla="*/ 2147483647 h 141"/>
                <a:gd name="T20" fmla="*/ 2147483647 w 75"/>
                <a:gd name="T21" fmla="*/ 2147483647 h 141"/>
                <a:gd name="T22" fmla="*/ 2147483647 w 75"/>
                <a:gd name="T23" fmla="*/ 2147483647 h 141"/>
                <a:gd name="T24" fmla="*/ 2147483647 w 75"/>
                <a:gd name="T25" fmla="*/ 2147483647 h 141"/>
                <a:gd name="T26" fmla="*/ 0 w 75"/>
                <a:gd name="T27" fmla="*/ 2147483647 h 141"/>
                <a:gd name="T28" fmla="*/ 2147483647 w 75"/>
                <a:gd name="T29" fmla="*/ 0 h 141"/>
                <a:gd name="T30" fmla="*/ 2147483647 w 75"/>
                <a:gd name="T31" fmla="*/ 2147483647 h 1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141"/>
                <a:gd name="T50" fmla="*/ 75 w 75"/>
                <a:gd name="T51" fmla="*/ 141 h 14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141">
                  <a:moveTo>
                    <a:pt x="16" y="1"/>
                  </a:moveTo>
                  <a:lnTo>
                    <a:pt x="26" y="0"/>
                  </a:lnTo>
                  <a:lnTo>
                    <a:pt x="39" y="7"/>
                  </a:lnTo>
                  <a:lnTo>
                    <a:pt x="44" y="23"/>
                  </a:lnTo>
                  <a:lnTo>
                    <a:pt x="75" y="42"/>
                  </a:lnTo>
                  <a:lnTo>
                    <a:pt x="75" y="65"/>
                  </a:lnTo>
                  <a:lnTo>
                    <a:pt x="50" y="80"/>
                  </a:lnTo>
                  <a:lnTo>
                    <a:pt x="36" y="141"/>
                  </a:lnTo>
                  <a:lnTo>
                    <a:pt x="22" y="128"/>
                  </a:lnTo>
                  <a:lnTo>
                    <a:pt x="30" y="78"/>
                  </a:lnTo>
                  <a:lnTo>
                    <a:pt x="19" y="66"/>
                  </a:lnTo>
                  <a:lnTo>
                    <a:pt x="16" y="40"/>
                  </a:lnTo>
                  <a:lnTo>
                    <a:pt x="9" y="34"/>
                  </a:lnTo>
                  <a:lnTo>
                    <a:pt x="0" y="5"/>
                  </a:lnTo>
                  <a:lnTo>
                    <a:pt x="1" y="0"/>
                  </a:lnTo>
                  <a:lnTo>
                    <a:pt x="16" y="1"/>
                  </a:lnTo>
                  <a:close/>
                </a:path>
              </a:pathLst>
            </a:custGeom>
            <a:grpFill/>
            <a:ln w="12700">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53" name="Freeform 186">
              <a:extLst>
                <a:ext uri="{FF2B5EF4-FFF2-40B4-BE49-F238E27FC236}">
                  <a16:creationId xmlns:a16="http://schemas.microsoft.com/office/drawing/2014/main" id="{5EBE9112-D8C4-35D0-E2B1-9AE70B71B9C0}"/>
                </a:ext>
              </a:extLst>
            </p:cNvPr>
            <p:cNvSpPr>
              <a:spLocks/>
            </p:cNvSpPr>
            <p:nvPr/>
          </p:nvSpPr>
          <p:spPr bwMode="auto">
            <a:xfrm rot="21249101">
              <a:off x="4905620" y="3464547"/>
              <a:ext cx="57150" cy="46037"/>
            </a:xfrm>
            <a:custGeom>
              <a:avLst/>
              <a:gdLst>
                <a:gd name="T0" fmla="*/ 2147483647 w 158"/>
                <a:gd name="T1" fmla="*/ 0 h 123"/>
                <a:gd name="T2" fmla="*/ 2147483647 w 158"/>
                <a:gd name="T3" fmla="*/ 2147483647 h 123"/>
                <a:gd name="T4" fmla="*/ 2147483647 w 158"/>
                <a:gd name="T5" fmla="*/ 2147483647 h 123"/>
                <a:gd name="T6" fmla="*/ 2147483647 w 158"/>
                <a:gd name="T7" fmla="*/ 2147483647 h 123"/>
                <a:gd name="T8" fmla="*/ 2147483647 w 158"/>
                <a:gd name="T9" fmla="*/ 2147483647 h 123"/>
                <a:gd name="T10" fmla="*/ 2147483647 w 158"/>
                <a:gd name="T11" fmla="*/ 2147483647 h 123"/>
                <a:gd name="T12" fmla="*/ 2147483647 w 158"/>
                <a:gd name="T13" fmla="*/ 2147483647 h 123"/>
                <a:gd name="T14" fmla="*/ 2147483647 w 158"/>
                <a:gd name="T15" fmla="*/ 2147483647 h 123"/>
                <a:gd name="T16" fmla="*/ 2147483647 w 158"/>
                <a:gd name="T17" fmla="*/ 2147483647 h 123"/>
                <a:gd name="T18" fmla="*/ 2147483647 w 158"/>
                <a:gd name="T19" fmla="*/ 2147483647 h 123"/>
                <a:gd name="T20" fmla="*/ 2147483647 w 158"/>
                <a:gd name="T21" fmla="*/ 2147483647 h 123"/>
                <a:gd name="T22" fmla="*/ 2147483647 w 158"/>
                <a:gd name="T23" fmla="*/ 2147483647 h 123"/>
                <a:gd name="T24" fmla="*/ 2147483647 w 158"/>
                <a:gd name="T25" fmla="*/ 2147483647 h 123"/>
                <a:gd name="T26" fmla="*/ 2147483647 w 158"/>
                <a:gd name="T27" fmla="*/ 2147483647 h 123"/>
                <a:gd name="T28" fmla="*/ 2147483647 w 158"/>
                <a:gd name="T29" fmla="*/ 2147483647 h 123"/>
                <a:gd name="T30" fmla="*/ 2147483647 w 158"/>
                <a:gd name="T31" fmla="*/ 2147483647 h 123"/>
                <a:gd name="T32" fmla="*/ 2147483647 w 158"/>
                <a:gd name="T33" fmla="*/ 2147483647 h 123"/>
                <a:gd name="T34" fmla="*/ 2147483647 w 158"/>
                <a:gd name="T35" fmla="*/ 2147483647 h 123"/>
                <a:gd name="T36" fmla="*/ 2147483647 w 158"/>
                <a:gd name="T37" fmla="*/ 2147483647 h 123"/>
                <a:gd name="T38" fmla="*/ 0 w 158"/>
                <a:gd name="T39" fmla="*/ 2147483647 h 123"/>
                <a:gd name="T40" fmla="*/ 2147483647 w 158"/>
                <a:gd name="T41" fmla="*/ 2147483647 h 123"/>
                <a:gd name="T42" fmla="*/ 2147483647 w 158"/>
                <a:gd name="T43" fmla="*/ 2147483647 h 123"/>
                <a:gd name="T44" fmla="*/ 2147483647 w 158"/>
                <a:gd name="T45" fmla="*/ 2147483647 h 123"/>
                <a:gd name="T46" fmla="*/ 2147483647 w 158"/>
                <a:gd name="T47" fmla="*/ 2147483647 h 123"/>
                <a:gd name="T48" fmla="*/ 2147483647 w 158"/>
                <a:gd name="T49" fmla="*/ 2147483647 h 123"/>
                <a:gd name="T50" fmla="*/ 2147483647 w 158"/>
                <a:gd name="T51" fmla="*/ 2147483647 h 123"/>
                <a:gd name="T52" fmla="*/ 2147483647 w 158"/>
                <a:gd name="T53" fmla="*/ 0 h 1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8"/>
                <a:gd name="T82" fmla="*/ 0 h 123"/>
                <a:gd name="T83" fmla="*/ 158 w 158"/>
                <a:gd name="T84" fmla="*/ 123 h 1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8" h="123">
                  <a:moveTo>
                    <a:pt x="59" y="0"/>
                  </a:moveTo>
                  <a:lnTo>
                    <a:pt x="64" y="4"/>
                  </a:lnTo>
                  <a:lnTo>
                    <a:pt x="68" y="22"/>
                  </a:lnTo>
                  <a:lnTo>
                    <a:pt x="82" y="27"/>
                  </a:lnTo>
                  <a:lnTo>
                    <a:pt x="95" y="45"/>
                  </a:lnTo>
                  <a:lnTo>
                    <a:pt x="107" y="50"/>
                  </a:lnTo>
                  <a:lnTo>
                    <a:pt x="108" y="40"/>
                  </a:lnTo>
                  <a:lnTo>
                    <a:pt x="121" y="41"/>
                  </a:lnTo>
                  <a:lnTo>
                    <a:pt x="122" y="33"/>
                  </a:lnTo>
                  <a:lnTo>
                    <a:pt x="137" y="34"/>
                  </a:lnTo>
                  <a:lnTo>
                    <a:pt x="138" y="47"/>
                  </a:lnTo>
                  <a:lnTo>
                    <a:pt x="151" y="67"/>
                  </a:lnTo>
                  <a:lnTo>
                    <a:pt x="158" y="117"/>
                  </a:lnTo>
                  <a:lnTo>
                    <a:pt x="142" y="121"/>
                  </a:lnTo>
                  <a:lnTo>
                    <a:pt x="108" y="110"/>
                  </a:lnTo>
                  <a:lnTo>
                    <a:pt x="96" y="121"/>
                  </a:lnTo>
                  <a:lnTo>
                    <a:pt x="78" y="123"/>
                  </a:lnTo>
                  <a:lnTo>
                    <a:pt x="43" y="86"/>
                  </a:lnTo>
                  <a:lnTo>
                    <a:pt x="6" y="66"/>
                  </a:lnTo>
                  <a:lnTo>
                    <a:pt x="0" y="46"/>
                  </a:lnTo>
                  <a:lnTo>
                    <a:pt x="12" y="49"/>
                  </a:lnTo>
                  <a:lnTo>
                    <a:pt x="27" y="32"/>
                  </a:lnTo>
                  <a:lnTo>
                    <a:pt x="14" y="31"/>
                  </a:lnTo>
                  <a:lnTo>
                    <a:pt x="8" y="11"/>
                  </a:lnTo>
                  <a:lnTo>
                    <a:pt x="25" y="2"/>
                  </a:lnTo>
                  <a:lnTo>
                    <a:pt x="52" y="5"/>
                  </a:lnTo>
                  <a:lnTo>
                    <a:pt x="59" y="0"/>
                  </a:lnTo>
                  <a:close/>
                </a:path>
              </a:pathLst>
            </a:custGeom>
            <a:grpFill/>
            <a:ln w="12700">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54" name="Freeform 188">
              <a:extLst>
                <a:ext uri="{FF2B5EF4-FFF2-40B4-BE49-F238E27FC236}">
                  <a16:creationId xmlns:a16="http://schemas.microsoft.com/office/drawing/2014/main" id="{A36C77C5-088F-2249-32A9-68C24A8387D2}"/>
                </a:ext>
              </a:extLst>
            </p:cNvPr>
            <p:cNvSpPr>
              <a:spLocks/>
            </p:cNvSpPr>
            <p:nvPr/>
          </p:nvSpPr>
          <p:spPr bwMode="auto">
            <a:xfrm rot="21249101">
              <a:off x="4810370" y="3377234"/>
              <a:ext cx="82550" cy="77788"/>
            </a:xfrm>
            <a:custGeom>
              <a:avLst/>
              <a:gdLst>
                <a:gd name="T0" fmla="*/ 2147483647 w 224"/>
                <a:gd name="T1" fmla="*/ 2147483647 h 211"/>
                <a:gd name="T2" fmla="*/ 2147483647 w 224"/>
                <a:gd name="T3" fmla="*/ 2147483647 h 211"/>
                <a:gd name="T4" fmla="*/ 2147483647 w 224"/>
                <a:gd name="T5" fmla="*/ 2147483647 h 211"/>
                <a:gd name="T6" fmla="*/ 2147483647 w 224"/>
                <a:gd name="T7" fmla="*/ 2147483647 h 211"/>
                <a:gd name="T8" fmla="*/ 2147483647 w 224"/>
                <a:gd name="T9" fmla="*/ 2147483647 h 211"/>
                <a:gd name="T10" fmla="*/ 2147483647 w 224"/>
                <a:gd name="T11" fmla="*/ 2147483647 h 211"/>
                <a:gd name="T12" fmla="*/ 2147483647 w 224"/>
                <a:gd name="T13" fmla="*/ 0 h 211"/>
                <a:gd name="T14" fmla="*/ 2147483647 w 224"/>
                <a:gd name="T15" fmla="*/ 2147483647 h 211"/>
                <a:gd name="T16" fmla="*/ 2147483647 w 224"/>
                <a:gd name="T17" fmla="*/ 2147483647 h 211"/>
                <a:gd name="T18" fmla="*/ 2147483647 w 224"/>
                <a:gd name="T19" fmla="*/ 2147483647 h 211"/>
                <a:gd name="T20" fmla="*/ 2147483647 w 224"/>
                <a:gd name="T21" fmla="*/ 2147483647 h 211"/>
                <a:gd name="T22" fmla="*/ 2147483647 w 224"/>
                <a:gd name="T23" fmla="*/ 2147483647 h 211"/>
                <a:gd name="T24" fmla="*/ 2147483647 w 224"/>
                <a:gd name="T25" fmla="*/ 2147483647 h 211"/>
                <a:gd name="T26" fmla="*/ 2147483647 w 224"/>
                <a:gd name="T27" fmla="*/ 2147483647 h 211"/>
                <a:gd name="T28" fmla="*/ 2147483647 w 224"/>
                <a:gd name="T29" fmla="*/ 2147483647 h 211"/>
                <a:gd name="T30" fmla="*/ 2147483647 w 224"/>
                <a:gd name="T31" fmla="*/ 2147483647 h 211"/>
                <a:gd name="T32" fmla="*/ 2147483647 w 224"/>
                <a:gd name="T33" fmla="*/ 2147483647 h 211"/>
                <a:gd name="T34" fmla="*/ 2147483647 w 224"/>
                <a:gd name="T35" fmla="*/ 2147483647 h 211"/>
                <a:gd name="T36" fmla="*/ 2147483647 w 224"/>
                <a:gd name="T37" fmla="*/ 2147483647 h 211"/>
                <a:gd name="T38" fmla="*/ 2147483647 w 224"/>
                <a:gd name="T39" fmla="*/ 2147483647 h 211"/>
                <a:gd name="T40" fmla="*/ 2147483647 w 224"/>
                <a:gd name="T41" fmla="*/ 2147483647 h 211"/>
                <a:gd name="T42" fmla="*/ 2147483647 w 224"/>
                <a:gd name="T43" fmla="*/ 2147483647 h 211"/>
                <a:gd name="T44" fmla="*/ 2147483647 w 224"/>
                <a:gd name="T45" fmla="*/ 2147483647 h 211"/>
                <a:gd name="T46" fmla="*/ 2147483647 w 224"/>
                <a:gd name="T47" fmla="*/ 2147483647 h 211"/>
                <a:gd name="T48" fmla="*/ 2147483647 w 224"/>
                <a:gd name="T49" fmla="*/ 2147483647 h 211"/>
                <a:gd name="T50" fmla="*/ 2147483647 w 224"/>
                <a:gd name="T51" fmla="*/ 2147483647 h 211"/>
                <a:gd name="T52" fmla="*/ 2147483647 w 224"/>
                <a:gd name="T53" fmla="*/ 2147483647 h 211"/>
                <a:gd name="T54" fmla="*/ 0 w 224"/>
                <a:gd name="T55" fmla="*/ 2147483647 h 211"/>
                <a:gd name="T56" fmla="*/ 2147483647 w 224"/>
                <a:gd name="T57" fmla="*/ 2147483647 h 211"/>
                <a:gd name="T58" fmla="*/ 2147483647 w 224"/>
                <a:gd name="T59" fmla="*/ 2147483647 h 211"/>
                <a:gd name="T60" fmla="*/ 0 w 224"/>
                <a:gd name="T61" fmla="*/ 2147483647 h 211"/>
                <a:gd name="T62" fmla="*/ 2147483647 w 224"/>
                <a:gd name="T63" fmla="*/ 2147483647 h 211"/>
                <a:gd name="T64" fmla="*/ 2147483647 w 224"/>
                <a:gd name="T65" fmla="*/ 2147483647 h 211"/>
                <a:gd name="T66" fmla="*/ 2147483647 w 224"/>
                <a:gd name="T67" fmla="*/ 2147483647 h 211"/>
                <a:gd name="T68" fmla="*/ 2147483647 w 224"/>
                <a:gd name="T69" fmla="*/ 2147483647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4"/>
                <a:gd name="T106" fmla="*/ 0 h 211"/>
                <a:gd name="T107" fmla="*/ 224 w 224"/>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4" h="211">
                  <a:moveTo>
                    <a:pt x="63" y="17"/>
                  </a:moveTo>
                  <a:lnTo>
                    <a:pt x="82" y="8"/>
                  </a:lnTo>
                  <a:lnTo>
                    <a:pt x="131" y="9"/>
                  </a:lnTo>
                  <a:lnTo>
                    <a:pt x="158" y="33"/>
                  </a:lnTo>
                  <a:lnTo>
                    <a:pt x="167" y="32"/>
                  </a:lnTo>
                  <a:lnTo>
                    <a:pt x="171" y="8"/>
                  </a:lnTo>
                  <a:lnTo>
                    <a:pt x="180" y="0"/>
                  </a:lnTo>
                  <a:lnTo>
                    <a:pt x="204" y="56"/>
                  </a:lnTo>
                  <a:lnTo>
                    <a:pt x="197" y="84"/>
                  </a:lnTo>
                  <a:lnTo>
                    <a:pt x="201" y="110"/>
                  </a:lnTo>
                  <a:lnTo>
                    <a:pt x="207" y="120"/>
                  </a:lnTo>
                  <a:lnTo>
                    <a:pt x="224" y="128"/>
                  </a:lnTo>
                  <a:lnTo>
                    <a:pt x="223" y="135"/>
                  </a:lnTo>
                  <a:lnTo>
                    <a:pt x="211" y="132"/>
                  </a:lnTo>
                  <a:lnTo>
                    <a:pt x="195" y="201"/>
                  </a:lnTo>
                  <a:lnTo>
                    <a:pt x="165" y="203"/>
                  </a:lnTo>
                  <a:lnTo>
                    <a:pt x="142" y="211"/>
                  </a:lnTo>
                  <a:lnTo>
                    <a:pt x="122" y="205"/>
                  </a:lnTo>
                  <a:lnTo>
                    <a:pt x="94" y="182"/>
                  </a:lnTo>
                  <a:lnTo>
                    <a:pt x="57" y="187"/>
                  </a:lnTo>
                  <a:lnTo>
                    <a:pt x="59" y="173"/>
                  </a:lnTo>
                  <a:lnTo>
                    <a:pt x="74" y="156"/>
                  </a:lnTo>
                  <a:lnTo>
                    <a:pt x="59" y="154"/>
                  </a:lnTo>
                  <a:lnTo>
                    <a:pt x="19" y="131"/>
                  </a:lnTo>
                  <a:lnTo>
                    <a:pt x="20" y="104"/>
                  </a:lnTo>
                  <a:lnTo>
                    <a:pt x="4" y="82"/>
                  </a:lnTo>
                  <a:lnTo>
                    <a:pt x="13" y="66"/>
                  </a:lnTo>
                  <a:lnTo>
                    <a:pt x="0" y="48"/>
                  </a:lnTo>
                  <a:lnTo>
                    <a:pt x="7" y="48"/>
                  </a:lnTo>
                  <a:lnTo>
                    <a:pt x="8" y="41"/>
                  </a:lnTo>
                  <a:lnTo>
                    <a:pt x="0" y="27"/>
                  </a:lnTo>
                  <a:lnTo>
                    <a:pt x="1" y="15"/>
                  </a:lnTo>
                  <a:lnTo>
                    <a:pt x="19" y="18"/>
                  </a:lnTo>
                  <a:lnTo>
                    <a:pt x="40" y="29"/>
                  </a:lnTo>
                  <a:lnTo>
                    <a:pt x="63" y="17"/>
                  </a:lnTo>
                  <a:close/>
                </a:path>
              </a:pathLst>
            </a:custGeom>
            <a:grpFill/>
            <a:ln w="12700">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sp>
          <p:nvSpPr>
            <p:cNvPr id="55" name="Freeform 192">
              <a:extLst>
                <a:ext uri="{FF2B5EF4-FFF2-40B4-BE49-F238E27FC236}">
                  <a16:creationId xmlns:a16="http://schemas.microsoft.com/office/drawing/2014/main" id="{B7652967-A7BB-3960-2AB6-74E91574CAE1}"/>
                </a:ext>
              </a:extLst>
            </p:cNvPr>
            <p:cNvSpPr>
              <a:spLocks/>
            </p:cNvSpPr>
            <p:nvPr/>
          </p:nvSpPr>
          <p:spPr bwMode="auto">
            <a:xfrm rot="21249101">
              <a:off x="4905620" y="3313734"/>
              <a:ext cx="130175" cy="152400"/>
            </a:xfrm>
            <a:custGeom>
              <a:avLst/>
              <a:gdLst>
                <a:gd name="T0" fmla="*/ 2147483647 w 357"/>
                <a:gd name="T1" fmla="*/ 2147483647 h 411"/>
                <a:gd name="T2" fmla="*/ 2147483647 w 357"/>
                <a:gd name="T3" fmla="*/ 2147483647 h 411"/>
                <a:gd name="T4" fmla="*/ 2147483647 w 357"/>
                <a:gd name="T5" fmla="*/ 2147483647 h 411"/>
                <a:gd name="T6" fmla="*/ 2147483647 w 357"/>
                <a:gd name="T7" fmla="*/ 2147483647 h 411"/>
                <a:gd name="T8" fmla="*/ 2147483647 w 357"/>
                <a:gd name="T9" fmla="*/ 2147483647 h 411"/>
                <a:gd name="T10" fmla="*/ 2147483647 w 357"/>
                <a:gd name="T11" fmla="*/ 2147483647 h 411"/>
                <a:gd name="T12" fmla="*/ 2147483647 w 357"/>
                <a:gd name="T13" fmla="*/ 2147483647 h 411"/>
                <a:gd name="T14" fmla="*/ 2147483647 w 357"/>
                <a:gd name="T15" fmla="*/ 2147483647 h 411"/>
                <a:gd name="T16" fmla="*/ 2147483647 w 357"/>
                <a:gd name="T17" fmla="*/ 2147483647 h 411"/>
                <a:gd name="T18" fmla="*/ 2147483647 w 357"/>
                <a:gd name="T19" fmla="*/ 2147483647 h 411"/>
                <a:gd name="T20" fmla="*/ 2147483647 w 357"/>
                <a:gd name="T21" fmla="*/ 2147483647 h 411"/>
                <a:gd name="T22" fmla="*/ 2147483647 w 357"/>
                <a:gd name="T23" fmla="*/ 2147483647 h 411"/>
                <a:gd name="T24" fmla="*/ 2147483647 w 357"/>
                <a:gd name="T25" fmla="*/ 2147483647 h 411"/>
                <a:gd name="T26" fmla="*/ 2147483647 w 357"/>
                <a:gd name="T27" fmla="*/ 2147483647 h 411"/>
                <a:gd name="T28" fmla="*/ 2147483647 w 357"/>
                <a:gd name="T29" fmla="*/ 0 h 411"/>
                <a:gd name="T30" fmla="*/ 2147483647 w 357"/>
                <a:gd name="T31" fmla="*/ 2147483647 h 411"/>
                <a:gd name="T32" fmla="*/ 2147483647 w 357"/>
                <a:gd name="T33" fmla="*/ 2147483647 h 411"/>
                <a:gd name="T34" fmla="*/ 2147483647 w 357"/>
                <a:gd name="T35" fmla="*/ 2147483647 h 411"/>
                <a:gd name="T36" fmla="*/ 2147483647 w 357"/>
                <a:gd name="T37" fmla="*/ 2147483647 h 411"/>
                <a:gd name="T38" fmla="*/ 2147483647 w 357"/>
                <a:gd name="T39" fmla="*/ 2147483647 h 411"/>
                <a:gd name="T40" fmla="*/ 2147483647 w 357"/>
                <a:gd name="T41" fmla="*/ 2147483647 h 411"/>
                <a:gd name="T42" fmla="*/ 2147483647 w 357"/>
                <a:gd name="T43" fmla="*/ 2147483647 h 411"/>
                <a:gd name="T44" fmla="*/ 2147483647 w 357"/>
                <a:gd name="T45" fmla="*/ 2147483647 h 411"/>
                <a:gd name="T46" fmla="*/ 2147483647 w 357"/>
                <a:gd name="T47" fmla="*/ 2147483647 h 411"/>
                <a:gd name="T48" fmla="*/ 2147483647 w 357"/>
                <a:gd name="T49" fmla="*/ 2147483647 h 411"/>
                <a:gd name="T50" fmla="*/ 2147483647 w 357"/>
                <a:gd name="T51" fmla="*/ 2147483647 h 411"/>
                <a:gd name="T52" fmla="*/ 2147483647 w 357"/>
                <a:gd name="T53" fmla="*/ 2147483647 h 411"/>
                <a:gd name="T54" fmla="*/ 2147483647 w 357"/>
                <a:gd name="T55" fmla="*/ 2147483647 h 411"/>
                <a:gd name="T56" fmla="*/ 2147483647 w 357"/>
                <a:gd name="T57" fmla="*/ 2147483647 h 411"/>
                <a:gd name="T58" fmla="*/ 2147483647 w 357"/>
                <a:gd name="T59" fmla="*/ 2147483647 h 411"/>
                <a:gd name="T60" fmla="*/ 2147483647 w 357"/>
                <a:gd name="T61" fmla="*/ 2147483647 h 411"/>
                <a:gd name="T62" fmla="*/ 2147483647 w 357"/>
                <a:gd name="T63" fmla="*/ 2147483647 h 411"/>
                <a:gd name="T64" fmla="*/ 2147483647 w 357"/>
                <a:gd name="T65" fmla="*/ 2147483647 h 411"/>
                <a:gd name="T66" fmla="*/ 2147483647 w 357"/>
                <a:gd name="T67" fmla="*/ 2147483647 h 411"/>
                <a:gd name="T68" fmla="*/ 2147483647 w 357"/>
                <a:gd name="T69" fmla="*/ 2147483647 h 411"/>
                <a:gd name="T70" fmla="*/ 2147483647 w 357"/>
                <a:gd name="T71" fmla="*/ 2147483647 h 411"/>
                <a:gd name="T72" fmla="*/ 2147483647 w 357"/>
                <a:gd name="T73" fmla="*/ 2147483647 h 411"/>
                <a:gd name="T74" fmla="*/ 2147483647 w 357"/>
                <a:gd name="T75" fmla="*/ 2147483647 h 411"/>
                <a:gd name="T76" fmla="*/ 2147483647 w 357"/>
                <a:gd name="T77" fmla="*/ 2147483647 h 411"/>
                <a:gd name="T78" fmla="*/ 2147483647 w 357"/>
                <a:gd name="T79" fmla="*/ 2147483647 h 411"/>
                <a:gd name="T80" fmla="*/ 2147483647 w 357"/>
                <a:gd name="T81" fmla="*/ 2147483647 h 411"/>
                <a:gd name="T82" fmla="*/ 2147483647 w 357"/>
                <a:gd name="T83" fmla="*/ 2147483647 h 411"/>
                <a:gd name="T84" fmla="*/ 2147483647 w 357"/>
                <a:gd name="T85" fmla="*/ 2147483647 h 4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7"/>
                <a:gd name="T130" fmla="*/ 0 h 411"/>
                <a:gd name="T131" fmla="*/ 357 w 357"/>
                <a:gd name="T132" fmla="*/ 411 h 41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7" h="411">
                  <a:moveTo>
                    <a:pt x="104" y="34"/>
                  </a:moveTo>
                  <a:lnTo>
                    <a:pt x="188" y="49"/>
                  </a:lnTo>
                  <a:lnTo>
                    <a:pt x="186" y="66"/>
                  </a:lnTo>
                  <a:lnTo>
                    <a:pt x="173" y="70"/>
                  </a:lnTo>
                  <a:lnTo>
                    <a:pt x="169" y="101"/>
                  </a:lnTo>
                  <a:lnTo>
                    <a:pt x="159" y="106"/>
                  </a:lnTo>
                  <a:lnTo>
                    <a:pt x="161" y="111"/>
                  </a:lnTo>
                  <a:lnTo>
                    <a:pt x="170" y="107"/>
                  </a:lnTo>
                  <a:lnTo>
                    <a:pt x="170" y="156"/>
                  </a:lnTo>
                  <a:lnTo>
                    <a:pt x="187" y="140"/>
                  </a:lnTo>
                  <a:lnTo>
                    <a:pt x="198" y="108"/>
                  </a:lnTo>
                  <a:lnTo>
                    <a:pt x="204" y="105"/>
                  </a:lnTo>
                  <a:lnTo>
                    <a:pt x="209" y="81"/>
                  </a:lnTo>
                  <a:lnTo>
                    <a:pt x="205" y="81"/>
                  </a:lnTo>
                  <a:lnTo>
                    <a:pt x="209" y="73"/>
                  </a:lnTo>
                  <a:lnTo>
                    <a:pt x="216" y="74"/>
                  </a:lnTo>
                  <a:lnTo>
                    <a:pt x="228" y="118"/>
                  </a:lnTo>
                  <a:lnTo>
                    <a:pt x="225" y="138"/>
                  </a:lnTo>
                  <a:lnTo>
                    <a:pt x="218" y="138"/>
                  </a:lnTo>
                  <a:lnTo>
                    <a:pt x="211" y="149"/>
                  </a:lnTo>
                  <a:lnTo>
                    <a:pt x="217" y="151"/>
                  </a:lnTo>
                  <a:lnTo>
                    <a:pt x="216" y="158"/>
                  </a:lnTo>
                  <a:lnTo>
                    <a:pt x="228" y="160"/>
                  </a:lnTo>
                  <a:lnTo>
                    <a:pt x="239" y="74"/>
                  </a:lnTo>
                  <a:lnTo>
                    <a:pt x="233" y="60"/>
                  </a:lnTo>
                  <a:lnTo>
                    <a:pt x="215" y="55"/>
                  </a:lnTo>
                  <a:lnTo>
                    <a:pt x="214" y="40"/>
                  </a:lnTo>
                  <a:lnTo>
                    <a:pt x="242" y="12"/>
                  </a:lnTo>
                  <a:lnTo>
                    <a:pt x="280" y="7"/>
                  </a:lnTo>
                  <a:lnTo>
                    <a:pt x="283" y="0"/>
                  </a:lnTo>
                  <a:lnTo>
                    <a:pt x="308" y="1"/>
                  </a:lnTo>
                  <a:lnTo>
                    <a:pt x="325" y="26"/>
                  </a:lnTo>
                  <a:lnTo>
                    <a:pt x="337" y="76"/>
                  </a:lnTo>
                  <a:lnTo>
                    <a:pt x="346" y="79"/>
                  </a:lnTo>
                  <a:lnTo>
                    <a:pt x="341" y="97"/>
                  </a:lnTo>
                  <a:lnTo>
                    <a:pt x="344" y="116"/>
                  </a:lnTo>
                  <a:lnTo>
                    <a:pt x="349" y="119"/>
                  </a:lnTo>
                  <a:lnTo>
                    <a:pt x="347" y="140"/>
                  </a:lnTo>
                  <a:lnTo>
                    <a:pt x="357" y="177"/>
                  </a:lnTo>
                  <a:lnTo>
                    <a:pt x="329" y="175"/>
                  </a:lnTo>
                  <a:lnTo>
                    <a:pt x="315" y="187"/>
                  </a:lnTo>
                  <a:lnTo>
                    <a:pt x="297" y="186"/>
                  </a:lnTo>
                  <a:lnTo>
                    <a:pt x="264" y="226"/>
                  </a:lnTo>
                  <a:lnTo>
                    <a:pt x="258" y="253"/>
                  </a:lnTo>
                  <a:lnTo>
                    <a:pt x="281" y="257"/>
                  </a:lnTo>
                  <a:lnTo>
                    <a:pt x="295" y="286"/>
                  </a:lnTo>
                  <a:lnTo>
                    <a:pt x="291" y="321"/>
                  </a:lnTo>
                  <a:lnTo>
                    <a:pt x="234" y="330"/>
                  </a:lnTo>
                  <a:lnTo>
                    <a:pt x="227" y="340"/>
                  </a:lnTo>
                  <a:lnTo>
                    <a:pt x="225" y="355"/>
                  </a:lnTo>
                  <a:lnTo>
                    <a:pt x="231" y="356"/>
                  </a:lnTo>
                  <a:lnTo>
                    <a:pt x="234" y="374"/>
                  </a:lnTo>
                  <a:lnTo>
                    <a:pt x="228" y="374"/>
                  </a:lnTo>
                  <a:lnTo>
                    <a:pt x="224" y="383"/>
                  </a:lnTo>
                  <a:lnTo>
                    <a:pt x="220" y="407"/>
                  </a:lnTo>
                  <a:lnTo>
                    <a:pt x="199" y="411"/>
                  </a:lnTo>
                  <a:lnTo>
                    <a:pt x="188" y="397"/>
                  </a:lnTo>
                  <a:lnTo>
                    <a:pt x="135" y="380"/>
                  </a:lnTo>
                  <a:lnTo>
                    <a:pt x="121" y="369"/>
                  </a:lnTo>
                  <a:lnTo>
                    <a:pt x="122" y="363"/>
                  </a:lnTo>
                  <a:lnTo>
                    <a:pt x="140" y="371"/>
                  </a:lnTo>
                  <a:lnTo>
                    <a:pt x="140" y="347"/>
                  </a:lnTo>
                  <a:lnTo>
                    <a:pt x="146" y="348"/>
                  </a:lnTo>
                  <a:lnTo>
                    <a:pt x="148" y="335"/>
                  </a:lnTo>
                  <a:lnTo>
                    <a:pt x="99" y="317"/>
                  </a:lnTo>
                  <a:lnTo>
                    <a:pt x="50" y="314"/>
                  </a:lnTo>
                  <a:lnTo>
                    <a:pt x="51" y="282"/>
                  </a:lnTo>
                  <a:lnTo>
                    <a:pt x="29" y="270"/>
                  </a:lnTo>
                  <a:lnTo>
                    <a:pt x="24" y="258"/>
                  </a:lnTo>
                  <a:lnTo>
                    <a:pt x="25" y="251"/>
                  </a:lnTo>
                  <a:lnTo>
                    <a:pt x="31" y="250"/>
                  </a:lnTo>
                  <a:lnTo>
                    <a:pt x="46" y="169"/>
                  </a:lnTo>
                  <a:lnTo>
                    <a:pt x="38" y="155"/>
                  </a:lnTo>
                  <a:lnTo>
                    <a:pt x="12" y="149"/>
                  </a:lnTo>
                  <a:lnTo>
                    <a:pt x="6" y="140"/>
                  </a:lnTo>
                  <a:lnTo>
                    <a:pt x="20" y="132"/>
                  </a:lnTo>
                  <a:lnTo>
                    <a:pt x="0" y="123"/>
                  </a:lnTo>
                  <a:lnTo>
                    <a:pt x="1" y="117"/>
                  </a:lnTo>
                  <a:lnTo>
                    <a:pt x="15" y="109"/>
                  </a:lnTo>
                  <a:lnTo>
                    <a:pt x="66" y="117"/>
                  </a:lnTo>
                  <a:lnTo>
                    <a:pt x="87" y="114"/>
                  </a:lnTo>
                  <a:lnTo>
                    <a:pt x="98" y="85"/>
                  </a:lnTo>
                  <a:lnTo>
                    <a:pt x="119" y="87"/>
                  </a:lnTo>
                  <a:lnTo>
                    <a:pt x="129" y="81"/>
                  </a:lnTo>
                  <a:lnTo>
                    <a:pt x="134" y="62"/>
                  </a:lnTo>
                  <a:lnTo>
                    <a:pt x="104" y="34"/>
                  </a:lnTo>
                  <a:close/>
                </a:path>
              </a:pathLst>
            </a:custGeom>
            <a:grpFill/>
            <a:ln w="12700">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a:p>
          </p:txBody>
        </p:sp>
      </p:grpSp>
      <p:sp>
        <p:nvSpPr>
          <p:cNvPr id="56" name="Freeform 152">
            <a:extLst>
              <a:ext uri="{FF2B5EF4-FFF2-40B4-BE49-F238E27FC236}">
                <a16:creationId xmlns:a16="http://schemas.microsoft.com/office/drawing/2014/main" id="{35E57418-5CC3-ABF5-406E-3EBD39026571}"/>
              </a:ext>
            </a:extLst>
          </p:cNvPr>
          <p:cNvSpPr>
            <a:spLocks/>
          </p:cNvSpPr>
          <p:nvPr/>
        </p:nvSpPr>
        <p:spPr bwMode="auto">
          <a:xfrm rot="21249101">
            <a:off x="9816422" y="5908043"/>
            <a:ext cx="587236" cy="266942"/>
          </a:xfrm>
          <a:custGeom>
            <a:avLst/>
            <a:gdLst>
              <a:gd name="T0" fmla="*/ 2147483647 w 908"/>
              <a:gd name="T1" fmla="*/ 2147483647 h 591"/>
              <a:gd name="T2" fmla="*/ 2147483647 w 908"/>
              <a:gd name="T3" fmla="*/ 2147483647 h 591"/>
              <a:gd name="T4" fmla="*/ 2147483647 w 908"/>
              <a:gd name="T5" fmla="*/ 2147483647 h 591"/>
              <a:gd name="T6" fmla="*/ 2147483647 w 908"/>
              <a:gd name="T7" fmla="*/ 2147483647 h 591"/>
              <a:gd name="T8" fmla="*/ 2147483647 w 908"/>
              <a:gd name="T9" fmla="*/ 2147483647 h 591"/>
              <a:gd name="T10" fmla="*/ 2147483647 w 908"/>
              <a:gd name="T11" fmla="*/ 2147483647 h 591"/>
              <a:gd name="T12" fmla="*/ 2147483647 w 908"/>
              <a:gd name="T13" fmla="*/ 2147483647 h 591"/>
              <a:gd name="T14" fmla="*/ 2147483647 w 908"/>
              <a:gd name="T15" fmla="*/ 2147483647 h 591"/>
              <a:gd name="T16" fmla="*/ 2147483647 w 908"/>
              <a:gd name="T17" fmla="*/ 2147483647 h 591"/>
              <a:gd name="T18" fmla="*/ 2147483647 w 908"/>
              <a:gd name="T19" fmla="*/ 2147483647 h 591"/>
              <a:gd name="T20" fmla="*/ 2147483647 w 908"/>
              <a:gd name="T21" fmla="*/ 2147483647 h 591"/>
              <a:gd name="T22" fmla="*/ 2147483647 w 908"/>
              <a:gd name="T23" fmla="*/ 2147483647 h 591"/>
              <a:gd name="T24" fmla="*/ 2147483647 w 908"/>
              <a:gd name="T25" fmla="*/ 2147483647 h 591"/>
              <a:gd name="T26" fmla="*/ 2147483647 w 908"/>
              <a:gd name="T27" fmla="*/ 2147483647 h 591"/>
              <a:gd name="T28" fmla="*/ 2147483647 w 908"/>
              <a:gd name="T29" fmla="*/ 2147483647 h 591"/>
              <a:gd name="T30" fmla="*/ 0 w 908"/>
              <a:gd name="T31" fmla="*/ 2147483647 h 591"/>
              <a:gd name="T32" fmla="*/ 2147483647 w 908"/>
              <a:gd name="T33" fmla="*/ 2147483647 h 591"/>
              <a:gd name="T34" fmla="*/ 2147483647 w 908"/>
              <a:gd name="T35" fmla="*/ 2147483647 h 591"/>
              <a:gd name="T36" fmla="*/ 2147483647 w 908"/>
              <a:gd name="T37" fmla="*/ 2147483647 h 591"/>
              <a:gd name="T38" fmla="*/ 2147483647 w 908"/>
              <a:gd name="T39" fmla="*/ 2147483647 h 591"/>
              <a:gd name="T40" fmla="*/ 2147483647 w 908"/>
              <a:gd name="T41" fmla="*/ 2147483647 h 591"/>
              <a:gd name="T42" fmla="*/ 2147483647 w 908"/>
              <a:gd name="T43" fmla="*/ 0 h 591"/>
              <a:gd name="T44" fmla="*/ 2147483647 w 908"/>
              <a:gd name="T45" fmla="*/ 2147483647 h 591"/>
              <a:gd name="T46" fmla="*/ 2147483647 w 908"/>
              <a:gd name="T47" fmla="*/ 2147483647 h 591"/>
              <a:gd name="T48" fmla="*/ 2147483647 w 908"/>
              <a:gd name="T49" fmla="*/ 2147483647 h 591"/>
              <a:gd name="T50" fmla="*/ 2147483647 w 908"/>
              <a:gd name="T51" fmla="*/ 2147483647 h 591"/>
              <a:gd name="T52" fmla="*/ 2147483647 w 908"/>
              <a:gd name="T53" fmla="*/ 2147483647 h 591"/>
              <a:gd name="T54" fmla="*/ 2147483647 w 908"/>
              <a:gd name="T55" fmla="*/ 2147483647 h 591"/>
              <a:gd name="T56" fmla="*/ 2147483647 w 908"/>
              <a:gd name="T57" fmla="*/ 2147483647 h 591"/>
              <a:gd name="T58" fmla="*/ 2147483647 w 908"/>
              <a:gd name="T59" fmla="*/ 2147483647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08"/>
              <a:gd name="T91" fmla="*/ 0 h 591"/>
              <a:gd name="T92" fmla="*/ 908 w 90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08" h="591">
                <a:moveTo>
                  <a:pt x="908" y="20"/>
                </a:moveTo>
                <a:lnTo>
                  <a:pt x="889" y="24"/>
                </a:lnTo>
                <a:lnTo>
                  <a:pt x="891" y="28"/>
                </a:lnTo>
                <a:lnTo>
                  <a:pt x="882" y="84"/>
                </a:lnTo>
                <a:lnTo>
                  <a:pt x="741" y="326"/>
                </a:lnTo>
                <a:lnTo>
                  <a:pt x="737" y="354"/>
                </a:lnTo>
                <a:lnTo>
                  <a:pt x="757" y="377"/>
                </a:lnTo>
                <a:lnTo>
                  <a:pt x="780" y="469"/>
                </a:lnTo>
                <a:lnTo>
                  <a:pt x="736" y="591"/>
                </a:lnTo>
                <a:lnTo>
                  <a:pt x="594" y="566"/>
                </a:lnTo>
                <a:lnTo>
                  <a:pt x="498" y="456"/>
                </a:lnTo>
                <a:lnTo>
                  <a:pt x="337" y="393"/>
                </a:lnTo>
                <a:lnTo>
                  <a:pt x="183" y="266"/>
                </a:lnTo>
                <a:lnTo>
                  <a:pt x="34" y="205"/>
                </a:lnTo>
                <a:lnTo>
                  <a:pt x="8" y="165"/>
                </a:lnTo>
                <a:lnTo>
                  <a:pt x="0" y="90"/>
                </a:lnTo>
                <a:lnTo>
                  <a:pt x="12" y="47"/>
                </a:lnTo>
                <a:lnTo>
                  <a:pt x="38" y="8"/>
                </a:lnTo>
                <a:lnTo>
                  <a:pt x="61" y="1"/>
                </a:lnTo>
                <a:lnTo>
                  <a:pt x="105" y="40"/>
                </a:lnTo>
                <a:lnTo>
                  <a:pt x="138" y="39"/>
                </a:lnTo>
                <a:lnTo>
                  <a:pt x="227" y="0"/>
                </a:lnTo>
                <a:lnTo>
                  <a:pt x="331" y="59"/>
                </a:lnTo>
                <a:lnTo>
                  <a:pt x="349" y="99"/>
                </a:lnTo>
                <a:lnTo>
                  <a:pt x="587" y="85"/>
                </a:lnTo>
                <a:lnTo>
                  <a:pt x="677" y="53"/>
                </a:lnTo>
                <a:lnTo>
                  <a:pt x="773" y="59"/>
                </a:lnTo>
                <a:lnTo>
                  <a:pt x="805" y="33"/>
                </a:lnTo>
                <a:lnTo>
                  <a:pt x="866" y="33"/>
                </a:lnTo>
                <a:lnTo>
                  <a:pt x="908" y="20"/>
                </a:lnTo>
                <a:close/>
              </a:path>
            </a:pathLst>
          </a:custGeom>
          <a:solidFill>
            <a:srgbClr val="9C9C9C"/>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sz="800" i="1"/>
          </a:p>
        </p:txBody>
      </p:sp>
      <p:sp>
        <p:nvSpPr>
          <p:cNvPr id="57" name="Freeform 154">
            <a:extLst>
              <a:ext uri="{FF2B5EF4-FFF2-40B4-BE49-F238E27FC236}">
                <a16:creationId xmlns:a16="http://schemas.microsoft.com/office/drawing/2014/main" id="{C661A4C3-53E4-C804-A1C0-FF6027C50664}"/>
              </a:ext>
            </a:extLst>
          </p:cNvPr>
          <p:cNvSpPr>
            <a:spLocks/>
          </p:cNvSpPr>
          <p:nvPr/>
        </p:nvSpPr>
        <p:spPr bwMode="auto">
          <a:xfrm rot="21249101">
            <a:off x="9395505" y="5381474"/>
            <a:ext cx="193238" cy="389696"/>
          </a:xfrm>
          <a:custGeom>
            <a:avLst/>
            <a:gdLst>
              <a:gd name="T0" fmla="*/ 2147483647 w 409"/>
              <a:gd name="T1" fmla="*/ 0 h 855"/>
              <a:gd name="T2" fmla="*/ 2147483647 w 409"/>
              <a:gd name="T3" fmla="*/ 2147483647 h 855"/>
              <a:gd name="T4" fmla="*/ 2147483647 w 409"/>
              <a:gd name="T5" fmla="*/ 2147483647 h 855"/>
              <a:gd name="T6" fmla="*/ 2147483647 w 409"/>
              <a:gd name="T7" fmla="*/ 2147483647 h 855"/>
              <a:gd name="T8" fmla="*/ 2147483647 w 409"/>
              <a:gd name="T9" fmla="*/ 2147483647 h 855"/>
              <a:gd name="T10" fmla="*/ 2147483647 w 409"/>
              <a:gd name="T11" fmla="*/ 2147483647 h 855"/>
              <a:gd name="T12" fmla="*/ 2147483647 w 409"/>
              <a:gd name="T13" fmla="*/ 2147483647 h 855"/>
              <a:gd name="T14" fmla="*/ 2147483647 w 409"/>
              <a:gd name="T15" fmla="*/ 2147483647 h 855"/>
              <a:gd name="T16" fmla="*/ 2147483647 w 409"/>
              <a:gd name="T17" fmla="*/ 2147483647 h 855"/>
              <a:gd name="T18" fmla="*/ 2147483647 w 409"/>
              <a:gd name="T19" fmla="*/ 2147483647 h 855"/>
              <a:gd name="T20" fmla="*/ 2147483647 w 409"/>
              <a:gd name="T21" fmla="*/ 2147483647 h 855"/>
              <a:gd name="T22" fmla="*/ 2147483647 w 409"/>
              <a:gd name="T23" fmla="*/ 2147483647 h 855"/>
              <a:gd name="T24" fmla="*/ 2147483647 w 409"/>
              <a:gd name="T25" fmla="*/ 2147483647 h 855"/>
              <a:gd name="T26" fmla="*/ 2147483647 w 409"/>
              <a:gd name="T27" fmla="*/ 2147483647 h 855"/>
              <a:gd name="T28" fmla="*/ 2147483647 w 409"/>
              <a:gd name="T29" fmla="*/ 2147483647 h 855"/>
              <a:gd name="T30" fmla="*/ 2147483647 w 409"/>
              <a:gd name="T31" fmla="*/ 2147483647 h 855"/>
              <a:gd name="T32" fmla="*/ 2147483647 w 409"/>
              <a:gd name="T33" fmla="*/ 2147483647 h 855"/>
              <a:gd name="T34" fmla="*/ 0 w 409"/>
              <a:gd name="T35" fmla="*/ 2147483647 h 855"/>
              <a:gd name="T36" fmla="*/ 2147483647 w 409"/>
              <a:gd name="T37" fmla="*/ 2147483647 h 855"/>
              <a:gd name="T38" fmla="*/ 2147483647 w 409"/>
              <a:gd name="T39" fmla="*/ 2147483647 h 855"/>
              <a:gd name="T40" fmla="*/ 2147483647 w 409"/>
              <a:gd name="T41" fmla="*/ 2147483647 h 855"/>
              <a:gd name="T42" fmla="*/ 2147483647 w 409"/>
              <a:gd name="T43" fmla="*/ 2147483647 h 855"/>
              <a:gd name="T44" fmla="*/ 2147483647 w 409"/>
              <a:gd name="T45" fmla="*/ 2147483647 h 855"/>
              <a:gd name="T46" fmla="*/ 2147483647 w 409"/>
              <a:gd name="T47" fmla="*/ 2147483647 h 855"/>
              <a:gd name="T48" fmla="*/ 2147483647 w 409"/>
              <a:gd name="T49" fmla="*/ 2147483647 h 855"/>
              <a:gd name="T50" fmla="*/ 2147483647 w 409"/>
              <a:gd name="T51" fmla="*/ 2147483647 h 855"/>
              <a:gd name="T52" fmla="*/ 2147483647 w 409"/>
              <a:gd name="T53" fmla="*/ 2147483647 h 855"/>
              <a:gd name="T54" fmla="*/ 2147483647 w 409"/>
              <a:gd name="T55" fmla="*/ 2147483647 h 855"/>
              <a:gd name="T56" fmla="*/ 2147483647 w 409"/>
              <a:gd name="T57" fmla="*/ 2147483647 h 855"/>
              <a:gd name="T58" fmla="*/ 2147483647 w 409"/>
              <a:gd name="T59" fmla="*/ 2147483647 h 855"/>
              <a:gd name="T60" fmla="*/ 2147483647 w 409"/>
              <a:gd name="T61" fmla="*/ 2147483647 h 855"/>
              <a:gd name="T62" fmla="*/ 2147483647 w 409"/>
              <a:gd name="T63" fmla="*/ 2147483647 h 855"/>
              <a:gd name="T64" fmla="*/ 2147483647 w 409"/>
              <a:gd name="T65" fmla="*/ 0 h 8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09"/>
              <a:gd name="T100" fmla="*/ 0 h 855"/>
              <a:gd name="T101" fmla="*/ 409 w 409"/>
              <a:gd name="T102" fmla="*/ 855 h 8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09" h="855">
                <a:moveTo>
                  <a:pt x="289" y="0"/>
                </a:moveTo>
                <a:lnTo>
                  <a:pt x="343" y="30"/>
                </a:lnTo>
                <a:lnTo>
                  <a:pt x="351" y="46"/>
                </a:lnTo>
                <a:lnTo>
                  <a:pt x="374" y="70"/>
                </a:lnTo>
                <a:lnTo>
                  <a:pt x="409" y="234"/>
                </a:lnTo>
                <a:lnTo>
                  <a:pt x="343" y="708"/>
                </a:lnTo>
                <a:lnTo>
                  <a:pt x="323" y="739"/>
                </a:lnTo>
                <a:lnTo>
                  <a:pt x="318" y="764"/>
                </a:lnTo>
                <a:lnTo>
                  <a:pt x="286" y="785"/>
                </a:lnTo>
                <a:lnTo>
                  <a:pt x="221" y="756"/>
                </a:lnTo>
                <a:lnTo>
                  <a:pt x="190" y="778"/>
                </a:lnTo>
                <a:lnTo>
                  <a:pt x="161" y="823"/>
                </a:lnTo>
                <a:lnTo>
                  <a:pt x="124" y="848"/>
                </a:lnTo>
                <a:lnTo>
                  <a:pt x="73" y="855"/>
                </a:lnTo>
                <a:lnTo>
                  <a:pt x="5" y="738"/>
                </a:lnTo>
                <a:lnTo>
                  <a:pt x="2" y="694"/>
                </a:lnTo>
                <a:lnTo>
                  <a:pt x="9" y="665"/>
                </a:lnTo>
                <a:lnTo>
                  <a:pt x="0" y="622"/>
                </a:lnTo>
                <a:lnTo>
                  <a:pt x="29" y="520"/>
                </a:lnTo>
                <a:lnTo>
                  <a:pt x="50" y="504"/>
                </a:lnTo>
                <a:lnTo>
                  <a:pt x="58" y="475"/>
                </a:lnTo>
                <a:lnTo>
                  <a:pt x="48" y="457"/>
                </a:lnTo>
                <a:lnTo>
                  <a:pt x="48" y="238"/>
                </a:lnTo>
                <a:lnTo>
                  <a:pt x="38" y="230"/>
                </a:lnTo>
                <a:lnTo>
                  <a:pt x="15" y="227"/>
                </a:lnTo>
                <a:lnTo>
                  <a:pt x="3" y="195"/>
                </a:lnTo>
                <a:lnTo>
                  <a:pt x="19" y="89"/>
                </a:lnTo>
                <a:lnTo>
                  <a:pt x="24" y="82"/>
                </a:lnTo>
                <a:lnTo>
                  <a:pt x="62" y="133"/>
                </a:lnTo>
                <a:lnTo>
                  <a:pt x="112" y="131"/>
                </a:lnTo>
                <a:lnTo>
                  <a:pt x="224" y="49"/>
                </a:lnTo>
                <a:lnTo>
                  <a:pt x="256" y="42"/>
                </a:lnTo>
                <a:lnTo>
                  <a:pt x="289" y="0"/>
                </a:lnTo>
                <a:close/>
              </a:path>
            </a:pathLst>
          </a:custGeom>
          <a:solidFill>
            <a:srgbClr val="9C9C9C"/>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sz="800" i="1"/>
          </a:p>
        </p:txBody>
      </p:sp>
      <p:sp>
        <p:nvSpPr>
          <p:cNvPr id="58" name="Freeform 170">
            <a:extLst>
              <a:ext uri="{FF2B5EF4-FFF2-40B4-BE49-F238E27FC236}">
                <a16:creationId xmlns:a16="http://schemas.microsoft.com/office/drawing/2014/main" id="{40433014-9136-A195-A2D9-E5D3CFDAF1C4}"/>
              </a:ext>
            </a:extLst>
          </p:cNvPr>
          <p:cNvSpPr>
            <a:spLocks noChangeAspect="1"/>
          </p:cNvSpPr>
          <p:nvPr/>
        </p:nvSpPr>
        <p:spPr bwMode="auto">
          <a:xfrm rot="21249101">
            <a:off x="9273576" y="4426311"/>
            <a:ext cx="1420295" cy="1536575"/>
          </a:xfrm>
          <a:custGeom>
            <a:avLst/>
            <a:gdLst>
              <a:gd name="T0" fmla="*/ 2147483647 w 2978"/>
              <a:gd name="T1" fmla="*/ 2147483647 h 3382"/>
              <a:gd name="T2" fmla="*/ 2147483647 w 2978"/>
              <a:gd name="T3" fmla="*/ 2147483647 h 3382"/>
              <a:gd name="T4" fmla="*/ 2147483647 w 2978"/>
              <a:gd name="T5" fmla="*/ 2147483647 h 3382"/>
              <a:gd name="T6" fmla="*/ 2147483647 w 2978"/>
              <a:gd name="T7" fmla="*/ 2147483647 h 3382"/>
              <a:gd name="T8" fmla="*/ 2147483647 w 2978"/>
              <a:gd name="T9" fmla="*/ 2147483647 h 3382"/>
              <a:gd name="T10" fmla="*/ 2147483647 w 2978"/>
              <a:gd name="T11" fmla="*/ 2147483647 h 3382"/>
              <a:gd name="T12" fmla="*/ 2147483647 w 2978"/>
              <a:gd name="T13" fmla="*/ 2147483647 h 3382"/>
              <a:gd name="T14" fmla="*/ 2147483647 w 2978"/>
              <a:gd name="T15" fmla="*/ 2147483647 h 3382"/>
              <a:gd name="T16" fmla="*/ 2147483647 w 2978"/>
              <a:gd name="T17" fmla="*/ 2147483647 h 3382"/>
              <a:gd name="T18" fmla="*/ 2147483647 w 2978"/>
              <a:gd name="T19" fmla="*/ 2147483647 h 3382"/>
              <a:gd name="T20" fmla="*/ 2147483647 w 2978"/>
              <a:gd name="T21" fmla="*/ 2147483647 h 3382"/>
              <a:gd name="T22" fmla="*/ 2147483647 w 2978"/>
              <a:gd name="T23" fmla="*/ 2147483647 h 3382"/>
              <a:gd name="T24" fmla="*/ 2147483647 w 2978"/>
              <a:gd name="T25" fmla="*/ 2147483647 h 3382"/>
              <a:gd name="T26" fmla="*/ 2147483647 w 2978"/>
              <a:gd name="T27" fmla="*/ 2147483647 h 3382"/>
              <a:gd name="T28" fmla="*/ 2147483647 w 2978"/>
              <a:gd name="T29" fmla="*/ 2147483647 h 3382"/>
              <a:gd name="T30" fmla="*/ 2147483647 w 2978"/>
              <a:gd name="T31" fmla="*/ 2147483647 h 3382"/>
              <a:gd name="T32" fmla="*/ 2147483647 w 2978"/>
              <a:gd name="T33" fmla="*/ 2147483647 h 3382"/>
              <a:gd name="T34" fmla="*/ 2147483647 w 2978"/>
              <a:gd name="T35" fmla="*/ 2147483647 h 3382"/>
              <a:gd name="T36" fmla="*/ 2147483647 w 2978"/>
              <a:gd name="T37" fmla="*/ 2147483647 h 3382"/>
              <a:gd name="T38" fmla="*/ 2147483647 w 2978"/>
              <a:gd name="T39" fmla="*/ 2147483647 h 3382"/>
              <a:gd name="T40" fmla="*/ 2147483647 w 2978"/>
              <a:gd name="T41" fmla="*/ 2147483647 h 3382"/>
              <a:gd name="T42" fmla="*/ 2147483647 w 2978"/>
              <a:gd name="T43" fmla="*/ 2147483647 h 3382"/>
              <a:gd name="T44" fmla="*/ 2147483647 w 2978"/>
              <a:gd name="T45" fmla="*/ 2147483647 h 3382"/>
              <a:gd name="T46" fmla="*/ 2147483647 w 2978"/>
              <a:gd name="T47" fmla="*/ 2147483647 h 3382"/>
              <a:gd name="T48" fmla="*/ 2147483647 w 2978"/>
              <a:gd name="T49" fmla="*/ 2147483647 h 3382"/>
              <a:gd name="T50" fmla="*/ 2147483647 w 2978"/>
              <a:gd name="T51" fmla="*/ 2147483647 h 3382"/>
              <a:gd name="T52" fmla="*/ 2147483647 w 2978"/>
              <a:gd name="T53" fmla="*/ 2147483647 h 3382"/>
              <a:gd name="T54" fmla="*/ 2147483647 w 2978"/>
              <a:gd name="T55" fmla="*/ 2147483647 h 3382"/>
              <a:gd name="T56" fmla="*/ 2147483647 w 2978"/>
              <a:gd name="T57" fmla="*/ 2147483647 h 3382"/>
              <a:gd name="T58" fmla="*/ 2147483647 w 2978"/>
              <a:gd name="T59" fmla="*/ 2147483647 h 3382"/>
              <a:gd name="T60" fmla="*/ 2147483647 w 2978"/>
              <a:gd name="T61" fmla="*/ 2147483647 h 3382"/>
              <a:gd name="T62" fmla="*/ 2147483647 w 2978"/>
              <a:gd name="T63" fmla="*/ 2147483647 h 3382"/>
              <a:gd name="T64" fmla="*/ 2147483647 w 2978"/>
              <a:gd name="T65" fmla="*/ 2147483647 h 3382"/>
              <a:gd name="T66" fmla="*/ 2147483647 w 2978"/>
              <a:gd name="T67" fmla="*/ 2147483647 h 3382"/>
              <a:gd name="T68" fmla="*/ 2147483647 w 2978"/>
              <a:gd name="T69" fmla="*/ 2147483647 h 3382"/>
              <a:gd name="T70" fmla="*/ 2147483647 w 2978"/>
              <a:gd name="T71" fmla="*/ 2147483647 h 3382"/>
              <a:gd name="T72" fmla="*/ 2147483647 w 2978"/>
              <a:gd name="T73" fmla="*/ 2147483647 h 3382"/>
              <a:gd name="T74" fmla="*/ 2147483647 w 2978"/>
              <a:gd name="T75" fmla="*/ 2147483647 h 3382"/>
              <a:gd name="T76" fmla="*/ 2147483647 w 2978"/>
              <a:gd name="T77" fmla="*/ 2147483647 h 3382"/>
              <a:gd name="T78" fmla="*/ 2147483647 w 2978"/>
              <a:gd name="T79" fmla="*/ 2147483647 h 3382"/>
              <a:gd name="T80" fmla="*/ 2147483647 w 2978"/>
              <a:gd name="T81" fmla="*/ 2147483647 h 3382"/>
              <a:gd name="T82" fmla="*/ 2147483647 w 2978"/>
              <a:gd name="T83" fmla="*/ 2147483647 h 3382"/>
              <a:gd name="T84" fmla="*/ 2147483647 w 2978"/>
              <a:gd name="T85" fmla="*/ 2147483647 h 3382"/>
              <a:gd name="T86" fmla="*/ 2147483647 w 2978"/>
              <a:gd name="T87" fmla="*/ 2147483647 h 3382"/>
              <a:gd name="T88" fmla="*/ 2147483647 w 2978"/>
              <a:gd name="T89" fmla="*/ 2147483647 h 3382"/>
              <a:gd name="T90" fmla="*/ 2147483647 w 2978"/>
              <a:gd name="T91" fmla="*/ 2147483647 h 3382"/>
              <a:gd name="T92" fmla="*/ 2147483647 w 2978"/>
              <a:gd name="T93" fmla="*/ 2147483647 h 3382"/>
              <a:gd name="T94" fmla="*/ 2147483647 w 2978"/>
              <a:gd name="T95" fmla="*/ 2147483647 h 3382"/>
              <a:gd name="T96" fmla="*/ 2147483647 w 2978"/>
              <a:gd name="T97" fmla="*/ 2147483647 h 3382"/>
              <a:gd name="T98" fmla="*/ 2147483647 w 2978"/>
              <a:gd name="T99" fmla="*/ 2147483647 h 3382"/>
              <a:gd name="T100" fmla="*/ 2147483647 w 2978"/>
              <a:gd name="T101" fmla="*/ 2147483647 h 3382"/>
              <a:gd name="T102" fmla="*/ 2147483647 w 2978"/>
              <a:gd name="T103" fmla="*/ 2147483647 h 3382"/>
              <a:gd name="T104" fmla="*/ 2147483647 w 2978"/>
              <a:gd name="T105" fmla="*/ 2147483647 h 3382"/>
              <a:gd name="T106" fmla="*/ 2147483647 w 2978"/>
              <a:gd name="T107" fmla="*/ 2147483647 h 3382"/>
              <a:gd name="T108" fmla="*/ 2147483647 w 2978"/>
              <a:gd name="T109" fmla="*/ 2147483647 h 3382"/>
              <a:gd name="T110" fmla="*/ 2147483647 w 2978"/>
              <a:gd name="T111" fmla="*/ 2147483647 h 3382"/>
              <a:gd name="T112" fmla="*/ 2147483647 w 2978"/>
              <a:gd name="T113" fmla="*/ 2147483647 h 3382"/>
              <a:gd name="T114" fmla="*/ 2147483647 w 2978"/>
              <a:gd name="T115" fmla="*/ 2147483647 h 3382"/>
              <a:gd name="T116" fmla="*/ 2147483647 w 2978"/>
              <a:gd name="T117" fmla="*/ 2147483647 h 3382"/>
              <a:gd name="T118" fmla="*/ 2147483647 w 2978"/>
              <a:gd name="T119" fmla="*/ 2147483647 h 3382"/>
              <a:gd name="T120" fmla="*/ 2147483647 w 2978"/>
              <a:gd name="T121" fmla="*/ 0 h 3382"/>
              <a:gd name="T122" fmla="*/ 2147483647 w 2978"/>
              <a:gd name="T123" fmla="*/ 2147483647 h 33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978"/>
              <a:gd name="T187" fmla="*/ 0 h 3382"/>
              <a:gd name="T188" fmla="*/ 2978 w 2978"/>
              <a:gd name="T189" fmla="*/ 3382 h 338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978" h="3382">
                <a:moveTo>
                  <a:pt x="1022" y="30"/>
                </a:moveTo>
                <a:lnTo>
                  <a:pt x="1001" y="77"/>
                </a:lnTo>
                <a:lnTo>
                  <a:pt x="1000" y="107"/>
                </a:lnTo>
                <a:lnTo>
                  <a:pt x="980" y="119"/>
                </a:lnTo>
                <a:lnTo>
                  <a:pt x="931" y="115"/>
                </a:lnTo>
                <a:lnTo>
                  <a:pt x="918" y="143"/>
                </a:lnTo>
                <a:lnTo>
                  <a:pt x="919" y="176"/>
                </a:lnTo>
                <a:lnTo>
                  <a:pt x="930" y="205"/>
                </a:lnTo>
                <a:lnTo>
                  <a:pt x="919" y="224"/>
                </a:lnTo>
                <a:lnTo>
                  <a:pt x="777" y="183"/>
                </a:lnTo>
                <a:lnTo>
                  <a:pt x="752" y="154"/>
                </a:lnTo>
                <a:lnTo>
                  <a:pt x="721" y="134"/>
                </a:lnTo>
                <a:lnTo>
                  <a:pt x="704" y="182"/>
                </a:lnTo>
                <a:lnTo>
                  <a:pt x="644" y="263"/>
                </a:lnTo>
                <a:lnTo>
                  <a:pt x="629" y="305"/>
                </a:lnTo>
                <a:lnTo>
                  <a:pt x="615" y="323"/>
                </a:lnTo>
                <a:lnTo>
                  <a:pt x="586" y="299"/>
                </a:lnTo>
                <a:lnTo>
                  <a:pt x="565" y="258"/>
                </a:lnTo>
                <a:lnTo>
                  <a:pt x="518" y="213"/>
                </a:lnTo>
                <a:lnTo>
                  <a:pt x="503" y="121"/>
                </a:lnTo>
                <a:lnTo>
                  <a:pt x="450" y="141"/>
                </a:lnTo>
                <a:lnTo>
                  <a:pt x="418" y="172"/>
                </a:lnTo>
                <a:lnTo>
                  <a:pt x="411" y="213"/>
                </a:lnTo>
                <a:lnTo>
                  <a:pt x="335" y="266"/>
                </a:lnTo>
                <a:lnTo>
                  <a:pt x="74" y="252"/>
                </a:lnTo>
                <a:lnTo>
                  <a:pt x="67" y="274"/>
                </a:lnTo>
                <a:lnTo>
                  <a:pt x="102" y="471"/>
                </a:lnTo>
                <a:lnTo>
                  <a:pt x="46" y="499"/>
                </a:lnTo>
                <a:lnTo>
                  <a:pt x="16" y="526"/>
                </a:lnTo>
                <a:lnTo>
                  <a:pt x="1" y="563"/>
                </a:lnTo>
                <a:lnTo>
                  <a:pt x="0" y="586"/>
                </a:lnTo>
                <a:lnTo>
                  <a:pt x="5" y="607"/>
                </a:lnTo>
                <a:lnTo>
                  <a:pt x="42" y="629"/>
                </a:lnTo>
                <a:lnTo>
                  <a:pt x="39" y="665"/>
                </a:lnTo>
                <a:lnTo>
                  <a:pt x="23" y="708"/>
                </a:lnTo>
                <a:lnTo>
                  <a:pt x="23" y="813"/>
                </a:lnTo>
                <a:lnTo>
                  <a:pt x="44" y="858"/>
                </a:lnTo>
                <a:lnTo>
                  <a:pt x="158" y="891"/>
                </a:lnTo>
                <a:lnTo>
                  <a:pt x="166" y="931"/>
                </a:lnTo>
                <a:lnTo>
                  <a:pt x="161" y="971"/>
                </a:lnTo>
                <a:lnTo>
                  <a:pt x="147" y="1001"/>
                </a:lnTo>
                <a:lnTo>
                  <a:pt x="147" y="1018"/>
                </a:lnTo>
                <a:lnTo>
                  <a:pt x="230" y="1029"/>
                </a:lnTo>
                <a:lnTo>
                  <a:pt x="310" y="1006"/>
                </a:lnTo>
                <a:lnTo>
                  <a:pt x="323" y="974"/>
                </a:lnTo>
                <a:lnTo>
                  <a:pt x="375" y="917"/>
                </a:lnTo>
                <a:lnTo>
                  <a:pt x="400" y="909"/>
                </a:lnTo>
                <a:lnTo>
                  <a:pt x="413" y="882"/>
                </a:lnTo>
                <a:lnTo>
                  <a:pt x="500" y="857"/>
                </a:lnTo>
                <a:lnTo>
                  <a:pt x="584" y="880"/>
                </a:lnTo>
                <a:lnTo>
                  <a:pt x="836" y="1063"/>
                </a:lnTo>
                <a:lnTo>
                  <a:pt x="901" y="1375"/>
                </a:lnTo>
                <a:lnTo>
                  <a:pt x="893" y="1410"/>
                </a:lnTo>
                <a:lnTo>
                  <a:pt x="1022" y="1585"/>
                </a:lnTo>
                <a:lnTo>
                  <a:pt x="1031" y="1661"/>
                </a:lnTo>
                <a:lnTo>
                  <a:pt x="1070" y="1650"/>
                </a:lnTo>
                <a:lnTo>
                  <a:pt x="1107" y="1654"/>
                </a:lnTo>
                <a:lnTo>
                  <a:pt x="1147" y="1695"/>
                </a:lnTo>
                <a:lnTo>
                  <a:pt x="1205" y="1801"/>
                </a:lnTo>
                <a:lnTo>
                  <a:pt x="1252" y="1813"/>
                </a:lnTo>
                <a:lnTo>
                  <a:pt x="1501" y="2122"/>
                </a:lnTo>
                <a:lnTo>
                  <a:pt x="1528" y="2115"/>
                </a:lnTo>
                <a:lnTo>
                  <a:pt x="1690" y="2144"/>
                </a:lnTo>
                <a:lnTo>
                  <a:pt x="1755" y="2233"/>
                </a:lnTo>
                <a:lnTo>
                  <a:pt x="1773" y="2286"/>
                </a:lnTo>
                <a:lnTo>
                  <a:pt x="1852" y="2325"/>
                </a:lnTo>
                <a:lnTo>
                  <a:pt x="1858" y="2341"/>
                </a:lnTo>
                <a:lnTo>
                  <a:pt x="1849" y="2380"/>
                </a:lnTo>
                <a:lnTo>
                  <a:pt x="1945" y="2371"/>
                </a:lnTo>
                <a:lnTo>
                  <a:pt x="1971" y="2379"/>
                </a:lnTo>
                <a:lnTo>
                  <a:pt x="1992" y="2411"/>
                </a:lnTo>
                <a:lnTo>
                  <a:pt x="2007" y="2467"/>
                </a:lnTo>
                <a:lnTo>
                  <a:pt x="1995" y="2503"/>
                </a:lnTo>
                <a:lnTo>
                  <a:pt x="2017" y="2541"/>
                </a:lnTo>
                <a:lnTo>
                  <a:pt x="2074" y="2569"/>
                </a:lnTo>
                <a:lnTo>
                  <a:pt x="2123" y="2633"/>
                </a:lnTo>
                <a:lnTo>
                  <a:pt x="2150" y="2588"/>
                </a:lnTo>
                <a:lnTo>
                  <a:pt x="2177" y="2590"/>
                </a:lnTo>
                <a:lnTo>
                  <a:pt x="2329" y="3058"/>
                </a:lnTo>
                <a:lnTo>
                  <a:pt x="2213" y="3115"/>
                </a:lnTo>
                <a:lnTo>
                  <a:pt x="2229" y="3172"/>
                </a:lnTo>
                <a:lnTo>
                  <a:pt x="2167" y="3276"/>
                </a:lnTo>
                <a:lnTo>
                  <a:pt x="2166" y="3338"/>
                </a:lnTo>
                <a:lnTo>
                  <a:pt x="2177" y="3378"/>
                </a:lnTo>
                <a:lnTo>
                  <a:pt x="2184" y="3368"/>
                </a:lnTo>
                <a:lnTo>
                  <a:pt x="2181" y="3381"/>
                </a:lnTo>
                <a:lnTo>
                  <a:pt x="2261" y="3382"/>
                </a:lnTo>
                <a:lnTo>
                  <a:pt x="2277" y="3369"/>
                </a:lnTo>
                <a:lnTo>
                  <a:pt x="2339" y="3263"/>
                </a:lnTo>
                <a:lnTo>
                  <a:pt x="2375" y="3233"/>
                </a:lnTo>
                <a:lnTo>
                  <a:pt x="2410" y="3225"/>
                </a:lnTo>
                <a:lnTo>
                  <a:pt x="2424" y="3194"/>
                </a:lnTo>
                <a:lnTo>
                  <a:pt x="2432" y="3079"/>
                </a:lnTo>
                <a:lnTo>
                  <a:pt x="2449" y="3055"/>
                </a:lnTo>
                <a:lnTo>
                  <a:pt x="2544" y="3017"/>
                </a:lnTo>
                <a:lnTo>
                  <a:pt x="2569" y="3018"/>
                </a:lnTo>
                <a:lnTo>
                  <a:pt x="2579" y="2998"/>
                </a:lnTo>
                <a:lnTo>
                  <a:pt x="2575" y="2849"/>
                </a:lnTo>
                <a:lnTo>
                  <a:pt x="2554" y="2823"/>
                </a:lnTo>
                <a:lnTo>
                  <a:pt x="2505" y="2793"/>
                </a:lnTo>
                <a:lnTo>
                  <a:pt x="2482" y="2758"/>
                </a:lnTo>
                <a:lnTo>
                  <a:pt x="2428" y="2732"/>
                </a:lnTo>
                <a:lnTo>
                  <a:pt x="2461" y="2584"/>
                </a:lnTo>
                <a:lnTo>
                  <a:pt x="2568" y="2462"/>
                </a:lnTo>
                <a:lnTo>
                  <a:pt x="2622" y="2455"/>
                </a:lnTo>
                <a:lnTo>
                  <a:pt x="2703" y="2519"/>
                </a:lnTo>
                <a:lnTo>
                  <a:pt x="2828" y="2571"/>
                </a:lnTo>
                <a:lnTo>
                  <a:pt x="2881" y="2676"/>
                </a:lnTo>
                <a:lnTo>
                  <a:pt x="2936" y="2708"/>
                </a:lnTo>
                <a:lnTo>
                  <a:pt x="2936" y="2695"/>
                </a:lnTo>
                <a:lnTo>
                  <a:pt x="2978" y="2618"/>
                </a:lnTo>
                <a:lnTo>
                  <a:pt x="2832" y="2386"/>
                </a:lnTo>
                <a:lnTo>
                  <a:pt x="2654" y="2314"/>
                </a:lnTo>
                <a:lnTo>
                  <a:pt x="2617" y="2266"/>
                </a:lnTo>
                <a:lnTo>
                  <a:pt x="2314" y="2110"/>
                </a:lnTo>
                <a:lnTo>
                  <a:pt x="2293" y="2109"/>
                </a:lnTo>
                <a:lnTo>
                  <a:pt x="2279" y="2086"/>
                </a:lnTo>
                <a:lnTo>
                  <a:pt x="2281" y="2060"/>
                </a:lnTo>
                <a:lnTo>
                  <a:pt x="2313" y="2028"/>
                </a:lnTo>
                <a:lnTo>
                  <a:pt x="2351" y="2007"/>
                </a:lnTo>
                <a:lnTo>
                  <a:pt x="2357" y="1962"/>
                </a:lnTo>
                <a:lnTo>
                  <a:pt x="2327" y="1918"/>
                </a:lnTo>
                <a:lnTo>
                  <a:pt x="2276" y="1921"/>
                </a:lnTo>
                <a:lnTo>
                  <a:pt x="2255" y="1933"/>
                </a:lnTo>
                <a:lnTo>
                  <a:pt x="2294" y="1922"/>
                </a:lnTo>
                <a:lnTo>
                  <a:pt x="2257" y="1933"/>
                </a:lnTo>
                <a:lnTo>
                  <a:pt x="2106" y="1925"/>
                </a:lnTo>
                <a:lnTo>
                  <a:pt x="2100" y="1963"/>
                </a:lnTo>
                <a:lnTo>
                  <a:pt x="1994" y="1855"/>
                </a:lnTo>
                <a:lnTo>
                  <a:pt x="1969" y="1850"/>
                </a:lnTo>
                <a:lnTo>
                  <a:pt x="1960" y="1810"/>
                </a:lnTo>
                <a:lnTo>
                  <a:pt x="1940" y="1809"/>
                </a:lnTo>
                <a:lnTo>
                  <a:pt x="1821" y="1662"/>
                </a:lnTo>
                <a:lnTo>
                  <a:pt x="1769" y="1501"/>
                </a:lnTo>
                <a:lnTo>
                  <a:pt x="1753" y="1476"/>
                </a:lnTo>
                <a:lnTo>
                  <a:pt x="1701" y="1286"/>
                </a:lnTo>
                <a:lnTo>
                  <a:pt x="1682" y="1269"/>
                </a:lnTo>
                <a:lnTo>
                  <a:pt x="1653" y="1267"/>
                </a:lnTo>
                <a:lnTo>
                  <a:pt x="1646" y="1249"/>
                </a:lnTo>
                <a:lnTo>
                  <a:pt x="1458" y="1105"/>
                </a:lnTo>
                <a:lnTo>
                  <a:pt x="1411" y="1021"/>
                </a:lnTo>
                <a:lnTo>
                  <a:pt x="1401" y="977"/>
                </a:lnTo>
                <a:lnTo>
                  <a:pt x="1425" y="813"/>
                </a:lnTo>
                <a:lnTo>
                  <a:pt x="1456" y="793"/>
                </a:lnTo>
                <a:lnTo>
                  <a:pt x="1465" y="763"/>
                </a:lnTo>
                <a:lnTo>
                  <a:pt x="1454" y="731"/>
                </a:lnTo>
                <a:lnTo>
                  <a:pt x="1421" y="716"/>
                </a:lnTo>
                <a:lnTo>
                  <a:pt x="1417" y="645"/>
                </a:lnTo>
                <a:lnTo>
                  <a:pt x="1428" y="613"/>
                </a:lnTo>
                <a:lnTo>
                  <a:pt x="1482" y="579"/>
                </a:lnTo>
                <a:lnTo>
                  <a:pt x="1499" y="580"/>
                </a:lnTo>
                <a:lnTo>
                  <a:pt x="1504" y="588"/>
                </a:lnTo>
                <a:lnTo>
                  <a:pt x="1685" y="518"/>
                </a:lnTo>
                <a:lnTo>
                  <a:pt x="1727" y="533"/>
                </a:lnTo>
                <a:lnTo>
                  <a:pt x="1769" y="515"/>
                </a:lnTo>
                <a:lnTo>
                  <a:pt x="1802" y="524"/>
                </a:lnTo>
                <a:lnTo>
                  <a:pt x="1803" y="551"/>
                </a:lnTo>
                <a:lnTo>
                  <a:pt x="1783" y="583"/>
                </a:lnTo>
                <a:lnTo>
                  <a:pt x="1783" y="591"/>
                </a:lnTo>
                <a:lnTo>
                  <a:pt x="1805" y="599"/>
                </a:lnTo>
                <a:lnTo>
                  <a:pt x="1830" y="595"/>
                </a:lnTo>
                <a:lnTo>
                  <a:pt x="1848" y="582"/>
                </a:lnTo>
                <a:lnTo>
                  <a:pt x="1855" y="563"/>
                </a:lnTo>
                <a:lnTo>
                  <a:pt x="1846" y="543"/>
                </a:lnTo>
                <a:lnTo>
                  <a:pt x="1830" y="534"/>
                </a:lnTo>
                <a:lnTo>
                  <a:pt x="1820" y="510"/>
                </a:lnTo>
                <a:lnTo>
                  <a:pt x="1785" y="491"/>
                </a:lnTo>
                <a:lnTo>
                  <a:pt x="1776" y="479"/>
                </a:lnTo>
                <a:lnTo>
                  <a:pt x="1778" y="443"/>
                </a:lnTo>
                <a:lnTo>
                  <a:pt x="1758" y="413"/>
                </a:lnTo>
                <a:lnTo>
                  <a:pt x="1781" y="345"/>
                </a:lnTo>
                <a:lnTo>
                  <a:pt x="1755" y="349"/>
                </a:lnTo>
                <a:lnTo>
                  <a:pt x="1745" y="339"/>
                </a:lnTo>
                <a:lnTo>
                  <a:pt x="1747" y="318"/>
                </a:lnTo>
                <a:lnTo>
                  <a:pt x="1764" y="286"/>
                </a:lnTo>
                <a:lnTo>
                  <a:pt x="1814" y="246"/>
                </a:lnTo>
                <a:lnTo>
                  <a:pt x="1578" y="183"/>
                </a:lnTo>
                <a:lnTo>
                  <a:pt x="1538" y="149"/>
                </a:lnTo>
                <a:lnTo>
                  <a:pt x="1519" y="143"/>
                </a:lnTo>
                <a:lnTo>
                  <a:pt x="1468" y="103"/>
                </a:lnTo>
                <a:lnTo>
                  <a:pt x="1451" y="31"/>
                </a:lnTo>
                <a:lnTo>
                  <a:pt x="1453" y="9"/>
                </a:lnTo>
                <a:lnTo>
                  <a:pt x="1443" y="0"/>
                </a:lnTo>
                <a:lnTo>
                  <a:pt x="1414" y="2"/>
                </a:lnTo>
                <a:lnTo>
                  <a:pt x="1391" y="16"/>
                </a:lnTo>
                <a:lnTo>
                  <a:pt x="1076" y="55"/>
                </a:lnTo>
                <a:lnTo>
                  <a:pt x="1022" y="30"/>
                </a:lnTo>
                <a:close/>
              </a:path>
            </a:pathLst>
          </a:custGeom>
          <a:solidFill>
            <a:srgbClr val="9C9C9C"/>
          </a:solidFill>
          <a:ln w="12700">
            <a:solidFill>
              <a:schemeClr val="bg1"/>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cs-CZ" i="1" dirty="0"/>
          </a:p>
        </p:txBody>
      </p:sp>
      <p:sp>
        <p:nvSpPr>
          <p:cNvPr id="59" name="Vrije vorm: vorm 7">
            <a:extLst>
              <a:ext uri="{FF2B5EF4-FFF2-40B4-BE49-F238E27FC236}">
                <a16:creationId xmlns:a16="http://schemas.microsoft.com/office/drawing/2014/main" id="{697D2ED3-EA26-8136-9679-B69C8C9759E9}"/>
              </a:ext>
            </a:extLst>
          </p:cNvPr>
          <p:cNvSpPr/>
          <p:nvPr/>
        </p:nvSpPr>
        <p:spPr>
          <a:xfrm>
            <a:off x="9575936" y="4843693"/>
            <a:ext cx="552450" cy="408385"/>
          </a:xfrm>
          <a:custGeom>
            <a:avLst/>
            <a:gdLst>
              <a:gd name="connsiteX0" fmla="*/ 0 w 552450"/>
              <a:gd name="connsiteY0" fmla="*/ 52388 h 408385"/>
              <a:gd name="connsiteX1" fmla="*/ 38100 w 552450"/>
              <a:gd name="connsiteY1" fmla="*/ 4763 h 408385"/>
              <a:gd name="connsiteX2" fmla="*/ 60722 w 552450"/>
              <a:gd name="connsiteY2" fmla="*/ 0 h 408385"/>
              <a:gd name="connsiteX3" fmla="*/ 70247 w 552450"/>
              <a:gd name="connsiteY3" fmla="*/ 5953 h 408385"/>
              <a:gd name="connsiteX4" fmla="*/ 84534 w 552450"/>
              <a:gd name="connsiteY4" fmla="*/ 15478 h 408385"/>
              <a:gd name="connsiteX5" fmla="*/ 84534 w 552450"/>
              <a:gd name="connsiteY5" fmla="*/ 27385 h 408385"/>
              <a:gd name="connsiteX6" fmla="*/ 84534 w 552450"/>
              <a:gd name="connsiteY6" fmla="*/ 38100 h 408385"/>
              <a:gd name="connsiteX7" fmla="*/ 96441 w 552450"/>
              <a:gd name="connsiteY7" fmla="*/ 36910 h 408385"/>
              <a:gd name="connsiteX8" fmla="*/ 111919 w 552450"/>
              <a:gd name="connsiteY8" fmla="*/ 32147 h 408385"/>
              <a:gd name="connsiteX9" fmla="*/ 126206 w 552450"/>
              <a:gd name="connsiteY9" fmla="*/ 45244 h 408385"/>
              <a:gd name="connsiteX10" fmla="*/ 130969 w 552450"/>
              <a:gd name="connsiteY10" fmla="*/ 57150 h 408385"/>
              <a:gd name="connsiteX11" fmla="*/ 152400 w 552450"/>
              <a:gd name="connsiteY11" fmla="*/ 48816 h 408385"/>
              <a:gd name="connsiteX12" fmla="*/ 171450 w 552450"/>
              <a:gd name="connsiteY12" fmla="*/ 61913 h 408385"/>
              <a:gd name="connsiteX13" fmla="*/ 202406 w 552450"/>
              <a:gd name="connsiteY13" fmla="*/ 64294 h 408385"/>
              <a:gd name="connsiteX14" fmla="*/ 220266 w 552450"/>
              <a:gd name="connsiteY14" fmla="*/ 50007 h 408385"/>
              <a:gd name="connsiteX15" fmla="*/ 227409 w 552450"/>
              <a:gd name="connsiteY15" fmla="*/ 36910 h 408385"/>
              <a:gd name="connsiteX16" fmla="*/ 240506 w 552450"/>
              <a:gd name="connsiteY16" fmla="*/ 36910 h 408385"/>
              <a:gd name="connsiteX17" fmla="*/ 251222 w 552450"/>
              <a:gd name="connsiteY17" fmla="*/ 44053 h 408385"/>
              <a:gd name="connsiteX18" fmla="*/ 260747 w 552450"/>
              <a:gd name="connsiteY18" fmla="*/ 54769 h 408385"/>
              <a:gd name="connsiteX19" fmla="*/ 270272 w 552450"/>
              <a:gd name="connsiteY19" fmla="*/ 54769 h 408385"/>
              <a:gd name="connsiteX20" fmla="*/ 288131 w 552450"/>
              <a:gd name="connsiteY20" fmla="*/ 46435 h 408385"/>
              <a:gd name="connsiteX21" fmla="*/ 297656 w 552450"/>
              <a:gd name="connsiteY21" fmla="*/ 53578 h 408385"/>
              <a:gd name="connsiteX22" fmla="*/ 301228 w 552450"/>
              <a:gd name="connsiteY22" fmla="*/ 72628 h 408385"/>
              <a:gd name="connsiteX23" fmla="*/ 294084 w 552450"/>
              <a:gd name="connsiteY23" fmla="*/ 84535 h 408385"/>
              <a:gd name="connsiteX24" fmla="*/ 294084 w 552450"/>
              <a:gd name="connsiteY24" fmla="*/ 91678 h 408385"/>
              <a:gd name="connsiteX25" fmla="*/ 294084 w 552450"/>
              <a:gd name="connsiteY25" fmla="*/ 100013 h 408385"/>
              <a:gd name="connsiteX26" fmla="*/ 307181 w 552450"/>
              <a:gd name="connsiteY26" fmla="*/ 110728 h 408385"/>
              <a:gd name="connsiteX27" fmla="*/ 320278 w 552450"/>
              <a:gd name="connsiteY27" fmla="*/ 100013 h 408385"/>
              <a:gd name="connsiteX28" fmla="*/ 339328 w 552450"/>
              <a:gd name="connsiteY28" fmla="*/ 89297 h 408385"/>
              <a:gd name="connsiteX29" fmla="*/ 352425 w 552450"/>
              <a:gd name="connsiteY29" fmla="*/ 85725 h 408385"/>
              <a:gd name="connsiteX30" fmla="*/ 365522 w 552450"/>
              <a:gd name="connsiteY30" fmla="*/ 89297 h 408385"/>
              <a:gd name="connsiteX31" fmla="*/ 372666 w 552450"/>
              <a:gd name="connsiteY31" fmla="*/ 98822 h 408385"/>
              <a:gd name="connsiteX32" fmla="*/ 382191 w 552450"/>
              <a:gd name="connsiteY32" fmla="*/ 86916 h 408385"/>
              <a:gd name="connsiteX33" fmla="*/ 397669 w 552450"/>
              <a:gd name="connsiteY33" fmla="*/ 83344 h 408385"/>
              <a:gd name="connsiteX34" fmla="*/ 423863 w 552450"/>
              <a:gd name="connsiteY34" fmla="*/ 97632 h 408385"/>
              <a:gd name="connsiteX35" fmla="*/ 440531 w 552450"/>
              <a:gd name="connsiteY35" fmla="*/ 115491 h 408385"/>
              <a:gd name="connsiteX36" fmla="*/ 459581 w 552450"/>
              <a:gd name="connsiteY36" fmla="*/ 132160 h 408385"/>
              <a:gd name="connsiteX37" fmla="*/ 483394 w 552450"/>
              <a:gd name="connsiteY37" fmla="*/ 147638 h 408385"/>
              <a:gd name="connsiteX38" fmla="*/ 503634 w 552450"/>
              <a:gd name="connsiteY38" fmla="*/ 144066 h 408385"/>
              <a:gd name="connsiteX39" fmla="*/ 513159 w 552450"/>
              <a:gd name="connsiteY39" fmla="*/ 160735 h 408385"/>
              <a:gd name="connsiteX40" fmla="*/ 525066 w 552450"/>
              <a:gd name="connsiteY40" fmla="*/ 190500 h 408385"/>
              <a:gd name="connsiteX41" fmla="*/ 539353 w 552450"/>
              <a:gd name="connsiteY41" fmla="*/ 207169 h 408385"/>
              <a:gd name="connsiteX42" fmla="*/ 545306 w 552450"/>
              <a:gd name="connsiteY42" fmla="*/ 230982 h 408385"/>
              <a:gd name="connsiteX43" fmla="*/ 552450 w 552450"/>
              <a:gd name="connsiteY43" fmla="*/ 255985 h 408385"/>
              <a:gd name="connsiteX44" fmla="*/ 552450 w 552450"/>
              <a:gd name="connsiteY44" fmla="*/ 283369 h 408385"/>
              <a:gd name="connsiteX45" fmla="*/ 531019 w 552450"/>
              <a:gd name="connsiteY45" fmla="*/ 283369 h 408385"/>
              <a:gd name="connsiteX46" fmla="*/ 515541 w 552450"/>
              <a:gd name="connsiteY46" fmla="*/ 300038 h 408385"/>
              <a:gd name="connsiteX47" fmla="*/ 510778 w 552450"/>
              <a:gd name="connsiteY47" fmla="*/ 309563 h 408385"/>
              <a:gd name="connsiteX48" fmla="*/ 490538 w 552450"/>
              <a:gd name="connsiteY48" fmla="*/ 286941 h 408385"/>
              <a:gd name="connsiteX49" fmla="*/ 457200 w 552450"/>
              <a:gd name="connsiteY49" fmla="*/ 285750 h 408385"/>
              <a:gd name="connsiteX50" fmla="*/ 457200 w 552450"/>
              <a:gd name="connsiteY50" fmla="*/ 257175 h 408385"/>
              <a:gd name="connsiteX51" fmla="*/ 444103 w 552450"/>
              <a:gd name="connsiteY51" fmla="*/ 241697 h 408385"/>
              <a:gd name="connsiteX52" fmla="*/ 434578 w 552450"/>
              <a:gd name="connsiteY52" fmla="*/ 214313 h 408385"/>
              <a:gd name="connsiteX53" fmla="*/ 432197 w 552450"/>
              <a:gd name="connsiteY53" fmla="*/ 192882 h 408385"/>
              <a:gd name="connsiteX54" fmla="*/ 398859 w 552450"/>
              <a:gd name="connsiteY54" fmla="*/ 190500 h 408385"/>
              <a:gd name="connsiteX55" fmla="*/ 377428 w 552450"/>
              <a:gd name="connsiteY55" fmla="*/ 185738 h 408385"/>
              <a:gd name="connsiteX56" fmla="*/ 366713 w 552450"/>
              <a:gd name="connsiteY56" fmla="*/ 165497 h 408385"/>
              <a:gd name="connsiteX57" fmla="*/ 346472 w 552450"/>
              <a:gd name="connsiteY57" fmla="*/ 180975 h 408385"/>
              <a:gd name="connsiteX58" fmla="*/ 327422 w 552450"/>
              <a:gd name="connsiteY58" fmla="*/ 209550 h 408385"/>
              <a:gd name="connsiteX59" fmla="*/ 325041 w 552450"/>
              <a:gd name="connsiteY59" fmla="*/ 232172 h 408385"/>
              <a:gd name="connsiteX60" fmla="*/ 334566 w 552450"/>
              <a:gd name="connsiteY60" fmla="*/ 234553 h 408385"/>
              <a:gd name="connsiteX61" fmla="*/ 320278 w 552450"/>
              <a:gd name="connsiteY61" fmla="*/ 245269 h 408385"/>
              <a:gd name="connsiteX62" fmla="*/ 316706 w 552450"/>
              <a:gd name="connsiteY62" fmla="*/ 260747 h 408385"/>
              <a:gd name="connsiteX63" fmla="*/ 316706 w 552450"/>
              <a:gd name="connsiteY63" fmla="*/ 279797 h 408385"/>
              <a:gd name="connsiteX64" fmla="*/ 316706 w 552450"/>
              <a:gd name="connsiteY64" fmla="*/ 297657 h 408385"/>
              <a:gd name="connsiteX65" fmla="*/ 316706 w 552450"/>
              <a:gd name="connsiteY65" fmla="*/ 303610 h 408385"/>
              <a:gd name="connsiteX66" fmla="*/ 303609 w 552450"/>
              <a:gd name="connsiteY66" fmla="*/ 311944 h 408385"/>
              <a:gd name="connsiteX67" fmla="*/ 303609 w 552450"/>
              <a:gd name="connsiteY67" fmla="*/ 327422 h 408385"/>
              <a:gd name="connsiteX68" fmla="*/ 297656 w 552450"/>
              <a:gd name="connsiteY68" fmla="*/ 339328 h 408385"/>
              <a:gd name="connsiteX69" fmla="*/ 290513 w 552450"/>
              <a:gd name="connsiteY69" fmla="*/ 358378 h 408385"/>
              <a:gd name="connsiteX70" fmla="*/ 270272 w 552450"/>
              <a:gd name="connsiteY70" fmla="*/ 370285 h 408385"/>
              <a:gd name="connsiteX71" fmla="*/ 270272 w 552450"/>
              <a:gd name="connsiteY71" fmla="*/ 397669 h 408385"/>
              <a:gd name="connsiteX72" fmla="*/ 267891 w 552450"/>
              <a:gd name="connsiteY72" fmla="*/ 403622 h 408385"/>
              <a:gd name="connsiteX73" fmla="*/ 257175 w 552450"/>
              <a:gd name="connsiteY73" fmla="*/ 404813 h 408385"/>
              <a:gd name="connsiteX74" fmla="*/ 252413 w 552450"/>
              <a:gd name="connsiteY74" fmla="*/ 404813 h 408385"/>
              <a:gd name="connsiteX75" fmla="*/ 245269 w 552450"/>
              <a:gd name="connsiteY75" fmla="*/ 395288 h 408385"/>
              <a:gd name="connsiteX76" fmla="*/ 234553 w 552450"/>
              <a:gd name="connsiteY76" fmla="*/ 404813 h 408385"/>
              <a:gd name="connsiteX77" fmla="*/ 226219 w 552450"/>
              <a:gd name="connsiteY77" fmla="*/ 408385 h 408385"/>
              <a:gd name="connsiteX78" fmla="*/ 201216 w 552450"/>
              <a:gd name="connsiteY78" fmla="*/ 400050 h 408385"/>
              <a:gd name="connsiteX79" fmla="*/ 191691 w 552450"/>
              <a:gd name="connsiteY79" fmla="*/ 382191 h 408385"/>
              <a:gd name="connsiteX80" fmla="*/ 202406 w 552450"/>
              <a:gd name="connsiteY80" fmla="*/ 367903 h 408385"/>
              <a:gd name="connsiteX81" fmla="*/ 210741 w 552450"/>
              <a:gd name="connsiteY81" fmla="*/ 357188 h 408385"/>
              <a:gd name="connsiteX82" fmla="*/ 198834 w 552450"/>
              <a:gd name="connsiteY82" fmla="*/ 347663 h 408385"/>
              <a:gd name="connsiteX83" fmla="*/ 180975 w 552450"/>
              <a:gd name="connsiteY83" fmla="*/ 342900 h 408385"/>
              <a:gd name="connsiteX84" fmla="*/ 180975 w 552450"/>
              <a:gd name="connsiteY84" fmla="*/ 342900 h 408385"/>
              <a:gd name="connsiteX85" fmla="*/ 172641 w 552450"/>
              <a:gd name="connsiteY85" fmla="*/ 334566 h 408385"/>
              <a:gd name="connsiteX86" fmla="*/ 163116 w 552450"/>
              <a:gd name="connsiteY86" fmla="*/ 326232 h 408385"/>
              <a:gd name="connsiteX87" fmla="*/ 147638 w 552450"/>
              <a:gd name="connsiteY87" fmla="*/ 314325 h 408385"/>
              <a:gd name="connsiteX88" fmla="*/ 141684 w 552450"/>
              <a:gd name="connsiteY88" fmla="*/ 303610 h 408385"/>
              <a:gd name="connsiteX89" fmla="*/ 128588 w 552450"/>
              <a:gd name="connsiteY89" fmla="*/ 303610 h 408385"/>
              <a:gd name="connsiteX90" fmla="*/ 127397 w 552450"/>
              <a:gd name="connsiteY90" fmla="*/ 286941 h 408385"/>
              <a:gd name="connsiteX91" fmla="*/ 119063 w 552450"/>
              <a:gd name="connsiteY91" fmla="*/ 239316 h 408385"/>
              <a:gd name="connsiteX92" fmla="*/ 119063 w 552450"/>
              <a:gd name="connsiteY92" fmla="*/ 229791 h 408385"/>
              <a:gd name="connsiteX93" fmla="*/ 88106 w 552450"/>
              <a:gd name="connsiteY93" fmla="*/ 214313 h 408385"/>
              <a:gd name="connsiteX94" fmla="*/ 89297 w 552450"/>
              <a:gd name="connsiteY94" fmla="*/ 190500 h 408385"/>
              <a:gd name="connsiteX95" fmla="*/ 92869 w 552450"/>
              <a:gd name="connsiteY95" fmla="*/ 169069 h 408385"/>
              <a:gd name="connsiteX96" fmla="*/ 90488 w 552450"/>
              <a:gd name="connsiteY96" fmla="*/ 150019 h 408385"/>
              <a:gd name="connsiteX97" fmla="*/ 83344 w 552450"/>
              <a:gd name="connsiteY97" fmla="*/ 139303 h 408385"/>
              <a:gd name="connsiteX98" fmla="*/ 70247 w 552450"/>
              <a:gd name="connsiteY98" fmla="*/ 127397 h 408385"/>
              <a:gd name="connsiteX99" fmla="*/ 66675 w 552450"/>
              <a:gd name="connsiteY99" fmla="*/ 122635 h 408385"/>
              <a:gd name="connsiteX100" fmla="*/ 60722 w 552450"/>
              <a:gd name="connsiteY100" fmla="*/ 120253 h 408385"/>
              <a:gd name="connsiteX101" fmla="*/ 47625 w 552450"/>
              <a:gd name="connsiteY101" fmla="*/ 113110 h 408385"/>
              <a:gd name="connsiteX102" fmla="*/ 47625 w 552450"/>
              <a:gd name="connsiteY102" fmla="*/ 95250 h 408385"/>
              <a:gd name="connsiteX103" fmla="*/ 46434 w 552450"/>
              <a:gd name="connsiteY103" fmla="*/ 91678 h 408385"/>
              <a:gd name="connsiteX104" fmla="*/ 0 w 552450"/>
              <a:gd name="connsiteY104" fmla="*/ 52388 h 40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52450" h="408385">
                <a:moveTo>
                  <a:pt x="0" y="52388"/>
                </a:moveTo>
                <a:lnTo>
                  <a:pt x="38100" y="4763"/>
                </a:lnTo>
                <a:lnTo>
                  <a:pt x="60722" y="0"/>
                </a:lnTo>
                <a:lnTo>
                  <a:pt x="70247" y="5953"/>
                </a:lnTo>
                <a:lnTo>
                  <a:pt x="84534" y="15478"/>
                </a:lnTo>
                <a:lnTo>
                  <a:pt x="84534" y="27385"/>
                </a:lnTo>
                <a:lnTo>
                  <a:pt x="84534" y="38100"/>
                </a:lnTo>
                <a:lnTo>
                  <a:pt x="96441" y="36910"/>
                </a:lnTo>
                <a:lnTo>
                  <a:pt x="111919" y="32147"/>
                </a:lnTo>
                <a:lnTo>
                  <a:pt x="126206" y="45244"/>
                </a:lnTo>
                <a:lnTo>
                  <a:pt x="130969" y="57150"/>
                </a:lnTo>
                <a:lnTo>
                  <a:pt x="152400" y="48816"/>
                </a:lnTo>
                <a:lnTo>
                  <a:pt x="171450" y="61913"/>
                </a:lnTo>
                <a:lnTo>
                  <a:pt x="202406" y="64294"/>
                </a:lnTo>
                <a:lnTo>
                  <a:pt x="220266" y="50007"/>
                </a:lnTo>
                <a:lnTo>
                  <a:pt x="227409" y="36910"/>
                </a:lnTo>
                <a:lnTo>
                  <a:pt x="240506" y="36910"/>
                </a:lnTo>
                <a:lnTo>
                  <a:pt x="251222" y="44053"/>
                </a:lnTo>
                <a:lnTo>
                  <a:pt x="260747" y="54769"/>
                </a:lnTo>
                <a:lnTo>
                  <a:pt x="270272" y="54769"/>
                </a:lnTo>
                <a:lnTo>
                  <a:pt x="288131" y="46435"/>
                </a:lnTo>
                <a:lnTo>
                  <a:pt x="297656" y="53578"/>
                </a:lnTo>
                <a:lnTo>
                  <a:pt x="301228" y="72628"/>
                </a:lnTo>
                <a:lnTo>
                  <a:pt x="294084" y="84535"/>
                </a:lnTo>
                <a:lnTo>
                  <a:pt x="294084" y="91678"/>
                </a:lnTo>
                <a:lnTo>
                  <a:pt x="294084" y="100013"/>
                </a:lnTo>
                <a:lnTo>
                  <a:pt x="307181" y="110728"/>
                </a:lnTo>
                <a:lnTo>
                  <a:pt x="320278" y="100013"/>
                </a:lnTo>
                <a:lnTo>
                  <a:pt x="339328" y="89297"/>
                </a:lnTo>
                <a:lnTo>
                  <a:pt x="352425" y="85725"/>
                </a:lnTo>
                <a:lnTo>
                  <a:pt x="365522" y="89297"/>
                </a:lnTo>
                <a:lnTo>
                  <a:pt x="372666" y="98822"/>
                </a:lnTo>
                <a:lnTo>
                  <a:pt x="382191" y="86916"/>
                </a:lnTo>
                <a:lnTo>
                  <a:pt x="397669" y="83344"/>
                </a:lnTo>
                <a:lnTo>
                  <a:pt x="423863" y="97632"/>
                </a:lnTo>
                <a:lnTo>
                  <a:pt x="440531" y="115491"/>
                </a:lnTo>
                <a:lnTo>
                  <a:pt x="459581" y="132160"/>
                </a:lnTo>
                <a:lnTo>
                  <a:pt x="483394" y="147638"/>
                </a:lnTo>
                <a:lnTo>
                  <a:pt x="503634" y="144066"/>
                </a:lnTo>
                <a:lnTo>
                  <a:pt x="513159" y="160735"/>
                </a:lnTo>
                <a:lnTo>
                  <a:pt x="525066" y="190500"/>
                </a:lnTo>
                <a:lnTo>
                  <a:pt x="539353" y="207169"/>
                </a:lnTo>
                <a:lnTo>
                  <a:pt x="545306" y="230982"/>
                </a:lnTo>
                <a:lnTo>
                  <a:pt x="552450" y="255985"/>
                </a:lnTo>
                <a:lnTo>
                  <a:pt x="552450" y="283369"/>
                </a:lnTo>
                <a:lnTo>
                  <a:pt x="531019" y="283369"/>
                </a:lnTo>
                <a:lnTo>
                  <a:pt x="515541" y="300038"/>
                </a:lnTo>
                <a:lnTo>
                  <a:pt x="510778" y="309563"/>
                </a:lnTo>
                <a:lnTo>
                  <a:pt x="490538" y="286941"/>
                </a:lnTo>
                <a:lnTo>
                  <a:pt x="457200" y="285750"/>
                </a:lnTo>
                <a:lnTo>
                  <a:pt x="457200" y="257175"/>
                </a:lnTo>
                <a:lnTo>
                  <a:pt x="444103" y="241697"/>
                </a:lnTo>
                <a:lnTo>
                  <a:pt x="434578" y="214313"/>
                </a:lnTo>
                <a:lnTo>
                  <a:pt x="432197" y="192882"/>
                </a:lnTo>
                <a:lnTo>
                  <a:pt x="398859" y="190500"/>
                </a:lnTo>
                <a:lnTo>
                  <a:pt x="377428" y="185738"/>
                </a:lnTo>
                <a:lnTo>
                  <a:pt x="366713" y="165497"/>
                </a:lnTo>
                <a:lnTo>
                  <a:pt x="346472" y="180975"/>
                </a:lnTo>
                <a:lnTo>
                  <a:pt x="327422" y="209550"/>
                </a:lnTo>
                <a:lnTo>
                  <a:pt x="325041" y="232172"/>
                </a:lnTo>
                <a:lnTo>
                  <a:pt x="334566" y="234553"/>
                </a:lnTo>
                <a:lnTo>
                  <a:pt x="320278" y="245269"/>
                </a:lnTo>
                <a:lnTo>
                  <a:pt x="316706" y="260747"/>
                </a:lnTo>
                <a:lnTo>
                  <a:pt x="316706" y="279797"/>
                </a:lnTo>
                <a:lnTo>
                  <a:pt x="316706" y="297657"/>
                </a:lnTo>
                <a:lnTo>
                  <a:pt x="316706" y="303610"/>
                </a:lnTo>
                <a:lnTo>
                  <a:pt x="303609" y="311944"/>
                </a:lnTo>
                <a:lnTo>
                  <a:pt x="303609" y="327422"/>
                </a:lnTo>
                <a:lnTo>
                  <a:pt x="297656" y="339328"/>
                </a:lnTo>
                <a:lnTo>
                  <a:pt x="290513" y="358378"/>
                </a:lnTo>
                <a:lnTo>
                  <a:pt x="270272" y="370285"/>
                </a:lnTo>
                <a:lnTo>
                  <a:pt x="270272" y="397669"/>
                </a:lnTo>
                <a:lnTo>
                  <a:pt x="267891" y="403622"/>
                </a:lnTo>
                <a:lnTo>
                  <a:pt x="257175" y="404813"/>
                </a:lnTo>
                <a:lnTo>
                  <a:pt x="252413" y="404813"/>
                </a:lnTo>
                <a:lnTo>
                  <a:pt x="245269" y="395288"/>
                </a:lnTo>
                <a:lnTo>
                  <a:pt x="234553" y="404813"/>
                </a:lnTo>
                <a:lnTo>
                  <a:pt x="226219" y="408385"/>
                </a:lnTo>
                <a:lnTo>
                  <a:pt x="201216" y="400050"/>
                </a:lnTo>
                <a:lnTo>
                  <a:pt x="191691" y="382191"/>
                </a:lnTo>
                <a:lnTo>
                  <a:pt x="202406" y="367903"/>
                </a:lnTo>
                <a:lnTo>
                  <a:pt x="210741" y="357188"/>
                </a:lnTo>
                <a:lnTo>
                  <a:pt x="198834" y="347663"/>
                </a:lnTo>
                <a:lnTo>
                  <a:pt x="180975" y="342900"/>
                </a:lnTo>
                <a:lnTo>
                  <a:pt x="180975" y="342900"/>
                </a:lnTo>
                <a:lnTo>
                  <a:pt x="172641" y="334566"/>
                </a:lnTo>
                <a:lnTo>
                  <a:pt x="163116" y="326232"/>
                </a:lnTo>
                <a:lnTo>
                  <a:pt x="147638" y="314325"/>
                </a:lnTo>
                <a:lnTo>
                  <a:pt x="141684" y="303610"/>
                </a:lnTo>
                <a:lnTo>
                  <a:pt x="128588" y="303610"/>
                </a:lnTo>
                <a:lnTo>
                  <a:pt x="127397" y="286941"/>
                </a:lnTo>
                <a:lnTo>
                  <a:pt x="119063" y="239316"/>
                </a:lnTo>
                <a:lnTo>
                  <a:pt x="119063" y="229791"/>
                </a:lnTo>
                <a:lnTo>
                  <a:pt x="88106" y="214313"/>
                </a:lnTo>
                <a:lnTo>
                  <a:pt x="89297" y="190500"/>
                </a:lnTo>
                <a:lnTo>
                  <a:pt x="92869" y="169069"/>
                </a:lnTo>
                <a:lnTo>
                  <a:pt x="90488" y="150019"/>
                </a:lnTo>
                <a:lnTo>
                  <a:pt x="83344" y="139303"/>
                </a:lnTo>
                <a:lnTo>
                  <a:pt x="70247" y="127397"/>
                </a:lnTo>
                <a:lnTo>
                  <a:pt x="66675" y="122635"/>
                </a:lnTo>
                <a:lnTo>
                  <a:pt x="60722" y="120253"/>
                </a:lnTo>
                <a:lnTo>
                  <a:pt x="47625" y="113110"/>
                </a:lnTo>
                <a:lnTo>
                  <a:pt x="47625" y="95250"/>
                </a:lnTo>
                <a:lnTo>
                  <a:pt x="46434" y="91678"/>
                </a:lnTo>
                <a:lnTo>
                  <a:pt x="0" y="52388"/>
                </a:lnTo>
                <a:close/>
              </a:path>
            </a:pathLst>
          </a:custGeom>
          <a:solidFill>
            <a:srgbClr val="9C9C9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0" name="Vrije vorm: vorm 9">
            <a:extLst>
              <a:ext uri="{FF2B5EF4-FFF2-40B4-BE49-F238E27FC236}">
                <a16:creationId xmlns:a16="http://schemas.microsoft.com/office/drawing/2014/main" id="{FA245D69-5EF3-8333-B968-ACACFA320880}"/>
              </a:ext>
            </a:extLst>
          </p:cNvPr>
          <p:cNvSpPr/>
          <p:nvPr/>
        </p:nvSpPr>
        <p:spPr>
          <a:xfrm>
            <a:off x="9847167" y="5013231"/>
            <a:ext cx="527447" cy="577453"/>
          </a:xfrm>
          <a:custGeom>
            <a:avLst/>
            <a:gdLst>
              <a:gd name="connsiteX0" fmla="*/ 0 w 527447"/>
              <a:gd name="connsiteY0" fmla="*/ 221456 h 577453"/>
              <a:gd name="connsiteX1" fmla="*/ 39291 w 527447"/>
              <a:gd name="connsiteY1" fmla="*/ 140493 h 577453"/>
              <a:gd name="connsiteX2" fmla="*/ 47625 w 527447"/>
              <a:gd name="connsiteY2" fmla="*/ 127397 h 577453"/>
              <a:gd name="connsiteX3" fmla="*/ 51197 w 527447"/>
              <a:gd name="connsiteY3" fmla="*/ 97631 h 577453"/>
              <a:gd name="connsiteX4" fmla="*/ 51197 w 527447"/>
              <a:gd name="connsiteY4" fmla="*/ 71437 h 577453"/>
              <a:gd name="connsiteX5" fmla="*/ 65485 w 527447"/>
              <a:gd name="connsiteY5" fmla="*/ 63103 h 577453"/>
              <a:gd name="connsiteX6" fmla="*/ 59531 w 527447"/>
              <a:gd name="connsiteY6" fmla="*/ 51197 h 577453"/>
              <a:gd name="connsiteX7" fmla="*/ 63103 w 527447"/>
              <a:gd name="connsiteY7" fmla="*/ 28575 h 577453"/>
              <a:gd name="connsiteX8" fmla="*/ 82153 w 527447"/>
              <a:gd name="connsiteY8" fmla="*/ 5953 h 577453"/>
              <a:gd name="connsiteX9" fmla="*/ 96441 w 527447"/>
              <a:gd name="connsiteY9" fmla="*/ 0 h 577453"/>
              <a:gd name="connsiteX10" fmla="*/ 101203 w 527447"/>
              <a:gd name="connsiteY10" fmla="*/ 0 h 577453"/>
              <a:gd name="connsiteX11" fmla="*/ 117872 w 527447"/>
              <a:gd name="connsiteY11" fmla="*/ 11906 h 577453"/>
              <a:gd name="connsiteX12" fmla="*/ 158353 w 527447"/>
              <a:gd name="connsiteY12" fmla="*/ 16668 h 577453"/>
              <a:gd name="connsiteX13" fmla="*/ 158353 w 527447"/>
              <a:gd name="connsiteY13" fmla="*/ 16668 h 577453"/>
              <a:gd name="connsiteX14" fmla="*/ 163116 w 527447"/>
              <a:gd name="connsiteY14" fmla="*/ 46434 h 577453"/>
              <a:gd name="connsiteX15" fmla="*/ 169069 w 527447"/>
              <a:gd name="connsiteY15" fmla="*/ 64293 h 577453"/>
              <a:gd name="connsiteX16" fmla="*/ 188119 w 527447"/>
              <a:gd name="connsiteY16" fmla="*/ 79772 h 577453"/>
              <a:gd name="connsiteX17" fmla="*/ 188119 w 527447"/>
              <a:gd name="connsiteY17" fmla="*/ 105965 h 577453"/>
              <a:gd name="connsiteX18" fmla="*/ 216694 w 527447"/>
              <a:gd name="connsiteY18" fmla="*/ 109537 h 577453"/>
              <a:gd name="connsiteX19" fmla="*/ 238125 w 527447"/>
              <a:gd name="connsiteY19" fmla="*/ 127397 h 577453"/>
              <a:gd name="connsiteX20" fmla="*/ 241697 w 527447"/>
              <a:gd name="connsiteY20" fmla="*/ 134540 h 577453"/>
              <a:gd name="connsiteX21" fmla="*/ 255985 w 527447"/>
              <a:gd name="connsiteY21" fmla="*/ 115490 h 577453"/>
              <a:gd name="connsiteX22" fmla="*/ 277416 w 527447"/>
              <a:gd name="connsiteY22" fmla="*/ 108347 h 577453"/>
              <a:gd name="connsiteX23" fmla="*/ 296466 w 527447"/>
              <a:gd name="connsiteY23" fmla="*/ 100012 h 577453"/>
              <a:gd name="connsiteX24" fmla="*/ 310753 w 527447"/>
              <a:gd name="connsiteY24" fmla="*/ 132159 h 577453"/>
              <a:gd name="connsiteX25" fmla="*/ 402431 w 527447"/>
              <a:gd name="connsiteY25" fmla="*/ 217884 h 577453"/>
              <a:gd name="connsiteX26" fmla="*/ 391716 w 527447"/>
              <a:gd name="connsiteY26" fmla="*/ 232172 h 577453"/>
              <a:gd name="connsiteX27" fmla="*/ 376238 w 527447"/>
              <a:gd name="connsiteY27" fmla="*/ 253603 h 577453"/>
              <a:gd name="connsiteX28" fmla="*/ 360760 w 527447"/>
              <a:gd name="connsiteY28" fmla="*/ 253603 h 577453"/>
              <a:gd name="connsiteX29" fmla="*/ 341710 w 527447"/>
              <a:gd name="connsiteY29" fmla="*/ 255984 h 577453"/>
              <a:gd name="connsiteX30" fmla="*/ 335756 w 527447"/>
              <a:gd name="connsiteY30" fmla="*/ 264318 h 577453"/>
              <a:gd name="connsiteX31" fmla="*/ 325041 w 527447"/>
              <a:gd name="connsiteY31" fmla="*/ 275034 h 577453"/>
              <a:gd name="connsiteX32" fmla="*/ 323850 w 527447"/>
              <a:gd name="connsiteY32" fmla="*/ 280987 h 577453"/>
              <a:gd name="connsiteX33" fmla="*/ 314325 w 527447"/>
              <a:gd name="connsiteY33" fmla="*/ 295275 h 577453"/>
              <a:gd name="connsiteX34" fmla="*/ 305991 w 527447"/>
              <a:gd name="connsiteY34" fmla="*/ 305990 h 577453"/>
              <a:gd name="connsiteX35" fmla="*/ 305991 w 527447"/>
              <a:gd name="connsiteY35" fmla="*/ 328612 h 577453"/>
              <a:gd name="connsiteX36" fmla="*/ 305991 w 527447"/>
              <a:gd name="connsiteY36" fmla="*/ 355997 h 577453"/>
              <a:gd name="connsiteX37" fmla="*/ 328613 w 527447"/>
              <a:gd name="connsiteY37" fmla="*/ 367903 h 577453"/>
              <a:gd name="connsiteX38" fmla="*/ 347663 w 527447"/>
              <a:gd name="connsiteY38" fmla="*/ 363140 h 577453"/>
              <a:gd name="connsiteX39" fmla="*/ 361950 w 527447"/>
              <a:gd name="connsiteY39" fmla="*/ 352425 h 577453"/>
              <a:gd name="connsiteX40" fmla="*/ 381000 w 527447"/>
              <a:gd name="connsiteY40" fmla="*/ 364331 h 577453"/>
              <a:gd name="connsiteX41" fmla="*/ 432197 w 527447"/>
              <a:gd name="connsiteY41" fmla="*/ 357187 h 577453"/>
              <a:gd name="connsiteX42" fmla="*/ 447675 w 527447"/>
              <a:gd name="connsiteY42" fmla="*/ 367903 h 577453"/>
              <a:gd name="connsiteX43" fmla="*/ 457200 w 527447"/>
              <a:gd name="connsiteY43" fmla="*/ 385762 h 577453"/>
              <a:gd name="connsiteX44" fmla="*/ 479822 w 527447"/>
              <a:gd name="connsiteY44" fmla="*/ 400050 h 577453"/>
              <a:gd name="connsiteX45" fmla="*/ 481013 w 527447"/>
              <a:gd name="connsiteY45" fmla="*/ 425053 h 577453"/>
              <a:gd name="connsiteX46" fmla="*/ 482203 w 527447"/>
              <a:gd name="connsiteY46" fmla="*/ 456009 h 577453"/>
              <a:gd name="connsiteX47" fmla="*/ 496491 w 527447"/>
              <a:gd name="connsiteY47" fmla="*/ 467915 h 577453"/>
              <a:gd name="connsiteX48" fmla="*/ 504825 w 527447"/>
              <a:gd name="connsiteY48" fmla="*/ 496490 h 577453"/>
              <a:gd name="connsiteX49" fmla="*/ 527447 w 527447"/>
              <a:gd name="connsiteY49" fmla="*/ 515540 h 577453"/>
              <a:gd name="connsiteX50" fmla="*/ 517922 w 527447"/>
              <a:gd name="connsiteY50" fmla="*/ 540543 h 577453"/>
              <a:gd name="connsiteX51" fmla="*/ 519113 w 527447"/>
              <a:gd name="connsiteY51" fmla="*/ 565547 h 577453"/>
              <a:gd name="connsiteX52" fmla="*/ 504825 w 527447"/>
              <a:gd name="connsiteY52" fmla="*/ 575072 h 577453"/>
              <a:gd name="connsiteX53" fmla="*/ 497681 w 527447"/>
              <a:gd name="connsiteY53" fmla="*/ 577453 h 577453"/>
              <a:gd name="connsiteX54" fmla="*/ 467916 w 527447"/>
              <a:gd name="connsiteY54" fmla="*/ 545306 h 577453"/>
              <a:gd name="connsiteX55" fmla="*/ 440531 w 527447"/>
              <a:gd name="connsiteY55" fmla="*/ 541734 h 577453"/>
              <a:gd name="connsiteX56" fmla="*/ 426244 w 527447"/>
              <a:gd name="connsiteY56" fmla="*/ 529828 h 577453"/>
              <a:gd name="connsiteX57" fmla="*/ 423863 w 527447"/>
              <a:gd name="connsiteY57" fmla="*/ 488156 h 577453"/>
              <a:gd name="connsiteX58" fmla="*/ 411956 w 527447"/>
              <a:gd name="connsiteY58" fmla="*/ 478631 h 577453"/>
              <a:gd name="connsiteX59" fmla="*/ 396478 w 527447"/>
              <a:gd name="connsiteY59" fmla="*/ 489347 h 577453"/>
              <a:gd name="connsiteX60" fmla="*/ 373856 w 527447"/>
              <a:gd name="connsiteY60" fmla="*/ 482203 h 577453"/>
              <a:gd name="connsiteX61" fmla="*/ 366713 w 527447"/>
              <a:gd name="connsiteY61" fmla="*/ 486965 h 577453"/>
              <a:gd name="connsiteX62" fmla="*/ 363141 w 527447"/>
              <a:gd name="connsiteY62" fmla="*/ 490537 h 577453"/>
              <a:gd name="connsiteX63" fmla="*/ 354806 w 527447"/>
              <a:gd name="connsiteY63" fmla="*/ 484584 h 577453"/>
              <a:gd name="connsiteX64" fmla="*/ 352425 w 527447"/>
              <a:gd name="connsiteY64" fmla="*/ 453628 h 577453"/>
              <a:gd name="connsiteX65" fmla="*/ 339328 w 527447"/>
              <a:gd name="connsiteY65" fmla="*/ 453628 h 577453"/>
              <a:gd name="connsiteX66" fmla="*/ 321469 w 527447"/>
              <a:gd name="connsiteY66" fmla="*/ 447675 h 577453"/>
              <a:gd name="connsiteX67" fmla="*/ 295275 w 527447"/>
              <a:gd name="connsiteY67" fmla="*/ 394097 h 577453"/>
              <a:gd name="connsiteX68" fmla="*/ 278606 w 527447"/>
              <a:gd name="connsiteY68" fmla="*/ 392906 h 577453"/>
              <a:gd name="connsiteX69" fmla="*/ 227410 w 527447"/>
              <a:gd name="connsiteY69" fmla="*/ 381000 h 577453"/>
              <a:gd name="connsiteX70" fmla="*/ 203597 w 527447"/>
              <a:gd name="connsiteY70" fmla="*/ 394097 h 577453"/>
              <a:gd name="connsiteX71" fmla="*/ 192881 w 527447"/>
              <a:gd name="connsiteY71" fmla="*/ 395287 h 577453"/>
              <a:gd name="connsiteX72" fmla="*/ 189310 w 527447"/>
              <a:gd name="connsiteY72" fmla="*/ 372665 h 577453"/>
              <a:gd name="connsiteX73" fmla="*/ 173831 w 527447"/>
              <a:gd name="connsiteY73" fmla="*/ 369093 h 577453"/>
              <a:gd name="connsiteX74" fmla="*/ 155972 w 527447"/>
              <a:gd name="connsiteY74" fmla="*/ 369093 h 577453"/>
              <a:gd name="connsiteX75" fmla="*/ 101203 w 527447"/>
              <a:gd name="connsiteY75" fmla="*/ 311943 h 577453"/>
              <a:gd name="connsiteX76" fmla="*/ 84535 w 527447"/>
              <a:gd name="connsiteY76" fmla="*/ 294084 h 577453"/>
              <a:gd name="connsiteX77" fmla="*/ 73819 w 527447"/>
              <a:gd name="connsiteY77" fmla="*/ 270272 h 577453"/>
              <a:gd name="connsiteX78" fmla="*/ 51197 w 527447"/>
              <a:gd name="connsiteY78" fmla="*/ 269081 h 577453"/>
              <a:gd name="connsiteX79" fmla="*/ 0 w 527447"/>
              <a:gd name="connsiteY79" fmla="*/ 221456 h 5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27447" h="577453">
                <a:moveTo>
                  <a:pt x="0" y="221456"/>
                </a:moveTo>
                <a:lnTo>
                  <a:pt x="39291" y="140493"/>
                </a:lnTo>
                <a:lnTo>
                  <a:pt x="47625" y="127397"/>
                </a:lnTo>
                <a:lnTo>
                  <a:pt x="51197" y="97631"/>
                </a:lnTo>
                <a:lnTo>
                  <a:pt x="51197" y="71437"/>
                </a:lnTo>
                <a:lnTo>
                  <a:pt x="65485" y="63103"/>
                </a:lnTo>
                <a:lnTo>
                  <a:pt x="59531" y="51197"/>
                </a:lnTo>
                <a:lnTo>
                  <a:pt x="63103" y="28575"/>
                </a:lnTo>
                <a:lnTo>
                  <a:pt x="82153" y="5953"/>
                </a:lnTo>
                <a:lnTo>
                  <a:pt x="96441" y="0"/>
                </a:lnTo>
                <a:lnTo>
                  <a:pt x="101203" y="0"/>
                </a:lnTo>
                <a:lnTo>
                  <a:pt x="117872" y="11906"/>
                </a:lnTo>
                <a:lnTo>
                  <a:pt x="158353" y="16668"/>
                </a:lnTo>
                <a:lnTo>
                  <a:pt x="158353" y="16668"/>
                </a:lnTo>
                <a:lnTo>
                  <a:pt x="163116" y="46434"/>
                </a:lnTo>
                <a:lnTo>
                  <a:pt x="169069" y="64293"/>
                </a:lnTo>
                <a:lnTo>
                  <a:pt x="188119" y="79772"/>
                </a:lnTo>
                <a:lnTo>
                  <a:pt x="188119" y="105965"/>
                </a:lnTo>
                <a:lnTo>
                  <a:pt x="216694" y="109537"/>
                </a:lnTo>
                <a:lnTo>
                  <a:pt x="238125" y="127397"/>
                </a:lnTo>
                <a:lnTo>
                  <a:pt x="241697" y="134540"/>
                </a:lnTo>
                <a:lnTo>
                  <a:pt x="255985" y="115490"/>
                </a:lnTo>
                <a:lnTo>
                  <a:pt x="277416" y="108347"/>
                </a:lnTo>
                <a:lnTo>
                  <a:pt x="296466" y="100012"/>
                </a:lnTo>
                <a:lnTo>
                  <a:pt x="310753" y="132159"/>
                </a:lnTo>
                <a:lnTo>
                  <a:pt x="402431" y="217884"/>
                </a:lnTo>
                <a:lnTo>
                  <a:pt x="391716" y="232172"/>
                </a:lnTo>
                <a:lnTo>
                  <a:pt x="376238" y="253603"/>
                </a:lnTo>
                <a:lnTo>
                  <a:pt x="360760" y="253603"/>
                </a:lnTo>
                <a:lnTo>
                  <a:pt x="341710" y="255984"/>
                </a:lnTo>
                <a:lnTo>
                  <a:pt x="335756" y="264318"/>
                </a:lnTo>
                <a:lnTo>
                  <a:pt x="325041" y="275034"/>
                </a:lnTo>
                <a:lnTo>
                  <a:pt x="323850" y="280987"/>
                </a:lnTo>
                <a:lnTo>
                  <a:pt x="314325" y="295275"/>
                </a:lnTo>
                <a:lnTo>
                  <a:pt x="305991" y="305990"/>
                </a:lnTo>
                <a:lnTo>
                  <a:pt x="305991" y="328612"/>
                </a:lnTo>
                <a:lnTo>
                  <a:pt x="305991" y="355997"/>
                </a:lnTo>
                <a:lnTo>
                  <a:pt x="328613" y="367903"/>
                </a:lnTo>
                <a:lnTo>
                  <a:pt x="347663" y="363140"/>
                </a:lnTo>
                <a:lnTo>
                  <a:pt x="361950" y="352425"/>
                </a:lnTo>
                <a:lnTo>
                  <a:pt x="381000" y="364331"/>
                </a:lnTo>
                <a:lnTo>
                  <a:pt x="432197" y="357187"/>
                </a:lnTo>
                <a:lnTo>
                  <a:pt x="447675" y="367903"/>
                </a:lnTo>
                <a:lnTo>
                  <a:pt x="457200" y="385762"/>
                </a:lnTo>
                <a:lnTo>
                  <a:pt x="479822" y="400050"/>
                </a:lnTo>
                <a:lnTo>
                  <a:pt x="481013" y="425053"/>
                </a:lnTo>
                <a:cubicBezTo>
                  <a:pt x="481410" y="435372"/>
                  <a:pt x="481806" y="445690"/>
                  <a:pt x="482203" y="456009"/>
                </a:cubicBezTo>
                <a:lnTo>
                  <a:pt x="496491" y="467915"/>
                </a:lnTo>
                <a:lnTo>
                  <a:pt x="504825" y="496490"/>
                </a:lnTo>
                <a:lnTo>
                  <a:pt x="527447" y="515540"/>
                </a:lnTo>
                <a:lnTo>
                  <a:pt x="517922" y="540543"/>
                </a:lnTo>
                <a:lnTo>
                  <a:pt x="519113" y="565547"/>
                </a:lnTo>
                <a:lnTo>
                  <a:pt x="504825" y="575072"/>
                </a:lnTo>
                <a:lnTo>
                  <a:pt x="497681" y="577453"/>
                </a:lnTo>
                <a:lnTo>
                  <a:pt x="467916" y="545306"/>
                </a:lnTo>
                <a:lnTo>
                  <a:pt x="440531" y="541734"/>
                </a:lnTo>
                <a:lnTo>
                  <a:pt x="426244" y="529828"/>
                </a:lnTo>
                <a:lnTo>
                  <a:pt x="423863" y="488156"/>
                </a:lnTo>
                <a:lnTo>
                  <a:pt x="411956" y="478631"/>
                </a:lnTo>
                <a:lnTo>
                  <a:pt x="396478" y="489347"/>
                </a:lnTo>
                <a:lnTo>
                  <a:pt x="373856" y="482203"/>
                </a:lnTo>
                <a:lnTo>
                  <a:pt x="366713" y="486965"/>
                </a:lnTo>
                <a:lnTo>
                  <a:pt x="363141" y="490537"/>
                </a:lnTo>
                <a:lnTo>
                  <a:pt x="354806" y="484584"/>
                </a:lnTo>
                <a:lnTo>
                  <a:pt x="352425" y="453628"/>
                </a:lnTo>
                <a:lnTo>
                  <a:pt x="339328" y="453628"/>
                </a:lnTo>
                <a:lnTo>
                  <a:pt x="321469" y="447675"/>
                </a:lnTo>
                <a:lnTo>
                  <a:pt x="295275" y="394097"/>
                </a:lnTo>
                <a:lnTo>
                  <a:pt x="278606" y="392906"/>
                </a:lnTo>
                <a:lnTo>
                  <a:pt x="227410" y="381000"/>
                </a:lnTo>
                <a:lnTo>
                  <a:pt x="203597" y="394097"/>
                </a:lnTo>
                <a:lnTo>
                  <a:pt x="192881" y="395287"/>
                </a:lnTo>
                <a:lnTo>
                  <a:pt x="189310" y="372665"/>
                </a:lnTo>
                <a:lnTo>
                  <a:pt x="173831" y="369093"/>
                </a:lnTo>
                <a:lnTo>
                  <a:pt x="155972" y="369093"/>
                </a:lnTo>
                <a:lnTo>
                  <a:pt x="101203" y="311943"/>
                </a:lnTo>
                <a:lnTo>
                  <a:pt x="84535" y="294084"/>
                </a:lnTo>
                <a:lnTo>
                  <a:pt x="73819" y="270272"/>
                </a:lnTo>
                <a:lnTo>
                  <a:pt x="51197" y="269081"/>
                </a:lnTo>
                <a:lnTo>
                  <a:pt x="0" y="221456"/>
                </a:lnTo>
                <a:close/>
              </a:path>
            </a:pathLst>
          </a:custGeom>
          <a:solidFill>
            <a:srgbClr val="9C9C9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1" name="Vrije vorm: vorm 10">
            <a:extLst>
              <a:ext uri="{FF2B5EF4-FFF2-40B4-BE49-F238E27FC236}">
                <a16:creationId xmlns:a16="http://schemas.microsoft.com/office/drawing/2014/main" id="{86975165-08A9-D284-CAF3-BFC8DBCCE00B}"/>
              </a:ext>
            </a:extLst>
          </p:cNvPr>
          <p:cNvSpPr/>
          <p:nvPr/>
        </p:nvSpPr>
        <p:spPr>
          <a:xfrm>
            <a:off x="10151267" y="5238549"/>
            <a:ext cx="566737" cy="372666"/>
          </a:xfrm>
          <a:custGeom>
            <a:avLst/>
            <a:gdLst>
              <a:gd name="connsiteX0" fmla="*/ 125015 w 566737"/>
              <a:gd name="connsiteY0" fmla="*/ 132160 h 372666"/>
              <a:gd name="connsiteX1" fmla="*/ 73818 w 566737"/>
              <a:gd name="connsiteY1" fmla="*/ 139304 h 372666"/>
              <a:gd name="connsiteX2" fmla="*/ 57150 w 566737"/>
              <a:gd name="connsiteY2" fmla="*/ 125016 h 372666"/>
              <a:gd name="connsiteX3" fmla="*/ 30956 w 566737"/>
              <a:gd name="connsiteY3" fmla="*/ 135732 h 372666"/>
              <a:gd name="connsiteX4" fmla="*/ 0 w 566737"/>
              <a:gd name="connsiteY4" fmla="*/ 132160 h 372666"/>
              <a:gd name="connsiteX5" fmla="*/ 2381 w 566737"/>
              <a:gd name="connsiteY5" fmla="*/ 84535 h 372666"/>
              <a:gd name="connsiteX6" fmla="*/ 15478 w 566737"/>
              <a:gd name="connsiteY6" fmla="*/ 51197 h 372666"/>
              <a:gd name="connsiteX7" fmla="*/ 28575 w 566737"/>
              <a:gd name="connsiteY7" fmla="*/ 39291 h 372666"/>
              <a:gd name="connsiteX8" fmla="*/ 63103 w 566737"/>
              <a:gd name="connsiteY8" fmla="*/ 28575 h 372666"/>
              <a:gd name="connsiteX9" fmla="*/ 77390 w 566737"/>
              <a:gd name="connsiteY9" fmla="*/ 30957 h 372666"/>
              <a:gd name="connsiteX10" fmla="*/ 89297 w 566737"/>
              <a:gd name="connsiteY10" fmla="*/ 8335 h 372666"/>
              <a:gd name="connsiteX11" fmla="*/ 92868 w 566737"/>
              <a:gd name="connsiteY11" fmla="*/ 0 h 372666"/>
              <a:gd name="connsiteX12" fmla="*/ 121443 w 566737"/>
              <a:gd name="connsiteY12" fmla="*/ 11907 h 372666"/>
              <a:gd name="connsiteX13" fmla="*/ 139303 w 566737"/>
              <a:gd name="connsiteY13" fmla="*/ 11907 h 372666"/>
              <a:gd name="connsiteX14" fmla="*/ 153590 w 566737"/>
              <a:gd name="connsiteY14" fmla="*/ 19050 h 372666"/>
              <a:gd name="connsiteX15" fmla="*/ 152400 w 566737"/>
              <a:gd name="connsiteY15" fmla="*/ 28575 h 372666"/>
              <a:gd name="connsiteX16" fmla="*/ 179784 w 566737"/>
              <a:gd name="connsiteY16" fmla="*/ 29766 h 372666"/>
              <a:gd name="connsiteX17" fmla="*/ 210740 w 566737"/>
              <a:gd name="connsiteY17" fmla="*/ 32147 h 372666"/>
              <a:gd name="connsiteX18" fmla="*/ 242887 w 566737"/>
              <a:gd name="connsiteY18" fmla="*/ 20241 h 372666"/>
              <a:gd name="connsiteX19" fmla="*/ 271462 w 566737"/>
              <a:gd name="connsiteY19" fmla="*/ 26194 h 372666"/>
              <a:gd name="connsiteX20" fmla="*/ 285750 w 566737"/>
              <a:gd name="connsiteY20" fmla="*/ 46435 h 372666"/>
              <a:gd name="connsiteX21" fmla="*/ 285750 w 566737"/>
              <a:gd name="connsiteY21" fmla="*/ 65485 h 372666"/>
              <a:gd name="connsiteX22" fmla="*/ 273843 w 566737"/>
              <a:gd name="connsiteY22" fmla="*/ 72629 h 372666"/>
              <a:gd name="connsiteX23" fmla="*/ 263128 w 566737"/>
              <a:gd name="connsiteY23" fmla="*/ 85725 h 372666"/>
              <a:gd name="connsiteX24" fmla="*/ 260747 w 566737"/>
              <a:gd name="connsiteY24" fmla="*/ 92869 h 372666"/>
              <a:gd name="connsiteX25" fmla="*/ 250031 w 566737"/>
              <a:gd name="connsiteY25" fmla="*/ 98822 h 372666"/>
              <a:gd name="connsiteX26" fmla="*/ 316706 w 566737"/>
              <a:gd name="connsiteY26" fmla="*/ 134541 h 372666"/>
              <a:gd name="connsiteX27" fmla="*/ 381000 w 566737"/>
              <a:gd name="connsiteY27" fmla="*/ 153591 h 372666"/>
              <a:gd name="connsiteX28" fmla="*/ 411956 w 566737"/>
              <a:gd name="connsiteY28" fmla="*/ 161925 h 372666"/>
              <a:gd name="connsiteX29" fmla="*/ 444103 w 566737"/>
              <a:gd name="connsiteY29" fmla="*/ 191691 h 372666"/>
              <a:gd name="connsiteX30" fmla="*/ 482203 w 566737"/>
              <a:gd name="connsiteY30" fmla="*/ 202407 h 372666"/>
              <a:gd name="connsiteX31" fmla="*/ 501253 w 566737"/>
              <a:gd name="connsiteY31" fmla="*/ 220266 h 372666"/>
              <a:gd name="connsiteX32" fmla="*/ 540543 w 566737"/>
              <a:gd name="connsiteY32" fmla="*/ 258366 h 372666"/>
              <a:gd name="connsiteX33" fmla="*/ 561975 w 566737"/>
              <a:gd name="connsiteY33" fmla="*/ 279797 h 372666"/>
              <a:gd name="connsiteX34" fmla="*/ 566737 w 566737"/>
              <a:gd name="connsiteY34" fmla="*/ 325041 h 372666"/>
              <a:gd name="connsiteX35" fmla="*/ 553640 w 566737"/>
              <a:gd name="connsiteY35" fmla="*/ 344091 h 372666"/>
              <a:gd name="connsiteX36" fmla="*/ 544115 w 566737"/>
              <a:gd name="connsiteY36" fmla="*/ 372666 h 372666"/>
              <a:gd name="connsiteX37" fmla="*/ 503634 w 566737"/>
              <a:gd name="connsiteY37" fmla="*/ 359569 h 372666"/>
              <a:gd name="connsiteX38" fmla="*/ 460772 w 566737"/>
              <a:gd name="connsiteY38" fmla="*/ 285750 h 372666"/>
              <a:gd name="connsiteX39" fmla="*/ 435768 w 566737"/>
              <a:gd name="connsiteY39" fmla="*/ 289322 h 372666"/>
              <a:gd name="connsiteX40" fmla="*/ 403622 w 566737"/>
              <a:gd name="connsiteY40" fmla="*/ 292894 h 372666"/>
              <a:gd name="connsiteX41" fmla="*/ 377428 w 566737"/>
              <a:gd name="connsiteY41" fmla="*/ 269082 h 372666"/>
              <a:gd name="connsiteX42" fmla="*/ 377428 w 566737"/>
              <a:gd name="connsiteY42" fmla="*/ 269082 h 372666"/>
              <a:gd name="connsiteX43" fmla="*/ 369093 w 566737"/>
              <a:gd name="connsiteY43" fmla="*/ 282179 h 372666"/>
              <a:gd name="connsiteX44" fmla="*/ 354806 w 566737"/>
              <a:gd name="connsiteY44" fmla="*/ 301229 h 372666"/>
              <a:gd name="connsiteX45" fmla="*/ 354806 w 566737"/>
              <a:gd name="connsiteY45" fmla="*/ 316707 h 372666"/>
              <a:gd name="connsiteX46" fmla="*/ 352425 w 566737"/>
              <a:gd name="connsiteY46" fmla="*/ 326232 h 372666"/>
              <a:gd name="connsiteX47" fmla="*/ 346472 w 566737"/>
              <a:gd name="connsiteY47" fmla="*/ 329804 h 372666"/>
              <a:gd name="connsiteX48" fmla="*/ 317897 w 566737"/>
              <a:gd name="connsiteY48" fmla="*/ 326232 h 372666"/>
              <a:gd name="connsiteX49" fmla="*/ 314325 w 566737"/>
              <a:gd name="connsiteY49" fmla="*/ 317897 h 372666"/>
              <a:gd name="connsiteX50" fmla="*/ 298847 w 566737"/>
              <a:gd name="connsiteY50" fmla="*/ 314325 h 372666"/>
              <a:gd name="connsiteX51" fmla="*/ 289322 w 566737"/>
              <a:gd name="connsiteY51" fmla="*/ 322660 h 372666"/>
              <a:gd name="connsiteX52" fmla="*/ 270272 w 566737"/>
              <a:gd name="connsiteY52" fmla="*/ 345282 h 372666"/>
              <a:gd name="connsiteX53" fmla="*/ 267890 w 566737"/>
              <a:gd name="connsiteY53" fmla="*/ 347663 h 372666"/>
              <a:gd name="connsiteX54" fmla="*/ 251222 w 566737"/>
              <a:gd name="connsiteY54" fmla="*/ 346472 h 372666"/>
              <a:gd name="connsiteX55" fmla="*/ 209550 w 566737"/>
              <a:gd name="connsiteY55" fmla="*/ 340519 h 372666"/>
              <a:gd name="connsiteX56" fmla="*/ 203597 w 566737"/>
              <a:gd name="connsiteY56" fmla="*/ 322660 h 372666"/>
              <a:gd name="connsiteX57" fmla="*/ 217884 w 566737"/>
              <a:gd name="connsiteY57" fmla="*/ 298847 h 372666"/>
              <a:gd name="connsiteX58" fmla="*/ 219075 w 566737"/>
              <a:gd name="connsiteY58" fmla="*/ 276225 h 372666"/>
              <a:gd name="connsiteX59" fmla="*/ 209550 w 566737"/>
              <a:gd name="connsiteY59" fmla="*/ 272654 h 372666"/>
              <a:gd name="connsiteX60" fmla="*/ 190500 w 566737"/>
              <a:gd name="connsiteY60" fmla="*/ 260747 h 372666"/>
              <a:gd name="connsiteX61" fmla="*/ 189309 w 566737"/>
              <a:gd name="connsiteY61" fmla="*/ 238125 h 372666"/>
              <a:gd name="connsiteX62" fmla="*/ 175022 w 566737"/>
              <a:gd name="connsiteY62" fmla="*/ 232172 h 372666"/>
              <a:gd name="connsiteX63" fmla="*/ 176212 w 566737"/>
              <a:gd name="connsiteY63" fmla="*/ 173832 h 372666"/>
              <a:gd name="connsiteX64" fmla="*/ 167878 w 566737"/>
              <a:gd name="connsiteY64" fmla="*/ 167879 h 372666"/>
              <a:gd name="connsiteX65" fmla="*/ 125015 w 566737"/>
              <a:gd name="connsiteY65" fmla="*/ 132160 h 37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66737" h="372666">
                <a:moveTo>
                  <a:pt x="125015" y="132160"/>
                </a:moveTo>
                <a:lnTo>
                  <a:pt x="73818" y="139304"/>
                </a:lnTo>
                <a:lnTo>
                  <a:pt x="57150" y="125016"/>
                </a:lnTo>
                <a:lnTo>
                  <a:pt x="30956" y="135732"/>
                </a:lnTo>
                <a:lnTo>
                  <a:pt x="0" y="132160"/>
                </a:lnTo>
                <a:lnTo>
                  <a:pt x="2381" y="84535"/>
                </a:lnTo>
                <a:lnTo>
                  <a:pt x="15478" y="51197"/>
                </a:lnTo>
                <a:lnTo>
                  <a:pt x="28575" y="39291"/>
                </a:lnTo>
                <a:lnTo>
                  <a:pt x="63103" y="28575"/>
                </a:lnTo>
                <a:lnTo>
                  <a:pt x="77390" y="30957"/>
                </a:lnTo>
                <a:lnTo>
                  <a:pt x="89297" y="8335"/>
                </a:lnTo>
                <a:lnTo>
                  <a:pt x="92868" y="0"/>
                </a:lnTo>
                <a:lnTo>
                  <a:pt x="121443" y="11907"/>
                </a:lnTo>
                <a:lnTo>
                  <a:pt x="139303" y="11907"/>
                </a:lnTo>
                <a:lnTo>
                  <a:pt x="153590" y="19050"/>
                </a:lnTo>
                <a:lnTo>
                  <a:pt x="152400" y="28575"/>
                </a:lnTo>
                <a:lnTo>
                  <a:pt x="179784" y="29766"/>
                </a:lnTo>
                <a:lnTo>
                  <a:pt x="210740" y="32147"/>
                </a:lnTo>
                <a:lnTo>
                  <a:pt x="242887" y="20241"/>
                </a:lnTo>
                <a:lnTo>
                  <a:pt x="271462" y="26194"/>
                </a:lnTo>
                <a:lnTo>
                  <a:pt x="285750" y="46435"/>
                </a:lnTo>
                <a:lnTo>
                  <a:pt x="285750" y="65485"/>
                </a:lnTo>
                <a:lnTo>
                  <a:pt x="273843" y="72629"/>
                </a:lnTo>
                <a:lnTo>
                  <a:pt x="263128" y="85725"/>
                </a:lnTo>
                <a:lnTo>
                  <a:pt x="260747" y="92869"/>
                </a:lnTo>
                <a:lnTo>
                  <a:pt x="250031" y="98822"/>
                </a:lnTo>
                <a:lnTo>
                  <a:pt x="316706" y="134541"/>
                </a:lnTo>
                <a:lnTo>
                  <a:pt x="381000" y="153591"/>
                </a:lnTo>
                <a:lnTo>
                  <a:pt x="411956" y="161925"/>
                </a:lnTo>
                <a:lnTo>
                  <a:pt x="444103" y="191691"/>
                </a:lnTo>
                <a:lnTo>
                  <a:pt x="482203" y="202407"/>
                </a:lnTo>
                <a:lnTo>
                  <a:pt x="501253" y="220266"/>
                </a:lnTo>
                <a:lnTo>
                  <a:pt x="540543" y="258366"/>
                </a:lnTo>
                <a:lnTo>
                  <a:pt x="561975" y="279797"/>
                </a:lnTo>
                <a:lnTo>
                  <a:pt x="566737" y="325041"/>
                </a:lnTo>
                <a:lnTo>
                  <a:pt x="553640" y="344091"/>
                </a:lnTo>
                <a:lnTo>
                  <a:pt x="544115" y="372666"/>
                </a:lnTo>
                <a:lnTo>
                  <a:pt x="503634" y="359569"/>
                </a:lnTo>
                <a:lnTo>
                  <a:pt x="460772" y="285750"/>
                </a:lnTo>
                <a:lnTo>
                  <a:pt x="435768" y="289322"/>
                </a:lnTo>
                <a:lnTo>
                  <a:pt x="403622" y="292894"/>
                </a:lnTo>
                <a:lnTo>
                  <a:pt x="377428" y="269082"/>
                </a:lnTo>
                <a:lnTo>
                  <a:pt x="377428" y="269082"/>
                </a:lnTo>
                <a:lnTo>
                  <a:pt x="369093" y="282179"/>
                </a:lnTo>
                <a:lnTo>
                  <a:pt x="354806" y="301229"/>
                </a:lnTo>
                <a:lnTo>
                  <a:pt x="354806" y="316707"/>
                </a:lnTo>
                <a:lnTo>
                  <a:pt x="352425" y="326232"/>
                </a:lnTo>
                <a:lnTo>
                  <a:pt x="346472" y="329804"/>
                </a:lnTo>
                <a:lnTo>
                  <a:pt x="317897" y="326232"/>
                </a:lnTo>
                <a:lnTo>
                  <a:pt x="314325" y="317897"/>
                </a:lnTo>
                <a:lnTo>
                  <a:pt x="298847" y="314325"/>
                </a:lnTo>
                <a:lnTo>
                  <a:pt x="289322" y="322660"/>
                </a:lnTo>
                <a:lnTo>
                  <a:pt x="270272" y="345282"/>
                </a:lnTo>
                <a:lnTo>
                  <a:pt x="267890" y="347663"/>
                </a:lnTo>
                <a:lnTo>
                  <a:pt x="251222" y="346472"/>
                </a:lnTo>
                <a:lnTo>
                  <a:pt x="209550" y="340519"/>
                </a:lnTo>
                <a:lnTo>
                  <a:pt x="203597" y="322660"/>
                </a:lnTo>
                <a:lnTo>
                  <a:pt x="217884" y="298847"/>
                </a:lnTo>
                <a:lnTo>
                  <a:pt x="219075" y="276225"/>
                </a:lnTo>
                <a:lnTo>
                  <a:pt x="209550" y="272654"/>
                </a:lnTo>
                <a:lnTo>
                  <a:pt x="190500" y="260747"/>
                </a:lnTo>
                <a:lnTo>
                  <a:pt x="189309" y="238125"/>
                </a:lnTo>
                <a:lnTo>
                  <a:pt x="175022" y="232172"/>
                </a:lnTo>
                <a:cubicBezTo>
                  <a:pt x="175419" y="212725"/>
                  <a:pt x="175815" y="193279"/>
                  <a:pt x="176212" y="173832"/>
                </a:cubicBezTo>
                <a:lnTo>
                  <a:pt x="167878" y="167879"/>
                </a:lnTo>
                <a:lnTo>
                  <a:pt x="125015" y="132160"/>
                </a:lnTo>
                <a:close/>
              </a:path>
            </a:pathLst>
          </a:custGeom>
          <a:solidFill>
            <a:srgbClr val="9C9C9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2" name="Vrije vorm: vorm 11">
            <a:extLst>
              <a:ext uri="{FF2B5EF4-FFF2-40B4-BE49-F238E27FC236}">
                <a16:creationId xmlns:a16="http://schemas.microsoft.com/office/drawing/2014/main" id="{C4BB1543-000B-F8B1-4508-4B5AF721187A}"/>
              </a:ext>
            </a:extLst>
          </p:cNvPr>
          <p:cNvSpPr/>
          <p:nvPr/>
        </p:nvSpPr>
        <p:spPr>
          <a:xfrm>
            <a:off x="10351698" y="5550553"/>
            <a:ext cx="208359" cy="369094"/>
          </a:xfrm>
          <a:custGeom>
            <a:avLst/>
            <a:gdLst>
              <a:gd name="connsiteX0" fmla="*/ 0 w 208359"/>
              <a:gd name="connsiteY0" fmla="*/ 28575 h 369094"/>
              <a:gd name="connsiteX1" fmla="*/ 70247 w 208359"/>
              <a:gd name="connsiteY1" fmla="*/ 41672 h 369094"/>
              <a:gd name="connsiteX2" fmla="*/ 82153 w 208359"/>
              <a:gd name="connsiteY2" fmla="*/ 21431 h 369094"/>
              <a:gd name="connsiteX3" fmla="*/ 91678 w 208359"/>
              <a:gd name="connsiteY3" fmla="*/ 1191 h 369094"/>
              <a:gd name="connsiteX4" fmla="*/ 119062 w 208359"/>
              <a:gd name="connsiteY4" fmla="*/ 0 h 369094"/>
              <a:gd name="connsiteX5" fmla="*/ 122634 w 208359"/>
              <a:gd name="connsiteY5" fmla="*/ 20241 h 369094"/>
              <a:gd name="connsiteX6" fmla="*/ 136922 w 208359"/>
              <a:gd name="connsiteY6" fmla="*/ 27384 h 369094"/>
              <a:gd name="connsiteX7" fmla="*/ 139303 w 208359"/>
              <a:gd name="connsiteY7" fmla="*/ 42863 h 369094"/>
              <a:gd name="connsiteX8" fmla="*/ 126206 w 208359"/>
              <a:gd name="connsiteY8" fmla="*/ 58341 h 369094"/>
              <a:gd name="connsiteX9" fmla="*/ 150018 w 208359"/>
              <a:gd name="connsiteY9" fmla="*/ 73819 h 369094"/>
              <a:gd name="connsiteX10" fmla="*/ 159543 w 208359"/>
              <a:gd name="connsiteY10" fmla="*/ 84534 h 369094"/>
              <a:gd name="connsiteX11" fmla="*/ 177403 w 208359"/>
              <a:gd name="connsiteY11" fmla="*/ 102394 h 369094"/>
              <a:gd name="connsiteX12" fmla="*/ 202406 w 208359"/>
              <a:gd name="connsiteY12" fmla="*/ 129778 h 369094"/>
              <a:gd name="connsiteX13" fmla="*/ 208359 w 208359"/>
              <a:gd name="connsiteY13" fmla="*/ 201216 h 369094"/>
              <a:gd name="connsiteX14" fmla="*/ 208359 w 208359"/>
              <a:gd name="connsiteY14" fmla="*/ 214313 h 369094"/>
              <a:gd name="connsiteX15" fmla="*/ 195262 w 208359"/>
              <a:gd name="connsiteY15" fmla="*/ 223838 h 369094"/>
              <a:gd name="connsiteX16" fmla="*/ 171450 w 208359"/>
              <a:gd name="connsiteY16" fmla="*/ 204788 h 369094"/>
              <a:gd name="connsiteX17" fmla="*/ 164306 w 208359"/>
              <a:gd name="connsiteY17" fmla="*/ 208359 h 369094"/>
              <a:gd name="connsiteX18" fmla="*/ 151209 w 208359"/>
              <a:gd name="connsiteY18" fmla="*/ 214313 h 369094"/>
              <a:gd name="connsiteX19" fmla="*/ 130968 w 208359"/>
              <a:gd name="connsiteY19" fmla="*/ 229791 h 369094"/>
              <a:gd name="connsiteX20" fmla="*/ 141684 w 208359"/>
              <a:gd name="connsiteY20" fmla="*/ 250031 h 369094"/>
              <a:gd name="connsiteX21" fmla="*/ 150018 w 208359"/>
              <a:gd name="connsiteY21" fmla="*/ 259556 h 369094"/>
              <a:gd name="connsiteX22" fmla="*/ 135731 w 208359"/>
              <a:gd name="connsiteY22" fmla="*/ 271463 h 369094"/>
              <a:gd name="connsiteX23" fmla="*/ 100012 w 208359"/>
              <a:gd name="connsiteY23" fmla="*/ 320278 h 369094"/>
              <a:gd name="connsiteX24" fmla="*/ 91678 w 208359"/>
              <a:gd name="connsiteY24" fmla="*/ 358378 h 369094"/>
              <a:gd name="connsiteX25" fmla="*/ 80962 w 208359"/>
              <a:gd name="connsiteY25" fmla="*/ 364331 h 369094"/>
              <a:gd name="connsiteX26" fmla="*/ 21431 w 208359"/>
              <a:gd name="connsiteY26" fmla="*/ 369094 h 369094"/>
              <a:gd name="connsiteX27" fmla="*/ 7143 w 208359"/>
              <a:gd name="connsiteY27" fmla="*/ 342900 h 369094"/>
              <a:gd name="connsiteX28" fmla="*/ 8334 w 208359"/>
              <a:gd name="connsiteY28" fmla="*/ 307181 h 369094"/>
              <a:gd name="connsiteX29" fmla="*/ 19050 w 208359"/>
              <a:gd name="connsiteY29" fmla="*/ 297656 h 369094"/>
              <a:gd name="connsiteX30" fmla="*/ 28575 w 208359"/>
              <a:gd name="connsiteY30" fmla="*/ 285750 h 369094"/>
              <a:gd name="connsiteX31" fmla="*/ 36909 w 208359"/>
              <a:gd name="connsiteY31" fmla="*/ 257175 h 369094"/>
              <a:gd name="connsiteX32" fmla="*/ 26193 w 208359"/>
              <a:gd name="connsiteY32" fmla="*/ 247650 h 369094"/>
              <a:gd name="connsiteX33" fmla="*/ 52387 w 208359"/>
              <a:gd name="connsiteY33" fmla="*/ 207169 h 369094"/>
              <a:gd name="connsiteX34" fmla="*/ 66675 w 208359"/>
              <a:gd name="connsiteY34" fmla="*/ 207169 h 369094"/>
              <a:gd name="connsiteX35" fmla="*/ 78581 w 208359"/>
              <a:gd name="connsiteY35" fmla="*/ 198834 h 369094"/>
              <a:gd name="connsiteX36" fmla="*/ 67865 w 208359"/>
              <a:gd name="connsiteY36" fmla="*/ 190500 h 369094"/>
              <a:gd name="connsiteX37" fmla="*/ 52387 w 208359"/>
              <a:gd name="connsiteY37" fmla="*/ 179784 h 369094"/>
              <a:gd name="connsiteX38" fmla="*/ 45243 w 208359"/>
              <a:gd name="connsiteY38" fmla="*/ 154781 h 369094"/>
              <a:gd name="connsiteX39" fmla="*/ 40481 w 208359"/>
              <a:gd name="connsiteY39" fmla="*/ 115491 h 369094"/>
              <a:gd name="connsiteX40" fmla="*/ 20240 w 208359"/>
              <a:gd name="connsiteY40" fmla="*/ 89297 h 369094"/>
              <a:gd name="connsiteX41" fmla="*/ 14287 w 208359"/>
              <a:gd name="connsiteY41" fmla="*/ 79772 h 369094"/>
              <a:gd name="connsiteX42" fmla="*/ 0 w 208359"/>
              <a:gd name="connsiteY42" fmla="*/ 28575 h 36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8359" h="369094">
                <a:moveTo>
                  <a:pt x="0" y="28575"/>
                </a:moveTo>
                <a:lnTo>
                  <a:pt x="70247" y="41672"/>
                </a:lnTo>
                <a:lnTo>
                  <a:pt x="82153" y="21431"/>
                </a:lnTo>
                <a:lnTo>
                  <a:pt x="91678" y="1191"/>
                </a:lnTo>
                <a:lnTo>
                  <a:pt x="119062" y="0"/>
                </a:lnTo>
                <a:lnTo>
                  <a:pt x="122634" y="20241"/>
                </a:lnTo>
                <a:lnTo>
                  <a:pt x="136922" y="27384"/>
                </a:lnTo>
                <a:lnTo>
                  <a:pt x="139303" y="42863"/>
                </a:lnTo>
                <a:lnTo>
                  <a:pt x="126206" y="58341"/>
                </a:lnTo>
                <a:lnTo>
                  <a:pt x="150018" y="73819"/>
                </a:lnTo>
                <a:lnTo>
                  <a:pt x="159543" y="84534"/>
                </a:lnTo>
                <a:lnTo>
                  <a:pt x="177403" y="102394"/>
                </a:lnTo>
                <a:lnTo>
                  <a:pt x="202406" y="129778"/>
                </a:lnTo>
                <a:lnTo>
                  <a:pt x="208359" y="201216"/>
                </a:lnTo>
                <a:lnTo>
                  <a:pt x="208359" y="214313"/>
                </a:lnTo>
                <a:lnTo>
                  <a:pt x="195262" y="223838"/>
                </a:lnTo>
                <a:lnTo>
                  <a:pt x="171450" y="204788"/>
                </a:lnTo>
                <a:lnTo>
                  <a:pt x="164306" y="208359"/>
                </a:lnTo>
                <a:lnTo>
                  <a:pt x="151209" y="214313"/>
                </a:lnTo>
                <a:lnTo>
                  <a:pt x="130968" y="229791"/>
                </a:lnTo>
                <a:lnTo>
                  <a:pt x="141684" y="250031"/>
                </a:lnTo>
                <a:cubicBezTo>
                  <a:pt x="150298" y="258647"/>
                  <a:pt x="150018" y="254437"/>
                  <a:pt x="150018" y="259556"/>
                </a:cubicBezTo>
                <a:lnTo>
                  <a:pt x="135731" y="271463"/>
                </a:lnTo>
                <a:lnTo>
                  <a:pt x="100012" y="320278"/>
                </a:lnTo>
                <a:lnTo>
                  <a:pt x="91678" y="358378"/>
                </a:lnTo>
                <a:lnTo>
                  <a:pt x="80962" y="364331"/>
                </a:lnTo>
                <a:lnTo>
                  <a:pt x="21431" y="369094"/>
                </a:lnTo>
                <a:lnTo>
                  <a:pt x="7143" y="342900"/>
                </a:lnTo>
                <a:lnTo>
                  <a:pt x="8334" y="307181"/>
                </a:lnTo>
                <a:cubicBezTo>
                  <a:pt x="18569" y="299505"/>
                  <a:pt x="16084" y="303588"/>
                  <a:pt x="19050" y="297656"/>
                </a:cubicBezTo>
                <a:lnTo>
                  <a:pt x="28575" y="285750"/>
                </a:lnTo>
                <a:lnTo>
                  <a:pt x="36909" y="257175"/>
                </a:lnTo>
                <a:lnTo>
                  <a:pt x="26193" y="247650"/>
                </a:lnTo>
                <a:lnTo>
                  <a:pt x="52387" y="207169"/>
                </a:lnTo>
                <a:lnTo>
                  <a:pt x="66675" y="207169"/>
                </a:lnTo>
                <a:lnTo>
                  <a:pt x="78581" y="198834"/>
                </a:lnTo>
                <a:lnTo>
                  <a:pt x="67865" y="190500"/>
                </a:lnTo>
                <a:lnTo>
                  <a:pt x="52387" y="179784"/>
                </a:lnTo>
                <a:lnTo>
                  <a:pt x="45243" y="154781"/>
                </a:lnTo>
                <a:lnTo>
                  <a:pt x="40481" y="115491"/>
                </a:lnTo>
                <a:lnTo>
                  <a:pt x="20240" y="89297"/>
                </a:lnTo>
                <a:lnTo>
                  <a:pt x="14287" y="79772"/>
                </a:lnTo>
                <a:lnTo>
                  <a:pt x="0" y="28575"/>
                </a:lnTo>
                <a:close/>
              </a:path>
            </a:pathLst>
          </a:custGeom>
          <a:solidFill>
            <a:srgbClr val="9C9C9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3" name="ee4p_IE_1_15912">
            <a:extLst>
              <a:ext uri="{FF2B5EF4-FFF2-40B4-BE49-F238E27FC236}">
                <a16:creationId xmlns:a16="http://schemas.microsoft.com/office/drawing/2014/main" id="{FA43521C-0B1B-DA1F-C2E6-41851AA7B2D9}"/>
              </a:ext>
            </a:extLst>
          </p:cNvPr>
          <p:cNvSpPr>
            <a:spLocks noChangeAspect="1"/>
          </p:cNvSpPr>
          <p:nvPr>
            <p:custDataLst>
              <p:tags r:id="rId1"/>
            </p:custDataLst>
          </p:nvPr>
        </p:nvSpPr>
        <p:spPr>
          <a:xfrm rot="631238">
            <a:off x="7649420" y="2893474"/>
            <a:ext cx="440867" cy="5900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solidFill>
            <a:srgbClr val="FFFF00"/>
          </a:solidFill>
          <a:ln w="12700">
            <a:solidFill>
              <a:schemeClr val="bg1"/>
            </a:solidFill>
            <a:round/>
            <a:headEnd/>
            <a:tailEnd/>
          </a:ln>
          <a:effectLst/>
        </p:spPr>
        <p:txBody>
          <a:bodyPr wrap="square"/>
          <a:lstStyle/>
          <a:p>
            <a:endParaRPr lang="de-DE" sz="1100" i="1" err="1"/>
          </a:p>
        </p:txBody>
      </p:sp>
      <p:sp>
        <p:nvSpPr>
          <p:cNvPr id="64" name="Freeform 307">
            <a:extLst>
              <a:ext uri="{FF2B5EF4-FFF2-40B4-BE49-F238E27FC236}">
                <a16:creationId xmlns:a16="http://schemas.microsoft.com/office/drawing/2014/main" id="{5FEA87D0-ADC6-CEEB-17B0-57441FB6B24A}"/>
              </a:ext>
            </a:extLst>
          </p:cNvPr>
          <p:cNvSpPr/>
          <p:nvPr/>
        </p:nvSpPr>
        <p:spPr>
          <a:xfrm>
            <a:off x="9570665" y="3083244"/>
            <a:ext cx="1863725" cy="958850"/>
          </a:xfrm>
          <a:custGeom>
            <a:avLst/>
            <a:gdLst>
              <a:gd name="connsiteX0" fmla="*/ 76200 w 1863725"/>
              <a:gd name="connsiteY0" fmla="*/ 958850 h 958850"/>
              <a:gd name="connsiteX1" fmla="*/ 28575 w 1863725"/>
              <a:gd name="connsiteY1" fmla="*/ 939800 h 958850"/>
              <a:gd name="connsiteX2" fmla="*/ 12700 w 1863725"/>
              <a:gd name="connsiteY2" fmla="*/ 923925 h 958850"/>
              <a:gd name="connsiteX3" fmla="*/ 0 w 1863725"/>
              <a:gd name="connsiteY3" fmla="*/ 904875 h 958850"/>
              <a:gd name="connsiteX4" fmla="*/ 12700 w 1863725"/>
              <a:gd name="connsiteY4" fmla="*/ 869950 h 958850"/>
              <a:gd name="connsiteX5" fmla="*/ 22225 w 1863725"/>
              <a:gd name="connsiteY5" fmla="*/ 825500 h 958850"/>
              <a:gd name="connsiteX6" fmla="*/ 53975 w 1863725"/>
              <a:gd name="connsiteY6" fmla="*/ 803275 h 958850"/>
              <a:gd name="connsiteX7" fmla="*/ 60325 w 1863725"/>
              <a:gd name="connsiteY7" fmla="*/ 784225 h 958850"/>
              <a:gd name="connsiteX8" fmla="*/ 44450 w 1863725"/>
              <a:gd name="connsiteY8" fmla="*/ 771525 h 958850"/>
              <a:gd name="connsiteX9" fmla="*/ 31750 w 1863725"/>
              <a:gd name="connsiteY9" fmla="*/ 739775 h 958850"/>
              <a:gd name="connsiteX10" fmla="*/ 28575 w 1863725"/>
              <a:gd name="connsiteY10" fmla="*/ 727075 h 958850"/>
              <a:gd name="connsiteX11" fmla="*/ 47625 w 1863725"/>
              <a:gd name="connsiteY11" fmla="*/ 669925 h 958850"/>
              <a:gd name="connsiteX12" fmla="*/ 76200 w 1863725"/>
              <a:gd name="connsiteY12" fmla="*/ 625475 h 958850"/>
              <a:gd name="connsiteX13" fmla="*/ 98425 w 1863725"/>
              <a:gd name="connsiteY13" fmla="*/ 593725 h 958850"/>
              <a:gd name="connsiteX14" fmla="*/ 123825 w 1863725"/>
              <a:gd name="connsiteY14" fmla="*/ 571500 h 958850"/>
              <a:gd name="connsiteX15" fmla="*/ 142875 w 1863725"/>
              <a:gd name="connsiteY15" fmla="*/ 561975 h 958850"/>
              <a:gd name="connsiteX16" fmla="*/ 152400 w 1863725"/>
              <a:gd name="connsiteY16" fmla="*/ 536575 h 958850"/>
              <a:gd name="connsiteX17" fmla="*/ 152400 w 1863725"/>
              <a:gd name="connsiteY17" fmla="*/ 536575 h 958850"/>
              <a:gd name="connsiteX18" fmla="*/ 133350 w 1863725"/>
              <a:gd name="connsiteY18" fmla="*/ 495300 h 958850"/>
              <a:gd name="connsiteX19" fmla="*/ 133350 w 1863725"/>
              <a:gd name="connsiteY19" fmla="*/ 495300 h 958850"/>
              <a:gd name="connsiteX20" fmla="*/ 114300 w 1863725"/>
              <a:gd name="connsiteY20" fmla="*/ 454025 h 958850"/>
              <a:gd name="connsiteX21" fmla="*/ 98425 w 1863725"/>
              <a:gd name="connsiteY21" fmla="*/ 434975 h 958850"/>
              <a:gd name="connsiteX22" fmla="*/ 88900 w 1863725"/>
              <a:gd name="connsiteY22" fmla="*/ 422275 h 958850"/>
              <a:gd name="connsiteX23" fmla="*/ 79375 w 1863725"/>
              <a:gd name="connsiteY23" fmla="*/ 406400 h 958850"/>
              <a:gd name="connsiteX24" fmla="*/ 69850 w 1863725"/>
              <a:gd name="connsiteY24" fmla="*/ 381000 h 958850"/>
              <a:gd name="connsiteX25" fmla="*/ 69850 w 1863725"/>
              <a:gd name="connsiteY25" fmla="*/ 365125 h 958850"/>
              <a:gd name="connsiteX26" fmla="*/ 95250 w 1863725"/>
              <a:gd name="connsiteY26" fmla="*/ 374650 h 958850"/>
              <a:gd name="connsiteX27" fmla="*/ 120650 w 1863725"/>
              <a:gd name="connsiteY27" fmla="*/ 361950 h 958850"/>
              <a:gd name="connsiteX28" fmla="*/ 136525 w 1863725"/>
              <a:gd name="connsiteY28" fmla="*/ 314325 h 958850"/>
              <a:gd name="connsiteX29" fmla="*/ 174625 w 1863725"/>
              <a:gd name="connsiteY29" fmla="*/ 301625 h 958850"/>
              <a:gd name="connsiteX30" fmla="*/ 266700 w 1863725"/>
              <a:gd name="connsiteY30" fmla="*/ 282575 h 958850"/>
              <a:gd name="connsiteX31" fmla="*/ 307975 w 1863725"/>
              <a:gd name="connsiteY31" fmla="*/ 279400 h 958850"/>
              <a:gd name="connsiteX32" fmla="*/ 346075 w 1863725"/>
              <a:gd name="connsiteY32" fmla="*/ 279400 h 958850"/>
              <a:gd name="connsiteX33" fmla="*/ 381000 w 1863725"/>
              <a:gd name="connsiteY33" fmla="*/ 279400 h 958850"/>
              <a:gd name="connsiteX34" fmla="*/ 415925 w 1863725"/>
              <a:gd name="connsiteY34" fmla="*/ 292100 h 958850"/>
              <a:gd name="connsiteX35" fmla="*/ 447675 w 1863725"/>
              <a:gd name="connsiteY35" fmla="*/ 292100 h 958850"/>
              <a:gd name="connsiteX36" fmla="*/ 473075 w 1863725"/>
              <a:gd name="connsiteY36" fmla="*/ 301625 h 958850"/>
              <a:gd name="connsiteX37" fmla="*/ 508000 w 1863725"/>
              <a:gd name="connsiteY37" fmla="*/ 288925 h 958850"/>
              <a:gd name="connsiteX38" fmla="*/ 539750 w 1863725"/>
              <a:gd name="connsiteY38" fmla="*/ 276225 h 958850"/>
              <a:gd name="connsiteX39" fmla="*/ 581025 w 1863725"/>
              <a:gd name="connsiteY39" fmla="*/ 282575 h 958850"/>
              <a:gd name="connsiteX40" fmla="*/ 606425 w 1863725"/>
              <a:gd name="connsiteY40" fmla="*/ 260350 h 958850"/>
              <a:gd name="connsiteX41" fmla="*/ 631825 w 1863725"/>
              <a:gd name="connsiteY41" fmla="*/ 276225 h 958850"/>
              <a:gd name="connsiteX42" fmla="*/ 657225 w 1863725"/>
              <a:gd name="connsiteY42" fmla="*/ 273050 h 958850"/>
              <a:gd name="connsiteX43" fmla="*/ 685800 w 1863725"/>
              <a:gd name="connsiteY43" fmla="*/ 257175 h 958850"/>
              <a:gd name="connsiteX44" fmla="*/ 733425 w 1863725"/>
              <a:gd name="connsiteY44" fmla="*/ 263525 h 958850"/>
              <a:gd name="connsiteX45" fmla="*/ 781050 w 1863725"/>
              <a:gd name="connsiteY45" fmla="*/ 254000 h 958850"/>
              <a:gd name="connsiteX46" fmla="*/ 781050 w 1863725"/>
              <a:gd name="connsiteY46" fmla="*/ 215900 h 958850"/>
              <a:gd name="connsiteX47" fmla="*/ 762000 w 1863725"/>
              <a:gd name="connsiteY47" fmla="*/ 193675 h 958850"/>
              <a:gd name="connsiteX48" fmla="*/ 765175 w 1863725"/>
              <a:gd name="connsiteY48" fmla="*/ 165100 h 958850"/>
              <a:gd name="connsiteX49" fmla="*/ 768350 w 1863725"/>
              <a:gd name="connsiteY49" fmla="*/ 133350 h 958850"/>
              <a:gd name="connsiteX50" fmla="*/ 787400 w 1863725"/>
              <a:gd name="connsiteY50" fmla="*/ 120650 h 958850"/>
              <a:gd name="connsiteX51" fmla="*/ 803275 w 1863725"/>
              <a:gd name="connsiteY51" fmla="*/ 114300 h 958850"/>
              <a:gd name="connsiteX52" fmla="*/ 831850 w 1863725"/>
              <a:gd name="connsiteY52" fmla="*/ 98425 h 958850"/>
              <a:gd name="connsiteX53" fmla="*/ 857250 w 1863725"/>
              <a:gd name="connsiteY53" fmla="*/ 98425 h 958850"/>
              <a:gd name="connsiteX54" fmla="*/ 901700 w 1863725"/>
              <a:gd name="connsiteY54" fmla="*/ 82550 h 958850"/>
              <a:gd name="connsiteX55" fmla="*/ 911225 w 1863725"/>
              <a:gd name="connsiteY55" fmla="*/ 57150 h 958850"/>
              <a:gd name="connsiteX56" fmla="*/ 898525 w 1863725"/>
              <a:gd name="connsiteY56" fmla="*/ 38100 h 958850"/>
              <a:gd name="connsiteX57" fmla="*/ 939800 w 1863725"/>
              <a:gd name="connsiteY57" fmla="*/ 34925 h 958850"/>
              <a:gd name="connsiteX58" fmla="*/ 974725 w 1863725"/>
              <a:gd name="connsiteY58" fmla="*/ 9525 h 958850"/>
              <a:gd name="connsiteX59" fmla="*/ 1028700 w 1863725"/>
              <a:gd name="connsiteY59" fmla="*/ 0 h 958850"/>
              <a:gd name="connsiteX60" fmla="*/ 1082675 w 1863725"/>
              <a:gd name="connsiteY60" fmla="*/ 53975 h 958850"/>
              <a:gd name="connsiteX61" fmla="*/ 1073150 w 1863725"/>
              <a:gd name="connsiteY61" fmla="*/ 79375 h 958850"/>
              <a:gd name="connsiteX62" fmla="*/ 1101725 w 1863725"/>
              <a:gd name="connsiteY62" fmla="*/ 95250 h 958850"/>
              <a:gd name="connsiteX63" fmla="*/ 1108075 w 1863725"/>
              <a:gd name="connsiteY63" fmla="*/ 136525 h 958850"/>
              <a:gd name="connsiteX64" fmla="*/ 1108075 w 1863725"/>
              <a:gd name="connsiteY64" fmla="*/ 136525 h 958850"/>
              <a:gd name="connsiteX65" fmla="*/ 1181100 w 1863725"/>
              <a:gd name="connsiteY65" fmla="*/ 142875 h 958850"/>
              <a:gd name="connsiteX66" fmla="*/ 1200150 w 1863725"/>
              <a:gd name="connsiteY66" fmla="*/ 130175 h 958850"/>
              <a:gd name="connsiteX67" fmla="*/ 1235075 w 1863725"/>
              <a:gd name="connsiteY67" fmla="*/ 149225 h 958850"/>
              <a:gd name="connsiteX68" fmla="*/ 1260475 w 1863725"/>
              <a:gd name="connsiteY68" fmla="*/ 180975 h 958850"/>
              <a:gd name="connsiteX69" fmla="*/ 1282700 w 1863725"/>
              <a:gd name="connsiteY69" fmla="*/ 215900 h 958850"/>
              <a:gd name="connsiteX70" fmla="*/ 1323975 w 1863725"/>
              <a:gd name="connsiteY70" fmla="*/ 225425 h 958850"/>
              <a:gd name="connsiteX71" fmla="*/ 1358900 w 1863725"/>
              <a:gd name="connsiteY71" fmla="*/ 212725 h 958850"/>
              <a:gd name="connsiteX72" fmla="*/ 1390650 w 1863725"/>
              <a:gd name="connsiteY72" fmla="*/ 212725 h 958850"/>
              <a:gd name="connsiteX73" fmla="*/ 1419225 w 1863725"/>
              <a:gd name="connsiteY73" fmla="*/ 222250 h 958850"/>
              <a:gd name="connsiteX74" fmla="*/ 1441450 w 1863725"/>
              <a:gd name="connsiteY74" fmla="*/ 215900 h 958850"/>
              <a:gd name="connsiteX75" fmla="*/ 1463675 w 1863725"/>
              <a:gd name="connsiteY75" fmla="*/ 193675 h 958850"/>
              <a:gd name="connsiteX76" fmla="*/ 1492250 w 1863725"/>
              <a:gd name="connsiteY76" fmla="*/ 174625 h 958850"/>
              <a:gd name="connsiteX77" fmla="*/ 1517650 w 1863725"/>
              <a:gd name="connsiteY77" fmla="*/ 180975 h 958850"/>
              <a:gd name="connsiteX78" fmla="*/ 1536700 w 1863725"/>
              <a:gd name="connsiteY78" fmla="*/ 193675 h 958850"/>
              <a:gd name="connsiteX79" fmla="*/ 1552575 w 1863725"/>
              <a:gd name="connsiteY79" fmla="*/ 200025 h 958850"/>
              <a:gd name="connsiteX80" fmla="*/ 1581150 w 1863725"/>
              <a:gd name="connsiteY80" fmla="*/ 212725 h 958850"/>
              <a:gd name="connsiteX81" fmla="*/ 1606550 w 1863725"/>
              <a:gd name="connsiteY81" fmla="*/ 212725 h 958850"/>
              <a:gd name="connsiteX82" fmla="*/ 1631950 w 1863725"/>
              <a:gd name="connsiteY82" fmla="*/ 196850 h 958850"/>
              <a:gd name="connsiteX83" fmla="*/ 1657350 w 1863725"/>
              <a:gd name="connsiteY83" fmla="*/ 190500 h 958850"/>
              <a:gd name="connsiteX84" fmla="*/ 1676400 w 1863725"/>
              <a:gd name="connsiteY84" fmla="*/ 187325 h 958850"/>
              <a:gd name="connsiteX85" fmla="*/ 1695450 w 1863725"/>
              <a:gd name="connsiteY85" fmla="*/ 187325 h 958850"/>
              <a:gd name="connsiteX86" fmla="*/ 1724025 w 1863725"/>
              <a:gd name="connsiteY86" fmla="*/ 190500 h 958850"/>
              <a:gd name="connsiteX87" fmla="*/ 1752600 w 1863725"/>
              <a:gd name="connsiteY87" fmla="*/ 193675 h 958850"/>
              <a:gd name="connsiteX88" fmla="*/ 1781175 w 1863725"/>
              <a:gd name="connsiteY88" fmla="*/ 187325 h 958850"/>
              <a:gd name="connsiteX89" fmla="*/ 1793875 w 1863725"/>
              <a:gd name="connsiteY89" fmla="*/ 193675 h 958850"/>
              <a:gd name="connsiteX90" fmla="*/ 1806575 w 1863725"/>
              <a:gd name="connsiteY90" fmla="*/ 222250 h 958850"/>
              <a:gd name="connsiteX91" fmla="*/ 1790700 w 1863725"/>
              <a:gd name="connsiteY91" fmla="*/ 247650 h 958850"/>
              <a:gd name="connsiteX92" fmla="*/ 1778000 w 1863725"/>
              <a:gd name="connsiteY92" fmla="*/ 269875 h 958850"/>
              <a:gd name="connsiteX93" fmla="*/ 1793875 w 1863725"/>
              <a:gd name="connsiteY93" fmla="*/ 292100 h 958850"/>
              <a:gd name="connsiteX94" fmla="*/ 1812925 w 1863725"/>
              <a:gd name="connsiteY94" fmla="*/ 314325 h 958850"/>
              <a:gd name="connsiteX95" fmla="*/ 1822450 w 1863725"/>
              <a:gd name="connsiteY95" fmla="*/ 333375 h 958850"/>
              <a:gd name="connsiteX96" fmla="*/ 1822450 w 1863725"/>
              <a:gd name="connsiteY96" fmla="*/ 333375 h 958850"/>
              <a:gd name="connsiteX97" fmla="*/ 1847850 w 1863725"/>
              <a:gd name="connsiteY97" fmla="*/ 374650 h 958850"/>
              <a:gd name="connsiteX98" fmla="*/ 1860550 w 1863725"/>
              <a:gd name="connsiteY98" fmla="*/ 393700 h 958850"/>
              <a:gd name="connsiteX99" fmla="*/ 1863725 w 1863725"/>
              <a:gd name="connsiteY99" fmla="*/ 419100 h 958850"/>
              <a:gd name="connsiteX100" fmla="*/ 1851025 w 1863725"/>
              <a:gd name="connsiteY100" fmla="*/ 434975 h 958850"/>
              <a:gd name="connsiteX101" fmla="*/ 1831975 w 1863725"/>
              <a:gd name="connsiteY101" fmla="*/ 444500 h 958850"/>
              <a:gd name="connsiteX102" fmla="*/ 1803400 w 1863725"/>
              <a:gd name="connsiteY102" fmla="*/ 454025 h 958850"/>
              <a:gd name="connsiteX103" fmla="*/ 1781175 w 1863725"/>
              <a:gd name="connsiteY103" fmla="*/ 469900 h 958850"/>
              <a:gd name="connsiteX104" fmla="*/ 1765300 w 1863725"/>
              <a:gd name="connsiteY104" fmla="*/ 492125 h 958850"/>
              <a:gd name="connsiteX105" fmla="*/ 1758950 w 1863725"/>
              <a:gd name="connsiteY105" fmla="*/ 514350 h 958850"/>
              <a:gd name="connsiteX106" fmla="*/ 1746250 w 1863725"/>
              <a:gd name="connsiteY106" fmla="*/ 530225 h 958850"/>
              <a:gd name="connsiteX107" fmla="*/ 1736725 w 1863725"/>
              <a:gd name="connsiteY107" fmla="*/ 555625 h 958850"/>
              <a:gd name="connsiteX108" fmla="*/ 1736725 w 1863725"/>
              <a:gd name="connsiteY108" fmla="*/ 571500 h 958850"/>
              <a:gd name="connsiteX109" fmla="*/ 1736725 w 1863725"/>
              <a:gd name="connsiteY109" fmla="*/ 593725 h 958850"/>
              <a:gd name="connsiteX110" fmla="*/ 1739900 w 1863725"/>
              <a:gd name="connsiteY110" fmla="*/ 609600 h 958850"/>
              <a:gd name="connsiteX111" fmla="*/ 1736725 w 1863725"/>
              <a:gd name="connsiteY111" fmla="*/ 631825 h 958850"/>
              <a:gd name="connsiteX112" fmla="*/ 1720850 w 1863725"/>
              <a:gd name="connsiteY112" fmla="*/ 644525 h 958850"/>
              <a:gd name="connsiteX113" fmla="*/ 1704975 w 1863725"/>
              <a:gd name="connsiteY113" fmla="*/ 657225 h 958850"/>
              <a:gd name="connsiteX114" fmla="*/ 1685925 w 1863725"/>
              <a:gd name="connsiteY114" fmla="*/ 669925 h 95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863725" h="958850">
                <a:moveTo>
                  <a:pt x="76200" y="958850"/>
                </a:moveTo>
                <a:lnTo>
                  <a:pt x="28575" y="939800"/>
                </a:lnTo>
                <a:lnTo>
                  <a:pt x="12700" y="923925"/>
                </a:lnTo>
                <a:lnTo>
                  <a:pt x="0" y="904875"/>
                </a:lnTo>
                <a:lnTo>
                  <a:pt x="12700" y="869950"/>
                </a:lnTo>
                <a:lnTo>
                  <a:pt x="22225" y="825500"/>
                </a:lnTo>
                <a:lnTo>
                  <a:pt x="53975" y="803275"/>
                </a:lnTo>
                <a:lnTo>
                  <a:pt x="60325" y="784225"/>
                </a:lnTo>
                <a:lnTo>
                  <a:pt x="44450" y="771525"/>
                </a:lnTo>
                <a:lnTo>
                  <a:pt x="31750" y="739775"/>
                </a:lnTo>
                <a:lnTo>
                  <a:pt x="28575" y="727075"/>
                </a:lnTo>
                <a:lnTo>
                  <a:pt x="47625" y="669925"/>
                </a:lnTo>
                <a:lnTo>
                  <a:pt x="76200" y="625475"/>
                </a:lnTo>
                <a:lnTo>
                  <a:pt x="98425" y="593725"/>
                </a:lnTo>
                <a:lnTo>
                  <a:pt x="123825" y="571500"/>
                </a:lnTo>
                <a:lnTo>
                  <a:pt x="142875" y="561975"/>
                </a:lnTo>
                <a:lnTo>
                  <a:pt x="152400" y="536575"/>
                </a:lnTo>
                <a:lnTo>
                  <a:pt x="152400" y="536575"/>
                </a:lnTo>
                <a:lnTo>
                  <a:pt x="133350" y="495300"/>
                </a:lnTo>
                <a:lnTo>
                  <a:pt x="133350" y="495300"/>
                </a:lnTo>
                <a:lnTo>
                  <a:pt x="114300" y="454025"/>
                </a:lnTo>
                <a:lnTo>
                  <a:pt x="98425" y="434975"/>
                </a:lnTo>
                <a:lnTo>
                  <a:pt x="88900" y="422275"/>
                </a:lnTo>
                <a:lnTo>
                  <a:pt x="79375" y="406400"/>
                </a:lnTo>
                <a:lnTo>
                  <a:pt x="69850" y="381000"/>
                </a:lnTo>
                <a:lnTo>
                  <a:pt x="69850" y="365125"/>
                </a:lnTo>
                <a:lnTo>
                  <a:pt x="95250" y="374650"/>
                </a:lnTo>
                <a:lnTo>
                  <a:pt x="120650" y="361950"/>
                </a:lnTo>
                <a:lnTo>
                  <a:pt x="136525" y="314325"/>
                </a:lnTo>
                <a:lnTo>
                  <a:pt x="174625" y="301625"/>
                </a:lnTo>
                <a:lnTo>
                  <a:pt x="266700" y="282575"/>
                </a:lnTo>
                <a:lnTo>
                  <a:pt x="307975" y="279400"/>
                </a:lnTo>
                <a:lnTo>
                  <a:pt x="346075" y="279400"/>
                </a:lnTo>
                <a:lnTo>
                  <a:pt x="381000" y="279400"/>
                </a:lnTo>
                <a:lnTo>
                  <a:pt x="415925" y="292100"/>
                </a:lnTo>
                <a:lnTo>
                  <a:pt x="447675" y="292100"/>
                </a:lnTo>
                <a:lnTo>
                  <a:pt x="473075" y="301625"/>
                </a:lnTo>
                <a:lnTo>
                  <a:pt x="508000" y="288925"/>
                </a:lnTo>
                <a:lnTo>
                  <a:pt x="539750" y="276225"/>
                </a:lnTo>
                <a:lnTo>
                  <a:pt x="581025" y="282575"/>
                </a:lnTo>
                <a:lnTo>
                  <a:pt x="606425" y="260350"/>
                </a:lnTo>
                <a:lnTo>
                  <a:pt x="631825" y="276225"/>
                </a:lnTo>
                <a:lnTo>
                  <a:pt x="657225" y="273050"/>
                </a:lnTo>
                <a:lnTo>
                  <a:pt x="685800" y="257175"/>
                </a:lnTo>
                <a:lnTo>
                  <a:pt x="733425" y="263525"/>
                </a:lnTo>
                <a:lnTo>
                  <a:pt x="781050" y="254000"/>
                </a:lnTo>
                <a:lnTo>
                  <a:pt x="781050" y="215900"/>
                </a:lnTo>
                <a:lnTo>
                  <a:pt x="762000" y="193675"/>
                </a:lnTo>
                <a:lnTo>
                  <a:pt x="765175" y="165100"/>
                </a:lnTo>
                <a:lnTo>
                  <a:pt x="768350" y="133350"/>
                </a:lnTo>
                <a:lnTo>
                  <a:pt x="787400" y="120650"/>
                </a:lnTo>
                <a:lnTo>
                  <a:pt x="803275" y="114300"/>
                </a:lnTo>
                <a:lnTo>
                  <a:pt x="831850" y="98425"/>
                </a:lnTo>
                <a:lnTo>
                  <a:pt x="857250" y="98425"/>
                </a:lnTo>
                <a:lnTo>
                  <a:pt x="901700" y="82550"/>
                </a:lnTo>
                <a:lnTo>
                  <a:pt x="911225" y="57150"/>
                </a:lnTo>
                <a:lnTo>
                  <a:pt x="898525" y="38100"/>
                </a:lnTo>
                <a:lnTo>
                  <a:pt x="939800" y="34925"/>
                </a:lnTo>
                <a:lnTo>
                  <a:pt x="974725" y="9525"/>
                </a:lnTo>
                <a:lnTo>
                  <a:pt x="1028700" y="0"/>
                </a:lnTo>
                <a:lnTo>
                  <a:pt x="1082675" y="53975"/>
                </a:lnTo>
                <a:lnTo>
                  <a:pt x="1073150" y="79375"/>
                </a:lnTo>
                <a:lnTo>
                  <a:pt x="1101725" y="95250"/>
                </a:lnTo>
                <a:lnTo>
                  <a:pt x="1108075" y="136525"/>
                </a:lnTo>
                <a:lnTo>
                  <a:pt x="1108075" y="136525"/>
                </a:lnTo>
                <a:lnTo>
                  <a:pt x="1181100" y="142875"/>
                </a:lnTo>
                <a:lnTo>
                  <a:pt x="1200150" y="130175"/>
                </a:lnTo>
                <a:lnTo>
                  <a:pt x="1235075" y="149225"/>
                </a:lnTo>
                <a:lnTo>
                  <a:pt x="1260475" y="180975"/>
                </a:lnTo>
                <a:lnTo>
                  <a:pt x="1282700" y="215900"/>
                </a:lnTo>
                <a:lnTo>
                  <a:pt x="1323975" y="225425"/>
                </a:lnTo>
                <a:lnTo>
                  <a:pt x="1358900" y="212725"/>
                </a:lnTo>
                <a:lnTo>
                  <a:pt x="1390650" y="212725"/>
                </a:lnTo>
                <a:lnTo>
                  <a:pt x="1419225" y="222250"/>
                </a:lnTo>
                <a:lnTo>
                  <a:pt x="1441450" y="215900"/>
                </a:lnTo>
                <a:lnTo>
                  <a:pt x="1463675" y="193675"/>
                </a:lnTo>
                <a:lnTo>
                  <a:pt x="1492250" y="174625"/>
                </a:lnTo>
                <a:lnTo>
                  <a:pt x="1517650" y="180975"/>
                </a:lnTo>
                <a:lnTo>
                  <a:pt x="1536700" y="193675"/>
                </a:lnTo>
                <a:lnTo>
                  <a:pt x="1552575" y="200025"/>
                </a:lnTo>
                <a:lnTo>
                  <a:pt x="1581150" y="212725"/>
                </a:lnTo>
                <a:lnTo>
                  <a:pt x="1606550" y="212725"/>
                </a:lnTo>
                <a:lnTo>
                  <a:pt x="1631950" y="196850"/>
                </a:lnTo>
                <a:lnTo>
                  <a:pt x="1657350" y="190500"/>
                </a:lnTo>
                <a:lnTo>
                  <a:pt x="1676400" y="187325"/>
                </a:lnTo>
                <a:lnTo>
                  <a:pt x="1695450" y="187325"/>
                </a:lnTo>
                <a:lnTo>
                  <a:pt x="1724025" y="190500"/>
                </a:lnTo>
                <a:lnTo>
                  <a:pt x="1752600" y="193675"/>
                </a:lnTo>
                <a:lnTo>
                  <a:pt x="1781175" y="187325"/>
                </a:lnTo>
                <a:lnTo>
                  <a:pt x="1793875" y="193675"/>
                </a:lnTo>
                <a:lnTo>
                  <a:pt x="1806575" y="222250"/>
                </a:lnTo>
                <a:lnTo>
                  <a:pt x="1790700" y="247650"/>
                </a:lnTo>
                <a:lnTo>
                  <a:pt x="1778000" y="269875"/>
                </a:lnTo>
                <a:lnTo>
                  <a:pt x="1793875" y="292100"/>
                </a:lnTo>
                <a:lnTo>
                  <a:pt x="1812925" y="314325"/>
                </a:lnTo>
                <a:lnTo>
                  <a:pt x="1822450" y="333375"/>
                </a:lnTo>
                <a:lnTo>
                  <a:pt x="1822450" y="333375"/>
                </a:lnTo>
                <a:lnTo>
                  <a:pt x="1847850" y="374650"/>
                </a:lnTo>
                <a:lnTo>
                  <a:pt x="1860550" y="393700"/>
                </a:lnTo>
                <a:lnTo>
                  <a:pt x="1863725" y="419100"/>
                </a:lnTo>
                <a:lnTo>
                  <a:pt x="1851025" y="434975"/>
                </a:lnTo>
                <a:lnTo>
                  <a:pt x="1831975" y="444500"/>
                </a:lnTo>
                <a:lnTo>
                  <a:pt x="1803400" y="454025"/>
                </a:lnTo>
                <a:lnTo>
                  <a:pt x="1781175" y="469900"/>
                </a:lnTo>
                <a:lnTo>
                  <a:pt x="1765300" y="492125"/>
                </a:lnTo>
                <a:lnTo>
                  <a:pt x="1758950" y="514350"/>
                </a:lnTo>
                <a:lnTo>
                  <a:pt x="1746250" y="530225"/>
                </a:lnTo>
                <a:lnTo>
                  <a:pt x="1736725" y="555625"/>
                </a:lnTo>
                <a:lnTo>
                  <a:pt x="1736725" y="571500"/>
                </a:lnTo>
                <a:lnTo>
                  <a:pt x="1736725" y="593725"/>
                </a:lnTo>
                <a:lnTo>
                  <a:pt x="1739900" y="609600"/>
                </a:lnTo>
                <a:lnTo>
                  <a:pt x="1736725" y="631825"/>
                </a:lnTo>
                <a:lnTo>
                  <a:pt x="1720850" y="644525"/>
                </a:lnTo>
                <a:lnTo>
                  <a:pt x="1704975" y="657225"/>
                </a:lnTo>
                <a:lnTo>
                  <a:pt x="1685925" y="669925"/>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Oval 338">
            <a:extLst>
              <a:ext uri="{FF2B5EF4-FFF2-40B4-BE49-F238E27FC236}">
                <a16:creationId xmlns:a16="http://schemas.microsoft.com/office/drawing/2014/main" id="{F2BCCB12-85F0-FAF2-D0DD-530319C0C5EF}"/>
              </a:ext>
            </a:extLst>
          </p:cNvPr>
          <p:cNvSpPr/>
          <p:nvPr/>
        </p:nvSpPr>
        <p:spPr>
          <a:xfrm>
            <a:off x="9994573" y="3805301"/>
            <a:ext cx="89766" cy="81444"/>
          </a:xfrm>
          <a:prstGeom prst="ellipse">
            <a:avLst/>
          </a:prstGeom>
          <a:solidFill>
            <a:srgbClr val="A2C61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Oval 339">
            <a:extLst>
              <a:ext uri="{FF2B5EF4-FFF2-40B4-BE49-F238E27FC236}">
                <a16:creationId xmlns:a16="http://schemas.microsoft.com/office/drawing/2014/main" id="{36D6443F-01C4-A036-D9B5-71807E90486E}"/>
              </a:ext>
            </a:extLst>
          </p:cNvPr>
          <p:cNvSpPr/>
          <p:nvPr/>
        </p:nvSpPr>
        <p:spPr>
          <a:xfrm>
            <a:off x="9956383" y="4568012"/>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Oval 340">
            <a:extLst>
              <a:ext uri="{FF2B5EF4-FFF2-40B4-BE49-F238E27FC236}">
                <a16:creationId xmlns:a16="http://schemas.microsoft.com/office/drawing/2014/main" id="{93C88697-1D97-6ECC-E05B-CF6546E5BF9B}"/>
              </a:ext>
            </a:extLst>
          </p:cNvPr>
          <p:cNvSpPr/>
          <p:nvPr/>
        </p:nvSpPr>
        <p:spPr>
          <a:xfrm>
            <a:off x="10695622" y="993613"/>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Oval 343">
            <a:extLst>
              <a:ext uri="{FF2B5EF4-FFF2-40B4-BE49-F238E27FC236}">
                <a16:creationId xmlns:a16="http://schemas.microsoft.com/office/drawing/2014/main" id="{907EB5A5-6BA7-407A-7E6F-211FC82C5971}"/>
              </a:ext>
            </a:extLst>
          </p:cNvPr>
          <p:cNvSpPr/>
          <p:nvPr/>
        </p:nvSpPr>
        <p:spPr>
          <a:xfrm>
            <a:off x="9261779" y="3551533"/>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Oval 344">
            <a:extLst>
              <a:ext uri="{FF2B5EF4-FFF2-40B4-BE49-F238E27FC236}">
                <a16:creationId xmlns:a16="http://schemas.microsoft.com/office/drawing/2014/main" id="{A0309445-78D8-C37A-AC5B-C9839B5AC2C9}"/>
              </a:ext>
            </a:extLst>
          </p:cNvPr>
          <p:cNvSpPr/>
          <p:nvPr/>
        </p:nvSpPr>
        <p:spPr>
          <a:xfrm>
            <a:off x="10484443" y="4548880"/>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Oval 345">
            <a:extLst>
              <a:ext uri="{FF2B5EF4-FFF2-40B4-BE49-F238E27FC236}">
                <a16:creationId xmlns:a16="http://schemas.microsoft.com/office/drawing/2014/main" id="{1B39253B-E8C0-119F-8186-ECE290863C09}"/>
              </a:ext>
            </a:extLst>
          </p:cNvPr>
          <p:cNvSpPr/>
          <p:nvPr/>
        </p:nvSpPr>
        <p:spPr>
          <a:xfrm>
            <a:off x="10359510" y="4442632"/>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Oval 346">
            <a:extLst>
              <a:ext uri="{FF2B5EF4-FFF2-40B4-BE49-F238E27FC236}">
                <a16:creationId xmlns:a16="http://schemas.microsoft.com/office/drawing/2014/main" id="{8D2A5EA6-7057-4E88-03E1-1D559281C817}"/>
              </a:ext>
            </a:extLst>
          </p:cNvPr>
          <p:cNvSpPr/>
          <p:nvPr/>
        </p:nvSpPr>
        <p:spPr>
          <a:xfrm>
            <a:off x="9233980" y="3910096"/>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348">
            <a:extLst>
              <a:ext uri="{FF2B5EF4-FFF2-40B4-BE49-F238E27FC236}">
                <a16:creationId xmlns:a16="http://schemas.microsoft.com/office/drawing/2014/main" id="{65590FAA-C756-EE1A-F289-B44F0239CE5E}"/>
              </a:ext>
            </a:extLst>
          </p:cNvPr>
          <p:cNvSpPr/>
          <p:nvPr/>
        </p:nvSpPr>
        <p:spPr>
          <a:xfrm>
            <a:off x="8974723" y="3623004"/>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Oval 349">
            <a:extLst>
              <a:ext uri="{FF2B5EF4-FFF2-40B4-BE49-F238E27FC236}">
                <a16:creationId xmlns:a16="http://schemas.microsoft.com/office/drawing/2014/main" id="{0D46CEB0-C509-CAD7-E94E-A86AA8A10A90}"/>
              </a:ext>
            </a:extLst>
          </p:cNvPr>
          <p:cNvSpPr/>
          <p:nvPr/>
        </p:nvSpPr>
        <p:spPr>
          <a:xfrm>
            <a:off x="9241371" y="3786050"/>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Oval 350">
            <a:extLst>
              <a:ext uri="{FF2B5EF4-FFF2-40B4-BE49-F238E27FC236}">
                <a16:creationId xmlns:a16="http://schemas.microsoft.com/office/drawing/2014/main" id="{F4BFD21C-7F40-551E-527C-6ECA898217B8}"/>
              </a:ext>
            </a:extLst>
          </p:cNvPr>
          <p:cNvSpPr/>
          <p:nvPr/>
        </p:nvSpPr>
        <p:spPr>
          <a:xfrm>
            <a:off x="9114874" y="3843129"/>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Oval 356">
            <a:extLst>
              <a:ext uri="{FF2B5EF4-FFF2-40B4-BE49-F238E27FC236}">
                <a16:creationId xmlns:a16="http://schemas.microsoft.com/office/drawing/2014/main" id="{54000FCB-A342-55C1-85E0-A1AEF92665C0}"/>
              </a:ext>
            </a:extLst>
          </p:cNvPr>
          <p:cNvSpPr/>
          <p:nvPr/>
        </p:nvSpPr>
        <p:spPr>
          <a:xfrm>
            <a:off x="9931005" y="4219149"/>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Oval 357">
            <a:extLst>
              <a:ext uri="{FF2B5EF4-FFF2-40B4-BE49-F238E27FC236}">
                <a16:creationId xmlns:a16="http://schemas.microsoft.com/office/drawing/2014/main" id="{8A73453B-DAA1-20CA-3D16-DB65C064C605}"/>
              </a:ext>
            </a:extLst>
          </p:cNvPr>
          <p:cNvSpPr/>
          <p:nvPr/>
        </p:nvSpPr>
        <p:spPr>
          <a:xfrm>
            <a:off x="10269265" y="4076672"/>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Oval 358">
            <a:extLst>
              <a:ext uri="{FF2B5EF4-FFF2-40B4-BE49-F238E27FC236}">
                <a16:creationId xmlns:a16="http://schemas.microsoft.com/office/drawing/2014/main" id="{B3E0F13B-82E9-CB2D-48F3-7E0DD1309343}"/>
              </a:ext>
            </a:extLst>
          </p:cNvPr>
          <p:cNvSpPr/>
          <p:nvPr/>
        </p:nvSpPr>
        <p:spPr>
          <a:xfrm>
            <a:off x="10527394" y="4043498"/>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Oval 361">
            <a:extLst>
              <a:ext uri="{FF2B5EF4-FFF2-40B4-BE49-F238E27FC236}">
                <a16:creationId xmlns:a16="http://schemas.microsoft.com/office/drawing/2014/main" id="{01A05B7B-BD76-352F-0377-DC4BE41BB046}"/>
              </a:ext>
            </a:extLst>
          </p:cNvPr>
          <p:cNvSpPr/>
          <p:nvPr/>
        </p:nvSpPr>
        <p:spPr>
          <a:xfrm>
            <a:off x="10688296" y="738629"/>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Oval 362">
            <a:extLst>
              <a:ext uri="{FF2B5EF4-FFF2-40B4-BE49-F238E27FC236}">
                <a16:creationId xmlns:a16="http://schemas.microsoft.com/office/drawing/2014/main" id="{20DB8E0D-E153-3D06-97BB-E5B7405BE9A3}"/>
              </a:ext>
            </a:extLst>
          </p:cNvPr>
          <p:cNvSpPr/>
          <p:nvPr/>
        </p:nvSpPr>
        <p:spPr>
          <a:xfrm>
            <a:off x="9551398" y="3109536"/>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Oval 363">
            <a:extLst>
              <a:ext uri="{FF2B5EF4-FFF2-40B4-BE49-F238E27FC236}">
                <a16:creationId xmlns:a16="http://schemas.microsoft.com/office/drawing/2014/main" id="{B91C56D7-19C7-925D-9785-F912F35CC8F0}"/>
              </a:ext>
            </a:extLst>
          </p:cNvPr>
          <p:cNvSpPr/>
          <p:nvPr/>
        </p:nvSpPr>
        <p:spPr>
          <a:xfrm>
            <a:off x="9884526" y="1810154"/>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Oval 364">
            <a:extLst>
              <a:ext uri="{FF2B5EF4-FFF2-40B4-BE49-F238E27FC236}">
                <a16:creationId xmlns:a16="http://schemas.microsoft.com/office/drawing/2014/main" id="{79D57842-DDD8-0294-57B7-6D3965391D60}"/>
              </a:ext>
            </a:extLst>
          </p:cNvPr>
          <p:cNvSpPr/>
          <p:nvPr/>
        </p:nvSpPr>
        <p:spPr>
          <a:xfrm>
            <a:off x="9900655" y="2948598"/>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Oval 365">
            <a:extLst>
              <a:ext uri="{FF2B5EF4-FFF2-40B4-BE49-F238E27FC236}">
                <a16:creationId xmlns:a16="http://schemas.microsoft.com/office/drawing/2014/main" id="{218FD183-85DF-608B-41D6-7FBF32B7F4A7}"/>
              </a:ext>
            </a:extLst>
          </p:cNvPr>
          <p:cNvSpPr/>
          <p:nvPr/>
        </p:nvSpPr>
        <p:spPr>
          <a:xfrm>
            <a:off x="9375007" y="4087344"/>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Oval 366">
            <a:extLst>
              <a:ext uri="{FF2B5EF4-FFF2-40B4-BE49-F238E27FC236}">
                <a16:creationId xmlns:a16="http://schemas.microsoft.com/office/drawing/2014/main" id="{23D4F2B8-11EC-4B37-3D78-FB6A191A4935}"/>
              </a:ext>
            </a:extLst>
          </p:cNvPr>
          <p:cNvSpPr/>
          <p:nvPr/>
        </p:nvSpPr>
        <p:spPr>
          <a:xfrm>
            <a:off x="9198987" y="4717474"/>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Oval 367">
            <a:extLst>
              <a:ext uri="{FF2B5EF4-FFF2-40B4-BE49-F238E27FC236}">
                <a16:creationId xmlns:a16="http://schemas.microsoft.com/office/drawing/2014/main" id="{55007C3B-75CC-C8D8-D784-322DD19DDE28}"/>
              </a:ext>
            </a:extLst>
          </p:cNvPr>
          <p:cNvSpPr/>
          <p:nvPr/>
        </p:nvSpPr>
        <p:spPr>
          <a:xfrm>
            <a:off x="8440884" y="5043491"/>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368">
            <a:extLst>
              <a:ext uri="{FF2B5EF4-FFF2-40B4-BE49-F238E27FC236}">
                <a16:creationId xmlns:a16="http://schemas.microsoft.com/office/drawing/2014/main" id="{7C623C92-0689-EAC6-BC1B-82D52AFF787A}"/>
              </a:ext>
            </a:extLst>
          </p:cNvPr>
          <p:cNvSpPr/>
          <p:nvPr/>
        </p:nvSpPr>
        <p:spPr>
          <a:xfrm>
            <a:off x="7320779" y="5310631"/>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Oval 369">
            <a:extLst>
              <a:ext uri="{FF2B5EF4-FFF2-40B4-BE49-F238E27FC236}">
                <a16:creationId xmlns:a16="http://schemas.microsoft.com/office/drawing/2014/main" id="{155EA490-5BC7-458D-8535-CB293D31ADF4}"/>
              </a:ext>
            </a:extLst>
          </p:cNvPr>
          <p:cNvSpPr/>
          <p:nvPr/>
        </p:nvSpPr>
        <p:spPr>
          <a:xfrm>
            <a:off x="9832867" y="4418074"/>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Oval 370">
            <a:extLst>
              <a:ext uri="{FF2B5EF4-FFF2-40B4-BE49-F238E27FC236}">
                <a16:creationId xmlns:a16="http://schemas.microsoft.com/office/drawing/2014/main" id="{A6CB0592-257E-7A99-67CF-F346E5A6BE56}"/>
              </a:ext>
            </a:extLst>
          </p:cNvPr>
          <p:cNvSpPr/>
          <p:nvPr/>
        </p:nvSpPr>
        <p:spPr>
          <a:xfrm>
            <a:off x="10612262" y="4246051"/>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Oval 371">
            <a:extLst>
              <a:ext uri="{FF2B5EF4-FFF2-40B4-BE49-F238E27FC236}">
                <a16:creationId xmlns:a16="http://schemas.microsoft.com/office/drawing/2014/main" id="{64C7E0C3-67F6-F59C-75D8-8DCB26222521}"/>
              </a:ext>
            </a:extLst>
          </p:cNvPr>
          <p:cNvSpPr/>
          <p:nvPr/>
        </p:nvSpPr>
        <p:spPr>
          <a:xfrm>
            <a:off x="10074510" y="3439954"/>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Oval 372">
            <a:extLst>
              <a:ext uri="{FF2B5EF4-FFF2-40B4-BE49-F238E27FC236}">
                <a16:creationId xmlns:a16="http://schemas.microsoft.com/office/drawing/2014/main" id="{295C6715-3613-0B2A-BBF4-EDF0CF0AC9CA}"/>
              </a:ext>
            </a:extLst>
          </p:cNvPr>
          <p:cNvSpPr/>
          <p:nvPr/>
        </p:nvSpPr>
        <p:spPr>
          <a:xfrm>
            <a:off x="10349980" y="3847524"/>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Oval 373">
            <a:extLst>
              <a:ext uri="{FF2B5EF4-FFF2-40B4-BE49-F238E27FC236}">
                <a16:creationId xmlns:a16="http://schemas.microsoft.com/office/drawing/2014/main" id="{69EAFAE0-722B-BF5D-3825-BA271451A67E}"/>
              </a:ext>
            </a:extLst>
          </p:cNvPr>
          <p:cNvSpPr/>
          <p:nvPr/>
        </p:nvSpPr>
        <p:spPr>
          <a:xfrm>
            <a:off x="10135927" y="4484928"/>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Oval 374">
            <a:extLst>
              <a:ext uri="{FF2B5EF4-FFF2-40B4-BE49-F238E27FC236}">
                <a16:creationId xmlns:a16="http://schemas.microsoft.com/office/drawing/2014/main" id="{1E8D7F1B-E88E-495A-1733-58D89969B9A4}"/>
              </a:ext>
            </a:extLst>
          </p:cNvPr>
          <p:cNvSpPr/>
          <p:nvPr/>
        </p:nvSpPr>
        <p:spPr>
          <a:xfrm>
            <a:off x="10213066" y="4659800"/>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Oval 375">
            <a:extLst>
              <a:ext uri="{FF2B5EF4-FFF2-40B4-BE49-F238E27FC236}">
                <a16:creationId xmlns:a16="http://schemas.microsoft.com/office/drawing/2014/main" id="{6C31A4FE-07B1-5757-3AB4-665484E0FD90}"/>
              </a:ext>
            </a:extLst>
          </p:cNvPr>
          <p:cNvSpPr/>
          <p:nvPr/>
        </p:nvSpPr>
        <p:spPr>
          <a:xfrm>
            <a:off x="10970227" y="4337123"/>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Oval 376">
            <a:extLst>
              <a:ext uri="{FF2B5EF4-FFF2-40B4-BE49-F238E27FC236}">
                <a16:creationId xmlns:a16="http://schemas.microsoft.com/office/drawing/2014/main" id="{947F9040-6DDF-F141-993D-11D510DECFE1}"/>
              </a:ext>
            </a:extLst>
          </p:cNvPr>
          <p:cNvSpPr/>
          <p:nvPr/>
        </p:nvSpPr>
        <p:spPr>
          <a:xfrm>
            <a:off x="11398097" y="5202655"/>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Oval 377">
            <a:extLst>
              <a:ext uri="{FF2B5EF4-FFF2-40B4-BE49-F238E27FC236}">
                <a16:creationId xmlns:a16="http://schemas.microsoft.com/office/drawing/2014/main" id="{B93A4DC5-EAE1-1EDE-249B-F71F23C96306}"/>
              </a:ext>
            </a:extLst>
          </p:cNvPr>
          <p:cNvSpPr/>
          <p:nvPr/>
        </p:nvSpPr>
        <p:spPr>
          <a:xfrm>
            <a:off x="11467568" y="4816083"/>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Oval 379">
            <a:extLst>
              <a:ext uri="{FF2B5EF4-FFF2-40B4-BE49-F238E27FC236}">
                <a16:creationId xmlns:a16="http://schemas.microsoft.com/office/drawing/2014/main" id="{C514A320-52AC-6893-DE13-89224F1F7158}"/>
              </a:ext>
            </a:extLst>
          </p:cNvPr>
          <p:cNvSpPr/>
          <p:nvPr/>
        </p:nvSpPr>
        <p:spPr>
          <a:xfrm>
            <a:off x="10970227" y="3135976"/>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Oval 380">
            <a:extLst>
              <a:ext uri="{FF2B5EF4-FFF2-40B4-BE49-F238E27FC236}">
                <a16:creationId xmlns:a16="http://schemas.microsoft.com/office/drawing/2014/main" id="{4C60A938-4E48-F66C-9BD9-7D6CC435CC16}"/>
              </a:ext>
            </a:extLst>
          </p:cNvPr>
          <p:cNvSpPr/>
          <p:nvPr/>
        </p:nvSpPr>
        <p:spPr>
          <a:xfrm>
            <a:off x="10746114" y="3963701"/>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Oval 381">
            <a:extLst>
              <a:ext uri="{FF2B5EF4-FFF2-40B4-BE49-F238E27FC236}">
                <a16:creationId xmlns:a16="http://schemas.microsoft.com/office/drawing/2014/main" id="{33866504-2612-0DD1-5585-2B086987FB2B}"/>
              </a:ext>
            </a:extLst>
          </p:cNvPr>
          <p:cNvSpPr/>
          <p:nvPr/>
        </p:nvSpPr>
        <p:spPr>
          <a:xfrm>
            <a:off x="11093335" y="2761594"/>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8" name="Straight Connector 398">
            <a:extLst>
              <a:ext uri="{FF2B5EF4-FFF2-40B4-BE49-F238E27FC236}">
                <a16:creationId xmlns:a16="http://schemas.microsoft.com/office/drawing/2014/main" id="{8C48E1F1-A693-77BC-5260-D5225A58BE3D}"/>
              </a:ext>
            </a:extLst>
          </p:cNvPr>
          <p:cNvCxnSpPr>
            <a:cxnSpLocks/>
          </p:cNvCxnSpPr>
          <p:nvPr/>
        </p:nvCxnSpPr>
        <p:spPr>
          <a:xfrm>
            <a:off x="10986835" y="2109657"/>
            <a:ext cx="73158" cy="222546"/>
          </a:xfrm>
          <a:prstGeom prst="line">
            <a:avLst/>
          </a:prstGeom>
        </p:spPr>
        <p:style>
          <a:lnRef idx="1">
            <a:schemeClr val="dk1"/>
          </a:lnRef>
          <a:fillRef idx="0">
            <a:schemeClr val="dk1"/>
          </a:fillRef>
          <a:effectRef idx="0">
            <a:schemeClr val="dk1"/>
          </a:effectRef>
          <a:fontRef idx="minor">
            <a:schemeClr val="tx1"/>
          </a:fontRef>
        </p:style>
      </p:cxnSp>
      <p:sp>
        <p:nvSpPr>
          <p:cNvPr id="99" name="Oval 382">
            <a:extLst>
              <a:ext uri="{FF2B5EF4-FFF2-40B4-BE49-F238E27FC236}">
                <a16:creationId xmlns:a16="http://schemas.microsoft.com/office/drawing/2014/main" id="{51527D4C-EBB6-0ED1-1803-A1E798EBCB6F}"/>
              </a:ext>
            </a:extLst>
          </p:cNvPr>
          <p:cNvSpPr/>
          <p:nvPr/>
        </p:nvSpPr>
        <p:spPr>
          <a:xfrm>
            <a:off x="11113837" y="2481527"/>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Oval 383">
            <a:extLst>
              <a:ext uri="{FF2B5EF4-FFF2-40B4-BE49-F238E27FC236}">
                <a16:creationId xmlns:a16="http://schemas.microsoft.com/office/drawing/2014/main" id="{889F10CB-00DB-179B-1451-4563255E823E}"/>
              </a:ext>
            </a:extLst>
          </p:cNvPr>
          <p:cNvSpPr/>
          <p:nvPr/>
        </p:nvSpPr>
        <p:spPr>
          <a:xfrm>
            <a:off x="10986352" y="2187660"/>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1" name="Straight Connector 392">
            <a:extLst>
              <a:ext uri="{FF2B5EF4-FFF2-40B4-BE49-F238E27FC236}">
                <a16:creationId xmlns:a16="http://schemas.microsoft.com/office/drawing/2014/main" id="{E928D851-7258-8B1D-BDFE-6788562C0E93}"/>
              </a:ext>
            </a:extLst>
          </p:cNvPr>
          <p:cNvCxnSpPr>
            <a:cxnSpLocks/>
            <a:stCxn id="63" idx="121"/>
          </p:cNvCxnSpPr>
          <p:nvPr/>
        </p:nvCxnSpPr>
        <p:spPr>
          <a:xfrm>
            <a:off x="7831517" y="3430232"/>
            <a:ext cx="265411" cy="561308"/>
          </a:xfrm>
          <a:prstGeom prst="line">
            <a:avLst/>
          </a:prstGeom>
        </p:spPr>
        <p:style>
          <a:lnRef idx="1">
            <a:schemeClr val="dk1"/>
          </a:lnRef>
          <a:fillRef idx="0">
            <a:schemeClr val="dk1"/>
          </a:fillRef>
          <a:effectRef idx="0">
            <a:schemeClr val="dk1"/>
          </a:effectRef>
          <a:fontRef idx="minor">
            <a:schemeClr val="tx1"/>
          </a:fontRef>
        </p:style>
      </p:cxnSp>
      <p:sp>
        <p:nvSpPr>
          <p:cNvPr id="102" name="Oval 387">
            <a:extLst>
              <a:ext uri="{FF2B5EF4-FFF2-40B4-BE49-F238E27FC236}">
                <a16:creationId xmlns:a16="http://schemas.microsoft.com/office/drawing/2014/main" id="{42469789-B4B6-5C8F-31ED-F59BF413C0E7}"/>
              </a:ext>
            </a:extLst>
          </p:cNvPr>
          <p:cNvSpPr/>
          <p:nvPr/>
        </p:nvSpPr>
        <p:spPr>
          <a:xfrm>
            <a:off x="7921668" y="3678100"/>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3" name="Straight Connector 396">
            <a:extLst>
              <a:ext uri="{FF2B5EF4-FFF2-40B4-BE49-F238E27FC236}">
                <a16:creationId xmlns:a16="http://schemas.microsoft.com/office/drawing/2014/main" id="{C239861C-915B-9D0C-E396-666D221F711A}"/>
              </a:ext>
            </a:extLst>
          </p:cNvPr>
          <p:cNvCxnSpPr>
            <a:cxnSpLocks/>
          </p:cNvCxnSpPr>
          <p:nvPr/>
        </p:nvCxnSpPr>
        <p:spPr>
          <a:xfrm>
            <a:off x="9545756" y="2554984"/>
            <a:ext cx="73158" cy="222546"/>
          </a:xfrm>
          <a:prstGeom prst="line">
            <a:avLst/>
          </a:prstGeom>
        </p:spPr>
        <p:style>
          <a:lnRef idx="1">
            <a:schemeClr val="dk1"/>
          </a:lnRef>
          <a:fillRef idx="0">
            <a:schemeClr val="dk1"/>
          </a:fillRef>
          <a:effectRef idx="0">
            <a:schemeClr val="dk1"/>
          </a:effectRef>
          <a:fontRef idx="minor">
            <a:schemeClr val="tx1"/>
          </a:fontRef>
        </p:style>
      </p:cxnSp>
      <p:sp>
        <p:nvSpPr>
          <p:cNvPr id="104" name="Oval 386">
            <a:extLst>
              <a:ext uri="{FF2B5EF4-FFF2-40B4-BE49-F238E27FC236}">
                <a16:creationId xmlns:a16="http://schemas.microsoft.com/office/drawing/2014/main" id="{78E1A2A1-DF2B-FA3F-E24D-7F937221D4BF}"/>
              </a:ext>
            </a:extLst>
          </p:cNvPr>
          <p:cNvSpPr/>
          <p:nvPr/>
        </p:nvSpPr>
        <p:spPr>
          <a:xfrm>
            <a:off x="9537154" y="2621529"/>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5" name="Straight Connector 399">
            <a:extLst>
              <a:ext uri="{FF2B5EF4-FFF2-40B4-BE49-F238E27FC236}">
                <a16:creationId xmlns:a16="http://schemas.microsoft.com/office/drawing/2014/main" id="{2F83509B-7539-78FC-F70C-6697F0787304}"/>
              </a:ext>
            </a:extLst>
          </p:cNvPr>
          <p:cNvCxnSpPr>
            <a:cxnSpLocks/>
            <a:stCxn id="61" idx="38"/>
          </p:cNvCxnSpPr>
          <p:nvPr/>
        </p:nvCxnSpPr>
        <p:spPr>
          <a:xfrm>
            <a:off x="10612039" y="5524299"/>
            <a:ext cx="433594" cy="26254"/>
          </a:xfrm>
          <a:prstGeom prst="line">
            <a:avLst/>
          </a:prstGeom>
        </p:spPr>
        <p:style>
          <a:lnRef idx="1">
            <a:schemeClr val="dk1"/>
          </a:lnRef>
          <a:fillRef idx="0">
            <a:schemeClr val="dk1"/>
          </a:fillRef>
          <a:effectRef idx="0">
            <a:schemeClr val="dk1"/>
          </a:effectRef>
          <a:fontRef idx="minor">
            <a:schemeClr val="tx1"/>
          </a:fontRef>
        </p:style>
      </p:cxnSp>
      <p:sp>
        <p:nvSpPr>
          <p:cNvPr id="106" name="Oval 390">
            <a:extLst>
              <a:ext uri="{FF2B5EF4-FFF2-40B4-BE49-F238E27FC236}">
                <a16:creationId xmlns:a16="http://schemas.microsoft.com/office/drawing/2014/main" id="{5759C751-F778-E97F-00E8-E5F9761BE3E5}"/>
              </a:ext>
            </a:extLst>
          </p:cNvPr>
          <p:cNvSpPr/>
          <p:nvPr/>
        </p:nvSpPr>
        <p:spPr>
          <a:xfrm>
            <a:off x="10790997" y="5501339"/>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402">
            <a:extLst>
              <a:ext uri="{FF2B5EF4-FFF2-40B4-BE49-F238E27FC236}">
                <a16:creationId xmlns:a16="http://schemas.microsoft.com/office/drawing/2014/main" id="{4D5597F4-A5B6-8040-5C2E-42AC9C7160AE}"/>
              </a:ext>
            </a:extLst>
          </p:cNvPr>
          <p:cNvSpPr/>
          <p:nvPr/>
        </p:nvSpPr>
        <p:spPr>
          <a:xfrm>
            <a:off x="10391652" y="4299803"/>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403">
            <a:extLst>
              <a:ext uri="{FF2B5EF4-FFF2-40B4-BE49-F238E27FC236}">
                <a16:creationId xmlns:a16="http://schemas.microsoft.com/office/drawing/2014/main" id="{E206FD13-3820-6421-89EB-F4BF7992A2CA}"/>
              </a:ext>
            </a:extLst>
          </p:cNvPr>
          <p:cNvSpPr/>
          <p:nvPr/>
        </p:nvSpPr>
        <p:spPr>
          <a:xfrm>
            <a:off x="10418073" y="4171996"/>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9" name="Straight Connector 255">
            <a:extLst>
              <a:ext uri="{FF2B5EF4-FFF2-40B4-BE49-F238E27FC236}">
                <a16:creationId xmlns:a16="http://schemas.microsoft.com/office/drawing/2014/main" id="{75F1EAD1-106F-62C2-BDA2-4F22C6A1F57E}"/>
              </a:ext>
            </a:extLst>
          </p:cNvPr>
          <p:cNvCxnSpPr>
            <a:cxnSpLocks/>
          </p:cNvCxnSpPr>
          <p:nvPr/>
        </p:nvCxnSpPr>
        <p:spPr>
          <a:xfrm flipH="1">
            <a:off x="9943840" y="3013455"/>
            <a:ext cx="79077" cy="222449"/>
          </a:xfrm>
          <a:prstGeom prst="line">
            <a:avLst/>
          </a:prstGeom>
        </p:spPr>
        <p:style>
          <a:lnRef idx="1">
            <a:schemeClr val="dk1"/>
          </a:lnRef>
          <a:fillRef idx="0">
            <a:schemeClr val="dk1"/>
          </a:fillRef>
          <a:effectRef idx="0">
            <a:schemeClr val="dk1"/>
          </a:effectRef>
          <a:fontRef idx="minor">
            <a:schemeClr val="tx1"/>
          </a:fontRef>
        </p:style>
      </p:cxnSp>
      <p:sp>
        <p:nvSpPr>
          <p:cNvPr id="110" name="Oval 258">
            <a:extLst>
              <a:ext uri="{FF2B5EF4-FFF2-40B4-BE49-F238E27FC236}">
                <a16:creationId xmlns:a16="http://schemas.microsoft.com/office/drawing/2014/main" id="{66B0D869-7C29-4CDE-6FE5-7368F0E25EB6}"/>
              </a:ext>
            </a:extLst>
          </p:cNvPr>
          <p:cNvSpPr/>
          <p:nvPr/>
        </p:nvSpPr>
        <p:spPr>
          <a:xfrm>
            <a:off x="9929409" y="3108510"/>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1" name="Straight Connector 259">
            <a:extLst>
              <a:ext uri="{FF2B5EF4-FFF2-40B4-BE49-F238E27FC236}">
                <a16:creationId xmlns:a16="http://schemas.microsoft.com/office/drawing/2014/main" id="{CC93810F-2B02-98FC-C381-7E08AD551127}"/>
              </a:ext>
            </a:extLst>
          </p:cNvPr>
          <p:cNvCxnSpPr>
            <a:cxnSpLocks/>
          </p:cNvCxnSpPr>
          <p:nvPr/>
        </p:nvCxnSpPr>
        <p:spPr>
          <a:xfrm flipH="1">
            <a:off x="9270583" y="2480773"/>
            <a:ext cx="97325" cy="884658"/>
          </a:xfrm>
          <a:prstGeom prst="line">
            <a:avLst/>
          </a:prstGeom>
        </p:spPr>
        <p:style>
          <a:lnRef idx="1">
            <a:schemeClr val="dk1"/>
          </a:lnRef>
          <a:fillRef idx="0">
            <a:schemeClr val="dk1"/>
          </a:fillRef>
          <a:effectRef idx="0">
            <a:schemeClr val="dk1"/>
          </a:effectRef>
          <a:fontRef idx="minor">
            <a:schemeClr val="tx1"/>
          </a:fontRef>
        </p:style>
      </p:cxnSp>
      <p:sp>
        <p:nvSpPr>
          <p:cNvPr id="112" name="Oval 261">
            <a:extLst>
              <a:ext uri="{FF2B5EF4-FFF2-40B4-BE49-F238E27FC236}">
                <a16:creationId xmlns:a16="http://schemas.microsoft.com/office/drawing/2014/main" id="{B134910A-7D43-7405-DD9E-F5434D7F1663}"/>
              </a:ext>
            </a:extLst>
          </p:cNvPr>
          <p:cNvSpPr/>
          <p:nvPr/>
        </p:nvSpPr>
        <p:spPr>
          <a:xfrm>
            <a:off x="9272338" y="2922047"/>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3" name="Straight Connector 262">
            <a:extLst>
              <a:ext uri="{FF2B5EF4-FFF2-40B4-BE49-F238E27FC236}">
                <a16:creationId xmlns:a16="http://schemas.microsoft.com/office/drawing/2014/main" id="{679ECBF0-BB07-49B5-DB4C-758D9895D596}"/>
              </a:ext>
            </a:extLst>
          </p:cNvPr>
          <p:cNvCxnSpPr>
            <a:cxnSpLocks/>
          </p:cNvCxnSpPr>
          <p:nvPr/>
        </p:nvCxnSpPr>
        <p:spPr>
          <a:xfrm flipH="1">
            <a:off x="9457080" y="2535966"/>
            <a:ext cx="822" cy="804205"/>
          </a:xfrm>
          <a:prstGeom prst="line">
            <a:avLst/>
          </a:prstGeom>
        </p:spPr>
        <p:style>
          <a:lnRef idx="1">
            <a:schemeClr val="dk1"/>
          </a:lnRef>
          <a:fillRef idx="0">
            <a:schemeClr val="dk1"/>
          </a:fillRef>
          <a:effectRef idx="0">
            <a:schemeClr val="dk1"/>
          </a:effectRef>
          <a:fontRef idx="minor">
            <a:schemeClr val="tx1"/>
          </a:fontRef>
        </p:style>
      </p:cxnSp>
      <p:sp>
        <p:nvSpPr>
          <p:cNvPr id="114" name="Oval 264">
            <a:extLst>
              <a:ext uri="{FF2B5EF4-FFF2-40B4-BE49-F238E27FC236}">
                <a16:creationId xmlns:a16="http://schemas.microsoft.com/office/drawing/2014/main" id="{0C387649-7873-00A7-788E-4492C123775D}"/>
              </a:ext>
            </a:extLst>
          </p:cNvPr>
          <p:cNvSpPr/>
          <p:nvPr/>
        </p:nvSpPr>
        <p:spPr>
          <a:xfrm>
            <a:off x="9405393" y="2787988"/>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5" name="Straight Connector 265">
            <a:extLst>
              <a:ext uri="{FF2B5EF4-FFF2-40B4-BE49-F238E27FC236}">
                <a16:creationId xmlns:a16="http://schemas.microsoft.com/office/drawing/2014/main" id="{42CAF063-2A67-1249-D799-FFC7FD59C9E9}"/>
              </a:ext>
            </a:extLst>
          </p:cNvPr>
          <p:cNvCxnSpPr>
            <a:cxnSpLocks/>
          </p:cNvCxnSpPr>
          <p:nvPr/>
        </p:nvCxnSpPr>
        <p:spPr>
          <a:xfrm>
            <a:off x="10252345" y="2892845"/>
            <a:ext cx="187619" cy="276635"/>
          </a:xfrm>
          <a:prstGeom prst="line">
            <a:avLst/>
          </a:prstGeom>
        </p:spPr>
        <p:style>
          <a:lnRef idx="1">
            <a:schemeClr val="dk1"/>
          </a:lnRef>
          <a:fillRef idx="0">
            <a:schemeClr val="dk1"/>
          </a:fillRef>
          <a:effectRef idx="0">
            <a:schemeClr val="dk1"/>
          </a:effectRef>
          <a:fontRef idx="minor">
            <a:schemeClr val="tx1"/>
          </a:fontRef>
        </p:style>
      </p:cxnSp>
      <p:sp>
        <p:nvSpPr>
          <p:cNvPr id="116" name="Oval 267">
            <a:extLst>
              <a:ext uri="{FF2B5EF4-FFF2-40B4-BE49-F238E27FC236}">
                <a16:creationId xmlns:a16="http://schemas.microsoft.com/office/drawing/2014/main" id="{1AC09DA4-F2DF-103A-E4DA-F889F35274D1}"/>
              </a:ext>
            </a:extLst>
          </p:cNvPr>
          <p:cNvSpPr/>
          <p:nvPr/>
        </p:nvSpPr>
        <p:spPr>
          <a:xfrm>
            <a:off x="10289548" y="2984369"/>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7" name="Straight Connector 268">
            <a:extLst>
              <a:ext uri="{FF2B5EF4-FFF2-40B4-BE49-F238E27FC236}">
                <a16:creationId xmlns:a16="http://schemas.microsoft.com/office/drawing/2014/main" id="{55D4DCD8-71D0-A946-403F-B33C07B94565}"/>
              </a:ext>
            </a:extLst>
          </p:cNvPr>
          <p:cNvCxnSpPr>
            <a:cxnSpLocks/>
          </p:cNvCxnSpPr>
          <p:nvPr/>
        </p:nvCxnSpPr>
        <p:spPr>
          <a:xfrm>
            <a:off x="10272899" y="2844688"/>
            <a:ext cx="521488" cy="149039"/>
          </a:xfrm>
          <a:prstGeom prst="line">
            <a:avLst/>
          </a:prstGeom>
        </p:spPr>
        <p:style>
          <a:lnRef idx="1">
            <a:schemeClr val="dk1"/>
          </a:lnRef>
          <a:fillRef idx="0">
            <a:schemeClr val="dk1"/>
          </a:fillRef>
          <a:effectRef idx="0">
            <a:schemeClr val="dk1"/>
          </a:effectRef>
          <a:fontRef idx="minor">
            <a:schemeClr val="tx1"/>
          </a:fontRef>
        </p:style>
      </p:cxnSp>
      <p:sp>
        <p:nvSpPr>
          <p:cNvPr id="118" name="Oval 271">
            <a:extLst>
              <a:ext uri="{FF2B5EF4-FFF2-40B4-BE49-F238E27FC236}">
                <a16:creationId xmlns:a16="http://schemas.microsoft.com/office/drawing/2014/main" id="{D592ACD0-0A29-6B71-A5D4-AACA592987BB}"/>
              </a:ext>
            </a:extLst>
          </p:cNvPr>
          <p:cNvSpPr/>
          <p:nvPr/>
        </p:nvSpPr>
        <p:spPr>
          <a:xfrm>
            <a:off x="10498380" y="2883502"/>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9" name="Straight Connector 1">
            <a:extLst>
              <a:ext uri="{FF2B5EF4-FFF2-40B4-BE49-F238E27FC236}">
                <a16:creationId xmlns:a16="http://schemas.microsoft.com/office/drawing/2014/main" id="{F4913AD1-C1E5-1B24-8D27-3D63C03BC06F}"/>
              </a:ext>
            </a:extLst>
          </p:cNvPr>
          <p:cNvCxnSpPr>
            <a:cxnSpLocks/>
          </p:cNvCxnSpPr>
          <p:nvPr/>
        </p:nvCxnSpPr>
        <p:spPr>
          <a:xfrm flipV="1">
            <a:off x="10447764" y="2118952"/>
            <a:ext cx="240532" cy="69987"/>
          </a:xfrm>
          <a:prstGeom prst="line">
            <a:avLst/>
          </a:prstGeom>
        </p:spPr>
        <p:style>
          <a:lnRef idx="1">
            <a:schemeClr val="dk1"/>
          </a:lnRef>
          <a:fillRef idx="0">
            <a:schemeClr val="dk1"/>
          </a:fillRef>
          <a:effectRef idx="0">
            <a:schemeClr val="dk1"/>
          </a:effectRef>
          <a:fontRef idx="minor">
            <a:schemeClr val="tx1"/>
          </a:fontRef>
        </p:style>
      </p:cxnSp>
      <p:sp>
        <p:nvSpPr>
          <p:cNvPr id="120" name="Oval 4">
            <a:extLst>
              <a:ext uri="{FF2B5EF4-FFF2-40B4-BE49-F238E27FC236}">
                <a16:creationId xmlns:a16="http://schemas.microsoft.com/office/drawing/2014/main" id="{976B7F23-979D-F772-4E8C-548F5F4A2662}"/>
              </a:ext>
            </a:extLst>
          </p:cNvPr>
          <p:cNvSpPr/>
          <p:nvPr/>
        </p:nvSpPr>
        <p:spPr>
          <a:xfrm>
            <a:off x="10536366" y="2118025"/>
            <a:ext cx="89766" cy="81444"/>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1" name="Straight Connector 23">
            <a:extLst>
              <a:ext uri="{FF2B5EF4-FFF2-40B4-BE49-F238E27FC236}">
                <a16:creationId xmlns:a16="http://schemas.microsoft.com/office/drawing/2014/main" id="{5589701D-31B6-F2EB-7877-0AF0DDB7EFE5}"/>
              </a:ext>
            </a:extLst>
          </p:cNvPr>
          <p:cNvCxnSpPr>
            <a:cxnSpLocks/>
          </p:cNvCxnSpPr>
          <p:nvPr/>
        </p:nvCxnSpPr>
        <p:spPr>
          <a:xfrm flipH="1">
            <a:off x="9433538" y="5315934"/>
            <a:ext cx="57795" cy="128745"/>
          </a:xfrm>
          <a:prstGeom prst="line">
            <a:avLst/>
          </a:prstGeom>
        </p:spPr>
        <p:style>
          <a:lnRef idx="1">
            <a:schemeClr val="dk1"/>
          </a:lnRef>
          <a:fillRef idx="0">
            <a:schemeClr val="dk1"/>
          </a:fillRef>
          <a:effectRef idx="0">
            <a:schemeClr val="dk1"/>
          </a:effectRef>
          <a:fontRef idx="minor">
            <a:schemeClr val="tx1"/>
          </a:fontRef>
        </p:style>
      </p:cxnSp>
      <p:cxnSp>
        <p:nvCxnSpPr>
          <p:cNvPr id="122" name="Straight Connector 34">
            <a:extLst>
              <a:ext uri="{FF2B5EF4-FFF2-40B4-BE49-F238E27FC236}">
                <a16:creationId xmlns:a16="http://schemas.microsoft.com/office/drawing/2014/main" id="{1ECFBF0C-F829-67B1-F216-C7D2074910C7}"/>
              </a:ext>
            </a:extLst>
          </p:cNvPr>
          <p:cNvCxnSpPr>
            <a:cxnSpLocks/>
            <a:stCxn id="59" idx="90"/>
          </p:cNvCxnSpPr>
          <p:nvPr/>
        </p:nvCxnSpPr>
        <p:spPr>
          <a:xfrm flipH="1">
            <a:off x="9555103" y="5130634"/>
            <a:ext cx="148230" cy="66968"/>
          </a:xfrm>
          <a:prstGeom prst="line">
            <a:avLst/>
          </a:prstGeom>
        </p:spPr>
        <p:style>
          <a:lnRef idx="1">
            <a:schemeClr val="dk1"/>
          </a:lnRef>
          <a:fillRef idx="0">
            <a:schemeClr val="dk1"/>
          </a:fillRef>
          <a:effectRef idx="0">
            <a:schemeClr val="dk1"/>
          </a:effectRef>
          <a:fontRef idx="minor">
            <a:schemeClr val="tx1"/>
          </a:fontRef>
        </p:style>
      </p:cxnSp>
      <p:sp>
        <p:nvSpPr>
          <p:cNvPr id="123" name="Oval 62">
            <a:extLst>
              <a:ext uri="{FF2B5EF4-FFF2-40B4-BE49-F238E27FC236}">
                <a16:creationId xmlns:a16="http://schemas.microsoft.com/office/drawing/2014/main" id="{59AB1C4B-BC2B-6248-F74E-3D6D021DF2F8}"/>
              </a:ext>
            </a:extLst>
          </p:cNvPr>
          <p:cNvSpPr/>
          <p:nvPr/>
        </p:nvSpPr>
        <p:spPr>
          <a:xfrm>
            <a:off x="9593132" y="5120790"/>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4" name="Oval 256">
            <a:extLst>
              <a:ext uri="{FF2B5EF4-FFF2-40B4-BE49-F238E27FC236}">
                <a16:creationId xmlns:a16="http://schemas.microsoft.com/office/drawing/2014/main" id="{42D31607-F241-5B2B-8EA2-7EB7545C4246}"/>
              </a:ext>
            </a:extLst>
          </p:cNvPr>
          <p:cNvSpPr/>
          <p:nvPr/>
        </p:nvSpPr>
        <p:spPr>
          <a:xfrm>
            <a:off x="9366609" y="5334641"/>
            <a:ext cx="89766" cy="81444"/>
          </a:xfrm>
          <a:prstGeom prst="ellipse">
            <a:avLst/>
          </a:prstGeom>
          <a:solidFill>
            <a:srgbClr val="7359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5" name="Straight Connector 257">
            <a:extLst>
              <a:ext uri="{FF2B5EF4-FFF2-40B4-BE49-F238E27FC236}">
                <a16:creationId xmlns:a16="http://schemas.microsoft.com/office/drawing/2014/main" id="{1664599C-939E-665A-5E6C-8FFF81C34382}"/>
              </a:ext>
            </a:extLst>
          </p:cNvPr>
          <p:cNvCxnSpPr>
            <a:cxnSpLocks/>
          </p:cNvCxnSpPr>
          <p:nvPr/>
        </p:nvCxnSpPr>
        <p:spPr>
          <a:xfrm flipH="1">
            <a:off x="9299475" y="3016153"/>
            <a:ext cx="209476" cy="362615"/>
          </a:xfrm>
          <a:prstGeom prst="line">
            <a:avLst/>
          </a:prstGeom>
        </p:spPr>
        <p:style>
          <a:lnRef idx="1">
            <a:schemeClr val="dk1"/>
          </a:lnRef>
          <a:fillRef idx="0">
            <a:schemeClr val="dk1"/>
          </a:fillRef>
          <a:effectRef idx="0">
            <a:schemeClr val="dk1"/>
          </a:effectRef>
          <a:fontRef idx="minor">
            <a:schemeClr val="tx1"/>
          </a:fontRef>
        </p:style>
      </p:cxnSp>
      <p:sp>
        <p:nvSpPr>
          <p:cNvPr id="126" name="Oval 263">
            <a:extLst>
              <a:ext uri="{FF2B5EF4-FFF2-40B4-BE49-F238E27FC236}">
                <a16:creationId xmlns:a16="http://schemas.microsoft.com/office/drawing/2014/main" id="{859DF3C7-A426-616D-C54E-964075D01D0A}"/>
              </a:ext>
            </a:extLst>
          </p:cNvPr>
          <p:cNvSpPr/>
          <p:nvPr/>
        </p:nvSpPr>
        <p:spPr>
          <a:xfrm>
            <a:off x="9332650" y="3200757"/>
            <a:ext cx="89766" cy="81444"/>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8" name="Table 313">
            <a:extLst>
              <a:ext uri="{FF2B5EF4-FFF2-40B4-BE49-F238E27FC236}">
                <a16:creationId xmlns:a16="http://schemas.microsoft.com/office/drawing/2014/main" id="{4C0368C9-FE49-009A-2FCD-D7D197545BED}"/>
              </a:ext>
            </a:extLst>
          </p:cNvPr>
          <p:cNvGraphicFramePr>
            <a:graphicFrameLocks noGrp="1"/>
          </p:cNvGraphicFramePr>
          <p:nvPr>
            <p:extLst>
              <p:ext uri="{D42A27DB-BD31-4B8C-83A1-F6EECF244321}">
                <p14:modId xmlns:p14="http://schemas.microsoft.com/office/powerpoint/2010/main" val="1764398738"/>
              </p:ext>
            </p:extLst>
          </p:nvPr>
        </p:nvGraphicFramePr>
        <p:xfrm>
          <a:off x="6622623" y="1175332"/>
          <a:ext cx="2963769" cy="1017516"/>
        </p:xfrm>
        <a:graphic>
          <a:graphicData uri="http://schemas.openxmlformats.org/drawingml/2006/table">
            <a:tbl>
              <a:tblPr firstRow="1" bandRow="1">
                <a:tableStyleId>{2D5ABB26-0587-4C30-8999-92F81FD0307C}</a:tableStyleId>
              </a:tblPr>
              <a:tblGrid>
                <a:gridCol w="645954">
                  <a:extLst>
                    <a:ext uri="{9D8B030D-6E8A-4147-A177-3AD203B41FA5}">
                      <a16:colId xmlns:a16="http://schemas.microsoft.com/office/drawing/2014/main" val="3287543765"/>
                    </a:ext>
                  </a:extLst>
                </a:gridCol>
                <a:gridCol w="2317815">
                  <a:extLst>
                    <a:ext uri="{9D8B030D-6E8A-4147-A177-3AD203B41FA5}">
                      <a16:colId xmlns:a16="http://schemas.microsoft.com/office/drawing/2014/main" val="4227233554"/>
                    </a:ext>
                  </a:extLst>
                </a:gridCol>
              </a:tblGrid>
              <a:tr h="339172">
                <a:tc>
                  <a:txBody>
                    <a:bodyPr/>
                    <a:lstStyle/>
                    <a:p>
                      <a:endParaRPr lang="en-GB" sz="1100" dirty="0">
                        <a:solidFill>
                          <a:schemeClr val="accent3">
                            <a:lumMod val="40000"/>
                            <a:lumOff val="60000"/>
                          </a:schemeClr>
                        </a:solidFill>
                        <a:latin typeface="+mj-lt"/>
                      </a:endParaRPr>
                    </a:p>
                  </a:txBody>
                  <a:tcPr>
                    <a:lnL>
                      <a:noFill/>
                    </a:lnL>
                    <a:lnR>
                      <a:noFill/>
                    </a:lnR>
                    <a:lnT>
                      <a:noFill/>
                    </a:lnT>
                    <a:lnB>
                      <a:noFill/>
                    </a:lnB>
                    <a:lnTlToBr w="12700" cmpd="sng">
                      <a:noFill/>
                      <a:prstDash val="solid"/>
                    </a:lnTlToBr>
                    <a:lnBlToTr w="12700" cmpd="sng">
                      <a:noFill/>
                      <a:prstDash val="solid"/>
                    </a:lnBlToTr>
                    <a:solidFill>
                      <a:srgbClr val="FFCC00"/>
                    </a:solidFill>
                  </a:tcPr>
                </a:tc>
                <a:tc>
                  <a:txBody>
                    <a:bodyPr/>
                    <a:lstStyle/>
                    <a:p>
                      <a:r>
                        <a:rPr lang="en-GB" sz="1400" b="1" dirty="0">
                          <a:latin typeface="+mj-lt"/>
                        </a:rPr>
                        <a:t>Core</a:t>
                      </a:r>
                    </a:p>
                  </a:txBody>
                  <a:tcPr>
                    <a:lnL>
                      <a:noFill/>
                    </a:lnL>
                  </a:tcPr>
                </a:tc>
                <a:extLst>
                  <a:ext uri="{0D108BD9-81ED-4DB2-BD59-A6C34878D82A}">
                    <a16:rowId xmlns:a16="http://schemas.microsoft.com/office/drawing/2014/main" val="1143977865"/>
                  </a:ext>
                </a:extLst>
              </a:tr>
              <a:tr h="339172">
                <a:tc>
                  <a:txBody>
                    <a:bodyPr/>
                    <a:lstStyle/>
                    <a:p>
                      <a:endParaRPr lang="en-GB" sz="1400" dirty="0">
                        <a:latin typeface="+mj-lt"/>
                      </a:endParaRPr>
                    </a:p>
                  </a:txBody>
                  <a:tcPr>
                    <a:lnT>
                      <a:noFill/>
                    </a:lnT>
                    <a:solidFill>
                      <a:srgbClr val="00A194"/>
                    </a:solidFill>
                  </a:tcPr>
                </a:tc>
                <a:tc>
                  <a:txBody>
                    <a:bodyPr/>
                    <a:lstStyle/>
                    <a:p>
                      <a:r>
                        <a:rPr lang="en-GB" sz="1400" b="1" dirty="0">
                          <a:latin typeface="+mj-lt"/>
                        </a:rPr>
                        <a:t>Nordic</a:t>
                      </a:r>
                    </a:p>
                  </a:txBody>
                  <a:tcPr/>
                </a:tc>
                <a:extLst>
                  <a:ext uri="{0D108BD9-81ED-4DB2-BD59-A6C34878D82A}">
                    <a16:rowId xmlns:a16="http://schemas.microsoft.com/office/drawing/2014/main" val="2586930606"/>
                  </a:ext>
                </a:extLst>
              </a:tr>
              <a:tr h="339172">
                <a:tc>
                  <a:txBody>
                    <a:bodyPr/>
                    <a:lstStyle/>
                    <a:p>
                      <a:endParaRPr lang="en-GB" sz="1400" dirty="0">
                        <a:latin typeface="+mj-lt"/>
                      </a:endParaRPr>
                    </a:p>
                  </a:txBody>
                  <a:tcPr>
                    <a:solidFill>
                      <a:schemeClr val="bg1">
                        <a:lumMod val="65000"/>
                      </a:schemeClr>
                    </a:solidFill>
                  </a:tcPr>
                </a:tc>
                <a:tc>
                  <a:txBody>
                    <a:bodyPr/>
                    <a:lstStyle/>
                    <a:p>
                      <a:r>
                        <a:rPr lang="en-GB" sz="1400" b="1" dirty="0">
                          <a:latin typeface="+mj-lt"/>
                        </a:rPr>
                        <a:t>Further Bidding Zones</a:t>
                      </a:r>
                    </a:p>
                  </a:txBody>
                  <a:tcPr/>
                </a:tc>
                <a:extLst>
                  <a:ext uri="{0D108BD9-81ED-4DB2-BD59-A6C34878D82A}">
                    <a16:rowId xmlns:a16="http://schemas.microsoft.com/office/drawing/2014/main" val="1145148993"/>
                  </a:ext>
                </a:extLst>
              </a:tr>
            </a:tbl>
          </a:graphicData>
        </a:graphic>
      </p:graphicFrame>
      <p:sp>
        <p:nvSpPr>
          <p:cNvPr id="129" name="Textplatzhalter 6">
            <a:extLst>
              <a:ext uri="{FF2B5EF4-FFF2-40B4-BE49-F238E27FC236}">
                <a16:creationId xmlns:a16="http://schemas.microsoft.com/office/drawing/2014/main" id="{49675840-E3F2-ED29-8F58-BF64C99C947C}"/>
              </a:ext>
            </a:extLst>
          </p:cNvPr>
          <p:cNvSpPr>
            <a:spLocks noGrp="1"/>
          </p:cNvSpPr>
          <p:nvPr>
            <p:ph type="body" sz="quarter" idx="13"/>
          </p:nvPr>
        </p:nvSpPr>
        <p:spPr>
          <a:xfrm>
            <a:off x="1409640" y="1766834"/>
            <a:ext cx="4686360" cy="4111986"/>
          </a:xfrm>
        </p:spPr>
        <p:txBody>
          <a:bodyPr/>
          <a:lstStyle/>
          <a:p>
            <a:pPr marL="342900" indent="-342900">
              <a:buFont typeface="Arial" panose="020B0604020202020204" pitchFamily="34" charset="0"/>
              <a:buChar char="•"/>
            </a:pPr>
            <a:r>
              <a:rPr lang="en-GB" sz="2400" dirty="0">
                <a:solidFill>
                  <a:schemeClr val="tx1"/>
                </a:solidFill>
              </a:rPr>
              <a:t>Accordance with CACM Regulation</a:t>
            </a:r>
          </a:p>
          <a:p>
            <a:pPr marL="342900" indent="-342900">
              <a:buFont typeface="Arial" panose="020B0604020202020204" pitchFamily="34" charset="0"/>
              <a:buChar char="•"/>
            </a:pPr>
            <a:endParaRPr lang="en-GB" sz="2400" dirty="0">
              <a:solidFill>
                <a:schemeClr val="tx1"/>
              </a:solidFill>
            </a:endParaRPr>
          </a:p>
          <a:p>
            <a:pPr marL="342900" indent="-342900">
              <a:buFont typeface="Arial" panose="020B0604020202020204" pitchFamily="34" charset="0"/>
              <a:buChar char="•"/>
            </a:pPr>
            <a:r>
              <a:rPr lang="en-GB" sz="2400" dirty="0"/>
              <a:t>Efficient Cross Border Allocation</a:t>
            </a:r>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US" sz="2400" dirty="0"/>
              <a:t>Higher integration of national electricity markets </a:t>
            </a:r>
            <a:endParaRPr lang="en-GB" sz="2400" dirty="0"/>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endParaRPr lang="en-GB" sz="2400" dirty="0">
              <a:solidFill>
                <a:schemeClr val="tx1"/>
              </a:solidFill>
            </a:endParaRPr>
          </a:p>
          <a:p>
            <a:pPr marL="342900" indent="-342900">
              <a:buFont typeface="Arial" panose="020B0604020202020204" pitchFamily="34" charset="0"/>
              <a:buChar char="•"/>
            </a:pPr>
            <a:endParaRPr lang="en-GB" sz="2400" dirty="0">
              <a:solidFill>
                <a:schemeClr val="tx1"/>
              </a:solidFill>
            </a:endParaRPr>
          </a:p>
          <a:p>
            <a:endParaRPr lang="de-DE" dirty="0"/>
          </a:p>
        </p:txBody>
      </p:sp>
      <p:sp>
        <p:nvSpPr>
          <p:cNvPr id="130" name="Textfeld 129">
            <a:extLst>
              <a:ext uri="{FF2B5EF4-FFF2-40B4-BE49-F238E27FC236}">
                <a16:creationId xmlns:a16="http://schemas.microsoft.com/office/drawing/2014/main" id="{4069ED3E-5879-5C1C-A8C0-F930A447D820}"/>
              </a:ext>
            </a:extLst>
          </p:cNvPr>
          <p:cNvSpPr txBox="1"/>
          <p:nvPr/>
        </p:nvSpPr>
        <p:spPr>
          <a:xfrm>
            <a:off x="7337428" y="6124543"/>
            <a:ext cx="4169976" cy="369332"/>
          </a:xfrm>
          <a:prstGeom prst="rect">
            <a:avLst/>
          </a:prstGeom>
          <a:noFill/>
        </p:spPr>
        <p:txBody>
          <a:bodyPr wrap="square" rtlCol="0">
            <a:spAutoFit/>
          </a:bodyPr>
          <a:lstStyle/>
          <a:p>
            <a:pPr algn="l"/>
            <a:r>
              <a:rPr lang="de-DE" dirty="0" err="1"/>
              <a:t>Simplified</a:t>
            </a:r>
            <a:r>
              <a:rPr lang="de-DE" dirty="0"/>
              <a:t> </a:t>
            </a:r>
            <a:r>
              <a:rPr lang="de-DE" dirty="0" err="1"/>
              <a:t>Capacity</a:t>
            </a:r>
            <a:r>
              <a:rPr lang="de-DE" dirty="0"/>
              <a:t> </a:t>
            </a:r>
            <a:r>
              <a:rPr lang="de-DE" dirty="0" err="1"/>
              <a:t>Calculation</a:t>
            </a:r>
            <a:r>
              <a:rPr lang="de-DE" dirty="0"/>
              <a:t> </a:t>
            </a:r>
            <a:r>
              <a:rPr lang="de-DE" dirty="0" err="1"/>
              <a:t>regions</a:t>
            </a:r>
            <a:endParaRPr lang="de-DE" dirty="0"/>
          </a:p>
        </p:txBody>
      </p:sp>
      <p:sp>
        <p:nvSpPr>
          <p:cNvPr id="131" name="Rechteck 130">
            <a:extLst>
              <a:ext uri="{FF2B5EF4-FFF2-40B4-BE49-F238E27FC236}">
                <a16:creationId xmlns:a16="http://schemas.microsoft.com/office/drawing/2014/main" id="{1190F467-42B5-FB79-FDA7-7C5753A53893}"/>
              </a:ext>
            </a:extLst>
          </p:cNvPr>
          <p:cNvSpPr/>
          <p:nvPr/>
        </p:nvSpPr>
        <p:spPr>
          <a:xfrm>
            <a:off x="1867034" y="4881017"/>
            <a:ext cx="4414555" cy="10386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DCC </a:t>
            </a:r>
            <a:r>
              <a:rPr lang="de-DE" dirty="0" err="1"/>
              <a:t>process</a:t>
            </a:r>
            <a:r>
              <a:rPr lang="de-DE" dirty="0"/>
              <a:t> </a:t>
            </a:r>
            <a:r>
              <a:rPr lang="de-DE" dirty="0" err="1"/>
              <a:t>started</a:t>
            </a:r>
            <a:r>
              <a:rPr lang="de-DE" dirty="0"/>
              <a:t> on May 28th 2024</a:t>
            </a:r>
          </a:p>
        </p:txBody>
      </p:sp>
      <p:sp>
        <p:nvSpPr>
          <p:cNvPr id="5" name="Fußzeilenplatzhalter 2">
            <a:extLst>
              <a:ext uri="{FF2B5EF4-FFF2-40B4-BE49-F238E27FC236}">
                <a16:creationId xmlns:a16="http://schemas.microsoft.com/office/drawing/2014/main" id="{AF8F208F-7821-3011-2E24-E599D793BA31}"/>
              </a:ext>
            </a:extLst>
          </p:cNvPr>
          <p:cNvSpPr txBox="1">
            <a:spLocks/>
          </p:cNvSpPr>
          <p:nvPr/>
        </p:nvSpPr>
        <p:spPr>
          <a:xfrm>
            <a:off x="3151752" y="6378834"/>
            <a:ext cx="4616234" cy="365125"/>
          </a:xfrm>
          <a:prstGeom prst="rect">
            <a:avLst/>
          </a:prstGeom>
        </p:spPr>
        <p:txBody>
          <a:bodyPr vert="horz" lIns="0" tIns="0" rIns="0" bIns="0" rtlCol="0" anchor="ctr"/>
          <a:lstStyle>
            <a:defPPr>
              <a:defRPr lang="nl-NL"/>
            </a:defPPr>
            <a:lvl1pPr marL="0" algn="l"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Intraday Capacity Calculation</a:t>
            </a:r>
            <a:endParaRPr lang="en-GB" dirty="0"/>
          </a:p>
        </p:txBody>
      </p:sp>
    </p:spTree>
    <p:extLst>
      <p:ext uri="{BB962C8B-B14F-4D97-AF65-F5344CB8AC3E}">
        <p14:creationId xmlns:p14="http://schemas.microsoft.com/office/powerpoint/2010/main" val="19354599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FAACBE3-003F-504D-F96D-7A52B20D2C21}"/>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D80F3412-3893-C486-AAB6-14311307FC7D}"/>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249D61A6-BDD1-9F2B-F9B9-D12B305FEC55}"/>
              </a:ext>
            </a:extLst>
          </p:cNvPr>
          <p:cNvSpPr>
            <a:spLocks noGrp="1"/>
          </p:cNvSpPr>
          <p:nvPr>
            <p:ph type="sldNum" sz="quarter" idx="12"/>
          </p:nvPr>
        </p:nvSpPr>
        <p:spPr/>
        <p:txBody>
          <a:bodyPr/>
          <a:lstStyle/>
          <a:p>
            <a:fld id="{3B0AF0F1-83F4-0746-A551-EEC1F1FEC0BD}" type="slidenum">
              <a:rPr lang="en-GB" noProof="0" smtClean="0"/>
              <a:t>4</a:t>
            </a:fld>
            <a:endParaRPr lang="en-GB" noProof="0"/>
          </a:p>
        </p:txBody>
      </p:sp>
      <p:sp>
        <p:nvSpPr>
          <p:cNvPr id="6" name="Titel 5">
            <a:extLst>
              <a:ext uri="{FF2B5EF4-FFF2-40B4-BE49-F238E27FC236}">
                <a16:creationId xmlns:a16="http://schemas.microsoft.com/office/drawing/2014/main" id="{BAACF16E-9150-6106-C55F-98A19EC93981}"/>
              </a:ext>
            </a:extLst>
          </p:cNvPr>
          <p:cNvSpPr>
            <a:spLocks noGrp="1"/>
          </p:cNvSpPr>
          <p:nvPr>
            <p:ph type="title"/>
          </p:nvPr>
        </p:nvSpPr>
        <p:spPr/>
        <p:txBody>
          <a:bodyPr/>
          <a:lstStyle/>
          <a:p>
            <a:r>
              <a:rPr lang="en-GB" dirty="0"/>
              <a:t>Process overview </a:t>
            </a:r>
            <a:r>
              <a:rPr lang="en-GB" dirty="0" err="1"/>
              <a:t>DayAheadCapacityCalculation</a:t>
            </a:r>
            <a:r>
              <a:rPr lang="en-GB" dirty="0"/>
              <a:t> and </a:t>
            </a:r>
            <a:r>
              <a:rPr lang="en-GB" dirty="0" err="1"/>
              <a:t>IntraDayCapacityCalculation</a:t>
            </a:r>
            <a:br>
              <a:rPr lang="en-GB" dirty="0"/>
            </a:br>
            <a:endParaRPr lang="de-DE" dirty="0"/>
          </a:p>
        </p:txBody>
      </p:sp>
      <p:sp>
        <p:nvSpPr>
          <p:cNvPr id="8" name="Rectangle 9">
            <a:extLst>
              <a:ext uri="{FF2B5EF4-FFF2-40B4-BE49-F238E27FC236}">
                <a16:creationId xmlns:a16="http://schemas.microsoft.com/office/drawing/2014/main" id="{900F4FE1-6234-767B-0C07-A38F0F63325F}"/>
              </a:ext>
            </a:extLst>
          </p:cNvPr>
          <p:cNvSpPr/>
          <p:nvPr/>
        </p:nvSpPr>
        <p:spPr>
          <a:xfrm>
            <a:off x="647267" y="1064045"/>
            <a:ext cx="9108890" cy="508839"/>
          </a:xfrm>
          <a:prstGeom prst="rect">
            <a:avLst/>
          </a:prstGeom>
          <a:solidFill>
            <a:schemeClr val="accent6">
              <a:lumMod val="20000"/>
              <a:lumOff val="80000"/>
              <a:alpha val="13725"/>
            </a:scheme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3366FF"/>
              </a:solidFill>
              <a:effectLst/>
              <a:uLnTx/>
              <a:uFillTx/>
              <a:latin typeface="Aptos" panose="02110004020202020204"/>
              <a:ea typeface="+mn-ea"/>
              <a:cs typeface="+mn-cs"/>
            </a:endParaRPr>
          </a:p>
        </p:txBody>
      </p:sp>
      <p:sp>
        <p:nvSpPr>
          <p:cNvPr id="9" name="TextBox 10">
            <a:extLst>
              <a:ext uri="{FF2B5EF4-FFF2-40B4-BE49-F238E27FC236}">
                <a16:creationId xmlns:a16="http://schemas.microsoft.com/office/drawing/2014/main" id="{A271C760-D1CA-BFE4-AE81-7FEED7EC9B66}"/>
              </a:ext>
            </a:extLst>
          </p:cNvPr>
          <p:cNvSpPr txBox="1"/>
          <p:nvPr/>
        </p:nvSpPr>
        <p:spPr>
          <a:xfrm>
            <a:off x="2986048" y="1425204"/>
            <a:ext cx="6609206" cy="2843240"/>
          </a:xfrm>
          <a:prstGeom prst="rect">
            <a:avLst/>
          </a:prstGeom>
          <a:noFill/>
        </p:spPr>
        <p:txBody>
          <a:bodyPr wrap="square" lIns="91440" tIns="45720" rIns="91440" bIns="45720" rtlCol="0" anchor="t">
            <a:noAutofit/>
          </a:bodyPr>
          <a:lstStyle/>
          <a:p>
            <a:r>
              <a:rPr lang="en-GB" sz="1400" b="1" dirty="0">
                <a:solidFill>
                  <a:srgbClr val="3366FF"/>
                </a:solidFill>
              </a:rPr>
              <a:t>Starting from Day-Ahead Timeframe, a repetitive loop from Capacity Calculation, to Allocation and afterwards Security Analysis starts. </a:t>
            </a:r>
            <a:endParaRPr lang="en-GB" sz="800" dirty="0">
              <a:solidFill>
                <a:srgbClr val="4D7AFF"/>
              </a:solidFill>
            </a:endParaRPr>
          </a:p>
          <a:p>
            <a:endParaRPr lang="en-GB" sz="1600" dirty="0">
              <a:solidFill>
                <a:srgbClr val="4D7AFF"/>
              </a:solidFill>
            </a:endParaRPr>
          </a:p>
          <a:p>
            <a:pPr marL="285750" indent="-285750" fontAlgn="base">
              <a:buFont typeface="Arial" panose="020B0604020202020204" pitchFamily="34" charset="0"/>
              <a:buChar char="•"/>
            </a:pPr>
            <a:endParaRPr lang="en-GB" dirty="0">
              <a:solidFill>
                <a:srgbClr val="194D6C"/>
              </a:solidFill>
              <a:cs typeface="Arial" panose="020B0604020202020204"/>
            </a:endParaRPr>
          </a:p>
          <a:p>
            <a:endParaRPr lang="en-GB" dirty="0">
              <a:cs typeface="Arial" panose="020B0604020202020204"/>
            </a:endParaRPr>
          </a:p>
        </p:txBody>
      </p:sp>
      <p:pic>
        <p:nvPicPr>
          <p:cNvPr id="10" name="Picture 11">
            <a:extLst>
              <a:ext uri="{FF2B5EF4-FFF2-40B4-BE49-F238E27FC236}">
                <a16:creationId xmlns:a16="http://schemas.microsoft.com/office/drawing/2014/main" id="{B5D23307-90CE-CECE-FACF-0D00456F2FBC}"/>
              </a:ext>
            </a:extLst>
          </p:cNvPr>
          <p:cNvPicPr>
            <a:picLocks noChangeAspect="1"/>
          </p:cNvPicPr>
          <p:nvPr/>
        </p:nvPicPr>
        <p:blipFill>
          <a:blip r:embed="rId2"/>
          <a:stretch>
            <a:fillRect/>
          </a:stretch>
        </p:blipFill>
        <p:spPr>
          <a:xfrm>
            <a:off x="1444902" y="1918374"/>
            <a:ext cx="9691498" cy="3875581"/>
          </a:xfrm>
          <a:prstGeom prst="rect">
            <a:avLst/>
          </a:prstGeom>
        </p:spPr>
      </p:pic>
      <p:sp>
        <p:nvSpPr>
          <p:cNvPr id="11" name="Rectangle 12">
            <a:extLst>
              <a:ext uri="{FF2B5EF4-FFF2-40B4-BE49-F238E27FC236}">
                <a16:creationId xmlns:a16="http://schemas.microsoft.com/office/drawing/2014/main" id="{BA93E62B-A407-69AA-93DD-5C221EAB99C6}"/>
              </a:ext>
            </a:extLst>
          </p:cNvPr>
          <p:cNvSpPr/>
          <p:nvPr/>
        </p:nvSpPr>
        <p:spPr>
          <a:xfrm rot="16200000">
            <a:off x="314897" y="2965692"/>
            <a:ext cx="1991319" cy="268692"/>
          </a:xfrm>
          <a:prstGeom prst="rect">
            <a:avLst/>
          </a:prstGeom>
          <a:solidFill>
            <a:srgbClr val="4D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cs typeface="Arial" panose="020B0604020202020204" pitchFamily="34" charset="0"/>
              </a:rPr>
              <a:t>Core CCR Perimeter</a:t>
            </a:r>
          </a:p>
        </p:txBody>
      </p:sp>
      <p:sp>
        <p:nvSpPr>
          <p:cNvPr id="12" name="Rectangle 13">
            <a:extLst>
              <a:ext uri="{FF2B5EF4-FFF2-40B4-BE49-F238E27FC236}">
                <a16:creationId xmlns:a16="http://schemas.microsoft.com/office/drawing/2014/main" id="{BDA105F8-11F9-6C64-459A-B95BD051880F}"/>
              </a:ext>
            </a:extLst>
          </p:cNvPr>
          <p:cNvSpPr/>
          <p:nvPr/>
        </p:nvSpPr>
        <p:spPr>
          <a:xfrm rot="16200000">
            <a:off x="597982" y="4846672"/>
            <a:ext cx="1425149" cy="268692"/>
          </a:xfrm>
          <a:prstGeom prst="rect">
            <a:avLst/>
          </a:prstGeom>
          <a:solidFill>
            <a:srgbClr val="F2F2F2"/>
          </a:solidFill>
          <a:ln w="19050" cap="flat" cmpd="sng" algn="ctr">
            <a:noFill/>
            <a:prstDash val="solid"/>
            <a:miter lim="800000"/>
          </a:ln>
          <a:effectLst/>
        </p:spPr>
        <p:txBody>
          <a:bodyPr rtlCol="0" anchor="ctr"/>
          <a:lstStyle/>
          <a:p>
            <a:pPr algn="ctr"/>
            <a:r>
              <a:rPr lang="en-GB" sz="1200" kern="0" dirty="0">
                <a:solidFill>
                  <a:schemeClr val="tx2"/>
                </a:solidFill>
                <a:latin typeface="Aptos" panose="02110004020202020204"/>
              </a:rPr>
              <a:t>External (MCSC, JAO</a:t>
            </a:r>
            <a:r>
              <a:rPr lang="en-GB" sz="1100" dirty="0">
                <a:solidFill>
                  <a:schemeClr val="tx2"/>
                </a:solidFill>
              </a:rPr>
              <a:t>..)</a:t>
            </a:r>
          </a:p>
        </p:txBody>
      </p:sp>
      <p:sp>
        <p:nvSpPr>
          <p:cNvPr id="5" name="Rechteck 4">
            <a:extLst>
              <a:ext uri="{FF2B5EF4-FFF2-40B4-BE49-F238E27FC236}">
                <a16:creationId xmlns:a16="http://schemas.microsoft.com/office/drawing/2014/main" id="{8DDB5048-C9DC-84B4-E280-854765D3D77D}"/>
              </a:ext>
            </a:extLst>
          </p:cNvPr>
          <p:cNvSpPr/>
          <p:nvPr/>
        </p:nvSpPr>
        <p:spPr>
          <a:xfrm>
            <a:off x="7227043" y="4340560"/>
            <a:ext cx="858671" cy="975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solidFill>
              </a:rPr>
              <a:t>04:30</a:t>
            </a:r>
          </a:p>
        </p:txBody>
      </p:sp>
      <p:sp>
        <p:nvSpPr>
          <p:cNvPr id="7" name="Rechteck 6">
            <a:extLst>
              <a:ext uri="{FF2B5EF4-FFF2-40B4-BE49-F238E27FC236}">
                <a16:creationId xmlns:a16="http://schemas.microsoft.com/office/drawing/2014/main" id="{4DD76236-945F-206C-8DCB-BCAF0736BDB1}"/>
              </a:ext>
            </a:extLst>
          </p:cNvPr>
          <p:cNvSpPr/>
          <p:nvPr/>
        </p:nvSpPr>
        <p:spPr>
          <a:xfrm>
            <a:off x="8817034" y="3619055"/>
            <a:ext cx="858671" cy="975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solidFill>
              </a:rPr>
              <a:t>18:00 – 24:00 </a:t>
            </a:r>
          </a:p>
        </p:txBody>
      </p:sp>
      <p:sp>
        <p:nvSpPr>
          <p:cNvPr id="13" name="Rechteck 12">
            <a:extLst>
              <a:ext uri="{FF2B5EF4-FFF2-40B4-BE49-F238E27FC236}">
                <a16:creationId xmlns:a16="http://schemas.microsoft.com/office/drawing/2014/main" id="{7F2BE420-6F34-913C-E407-005ED65D34C6}"/>
              </a:ext>
            </a:extLst>
          </p:cNvPr>
          <p:cNvSpPr/>
          <p:nvPr/>
        </p:nvSpPr>
        <p:spPr>
          <a:xfrm>
            <a:off x="7656379" y="3619055"/>
            <a:ext cx="858671" cy="975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solidFill>
              </a:rPr>
              <a:t>12:00 – 24:00 </a:t>
            </a:r>
          </a:p>
        </p:txBody>
      </p:sp>
      <p:sp>
        <p:nvSpPr>
          <p:cNvPr id="14" name="Rechteck 13">
            <a:extLst>
              <a:ext uri="{FF2B5EF4-FFF2-40B4-BE49-F238E27FC236}">
                <a16:creationId xmlns:a16="http://schemas.microsoft.com/office/drawing/2014/main" id="{32840374-04D4-89C4-314C-1E6E2504A1B1}"/>
              </a:ext>
            </a:extLst>
          </p:cNvPr>
          <p:cNvSpPr/>
          <p:nvPr/>
        </p:nvSpPr>
        <p:spPr>
          <a:xfrm>
            <a:off x="5261701" y="3619055"/>
            <a:ext cx="858671" cy="975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solidFill>
              </a:rPr>
              <a:t>00:00 – 24:00 </a:t>
            </a:r>
          </a:p>
        </p:txBody>
      </p:sp>
    </p:spTree>
    <p:extLst>
      <p:ext uri="{BB962C8B-B14F-4D97-AF65-F5344CB8AC3E}">
        <p14:creationId xmlns:p14="http://schemas.microsoft.com/office/powerpoint/2010/main" val="1660914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34E5222-82F8-AC77-8854-2D7015B43931}"/>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EE37A581-048E-94DE-1D33-B3213112F113}"/>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43B1182D-1359-EEF9-6531-2ECCCEB05121}"/>
              </a:ext>
            </a:extLst>
          </p:cNvPr>
          <p:cNvSpPr>
            <a:spLocks noGrp="1"/>
          </p:cNvSpPr>
          <p:nvPr>
            <p:ph type="sldNum" sz="quarter" idx="12"/>
          </p:nvPr>
        </p:nvSpPr>
        <p:spPr/>
        <p:txBody>
          <a:bodyPr/>
          <a:lstStyle/>
          <a:p>
            <a:fld id="{3B0AF0F1-83F4-0746-A551-EEC1F1FEC0BD}" type="slidenum">
              <a:rPr lang="en-GB" noProof="0" smtClean="0"/>
              <a:t>5</a:t>
            </a:fld>
            <a:endParaRPr lang="en-GB" noProof="0"/>
          </a:p>
        </p:txBody>
      </p:sp>
      <p:sp>
        <p:nvSpPr>
          <p:cNvPr id="6" name="Titel 5">
            <a:extLst>
              <a:ext uri="{FF2B5EF4-FFF2-40B4-BE49-F238E27FC236}">
                <a16:creationId xmlns:a16="http://schemas.microsoft.com/office/drawing/2014/main" id="{20B98DAD-96E1-0631-9490-792C6795A7B1}"/>
              </a:ext>
            </a:extLst>
          </p:cNvPr>
          <p:cNvSpPr>
            <a:spLocks noGrp="1"/>
          </p:cNvSpPr>
          <p:nvPr>
            <p:ph type="title"/>
          </p:nvPr>
        </p:nvSpPr>
        <p:spPr/>
        <p:txBody>
          <a:bodyPr/>
          <a:lstStyle/>
          <a:p>
            <a:r>
              <a:rPr lang="en-GB" dirty="0" err="1"/>
              <a:t>IntraDayCapacityCalculation</a:t>
            </a:r>
            <a:r>
              <a:rPr lang="en-GB" dirty="0"/>
              <a:t> in detail</a:t>
            </a:r>
            <a:br>
              <a:rPr lang="en-GB" dirty="0"/>
            </a:br>
            <a:endParaRPr lang="de-DE" dirty="0"/>
          </a:p>
        </p:txBody>
      </p:sp>
      <p:sp>
        <p:nvSpPr>
          <p:cNvPr id="7" name="Textplatzhalter 6">
            <a:extLst>
              <a:ext uri="{FF2B5EF4-FFF2-40B4-BE49-F238E27FC236}">
                <a16:creationId xmlns:a16="http://schemas.microsoft.com/office/drawing/2014/main" id="{F94725EA-05F2-FA62-E0DC-5D0948CC0034}"/>
              </a:ext>
            </a:extLst>
          </p:cNvPr>
          <p:cNvSpPr>
            <a:spLocks noGrp="1"/>
          </p:cNvSpPr>
          <p:nvPr>
            <p:ph type="body" sz="quarter" idx="14"/>
          </p:nvPr>
        </p:nvSpPr>
        <p:spPr/>
        <p:txBody>
          <a:bodyPr/>
          <a:lstStyle/>
          <a:p>
            <a:endParaRPr lang="de-DE" dirty="0"/>
          </a:p>
        </p:txBody>
      </p:sp>
      <p:graphicFrame>
        <p:nvGraphicFramePr>
          <p:cNvPr id="8" name="Tabelle 7">
            <a:extLst>
              <a:ext uri="{FF2B5EF4-FFF2-40B4-BE49-F238E27FC236}">
                <a16:creationId xmlns:a16="http://schemas.microsoft.com/office/drawing/2014/main" id="{6DD35798-1B15-81AC-A362-FFB4AC7609DF}"/>
              </a:ext>
            </a:extLst>
          </p:cNvPr>
          <p:cNvGraphicFramePr>
            <a:graphicFrameLocks noGrp="1"/>
          </p:cNvGraphicFramePr>
          <p:nvPr>
            <p:extLst>
              <p:ext uri="{D42A27DB-BD31-4B8C-83A1-F6EECF244321}">
                <p14:modId xmlns:p14="http://schemas.microsoft.com/office/powerpoint/2010/main" val="4019399981"/>
              </p:ext>
            </p:extLst>
          </p:nvPr>
        </p:nvGraphicFramePr>
        <p:xfrm>
          <a:off x="1344615" y="1518979"/>
          <a:ext cx="10393360" cy="3627120"/>
        </p:xfrm>
        <a:graphic>
          <a:graphicData uri="http://schemas.openxmlformats.org/drawingml/2006/table">
            <a:tbl>
              <a:tblPr/>
              <a:tblGrid>
                <a:gridCol w="2078672">
                  <a:extLst>
                    <a:ext uri="{9D8B030D-6E8A-4147-A177-3AD203B41FA5}">
                      <a16:colId xmlns:a16="http://schemas.microsoft.com/office/drawing/2014/main" val="2547331358"/>
                    </a:ext>
                  </a:extLst>
                </a:gridCol>
                <a:gridCol w="2078672">
                  <a:extLst>
                    <a:ext uri="{9D8B030D-6E8A-4147-A177-3AD203B41FA5}">
                      <a16:colId xmlns:a16="http://schemas.microsoft.com/office/drawing/2014/main" val="403272665"/>
                    </a:ext>
                  </a:extLst>
                </a:gridCol>
                <a:gridCol w="2078672">
                  <a:extLst>
                    <a:ext uri="{9D8B030D-6E8A-4147-A177-3AD203B41FA5}">
                      <a16:colId xmlns:a16="http://schemas.microsoft.com/office/drawing/2014/main" val="3939777188"/>
                    </a:ext>
                  </a:extLst>
                </a:gridCol>
                <a:gridCol w="2078672">
                  <a:extLst>
                    <a:ext uri="{9D8B030D-6E8A-4147-A177-3AD203B41FA5}">
                      <a16:colId xmlns:a16="http://schemas.microsoft.com/office/drawing/2014/main" val="2438016399"/>
                    </a:ext>
                  </a:extLst>
                </a:gridCol>
                <a:gridCol w="2078672">
                  <a:extLst>
                    <a:ext uri="{9D8B030D-6E8A-4147-A177-3AD203B41FA5}">
                      <a16:colId xmlns:a16="http://schemas.microsoft.com/office/drawing/2014/main" val="1472177146"/>
                    </a:ext>
                  </a:extLst>
                </a:gridCol>
              </a:tblGrid>
              <a:tr h="0">
                <a:tc>
                  <a:txBody>
                    <a:bodyPr/>
                    <a:lstStyle/>
                    <a:p>
                      <a:pPr algn="l" fontAlgn="base"/>
                      <a:r>
                        <a:rPr lang="de-DE">
                          <a:effectLst/>
                          <a:latin typeface="Lato" panose="020F0502020204030203" pitchFamily="34" charset="0"/>
                        </a:rPr>
                        <a:t>Process name</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2F2F2"/>
                    </a:solidFill>
                  </a:tcPr>
                </a:tc>
                <a:tc>
                  <a:txBody>
                    <a:bodyPr/>
                    <a:lstStyle/>
                    <a:p>
                      <a:pPr algn="l" fontAlgn="base"/>
                      <a:r>
                        <a:rPr lang="de-DE">
                          <a:effectLst/>
                          <a:latin typeface="Lato" panose="020F0502020204030203" pitchFamily="34" charset="0"/>
                        </a:rPr>
                        <a:t>Used grid model</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2F2F2"/>
                    </a:solidFill>
                  </a:tcPr>
                </a:tc>
                <a:tc>
                  <a:txBody>
                    <a:bodyPr/>
                    <a:lstStyle/>
                    <a:p>
                      <a:pPr algn="l" fontAlgn="base"/>
                      <a:r>
                        <a:rPr lang="de-DE" dirty="0">
                          <a:effectLst/>
                          <a:latin typeface="Lato" panose="020F0502020204030203" pitchFamily="34" charset="0"/>
                        </a:rPr>
                        <a:t>Updated </a:t>
                      </a:r>
                      <a:r>
                        <a:rPr lang="de-DE" dirty="0" err="1">
                          <a:effectLst/>
                          <a:latin typeface="Lato" panose="020F0502020204030203" pitchFamily="34" charset="0"/>
                        </a:rPr>
                        <a:t>timeframe</a:t>
                      </a:r>
                      <a:endParaRPr lang="de-DE" dirty="0">
                        <a:effectLst/>
                        <a:latin typeface="Lato" panose="020F0502020204030203" pitchFamily="34" charset="0"/>
                      </a:endParaRP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2F2F2"/>
                    </a:solidFill>
                  </a:tcPr>
                </a:tc>
                <a:tc>
                  <a:txBody>
                    <a:bodyPr/>
                    <a:lstStyle/>
                    <a:p>
                      <a:pPr algn="l" fontAlgn="base"/>
                      <a:r>
                        <a:rPr lang="en-US">
                          <a:effectLst/>
                          <a:latin typeface="Lato" panose="020F0502020204030203" pitchFamily="34" charset="0"/>
                        </a:rPr>
                        <a:t>Provision of capacities to the market</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2F2F2"/>
                    </a:solidFill>
                  </a:tcPr>
                </a:tc>
                <a:tc>
                  <a:txBody>
                    <a:bodyPr/>
                    <a:lstStyle/>
                    <a:p>
                      <a:pPr algn="l" fontAlgn="base"/>
                      <a:r>
                        <a:rPr lang="de-DE">
                          <a:effectLst/>
                          <a:latin typeface="Lato" panose="020F0502020204030203" pitchFamily="34" charset="0"/>
                        </a:rPr>
                        <a:t>Subsequent allocation process</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2F2F2"/>
                    </a:solidFill>
                  </a:tcPr>
                </a:tc>
                <a:extLst>
                  <a:ext uri="{0D108BD9-81ED-4DB2-BD59-A6C34878D82A}">
                    <a16:rowId xmlns:a16="http://schemas.microsoft.com/office/drawing/2014/main" val="32854467"/>
                  </a:ext>
                </a:extLst>
              </a:tr>
              <a:tr h="0">
                <a:tc>
                  <a:txBody>
                    <a:bodyPr/>
                    <a:lstStyle/>
                    <a:p>
                      <a:pPr algn="l" fontAlgn="base"/>
                      <a:r>
                        <a:rPr lang="de-DE">
                          <a:effectLst/>
                          <a:latin typeface="Lato" panose="020F0502020204030203" pitchFamily="34" charset="0"/>
                        </a:rPr>
                        <a:t>IDCC(a)</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tc>
                  <a:txBody>
                    <a:bodyPr/>
                    <a:lstStyle/>
                    <a:p>
                      <a:pPr algn="l" fontAlgn="base"/>
                      <a:r>
                        <a:rPr lang="de-DE" dirty="0">
                          <a:effectLst/>
                          <a:latin typeface="Lato" panose="020F0502020204030203" pitchFamily="34" charset="0"/>
                        </a:rPr>
                        <a:t>D2CF</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tc>
                  <a:txBody>
                    <a:bodyPr/>
                    <a:lstStyle/>
                    <a:p>
                      <a:pPr algn="l" fontAlgn="base"/>
                      <a:r>
                        <a:rPr lang="de-DE" dirty="0">
                          <a:effectLst/>
                          <a:latin typeface="Lato" panose="020F0502020204030203" pitchFamily="34" charset="0"/>
                        </a:rPr>
                        <a:t>00:00-24: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tc>
                  <a:txBody>
                    <a:bodyPr/>
                    <a:lstStyle/>
                    <a:p>
                      <a:pPr algn="l" fontAlgn="base"/>
                      <a:r>
                        <a:rPr lang="de-DE" dirty="0">
                          <a:effectLst/>
                          <a:latin typeface="Lato" panose="020F0502020204030203" pitchFamily="34" charset="0"/>
                        </a:rPr>
                        <a:t>D-1 15: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tc>
                  <a:txBody>
                    <a:bodyPr/>
                    <a:lstStyle/>
                    <a:p>
                      <a:pPr algn="l" fontAlgn="base"/>
                      <a:r>
                        <a:rPr lang="de-DE">
                          <a:effectLst/>
                          <a:latin typeface="Lato" panose="020F0502020204030203" pitchFamily="34" charset="0"/>
                        </a:rPr>
                        <a:t>IDA1 + Continuous trade</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97919233"/>
                  </a:ext>
                </a:extLst>
              </a:tr>
              <a:tr h="0">
                <a:tc>
                  <a:txBody>
                    <a:bodyPr/>
                    <a:lstStyle/>
                    <a:p>
                      <a:pPr algn="l" fontAlgn="base"/>
                      <a:r>
                        <a:rPr lang="de-DE">
                          <a:effectLst/>
                          <a:latin typeface="Lato" panose="020F0502020204030203" pitchFamily="34" charset="0"/>
                        </a:rPr>
                        <a:t>IDCC(b)</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tc>
                  <a:txBody>
                    <a:bodyPr/>
                    <a:lstStyle/>
                    <a:p>
                      <a:pPr algn="l" fontAlgn="base"/>
                      <a:r>
                        <a:rPr lang="de-DE" dirty="0">
                          <a:effectLst/>
                          <a:latin typeface="Lato" panose="020F0502020204030203" pitchFamily="34" charset="0"/>
                        </a:rPr>
                        <a:t>DACF</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tc>
                  <a:txBody>
                    <a:bodyPr/>
                    <a:lstStyle/>
                    <a:p>
                      <a:pPr algn="l" fontAlgn="base"/>
                      <a:r>
                        <a:rPr lang="de-DE" dirty="0">
                          <a:effectLst/>
                          <a:latin typeface="Lato" panose="020F0502020204030203" pitchFamily="34" charset="0"/>
                        </a:rPr>
                        <a:t>00:00-24: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tc>
                  <a:txBody>
                    <a:bodyPr/>
                    <a:lstStyle/>
                    <a:p>
                      <a:pPr algn="l" fontAlgn="base"/>
                      <a:r>
                        <a:rPr lang="de-DE">
                          <a:effectLst/>
                          <a:latin typeface="Lato" panose="020F0502020204030203" pitchFamily="34" charset="0"/>
                        </a:rPr>
                        <a:t>D-1 22: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tc>
                  <a:txBody>
                    <a:bodyPr/>
                    <a:lstStyle/>
                    <a:p>
                      <a:pPr algn="l" fontAlgn="base"/>
                      <a:r>
                        <a:rPr lang="de-DE" dirty="0">
                          <a:effectLst/>
                          <a:latin typeface="Lato" panose="020F0502020204030203" pitchFamily="34" charset="0"/>
                        </a:rPr>
                        <a:t>IDA2 + </a:t>
                      </a:r>
                      <a:r>
                        <a:rPr lang="de-DE" dirty="0" err="1">
                          <a:effectLst/>
                          <a:latin typeface="Lato" panose="020F0502020204030203" pitchFamily="34" charset="0"/>
                        </a:rPr>
                        <a:t>Continuous</a:t>
                      </a:r>
                      <a:r>
                        <a:rPr lang="de-DE" dirty="0">
                          <a:effectLst/>
                          <a:latin typeface="Lato" panose="020F0502020204030203" pitchFamily="34" charset="0"/>
                        </a:rPr>
                        <a:t> trade</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576337901"/>
                  </a:ext>
                </a:extLst>
              </a:tr>
              <a:tr h="0">
                <a:tc>
                  <a:txBody>
                    <a:bodyPr/>
                    <a:lstStyle/>
                    <a:p>
                      <a:pPr algn="l" fontAlgn="base"/>
                      <a:r>
                        <a:rPr lang="de-DE" dirty="0">
                          <a:effectLst/>
                          <a:latin typeface="Lato" panose="020F0502020204030203" pitchFamily="34" charset="0"/>
                        </a:rPr>
                        <a:t>IDCC(c)</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effectLst/>
                          <a:latin typeface="Lato" panose="020F0502020204030203" pitchFamily="34" charset="0"/>
                        </a:rPr>
                        <a:t>IDCF</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solidFill>
                            <a:srgbClr val="FF0000"/>
                          </a:solidFill>
                          <a:effectLst/>
                          <a:latin typeface="Lato" panose="020F0502020204030203" pitchFamily="34" charset="0"/>
                        </a:rPr>
                        <a:t>06:00-24: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effectLst/>
                          <a:latin typeface="Lato" panose="020F0502020204030203" pitchFamily="34" charset="0"/>
                        </a:rPr>
                        <a:t>D 04:3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err="1">
                          <a:effectLst/>
                          <a:latin typeface="Lato" panose="020F0502020204030203" pitchFamily="34" charset="0"/>
                        </a:rPr>
                        <a:t>Continuous</a:t>
                      </a:r>
                      <a:r>
                        <a:rPr lang="de-DE" dirty="0">
                          <a:effectLst/>
                          <a:latin typeface="Lato" panose="020F0502020204030203" pitchFamily="34" charset="0"/>
                        </a:rPr>
                        <a:t> trade</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extLst>
                  <a:ext uri="{0D108BD9-81ED-4DB2-BD59-A6C34878D82A}">
                    <a16:rowId xmlns:a16="http://schemas.microsoft.com/office/drawing/2014/main" val="3937600307"/>
                  </a:ext>
                </a:extLst>
              </a:tr>
              <a:tr h="0">
                <a:tc>
                  <a:txBody>
                    <a:bodyPr/>
                    <a:lstStyle/>
                    <a:p>
                      <a:pPr algn="l" fontAlgn="base"/>
                      <a:r>
                        <a:rPr lang="de-DE" dirty="0">
                          <a:effectLst/>
                          <a:latin typeface="Lato" panose="020F0502020204030203" pitchFamily="34" charset="0"/>
                        </a:rPr>
                        <a:t>IDCC(d)</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effectLst/>
                          <a:latin typeface="Lato" panose="020F0502020204030203" pitchFamily="34" charset="0"/>
                        </a:rPr>
                        <a:t>IDCF</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solidFill>
                            <a:srgbClr val="FF0000"/>
                          </a:solidFill>
                          <a:effectLst/>
                          <a:latin typeface="Lato" panose="020F0502020204030203" pitchFamily="34" charset="0"/>
                        </a:rPr>
                        <a:t>12:00-24: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effectLst/>
                          <a:latin typeface="Lato" panose="020F0502020204030203" pitchFamily="34" charset="0"/>
                        </a:rPr>
                        <a:t>D 10: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effectLst/>
                          <a:latin typeface="Lato" panose="020F0502020204030203" pitchFamily="34" charset="0"/>
                        </a:rPr>
                        <a:t>IDA3 + </a:t>
                      </a:r>
                      <a:r>
                        <a:rPr lang="de-DE" dirty="0" err="1">
                          <a:effectLst/>
                          <a:latin typeface="Lato" panose="020F0502020204030203" pitchFamily="34" charset="0"/>
                        </a:rPr>
                        <a:t>Continuous</a:t>
                      </a:r>
                      <a:r>
                        <a:rPr lang="de-DE" dirty="0">
                          <a:effectLst/>
                          <a:latin typeface="Lato" panose="020F0502020204030203" pitchFamily="34" charset="0"/>
                        </a:rPr>
                        <a:t> trade</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extLst>
                  <a:ext uri="{0D108BD9-81ED-4DB2-BD59-A6C34878D82A}">
                    <a16:rowId xmlns:a16="http://schemas.microsoft.com/office/drawing/2014/main" val="2264298267"/>
                  </a:ext>
                </a:extLst>
              </a:tr>
              <a:tr h="0">
                <a:tc>
                  <a:txBody>
                    <a:bodyPr/>
                    <a:lstStyle/>
                    <a:p>
                      <a:pPr algn="l" fontAlgn="base"/>
                      <a:r>
                        <a:rPr lang="de-DE">
                          <a:effectLst/>
                          <a:latin typeface="Lato" panose="020F0502020204030203" pitchFamily="34" charset="0"/>
                        </a:rPr>
                        <a:t>IDCC(e)</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effectLst/>
                          <a:latin typeface="Lato" panose="020F0502020204030203" pitchFamily="34" charset="0"/>
                        </a:rPr>
                        <a:t>IDCF</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a:solidFill>
                            <a:srgbClr val="FF0000"/>
                          </a:solidFill>
                          <a:effectLst/>
                          <a:latin typeface="Lato" panose="020F0502020204030203" pitchFamily="34" charset="0"/>
                        </a:rPr>
                        <a:t>18:00-24: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a:effectLst/>
                          <a:latin typeface="Lato" panose="020F0502020204030203" pitchFamily="34" charset="0"/>
                        </a:rPr>
                        <a:t>D 16:00</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ase"/>
                      <a:r>
                        <a:rPr lang="de-DE" dirty="0" err="1">
                          <a:effectLst/>
                          <a:latin typeface="Lato" panose="020F0502020204030203" pitchFamily="34" charset="0"/>
                        </a:rPr>
                        <a:t>Continuous</a:t>
                      </a:r>
                      <a:r>
                        <a:rPr lang="de-DE" dirty="0">
                          <a:effectLst/>
                          <a:latin typeface="Lato" panose="020F0502020204030203" pitchFamily="34" charset="0"/>
                        </a:rPr>
                        <a:t> trade</a:t>
                      </a:r>
                    </a:p>
                  </a:txBody>
                  <a:tcPr marL="50800" marR="50800" marT="50800" marB="508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extLst>
                  <a:ext uri="{0D108BD9-81ED-4DB2-BD59-A6C34878D82A}">
                    <a16:rowId xmlns:a16="http://schemas.microsoft.com/office/drawing/2014/main" val="2057259870"/>
                  </a:ext>
                </a:extLst>
              </a:tr>
            </a:tbl>
          </a:graphicData>
        </a:graphic>
      </p:graphicFrame>
    </p:spTree>
    <p:extLst>
      <p:ext uri="{BB962C8B-B14F-4D97-AF65-F5344CB8AC3E}">
        <p14:creationId xmlns:p14="http://schemas.microsoft.com/office/powerpoint/2010/main" val="2790621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CFFE8F75-5537-B69B-85C5-596287F00197}"/>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75DB8695-2CD3-F3C3-C31F-F2563DB45E70}"/>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3BDF4866-31F2-7FCD-8112-DF532AE17070}"/>
              </a:ext>
            </a:extLst>
          </p:cNvPr>
          <p:cNvSpPr>
            <a:spLocks noGrp="1"/>
          </p:cNvSpPr>
          <p:nvPr>
            <p:ph type="sldNum" sz="quarter" idx="12"/>
          </p:nvPr>
        </p:nvSpPr>
        <p:spPr/>
        <p:txBody>
          <a:bodyPr/>
          <a:lstStyle/>
          <a:p>
            <a:fld id="{3B0AF0F1-83F4-0746-A551-EEC1F1FEC0BD}" type="slidenum">
              <a:rPr lang="en-GB" noProof="0" smtClean="0"/>
              <a:t>6</a:t>
            </a:fld>
            <a:endParaRPr lang="en-GB" noProof="0"/>
          </a:p>
        </p:txBody>
      </p:sp>
      <p:sp>
        <p:nvSpPr>
          <p:cNvPr id="6" name="Titel 5">
            <a:extLst>
              <a:ext uri="{FF2B5EF4-FFF2-40B4-BE49-F238E27FC236}">
                <a16:creationId xmlns:a16="http://schemas.microsoft.com/office/drawing/2014/main" id="{391637C3-5C01-C463-E28E-E2A7E9BC2AD3}"/>
              </a:ext>
            </a:extLst>
          </p:cNvPr>
          <p:cNvSpPr>
            <a:spLocks noGrp="1"/>
          </p:cNvSpPr>
          <p:nvPr>
            <p:ph type="title"/>
          </p:nvPr>
        </p:nvSpPr>
        <p:spPr/>
        <p:txBody>
          <a:bodyPr/>
          <a:lstStyle/>
          <a:p>
            <a:r>
              <a:rPr lang="en-GB" dirty="0" err="1"/>
              <a:t>IntraDayCapacityCalculation</a:t>
            </a:r>
            <a:r>
              <a:rPr lang="en-GB" dirty="0"/>
              <a:t> in detail</a:t>
            </a:r>
            <a:endParaRPr lang="de-DE" dirty="0"/>
          </a:p>
        </p:txBody>
      </p:sp>
      <p:sp>
        <p:nvSpPr>
          <p:cNvPr id="7" name="Textplatzhalter 6">
            <a:extLst>
              <a:ext uri="{FF2B5EF4-FFF2-40B4-BE49-F238E27FC236}">
                <a16:creationId xmlns:a16="http://schemas.microsoft.com/office/drawing/2014/main" id="{4250EFD4-D941-16DE-B29A-6967CC310F78}"/>
              </a:ext>
            </a:extLst>
          </p:cNvPr>
          <p:cNvSpPr>
            <a:spLocks noGrp="1"/>
          </p:cNvSpPr>
          <p:nvPr>
            <p:ph type="body" sz="quarter" idx="14"/>
          </p:nvPr>
        </p:nvSpPr>
        <p:spPr>
          <a:xfrm>
            <a:off x="1736905" y="1502167"/>
            <a:ext cx="9234395" cy="3469047"/>
          </a:xfrm>
        </p:spPr>
        <p:txBody>
          <a:bodyPr/>
          <a:lstStyle/>
          <a:p>
            <a:r>
              <a:rPr lang="de-DE" dirty="0"/>
              <a:t>IDCC (b-e) </a:t>
            </a:r>
            <a:r>
              <a:rPr lang="de-DE" dirty="0" err="1"/>
              <a:t>process</a:t>
            </a:r>
            <a:r>
              <a:rPr lang="de-DE" dirty="0"/>
              <a:t> </a:t>
            </a:r>
            <a:r>
              <a:rPr lang="de-DE" dirty="0" err="1"/>
              <a:t>main</a:t>
            </a:r>
            <a:r>
              <a:rPr lang="de-DE" dirty="0"/>
              <a:t> </a:t>
            </a:r>
            <a:r>
              <a:rPr lang="de-DE" dirty="0" err="1"/>
              <a:t>steps</a:t>
            </a:r>
            <a:endParaRPr lang="de-DE" dirty="0"/>
          </a:p>
        </p:txBody>
      </p:sp>
      <p:graphicFrame>
        <p:nvGraphicFramePr>
          <p:cNvPr id="10" name="Diagramm 9">
            <a:extLst>
              <a:ext uri="{FF2B5EF4-FFF2-40B4-BE49-F238E27FC236}">
                <a16:creationId xmlns:a16="http://schemas.microsoft.com/office/drawing/2014/main" id="{195A7444-D79B-A23E-2143-1B0D3766DF18}"/>
              </a:ext>
            </a:extLst>
          </p:cNvPr>
          <p:cNvGraphicFramePr/>
          <p:nvPr>
            <p:extLst>
              <p:ext uri="{D42A27DB-BD31-4B8C-83A1-F6EECF244321}">
                <p14:modId xmlns:p14="http://schemas.microsoft.com/office/powerpoint/2010/main" val="3463129938"/>
              </p:ext>
            </p:extLst>
          </p:nvPr>
        </p:nvGraphicFramePr>
        <p:xfrm>
          <a:off x="2314113" y="849239"/>
          <a:ext cx="8128000" cy="35118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feld 11">
            <a:extLst>
              <a:ext uri="{FF2B5EF4-FFF2-40B4-BE49-F238E27FC236}">
                <a16:creationId xmlns:a16="http://schemas.microsoft.com/office/drawing/2014/main" id="{AB61634C-A2BF-F2D2-093E-1C9147B5138A}"/>
              </a:ext>
            </a:extLst>
          </p:cNvPr>
          <p:cNvSpPr txBox="1"/>
          <p:nvPr/>
        </p:nvSpPr>
        <p:spPr>
          <a:xfrm>
            <a:off x="2703230" y="3958273"/>
            <a:ext cx="7563774" cy="707886"/>
          </a:xfrm>
          <a:prstGeom prst="rect">
            <a:avLst/>
          </a:prstGeom>
          <a:noFill/>
        </p:spPr>
        <p:txBody>
          <a:bodyPr wrap="square">
            <a:spAutoFit/>
          </a:bodyPr>
          <a:lstStyle/>
          <a:p>
            <a:pPr algn="ctr"/>
            <a:r>
              <a:rPr lang="en-US" sz="2000" b="1" dirty="0">
                <a:solidFill>
                  <a:srgbClr val="FF0000"/>
                </a:solidFill>
              </a:rPr>
              <a:t>Different to </a:t>
            </a:r>
            <a:r>
              <a:rPr lang="en-US" sz="2000" b="1" dirty="0" err="1">
                <a:solidFill>
                  <a:srgbClr val="FF0000"/>
                </a:solidFill>
              </a:rPr>
              <a:t>DayAhead</a:t>
            </a:r>
            <a:endParaRPr lang="en-US" sz="2000" b="1" dirty="0">
              <a:solidFill>
                <a:srgbClr val="FF0000"/>
              </a:solidFill>
            </a:endParaRPr>
          </a:p>
          <a:p>
            <a:r>
              <a:rPr lang="en-US" sz="2000" b="1" dirty="0">
                <a:solidFill>
                  <a:srgbClr val="FF0000"/>
                </a:solidFill>
              </a:rPr>
              <a:t>no </a:t>
            </a:r>
            <a:r>
              <a:rPr lang="en-US" sz="2000" b="1" dirty="0" err="1">
                <a:solidFill>
                  <a:srgbClr val="FF0000"/>
                </a:solidFill>
              </a:rPr>
              <a:t>minRam</a:t>
            </a:r>
            <a:r>
              <a:rPr lang="en-US" sz="2000" b="1" dirty="0">
                <a:solidFill>
                  <a:srgbClr val="FF0000"/>
                </a:solidFill>
              </a:rPr>
              <a:t> adjustment or </a:t>
            </a:r>
            <a:r>
              <a:rPr lang="en-US" sz="2000" b="1" dirty="0" err="1">
                <a:solidFill>
                  <a:srgbClr val="FF0000"/>
                </a:solidFill>
              </a:rPr>
              <a:t>LongTermAllocation</a:t>
            </a:r>
            <a:r>
              <a:rPr lang="en-US" sz="2000" b="1" dirty="0">
                <a:solidFill>
                  <a:srgbClr val="FF0000"/>
                </a:solidFill>
              </a:rPr>
              <a:t> inclusion  </a:t>
            </a:r>
            <a:endParaRPr lang="de-DE" sz="2000" dirty="0">
              <a:solidFill>
                <a:srgbClr val="FF0000"/>
              </a:solidFill>
            </a:endParaRPr>
          </a:p>
        </p:txBody>
      </p:sp>
    </p:spTree>
    <p:extLst>
      <p:ext uri="{BB962C8B-B14F-4D97-AF65-F5344CB8AC3E}">
        <p14:creationId xmlns:p14="http://schemas.microsoft.com/office/powerpoint/2010/main" val="3207297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BB5B916-03D3-80E3-6253-A63828DE44EB}"/>
              </a:ext>
            </a:extLst>
          </p:cNvPr>
          <p:cNvSpPr>
            <a:spLocks noGrp="1"/>
          </p:cNvSpPr>
          <p:nvPr>
            <p:ph type="dt" sz="half" idx="10"/>
          </p:nvPr>
        </p:nvSpPr>
        <p:spPr/>
        <p:txBody>
          <a:bodyPr/>
          <a:lstStyle/>
          <a:p>
            <a:fld id="{FBBD662F-D740-4D90-9184-8FDCC08DB2D7}" type="datetime4">
              <a:rPr lang="en-GB" smtClean="0"/>
              <a:t>23 January 2025</a:t>
            </a:fld>
            <a:endParaRPr lang="en-GB" dirty="0"/>
          </a:p>
        </p:txBody>
      </p:sp>
      <p:sp>
        <p:nvSpPr>
          <p:cNvPr id="3" name="Fußzeilenplatzhalter 2">
            <a:extLst>
              <a:ext uri="{FF2B5EF4-FFF2-40B4-BE49-F238E27FC236}">
                <a16:creationId xmlns:a16="http://schemas.microsoft.com/office/drawing/2014/main" id="{9EE0F397-E685-D6EE-7A62-6793974F6EAD}"/>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A0407288-47EF-9FD1-1087-DDC0F4619EC0}"/>
              </a:ext>
            </a:extLst>
          </p:cNvPr>
          <p:cNvSpPr>
            <a:spLocks noGrp="1"/>
          </p:cNvSpPr>
          <p:nvPr>
            <p:ph type="sldNum" sz="quarter" idx="12"/>
          </p:nvPr>
        </p:nvSpPr>
        <p:spPr/>
        <p:txBody>
          <a:bodyPr/>
          <a:lstStyle/>
          <a:p>
            <a:fld id="{3B0AF0F1-83F4-0746-A551-EEC1F1FEC0BD}" type="slidenum">
              <a:rPr lang="en-GB" smtClean="0"/>
              <a:t>7</a:t>
            </a:fld>
            <a:endParaRPr lang="en-GB" dirty="0"/>
          </a:p>
        </p:txBody>
      </p:sp>
      <p:sp>
        <p:nvSpPr>
          <p:cNvPr id="5" name="Textplatzhalter 4">
            <a:extLst>
              <a:ext uri="{FF2B5EF4-FFF2-40B4-BE49-F238E27FC236}">
                <a16:creationId xmlns:a16="http://schemas.microsoft.com/office/drawing/2014/main" id="{13FFE093-B044-FD5A-8C5D-0917BA654172}"/>
              </a:ext>
            </a:extLst>
          </p:cNvPr>
          <p:cNvSpPr>
            <a:spLocks noGrp="1"/>
          </p:cNvSpPr>
          <p:nvPr>
            <p:ph type="body" sz="quarter" idx="13"/>
          </p:nvPr>
        </p:nvSpPr>
        <p:spPr/>
        <p:txBody>
          <a:bodyPr/>
          <a:lstStyle/>
          <a:p>
            <a:r>
              <a:rPr lang="en-GB" dirty="0"/>
              <a:t>IDCC (b) as example</a:t>
            </a:r>
          </a:p>
        </p:txBody>
      </p:sp>
      <p:sp>
        <p:nvSpPr>
          <p:cNvPr id="6" name="Titel 5">
            <a:extLst>
              <a:ext uri="{FF2B5EF4-FFF2-40B4-BE49-F238E27FC236}">
                <a16:creationId xmlns:a16="http://schemas.microsoft.com/office/drawing/2014/main" id="{5AA00A66-CA5B-B603-884E-9BB762FADDD4}"/>
              </a:ext>
            </a:extLst>
          </p:cNvPr>
          <p:cNvSpPr>
            <a:spLocks noGrp="1"/>
          </p:cNvSpPr>
          <p:nvPr>
            <p:ph type="title"/>
          </p:nvPr>
        </p:nvSpPr>
        <p:spPr/>
        <p:txBody>
          <a:bodyPr/>
          <a:lstStyle/>
          <a:p>
            <a:r>
              <a:rPr lang="en-GB" dirty="0" err="1"/>
              <a:t>IntraDayCapacityCalculation</a:t>
            </a:r>
            <a:r>
              <a:rPr lang="en-GB" dirty="0"/>
              <a:t> in detail</a:t>
            </a:r>
          </a:p>
        </p:txBody>
      </p:sp>
      <p:sp>
        <p:nvSpPr>
          <p:cNvPr id="8" name="Textplatzhalter 6">
            <a:extLst>
              <a:ext uri="{FF2B5EF4-FFF2-40B4-BE49-F238E27FC236}">
                <a16:creationId xmlns:a16="http://schemas.microsoft.com/office/drawing/2014/main" id="{91414491-5562-89F8-CD01-1BF7695F7F8A}"/>
              </a:ext>
            </a:extLst>
          </p:cNvPr>
          <p:cNvSpPr txBox="1">
            <a:spLocks/>
          </p:cNvSpPr>
          <p:nvPr/>
        </p:nvSpPr>
        <p:spPr>
          <a:xfrm>
            <a:off x="6732392" y="1079457"/>
            <a:ext cx="6102226" cy="1485985"/>
          </a:xfrm>
          <a:prstGeom prst="rect">
            <a:avLst/>
          </a:prstGeom>
        </p:spPr>
        <p:txBody>
          <a:bodyPr vert="horz" lIns="0" tIns="0" rIns="0" bIns="0" rtlCol="0">
            <a:normAutofit/>
          </a:bodyPr>
          <a:lstStyle>
            <a:lvl1pPr marL="234000" indent="-234000" algn="l" defTabSz="914400" rtl="0" eaLnBrk="1" fontAlgn="ctr" latinLnBrk="0" hangingPunct="1">
              <a:lnSpc>
                <a:spcPct val="90000"/>
              </a:lnSpc>
              <a:spcBef>
                <a:spcPts val="900"/>
              </a:spcBef>
              <a:buSzPct val="80000"/>
              <a:buFont typeface="Systeemlettertype regulier"/>
              <a:buChar char="■"/>
              <a:defRPr sz="2000" kern="1200" spc="0">
                <a:solidFill>
                  <a:schemeClr val="tx1"/>
                </a:solidFill>
                <a:latin typeface="+mn-lt"/>
                <a:ea typeface="+mn-ea"/>
                <a:cs typeface="+mn-cs"/>
              </a:defRPr>
            </a:lvl1pPr>
            <a:lvl2pPr marL="468000" indent="-234000" algn="l" defTabSz="914400" rtl="0" eaLnBrk="1" fontAlgn="ctr" latinLnBrk="0" hangingPunct="1">
              <a:lnSpc>
                <a:spcPct val="90000"/>
              </a:lnSpc>
              <a:spcBef>
                <a:spcPts val="900"/>
              </a:spcBef>
              <a:buSzPct val="100000"/>
              <a:buFont typeface=".Lucida Grande UI Regular"/>
              <a:buChar char="▫"/>
              <a:tabLst/>
              <a:defRPr sz="2000" kern="1200" spc="0">
                <a:solidFill>
                  <a:schemeClr val="tx1"/>
                </a:solidFill>
                <a:latin typeface="+mn-lt"/>
                <a:ea typeface="+mn-ea"/>
                <a:cs typeface="+mn-cs"/>
              </a:defRPr>
            </a:lvl2pPr>
            <a:lvl3pPr marL="702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3pPr>
            <a:lvl4pPr marL="936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4pPr>
            <a:lvl5pPr marL="1170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IDCC (b-e) process main steps</a:t>
            </a:r>
          </a:p>
        </p:txBody>
      </p:sp>
      <p:graphicFrame>
        <p:nvGraphicFramePr>
          <p:cNvPr id="9" name="Diagramm 8">
            <a:extLst>
              <a:ext uri="{FF2B5EF4-FFF2-40B4-BE49-F238E27FC236}">
                <a16:creationId xmlns:a16="http://schemas.microsoft.com/office/drawing/2014/main" id="{224ECBDF-FC0C-58CC-0BF9-89B129BD58F8}"/>
              </a:ext>
            </a:extLst>
          </p:cNvPr>
          <p:cNvGraphicFramePr/>
          <p:nvPr>
            <p:extLst>
              <p:ext uri="{D42A27DB-BD31-4B8C-83A1-F6EECF244321}">
                <p14:modId xmlns:p14="http://schemas.microsoft.com/office/powerpoint/2010/main" val="1807023515"/>
              </p:ext>
            </p:extLst>
          </p:nvPr>
        </p:nvGraphicFramePr>
        <p:xfrm>
          <a:off x="6732392" y="949325"/>
          <a:ext cx="5371104" cy="15043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hteck: abgerundete Ecken 9">
            <a:extLst>
              <a:ext uri="{FF2B5EF4-FFF2-40B4-BE49-F238E27FC236}">
                <a16:creationId xmlns:a16="http://schemas.microsoft.com/office/drawing/2014/main" id="{EA2F7ACF-8EA9-A29F-007F-24DE7F8959A9}"/>
              </a:ext>
            </a:extLst>
          </p:cNvPr>
          <p:cNvSpPr/>
          <p:nvPr/>
        </p:nvSpPr>
        <p:spPr>
          <a:xfrm>
            <a:off x="2795916" y="2623069"/>
            <a:ext cx="4462509" cy="360000"/>
          </a:xfrm>
          <a:prstGeom prst="round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ritical Network Elements Contingencies</a:t>
            </a:r>
          </a:p>
        </p:txBody>
      </p:sp>
      <p:sp>
        <p:nvSpPr>
          <p:cNvPr id="11" name="Textfeld 10">
            <a:extLst>
              <a:ext uri="{FF2B5EF4-FFF2-40B4-BE49-F238E27FC236}">
                <a16:creationId xmlns:a16="http://schemas.microsoft.com/office/drawing/2014/main" id="{97F3F093-74EF-AC56-FAEA-4A240C8970D1}"/>
              </a:ext>
            </a:extLst>
          </p:cNvPr>
          <p:cNvSpPr txBox="1"/>
          <p:nvPr/>
        </p:nvSpPr>
        <p:spPr>
          <a:xfrm>
            <a:off x="1526959" y="1701488"/>
            <a:ext cx="4820575" cy="400110"/>
          </a:xfrm>
          <a:prstGeom prst="rect">
            <a:avLst/>
          </a:prstGeom>
          <a:noFill/>
        </p:spPr>
        <p:txBody>
          <a:bodyPr wrap="square" rtlCol="0">
            <a:spAutoFit/>
          </a:bodyPr>
          <a:lstStyle/>
          <a:p>
            <a:pPr algn="l"/>
            <a:r>
              <a:rPr lang="en-GB" sz="2000" b="1" dirty="0"/>
              <a:t>Required Inputs which are delivered</a:t>
            </a:r>
          </a:p>
        </p:txBody>
      </p:sp>
      <p:sp>
        <p:nvSpPr>
          <p:cNvPr id="12" name="Rechteck: abgerundete Ecken 11">
            <a:extLst>
              <a:ext uri="{FF2B5EF4-FFF2-40B4-BE49-F238E27FC236}">
                <a16:creationId xmlns:a16="http://schemas.microsoft.com/office/drawing/2014/main" id="{60D56597-1F5E-B4F6-7B22-5C0288D60CD7}"/>
              </a:ext>
            </a:extLst>
          </p:cNvPr>
          <p:cNvSpPr/>
          <p:nvPr/>
        </p:nvSpPr>
        <p:spPr>
          <a:xfrm>
            <a:off x="6542880" y="3220000"/>
            <a:ext cx="3462291" cy="360000"/>
          </a:xfrm>
          <a:prstGeom prst="round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mmon Grid Model</a:t>
            </a:r>
          </a:p>
        </p:txBody>
      </p:sp>
      <p:sp>
        <p:nvSpPr>
          <p:cNvPr id="13" name="Rechteck: abgerundete Ecken 12">
            <a:extLst>
              <a:ext uri="{FF2B5EF4-FFF2-40B4-BE49-F238E27FC236}">
                <a16:creationId xmlns:a16="http://schemas.microsoft.com/office/drawing/2014/main" id="{A4FD0C16-0DD5-4467-91D1-E03C8BE03B0B}"/>
              </a:ext>
            </a:extLst>
          </p:cNvPr>
          <p:cNvSpPr/>
          <p:nvPr/>
        </p:nvSpPr>
        <p:spPr>
          <a:xfrm>
            <a:off x="2795916" y="3985090"/>
            <a:ext cx="3462291" cy="360000"/>
          </a:xfrm>
          <a:prstGeom prst="round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Generation and Load Shift Keys</a:t>
            </a:r>
          </a:p>
        </p:txBody>
      </p:sp>
      <p:sp>
        <p:nvSpPr>
          <p:cNvPr id="14" name="Rechteck: abgerundete Ecken 13">
            <a:extLst>
              <a:ext uri="{FF2B5EF4-FFF2-40B4-BE49-F238E27FC236}">
                <a16:creationId xmlns:a16="http://schemas.microsoft.com/office/drawing/2014/main" id="{B4DBC76B-25C7-A623-A640-26CD992173DE}"/>
              </a:ext>
            </a:extLst>
          </p:cNvPr>
          <p:cNvSpPr/>
          <p:nvPr/>
        </p:nvSpPr>
        <p:spPr>
          <a:xfrm>
            <a:off x="2795916" y="5207676"/>
            <a:ext cx="3462291" cy="360000"/>
          </a:xfrm>
          <a:prstGeom prst="round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Already Allocated Capacity</a:t>
            </a:r>
          </a:p>
        </p:txBody>
      </p:sp>
      <p:sp>
        <p:nvSpPr>
          <p:cNvPr id="15" name="Rechteck: abgerundete Ecken 14">
            <a:extLst>
              <a:ext uri="{FF2B5EF4-FFF2-40B4-BE49-F238E27FC236}">
                <a16:creationId xmlns:a16="http://schemas.microsoft.com/office/drawing/2014/main" id="{FAFBFB84-2ECE-0C6E-BF9D-5A54F567F5B3}"/>
              </a:ext>
            </a:extLst>
          </p:cNvPr>
          <p:cNvSpPr/>
          <p:nvPr/>
        </p:nvSpPr>
        <p:spPr>
          <a:xfrm>
            <a:off x="6542881" y="4596339"/>
            <a:ext cx="3462291" cy="360000"/>
          </a:xfrm>
          <a:prstGeom prst="round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Allocation Constraints</a:t>
            </a:r>
          </a:p>
        </p:txBody>
      </p:sp>
      <p:sp>
        <p:nvSpPr>
          <p:cNvPr id="16" name="Rechteck: abgerundete Ecken 15">
            <a:extLst>
              <a:ext uri="{FF2B5EF4-FFF2-40B4-BE49-F238E27FC236}">
                <a16:creationId xmlns:a16="http://schemas.microsoft.com/office/drawing/2014/main" id="{1FC5C557-5230-DDBD-E0B5-223691D19724}"/>
              </a:ext>
            </a:extLst>
          </p:cNvPr>
          <p:cNvSpPr/>
          <p:nvPr/>
        </p:nvSpPr>
        <p:spPr>
          <a:xfrm>
            <a:off x="6524145" y="5705948"/>
            <a:ext cx="3462291" cy="360000"/>
          </a:xfrm>
          <a:prstGeom prst="round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External Constraints</a:t>
            </a:r>
          </a:p>
        </p:txBody>
      </p:sp>
      <p:pic>
        <p:nvPicPr>
          <p:cNvPr id="1032" name="Grafik 1031" descr="Ein Bild, das Zahnrad, Metallwaren, Kreis, Rad enthält.&#10;&#10;Automatisch generierte Beschreibung">
            <a:extLst>
              <a:ext uri="{FF2B5EF4-FFF2-40B4-BE49-F238E27FC236}">
                <a16:creationId xmlns:a16="http://schemas.microsoft.com/office/drawing/2014/main" id="{168BFD3F-83D3-C7F6-84E7-76B367A55DB0}"/>
              </a:ext>
            </a:extLst>
          </p:cNvPr>
          <p:cNvPicPr>
            <a:picLocks noChangeAspect="1"/>
          </p:cNvPicPr>
          <p:nvPr/>
        </p:nvPicPr>
        <p:blipFill>
          <a:blip r:embed="rId7"/>
          <a:stretch>
            <a:fillRect/>
          </a:stretch>
        </p:blipFill>
        <p:spPr>
          <a:xfrm>
            <a:off x="10388893" y="5473185"/>
            <a:ext cx="862586" cy="862586"/>
          </a:xfrm>
          <a:prstGeom prst="rect">
            <a:avLst/>
          </a:prstGeom>
        </p:spPr>
      </p:pic>
      <p:pic>
        <p:nvPicPr>
          <p:cNvPr id="1034" name="Grafik 1033" descr="Ein Bild, das Grafiken, Symbol, Schrift, Logo enthält.&#10;&#10;Automatisch generierte Beschreibung">
            <a:extLst>
              <a:ext uri="{FF2B5EF4-FFF2-40B4-BE49-F238E27FC236}">
                <a16:creationId xmlns:a16="http://schemas.microsoft.com/office/drawing/2014/main" id="{AE009435-FFBE-9541-2F37-BDFB3C26F0FB}"/>
              </a:ext>
            </a:extLst>
          </p:cNvPr>
          <p:cNvPicPr>
            <a:picLocks noChangeAspect="1"/>
          </p:cNvPicPr>
          <p:nvPr/>
        </p:nvPicPr>
        <p:blipFill>
          <a:blip r:embed="rId8"/>
          <a:stretch>
            <a:fillRect/>
          </a:stretch>
        </p:blipFill>
        <p:spPr>
          <a:xfrm>
            <a:off x="10388893" y="4305423"/>
            <a:ext cx="862586" cy="862586"/>
          </a:xfrm>
          <a:prstGeom prst="rect">
            <a:avLst/>
          </a:prstGeom>
        </p:spPr>
      </p:pic>
      <p:pic>
        <p:nvPicPr>
          <p:cNvPr id="1040" name="Grafik 1039" descr="Ein Bild, das Symbol, Grafiken, Schrift, Logo enthält.&#10;&#10;Automatisch generierte Beschreibung">
            <a:extLst>
              <a:ext uri="{FF2B5EF4-FFF2-40B4-BE49-F238E27FC236}">
                <a16:creationId xmlns:a16="http://schemas.microsoft.com/office/drawing/2014/main" id="{DD823CB1-82F7-34C2-898E-9A5F6462F578}"/>
              </a:ext>
            </a:extLst>
          </p:cNvPr>
          <p:cNvPicPr>
            <a:picLocks noChangeAspect="1"/>
          </p:cNvPicPr>
          <p:nvPr/>
        </p:nvPicPr>
        <p:blipFill>
          <a:blip r:embed="rId9"/>
          <a:stretch>
            <a:fillRect/>
          </a:stretch>
        </p:blipFill>
        <p:spPr>
          <a:xfrm>
            <a:off x="1672744" y="3768844"/>
            <a:ext cx="862586" cy="862586"/>
          </a:xfrm>
          <a:prstGeom prst="rect">
            <a:avLst/>
          </a:prstGeom>
        </p:spPr>
      </p:pic>
      <p:pic>
        <p:nvPicPr>
          <p:cNvPr id="1042" name="Grafik 1041" descr="Ein Bild, das Kreis, Symbol, Grafiken, Logo enthält.&#10;&#10;Automatisch generierte Beschreibung">
            <a:extLst>
              <a:ext uri="{FF2B5EF4-FFF2-40B4-BE49-F238E27FC236}">
                <a16:creationId xmlns:a16="http://schemas.microsoft.com/office/drawing/2014/main" id="{CC9FC4C9-D6A2-3298-962C-042F4398C988}"/>
              </a:ext>
            </a:extLst>
          </p:cNvPr>
          <p:cNvPicPr>
            <a:picLocks noChangeAspect="1"/>
          </p:cNvPicPr>
          <p:nvPr/>
        </p:nvPicPr>
        <p:blipFill>
          <a:blip r:embed="rId10"/>
          <a:stretch>
            <a:fillRect/>
          </a:stretch>
        </p:blipFill>
        <p:spPr>
          <a:xfrm>
            <a:off x="10388893" y="2919011"/>
            <a:ext cx="862586" cy="862586"/>
          </a:xfrm>
          <a:prstGeom prst="rect">
            <a:avLst/>
          </a:prstGeom>
        </p:spPr>
      </p:pic>
      <p:pic>
        <p:nvPicPr>
          <p:cNvPr id="1044" name="Grafik 1043" descr="Ein Bild, das Mast, Turm, Symbol, Kreis enthält.&#10;&#10;Automatisch generierte Beschreibung">
            <a:extLst>
              <a:ext uri="{FF2B5EF4-FFF2-40B4-BE49-F238E27FC236}">
                <a16:creationId xmlns:a16="http://schemas.microsoft.com/office/drawing/2014/main" id="{1DD3FE2A-8281-210A-5E4D-8AEBE62498FB}"/>
              </a:ext>
            </a:extLst>
          </p:cNvPr>
          <p:cNvPicPr>
            <a:picLocks noChangeAspect="1"/>
          </p:cNvPicPr>
          <p:nvPr/>
        </p:nvPicPr>
        <p:blipFill>
          <a:blip r:embed="rId11"/>
          <a:stretch>
            <a:fillRect/>
          </a:stretch>
        </p:blipFill>
        <p:spPr>
          <a:xfrm>
            <a:off x="1699712" y="2408717"/>
            <a:ext cx="862586" cy="862586"/>
          </a:xfrm>
          <a:prstGeom prst="rect">
            <a:avLst/>
          </a:prstGeom>
        </p:spPr>
      </p:pic>
      <p:pic>
        <p:nvPicPr>
          <p:cNvPr id="1046" name="Grafik 1045" descr="Ein Bild, das Symbol, Grafiken, Logo enthält.&#10;&#10;Automatisch generierte Beschreibung">
            <a:extLst>
              <a:ext uri="{FF2B5EF4-FFF2-40B4-BE49-F238E27FC236}">
                <a16:creationId xmlns:a16="http://schemas.microsoft.com/office/drawing/2014/main" id="{9E00CE0A-43BC-C9BA-C9BD-E2E5C5DAEB4B}"/>
              </a:ext>
            </a:extLst>
          </p:cNvPr>
          <p:cNvPicPr>
            <a:picLocks noChangeAspect="1"/>
          </p:cNvPicPr>
          <p:nvPr/>
        </p:nvPicPr>
        <p:blipFill>
          <a:blip r:embed="rId12"/>
          <a:stretch>
            <a:fillRect/>
          </a:stretch>
        </p:blipFill>
        <p:spPr>
          <a:xfrm>
            <a:off x="1701319" y="5041892"/>
            <a:ext cx="862586" cy="862586"/>
          </a:xfrm>
          <a:prstGeom prst="rect">
            <a:avLst/>
          </a:prstGeom>
        </p:spPr>
      </p:pic>
    </p:spTree>
    <p:extLst>
      <p:ext uri="{BB962C8B-B14F-4D97-AF65-F5344CB8AC3E}">
        <p14:creationId xmlns:p14="http://schemas.microsoft.com/office/powerpoint/2010/main" val="7999432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BB5B916-03D3-80E3-6253-A63828DE44EB}"/>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9EE0F397-E685-D6EE-7A62-6793974F6EAD}"/>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A0407288-47EF-9FD1-1087-DDC0F4619EC0}"/>
              </a:ext>
            </a:extLst>
          </p:cNvPr>
          <p:cNvSpPr>
            <a:spLocks noGrp="1"/>
          </p:cNvSpPr>
          <p:nvPr>
            <p:ph type="sldNum" sz="quarter" idx="12"/>
          </p:nvPr>
        </p:nvSpPr>
        <p:spPr/>
        <p:txBody>
          <a:bodyPr/>
          <a:lstStyle/>
          <a:p>
            <a:fld id="{3B0AF0F1-83F4-0746-A551-EEC1F1FEC0BD}" type="slidenum">
              <a:rPr lang="en-GB" noProof="0" smtClean="0"/>
              <a:t>8</a:t>
            </a:fld>
            <a:endParaRPr lang="en-GB" noProof="0"/>
          </a:p>
        </p:txBody>
      </p:sp>
      <p:sp>
        <p:nvSpPr>
          <p:cNvPr id="5" name="Textplatzhalter 4">
            <a:extLst>
              <a:ext uri="{FF2B5EF4-FFF2-40B4-BE49-F238E27FC236}">
                <a16:creationId xmlns:a16="http://schemas.microsoft.com/office/drawing/2014/main" id="{13FFE093-B044-FD5A-8C5D-0917BA654172}"/>
              </a:ext>
            </a:extLst>
          </p:cNvPr>
          <p:cNvSpPr>
            <a:spLocks noGrp="1"/>
          </p:cNvSpPr>
          <p:nvPr>
            <p:ph type="body" sz="quarter" idx="13"/>
          </p:nvPr>
        </p:nvSpPr>
        <p:spPr/>
        <p:txBody>
          <a:bodyPr/>
          <a:lstStyle/>
          <a:p>
            <a:r>
              <a:rPr lang="de-DE" dirty="0"/>
              <a:t>IDCC (b) </a:t>
            </a:r>
            <a:r>
              <a:rPr lang="de-DE" dirty="0" err="1"/>
              <a:t>as</a:t>
            </a:r>
            <a:r>
              <a:rPr lang="de-DE" dirty="0"/>
              <a:t> </a:t>
            </a:r>
            <a:r>
              <a:rPr lang="de-DE" dirty="0" err="1"/>
              <a:t>example</a:t>
            </a:r>
            <a:endParaRPr lang="de-DE" dirty="0"/>
          </a:p>
        </p:txBody>
      </p:sp>
      <p:sp>
        <p:nvSpPr>
          <p:cNvPr id="6" name="Titel 5">
            <a:extLst>
              <a:ext uri="{FF2B5EF4-FFF2-40B4-BE49-F238E27FC236}">
                <a16:creationId xmlns:a16="http://schemas.microsoft.com/office/drawing/2014/main" id="{5AA00A66-CA5B-B603-884E-9BB762FADDD4}"/>
              </a:ext>
            </a:extLst>
          </p:cNvPr>
          <p:cNvSpPr>
            <a:spLocks noGrp="1"/>
          </p:cNvSpPr>
          <p:nvPr>
            <p:ph type="title"/>
          </p:nvPr>
        </p:nvSpPr>
        <p:spPr/>
        <p:txBody>
          <a:bodyPr/>
          <a:lstStyle/>
          <a:p>
            <a:r>
              <a:rPr lang="en-GB" dirty="0" err="1"/>
              <a:t>IntraDayCapacityCalculation</a:t>
            </a:r>
            <a:r>
              <a:rPr lang="en-GB" dirty="0"/>
              <a:t> in detail</a:t>
            </a:r>
            <a:endParaRPr lang="de-DE" dirty="0"/>
          </a:p>
        </p:txBody>
      </p:sp>
      <p:sp>
        <p:nvSpPr>
          <p:cNvPr id="8" name="Textplatzhalter 6">
            <a:extLst>
              <a:ext uri="{FF2B5EF4-FFF2-40B4-BE49-F238E27FC236}">
                <a16:creationId xmlns:a16="http://schemas.microsoft.com/office/drawing/2014/main" id="{91414491-5562-89F8-CD01-1BF7695F7F8A}"/>
              </a:ext>
            </a:extLst>
          </p:cNvPr>
          <p:cNvSpPr txBox="1">
            <a:spLocks/>
          </p:cNvSpPr>
          <p:nvPr/>
        </p:nvSpPr>
        <p:spPr>
          <a:xfrm>
            <a:off x="6732392" y="1079457"/>
            <a:ext cx="6102226" cy="1485985"/>
          </a:xfrm>
          <a:prstGeom prst="rect">
            <a:avLst/>
          </a:prstGeom>
        </p:spPr>
        <p:txBody>
          <a:bodyPr vert="horz" lIns="0" tIns="0" rIns="0" bIns="0" rtlCol="0">
            <a:normAutofit/>
          </a:bodyPr>
          <a:lstStyle>
            <a:lvl1pPr marL="234000" indent="-234000" algn="l" defTabSz="914400" rtl="0" eaLnBrk="1" fontAlgn="ctr" latinLnBrk="0" hangingPunct="1">
              <a:lnSpc>
                <a:spcPct val="90000"/>
              </a:lnSpc>
              <a:spcBef>
                <a:spcPts val="900"/>
              </a:spcBef>
              <a:buSzPct val="80000"/>
              <a:buFont typeface="Systeemlettertype regulier"/>
              <a:buChar char="■"/>
              <a:defRPr sz="2000" kern="1200" spc="0">
                <a:solidFill>
                  <a:schemeClr val="tx1"/>
                </a:solidFill>
                <a:latin typeface="+mn-lt"/>
                <a:ea typeface="+mn-ea"/>
                <a:cs typeface="+mn-cs"/>
              </a:defRPr>
            </a:lvl1pPr>
            <a:lvl2pPr marL="468000" indent="-234000" algn="l" defTabSz="914400" rtl="0" eaLnBrk="1" fontAlgn="ctr" latinLnBrk="0" hangingPunct="1">
              <a:lnSpc>
                <a:spcPct val="90000"/>
              </a:lnSpc>
              <a:spcBef>
                <a:spcPts val="900"/>
              </a:spcBef>
              <a:buSzPct val="100000"/>
              <a:buFont typeface=".Lucida Grande UI Regular"/>
              <a:buChar char="▫"/>
              <a:tabLst/>
              <a:defRPr sz="2000" kern="1200" spc="0">
                <a:solidFill>
                  <a:schemeClr val="tx1"/>
                </a:solidFill>
                <a:latin typeface="+mn-lt"/>
                <a:ea typeface="+mn-ea"/>
                <a:cs typeface="+mn-cs"/>
              </a:defRPr>
            </a:lvl2pPr>
            <a:lvl3pPr marL="702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3pPr>
            <a:lvl4pPr marL="936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4pPr>
            <a:lvl5pPr marL="1170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IDCC (b-e) process main steps</a:t>
            </a:r>
            <a:endParaRPr lang="de-DE" dirty="0"/>
          </a:p>
        </p:txBody>
      </p:sp>
      <p:graphicFrame>
        <p:nvGraphicFramePr>
          <p:cNvPr id="9" name="Diagramm 8">
            <a:extLst>
              <a:ext uri="{FF2B5EF4-FFF2-40B4-BE49-F238E27FC236}">
                <a16:creationId xmlns:a16="http://schemas.microsoft.com/office/drawing/2014/main" id="{224ECBDF-FC0C-58CC-0BF9-89B129BD58F8}"/>
              </a:ext>
            </a:extLst>
          </p:cNvPr>
          <p:cNvGraphicFramePr/>
          <p:nvPr>
            <p:extLst>
              <p:ext uri="{D42A27DB-BD31-4B8C-83A1-F6EECF244321}">
                <p14:modId xmlns:p14="http://schemas.microsoft.com/office/powerpoint/2010/main" val="3742124204"/>
              </p:ext>
            </p:extLst>
          </p:nvPr>
        </p:nvGraphicFramePr>
        <p:xfrm>
          <a:off x="6732392" y="949325"/>
          <a:ext cx="5371104" cy="15043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Freihandform: Form 92">
            <a:extLst>
              <a:ext uri="{FF2B5EF4-FFF2-40B4-BE49-F238E27FC236}">
                <a16:creationId xmlns:a16="http://schemas.microsoft.com/office/drawing/2014/main" id="{D6962D5F-D5AC-651E-2E9D-F41867AE839B}"/>
              </a:ext>
            </a:extLst>
          </p:cNvPr>
          <p:cNvSpPr/>
          <p:nvPr/>
        </p:nvSpPr>
        <p:spPr bwMode="auto">
          <a:xfrm>
            <a:off x="6927370" y="3061820"/>
            <a:ext cx="2144928" cy="2393035"/>
          </a:xfrm>
          <a:custGeom>
            <a:avLst/>
            <a:gdLst>
              <a:gd name="connsiteX0" fmla="*/ 0 w 1701800"/>
              <a:gd name="connsiteY0" fmla="*/ 1104900 h 1898650"/>
              <a:gd name="connsiteX1" fmla="*/ 266700 w 1701800"/>
              <a:gd name="connsiteY1" fmla="*/ 0 h 1898650"/>
              <a:gd name="connsiteX2" fmla="*/ 1238250 w 1701800"/>
              <a:gd name="connsiteY2" fmla="*/ 127000 h 1898650"/>
              <a:gd name="connsiteX3" fmla="*/ 1701800 w 1701800"/>
              <a:gd name="connsiteY3" fmla="*/ 603250 h 1898650"/>
              <a:gd name="connsiteX4" fmla="*/ 1701800 w 1701800"/>
              <a:gd name="connsiteY4" fmla="*/ 1460500 h 1898650"/>
              <a:gd name="connsiteX5" fmla="*/ 1276350 w 1701800"/>
              <a:gd name="connsiteY5" fmla="*/ 1898650 h 1898650"/>
              <a:gd name="connsiteX6" fmla="*/ 711200 w 1701800"/>
              <a:gd name="connsiteY6" fmla="*/ 1822450 h 1898650"/>
              <a:gd name="connsiteX7" fmla="*/ 0 w 1701800"/>
              <a:gd name="connsiteY7" fmla="*/ 1104900 h 189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800" h="1898650">
                <a:moveTo>
                  <a:pt x="0" y="1104900"/>
                </a:moveTo>
                <a:lnTo>
                  <a:pt x="266700" y="0"/>
                </a:lnTo>
                <a:lnTo>
                  <a:pt x="1238250" y="127000"/>
                </a:lnTo>
                <a:lnTo>
                  <a:pt x="1701800" y="603250"/>
                </a:lnTo>
                <a:lnTo>
                  <a:pt x="1701800" y="1460500"/>
                </a:lnTo>
                <a:lnTo>
                  <a:pt x="1276350" y="1898650"/>
                </a:lnTo>
                <a:lnTo>
                  <a:pt x="711200" y="1822450"/>
                </a:lnTo>
                <a:lnTo>
                  <a:pt x="0" y="1104900"/>
                </a:lnTo>
                <a:close/>
              </a:path>
            </a:pathLst>
          </a:custGeom>
          <a:solidFill>
            <a:schemeClr val="accent5">
              <a:alpha val="21000"/>
            </a:schemeClr>
          </a:solidFill>
          <a:ln w="7144"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eaLnBrk="0" fontAlgn="base" hangingPunct="0">
              <a:spcBef>
                <a:spcPct val="0"/>
              </a:spcBef>
              <a:spcAft>
                <a:spcPct val="0"/>
              </a:spcAft>
            </a:pPr>
            <a:endParaRPr lang="de-DE" dirty="0"/>
          </a:p>
        </p:txBody>
      </p:sp>
      <p:cxnSp>
        <p:nvCxnSpPr>
          <p:cNvPr id="11" name="Gerade Verbindung mit Pfeil 31">
            <a:extLst>
              <a:ext uri="{FF2B5EF4-FFF2-40B4-BE49-F238E27FC236}">
                <a16:creationId xmlns:a16="http://schemas.microsoft.com/office/drawing/2014/main" id="{86F488D1-5C4F-9F1F-126B-43A1C423694D}"/>
              </a:ext>
            </a:extLst>
          </p:cNvPr>
          <p:cNvCxnSpPr>
            <a:cxnSpLocks/>
          </p:cNvCxnSpPr>
          <p:nvPr/>
        </p:nvCxnSpPr>
        <p:spPr>
          <a:xfrm flipV="1">
            <a:off x="8166170" y="2248546"/>
            <a:ext cx="0" cy="3678517"/>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 name="Gerade Verbindung mit Pfeil 32">
            <a:extLst>
              <a:ext uri="{FF2B5EF4-FFF2-40B4-BE49-F238E27FC236}">
                <a16:creationId xmlns:a16="http://schemas.microsoft.com/office/drawing/2014/main" id="{891B2460-F75E-BF41-E124-ABAFA6D6C03E}"/>
              </a:ext>
            </a:extLst>
          </p:cNvPr>
          <p:cNvCxnSpPr>
            <a:cxnSpLocks/>
          </p:cNvCxnSpPr>
          <p:nvPr/>
        </p:nvCxnSpPr>
        <p:spPr>
          <a:xfrm>
            <a:off x="6757816" y="4094727"/>
            <a:ext cx="3518315" cy="39607"/>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37">
            <a:extLst>
              <a:ext uri="{FF2B5EF4-FFF2-40B4-BE49-F238E27FC236}">
                <a16:creationId xmlns:a16="http://schemas.microsoft.com/office/drawing/2014/main" id="{F8F58BFE-ED28-4AAA-4E6F-BB874420AE8C}"/>
              </a:ext>
            </a:extLst>
          </p:cNvPr>
          <p:cNvCxnSpPr/>
          <p:nvPr/>
        </p:nvCxnSpPr>
        <p:spPr>
          <a:xfrm>
            <a:off x="9073750" y="4134334"/>
            <a:ext cx="0" cy="18151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feld 41">
            <a:extLst>
              <a:ext uri="{FF2B5EF4-FFF2-40B4-BE49-F238E27FC236}">
                <a16:creationId xmlns:a16="http://schemas.microsoft.com/office/drawing/2014/main" id="{DEF64C58-E508-92B1-73D4-E6455C30C872}"/>
              </a:ext>
            </a:extLst>
          </p:cNvPr>
          <p:cNvSpPr txBox="1"/>
          <p:nvPr/>
        </p:nvSpPr>
        <p:spPr>
          <a:xfrm>
            <a:off x="8464527" y="2254263"/>
            <a:ext cx="813364" cy="184666"/>
          </a:xfrm>
          <a:prstGeom prst="rect">
            <a:avLst/>
          </a:prstGeom>
          <a:noFill/>
        </p:spPr>
        <p:txBody>
          <a:bodyPr wrap="none" lIns="68580" tIns="34290" rIns="68580" bIns="34290" rtlCol="0">
            <a:spAutoFit/>
          </a:bodyPr>
          <a:lstStyle/>
          <a:p>
            <a:pPr algn="r"/>
            <a:r>
              <a:rPr lang="en-US" sz="750" dirty="0"/>
              <a:t>Exchange A</a:t>
            </a:r>
            <a:r>
              <a:rPr lang="en-US" sz="750" dirty="0">
                <a:sym typeface="Wingdings" panose="05000000000000000000" pitchFamily="2" charset="2"/>
              </a:rPr>
              <a:t>B</a:t>
            </a:r>
            <a:endParaRPr lang="en-US" sz="750" dirty="0"/>
          </a:p>
        </p:txBody>
      </p:sp>
      <p:sp>
        <p:nvSpPr>
          <p:cNvPr id="15" name="Textfeld 42">
            <a:extLst>
              <a:ext uri="{FF2B5EF4-FFF2-40B4-BE49-F238E27FC236}">
                <a16:creationId xmlns:a16="http://schemas.microsoft.com/office/drawing/2014/main" id="{AEE60353-6A88-E0DD-22A3-D1DED11792F3}"/>
              </a:ext>
            </a:extLst>
          </p:cNvPr>
          <p:cNvSpPr txBox="1"/>
          <p:nvPr/>
        </p:nvSpPr>
        <p:spPr>
          <a:xfrm>
            <a:off x="9981782" y="4294246"/>
            <a:ext cx="837396" cy="184666"/>
          </a:xfrm>
          <a:prstGeom prst="rect">
            <a:avLst/>
          </a:prstGeom>
          <a:noFill/>
        </p:spPr>
        <p:txBody>
          <a:bodyPr wrap="square" lIns="68580" tIns="34290" rIns="68580" bIns="34290" rtlCol="0">
            <a:spAutoFit/>
          </a:bodyPr>
          <a:lstStyle/>
          <a:p>
            <a:pPr algn="r"/>
            <a:r>
              <a:rPr lang="en-US" sz="750" dirty="0"/>
              <a:t>Exchange A</a:t>
            </a:r>
            <a:r>
              <a:rPr lang="en-US" sz="750" dirty="0">
                <a:sym typeface="Wingdings" panose="05000000000000000000" pitchFamily="2" charset="2"/>
              </a:rPr>
              <a:t>C</a:t>
            </a:r>
            <a:endParaRPr lang="en-US" sz="750" dirty="0"/>
          </a:p>
        </p:txBody>
      </p:sp>
      <p:cxnSp>
        <p:nvCxnSpPr>
          <p:cNvPr id="16" name="Gerader Verbinder 43">
            <a:extLst>
              <a:ext uri="{FF2B5EF4-FFF2-40B4-BE49-F238E27FC236}">
                <a16:creationId xmlns:a16="http://schemas.microsoft.com/office/drawing/2014/main" id="{30FD0633-4AAE-5DE0-F593-DAA795DE2731}"/>
              </a:ext>
            </a:extLst>
          </p:cNvPr>
          <p:cNvCxnSpPr>
            <a:cxnSpLocks/>
          </p:cNvCxnSpPr>
          <p:nvPr/>
        </p:nvCxnSpPr>
        <p:spPr>
          <a:xfrm>
            <a:off x="6680132" y="2964782"/>
            <a:ext cx="3534597" cy="50787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Gerader Verbinder 44">
            <a:extLst>
              <a:ext uri="{FF2B5EF4-FFF2-40B4-BE49-F238E27FC236}">
                <a16:creationId xmlns:a16="http://schemas.microsoft.com/office/drawing/2014/main" id="{471973D9-9954-64E9-40CC-426676CD206D}"/>
              </a:ext>
            </a:extLst>
          </p:cNvPr>
          <p:cNvCxnSpPr/>
          <p:nvPr/>
        </p:nvCxnSpPr>
        <p:spPr>
          <a:xfrm>
            <a:off x="9073750" y="2772964"/>
            <a:ext cx="0" cy="2450466"/>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Gerader Verbinder 45">
            <a:extLst>
              <a:ext uri="{FF2B5EF4-FFF2-40B4-BE49-F238E27FC236}">
                <a16:creationId xmlns:a16="http://schemas.microsoft.com/office/drawing/2014/main" id="{4E6713F9-8FB5-196A-4A52-C333543BBDB9}"/>
              </a:ext>
            </a:extLst>
          </p:cNvPr>
          <p:cNvCxnSpPr/>
          <p:nvPr/>
        </p:nvCxnSpPr>
        <p:spPr>
          <a:xfrm>
            <a:off x="8056518" y="2790870"/>
            <a:ext cx="2065912" cy="2087433"/>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Gerader Verbinder 46">
            <a:extLst>
              <a:ext uri="{FF2B5EF4-FFF2-40B4-BE49-F238E27FC236}">
                <a16:creationId xmlns:a16="http://schemas.microsoft.com/office/drawing/2014/main" id="{B9C8A8ED-103A-A6E6-1333-AF26B2C28DBA}"/>
              </a:ext>
            </a:extLst>
          </p:cNvPr>
          <p:cNvCxnSpPr>
            <a:cxnSpLocks/>
          </p:cNvCxnSpPr>
          <p:nvPr/>
        </p:nvCxnSpPr>
        <p:spPr>
          <a:xfrm flipH="1">
            <a:off x="8473605" y="4182779"/>
            <a:ext cx="1325848" cy="133083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Gerader Verbinder 51">
            <a:extLst>
              <a:ext uri="{FF2B5EF4-FFF2-40B4-BE49-F238E27FC236}">
                <a16:creationId xmlns:a16="http://schemas.microsoft.com/office/drawing/2014/main" id="{79B1DB92-186D-5201-652B-A51ADD18B2DA}"/>
              </a:ext>
            </a:extLst>
          </p:cNvPr>
          <p:cNvCxnSpPr>
            <a:cxnSpLocks/>
          </p:cNvCxnSpPr>
          <p:nvPr/>
        </p:nvCxnSpPr>
        <p:spPr>
          <a:xfrm>
            <a:off x="6550608" y="4081017"/>
            <a:ext cx="1615307" cy="1632134"/>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Gerader Verbinder 52">
            <a:extLst>
              <a:ext uri="{FF2B5EF4-FFF2-40B4-BE49-F238E27FC236}">
                <a16:creationId xmlns:a16="http://schemas.microsoft.com/office/drawing/2014/main" id="{EBED1B42-9521-BAA9-DED1-504019C58B81}"/>
              </a:ext>
            </a:extLst>
          </p:cNvPr>
          <p:cNvCxnSpPr>
            <a:cxnSpLocks/>
          </p:cNvCxnSpPr>
          <p:nvPr/>
        </p:nvCxnSpPr>
        <p:spPr>
          <a:xfrm flipH="1">
            <a:off x="6776260" y="2774272"/>
            <a:ext cx="552094" cy="231351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Gerader Verbinder 53">
            <a:extLst>
              <a:ext uri="{FF2B5EF4-FFF2-40B4-BE49-F238E27FC236}">
                <a16:creationId xmlns:a16="http://schemas.microsoft.com/office/drawing/2014/main" id="{0142ACB8-42B4-BE96-436E-1FD6372B9E39}"/>
              </a:ext>
            </a:extLst>
          </p:cNvPr>
          <p:cNvCxnSpPr>
            <a:cxnSpLocks/>
          </p:cNvCxnSpPr>
          <p:nvPr/>
        </p:nvCxnSpPr>
        <p:spPr>
          <a:xfrm>
            <a:off x="6701336" y="5223431"/>
            <a:ext cx="2301305" cy="290179"/>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Gerader Verbinder 52">
            <a:extLst>
              <a:ext uri="{FF2B5EF4-FFF2-40B4-BE49-F238E27FC236}">
                <a16:creationId xmlns:a16="http://schemas.microsoft.com/office/drawing/2014/main" id="{0EFCF88C-FB6D-9746-906D-F18462765F84}"/>
              </a:ext>
            </a:extLst>
          </p:cNvPr>
          <p:cNvCxnSpPr>
            <a:cxnSpLocks/>
          </p:cNvCxnSpPr>
          <p:nvPr/>
        </p:nvCxnSpPr>
        <p:spPr>
          <a:xfrm flipH="1">
            <a:off x="6371433" y="2375187"/>
            <a:ext cx="938305" cy="2434790"/>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Gerader Verbinder 52">
            <a:extLst>
              <a:ext uri="{FF2B5EF4-FFF2-40B4-BE49-F238E27FC236}">
                <a16:creationId xmlns:a16="http://schemas.microsoft.com/office/drawing/2014/main" id="{84C7EAF8-4BBB-7958-F20E-5CBF93155199}"/>
              </a:ext>
            </a:extLst>
          </p:cNvPr>
          <p:cNvCxnSpPr>
            <a:cxnSpLocks/>
          </p:cNvCxnSpPr>
          <p:nvPr/>
        </p:nvCxnSpPr>
        <p:spPr>
          <a:xfrm flipV="1">
            <a:off x="7007839" y="2375187"/>
            <a:ext cx="2573764" cy="199542"/>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Gerader Verbinder 52">
            <a:extLst>
              <a:ext uri="{FF2B5EF4-FFF2-40B4-BE49-F238E27FC236}">
                <a16:creationId xmlns:a16="http://schemas.microsoft.com/office/drawing/2014/main" id="{71D5EDB0-DEF4-85F2-A014-751C129393EC}"/>
              </a:ext>
            </a:extLst>
          </p:cNvPr>
          <p:cNvCxnSpPr>
            <a:cxnSpLocks/>
          </p:cNvCxnSpPr>
          <p:nvPr/>
        </p:nvCxnSpPr>
        <p:spPr>
          <a:xfrm>
            <a:off x="7851987" y="2431625"/>
            <a:ext cx="2424144" cy="744072"/>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52">
            <a:extLst>
              <a:ext uri="{FF2B5EF4-FFF2-40B4-BE49-F238E27FC236}">
                <a16:creationId xmlns:a16="http://schemas.microsoft.com/office/drawing/2014/main" id="{6AEFA426-D34F-E839-A7F9-BFFB703B94DC}"/>
              </a:ext>
            </a:extLst>
          </p:cNvPr>
          <p:cNvCxnSpPr>
            <a:cxnSpLocks/>
          </p:cNvCxnSpPr>
          <p:nvPr/>
        </p:nvCxnSpPr>
        <p:spPr>
          <a:xfrm>
            <a:off x="8493705" y="2318406"/>
            <a:ext cx="1773902" cy="2410001"/>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52">
            <a:extLst>
              <a:ext uri="{FF2B5EF4-FFF2-40B4-BE49-F238E27FC236}">
                <a16:creationId xmlns:a16="http://schemas.microsoft.com/office/drawing/2014/main" id="{34633EB5-1ACA-7E21-10F0-154A0BEC5207}"/>
              </a:ext>
            </a:extLst>
          </p:cNvPr>
          <p:cNvCxnSpPr>
            <a:cxnSpLocks/>
          </p:cNvCxnSpPr>
          <p:nvPr/>
        </p:nvCxnSpPr>
        <p:spPr>
          <a:xfrm flipH="1">
            <a:off x="9581604" y="3311346"/>
            <a:ext cx="257297" cy="1997073"/>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Gerader Verbinder 52">
            <a:extLst>
              <a:ext uri="{FF2B5EF4-FFF2-40B4-BE49-F238E27FC236}">
                <a16:creationId xmlns:a16="http://schemas.microsoft.com/office/drawing/2014/main" id="{B7199A2B-07B9-C09B-9307-9F3456B179ED}"/>
              </a:ext>
            </a:extLst>
          </p:cNvPr>
          <p:cNvCxnSpPr>
            <a:cxnSpLocks/>
          </p:cNvCxnSpPr>
          <p:nvPr/>
        </p:nvCxnSpPr>
        <p:spPr>
          <a:xfrm flipH="1">
            <a:off x="8675169" y="3755710"/>
            <a:ext cx="1704331" cy="2171353"/>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Gerader Verbinder 52">
            <a:extLst>
              <a:ext uri="{FF2B5EF4-FFF2-40B4-BE49-F238E27FC236}">
                <a16:creationId xmlns:a16="http://schemas.microsoft.com/office/drawing/2014/main" id="{B88AC177-31E6-DA47-9323-067C4D671B2D}"/>
              </a:ext>
            </a:extLst>
          </p:cNvPr>
          <p:cNvCxnSpPr>
            <a:cxnSpLocks/>
          </p:cNvCxnSpPr>
          <p:nvPr/>
        </p:nvCxnSpPr>
        <p:spPr>
          <a:xfrm flipH="1" flipV="1">
            <a:off x="6782194" y="5523894"/>
            <a:ext cx="2167459" cy="358030"/>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52">
            <a:extLst>
              <a:ext uri="{FF2B5EF4-FFF2-40B4-BE49-F238E27FC236}">
                <a16:creationId xmlns:a16="http://schemas.microsoft.com/office/drawing/2014/main" id="{82523184-4470-EB81-4874-84FF8306727D}"/>
              </a:ext>
            </a:extLst>
          </p:cNvPr>
          <p:cNvCxnSpPr>
            <a:cxnSpLocks/>
          </p:cNvCxnSpPr>
          <p:nvPr/>
        </p:nvCxnSpPr>
        <p:spPr>
          <a:xfrm flipH="1" flipV="1">
            <a:off x="6370822" y="4442181"/>
            <a:ext cx="839443" cy="1292537"/>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grpSp>
        <p:nvGrpSpPr>
          <p:cNvPr id="31" name="Groep 75">
            <a:extLst>
              <a:ext uri="{FF2B5EF4-FFF2-40B4-BE49-F238E27FC236}">
                <a16:creationId xmlns:a16="http://schemas.microsoft.com/office/drawing/2014/main" id="{5B225C59-B279-1FBC-504E-FE358FAF8FD5}"/>
              </a:ext>
            </a:extLst>
          </p:cNvPr>
          <p:cNvGrpSpPr/>
          <p:nvPr/>
        </p:nvGrpSpPr>
        <p:grpSpPr>
          <a:xfrm>
            <a:off x="6840707" y="3554362"/>
            <a:ext cx="263214" cy="261610"/>
            <a:chOff x="2630320" y="3549423"/>
            <a:chExt cx="263214" cy="261610"/>
          </a:xfrm>
        </p:grpSpPr>
        <p:sp>
          <p:nvSpPr>
            <p:cNvPr id="32" name="Ovaal 74">
              <a:extLst>
                <a:ext uri="{FF2B5EF4-FFF2-40B4-BE49-F238E27FC236}">
                  <a16:creationId xmlns:a16="http://schemas.microsoft.com/office/drawing/2014/main" id="{DD2E85C9-F416-F3B4-FD2E-FA3D136849D0}"/>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3" name="Tekstvak 72">
              <a:extLst>
                <a:ext uri="{FF2B5EF4-FFF2-40B4-BE49-F238E27FC236}">
                  <a16:creationId xmlns:a16="http://schemas.microsoft.com/office/drawing/2014/main" id="{8D928399-61C4-2505-BE16-FE27968857CD}"/>
                </a:ext>
              </a:extLst>
            </p:cNvPr>
            <p:cNvSpPr txBox="1"/>
            <p:nvPr/>
          </p:nvSpPr>
          <p:spPr>
            <a:xfrm>
              <a:off x="2630320" y="3549423"/>
              <a:ext cx="263214" cy="261610"/>
            </a:xfrm>
            <a:prstGeom prst="rect">
              <a:avLst/>
            </a:prstGeom>
            <a:noFill/>
          </p:spPr>
          <p:txBody>
            <a:bodyPr wrap="none" rtlCol="0">
              <a:spAutoFit/>
            </a:bodyPr>
            <a:lstStyle/>
            <a:p>
              <a:r>
                <a:rPr lang="en-US" sz="1100" dirty="0"/>
                <a:t>1</a:t>
              </a:r>
            </a:p>
          </p:txBody>
        </p:sp>
      </p:grpSp>
      <p:grpSp>
        <p:nvGrpSpPr>
          <p:cNvPr id="34" name="Groep 76">
            <a:extLst>
              <a:ext uri="{FF2B5EF4-FFF2-40B4-BE49-F238E27FC236}">
                <a16:creationId xmlns:a16="http://schemas.microsoft.com/office/drawing/2014/main" id="{8DA5F96D-E0EB-AB7C-6D4A-32E2724B9C8E}"/>
              </a:ext>
            </a:extLst>
          </p:cNvPr>
          <p:cNvGrpSpPr/>
          <p:nvPr/>
        </p:nvGrpSpPr>
        <p:grpSpPr>
          <a:xfrm>
            <a:off x="7554893" y="2805453"/>
            <a:ext cx="263214" cy="261610"/>
            <a:chOff x="2630320" y="3549423"/>
            <a:chExt cx="263214" cy="261610"/>
          </a:xfrm>
        </p:grpSpPr>
        <p:sp>
          <p:nvSpPr>
            <p:cNvPr id="35" name="Ovaal 77">
              <a:extLst>
                <a:ext uri="{FF2B5EF4-FFF2-40B4-BE49-F238E27FC236}">
                  <a16:creationId xmlns:a16="http://schemas.microsoft.com/office/drawing/2014/main" id="{7DFBCFF6-750C-7BF5-5DB0-B6AC62EAEEBB}"/>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6" name="Tekstvak 78">
              <a:extLst>
                <a:ext uri="{FF2B5EF4-FFF2-40B4-BE49-F238E27FC236}">
                  <a16:creationId xmlns:a16="http://schemas.microsoft.com/office/drawing/2014/main" id="{678D4026-B456-C530-2CEE-C9C73D81547E}"/>
                </a:ext>
              </a:extLst>
            </p:cNvPr>
            <p:cNvSpPr txBox="1"/>
            <p:nvPr/>
          </p:nvSpPr>
          <p:spPr>
            <a:xfrm>
              <a:off x="2630320" y="3549423"/>
              <a:ext cx="263214" cy="261610"/>
            </a:xfrm>
            <a:prstGeom prst="rect">
              <a:avLst/>
            </a:prstGeom>
            <a:noFill/>
          </p:spPr>
          <p:txBody>
            <a:bodyPr wrap="none" rtlCol="0">
              <a:spAutoFit/>
            </a:bodyPr>
            <a:lstStyle/>
            <a:p>
              <a:r>
                <a:rPr lang="en-US" sz="1100" dirty="0"/>
                <a:t>2</a:t>
              </a:r>
            </a:p>
          </p:txBody>
        </p:sp>
      </p:grpSp>
      <p:grpSp>
        <p:nvGrpSpPr>
          <p:cNvPr id="37" name="Groep 80">
            <a:extLst>
              <a:ext uri="{FF2B5EF4-FFF2-40B4-BE49-F238E27FC236}">
                <a16:creationId xmlns:a16="http://schemas.microsoft.com/office/drawing/2014/main" id="{BA77FA84-9396-436A-40A3-60B037C4A292}"/>
              </a:ext>
            </a:extLst>
          </p:cNvPr>
          <p:cNvGrpSpPr/>
          <p:nvPr/>
        </p:nvGrpSpPr>
        <p:grpSpPr>
          <a:xfrm>
            <a:off x="8762728" y="3287373"/>
            <a:ext cx="263214" cy="261610"/>
            <a:chOff x="2630320" y="3549423"/>
            <a:chExt cx="263214" cy="261610"/>
          </a:xfrm>
        </p:grpSpPr>
        <p:sp>
          <p:nvSpPr>
            <p:cNvPr id="38" name="Ovaal 81">
              <a:extLst>
                <a:ext uri="{FF2B5EF4-FFF2-40B4-BE49-F238E27FC236}">
                  <a16:creationId xmlns:a16="http://schemas.microsoft.com/office/drawing/2014/main" id="{5A67B126-1C5F-C1E7-38C0-BDEDD049CE86}"/>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9" name="Tekstvak 82">
              <a:extLst>
                <a:ext uri="{FF2B5EF4-FFF2-40B4-BE49-F238E27FC236}">
                  <a16:creationId xmlns:a16="http://schemas.microsoft.com/office/drawing/2014/main" id="{2CC2358C-25D2-F70B-FC2A-82CED93F9CED}"/>
                </a:ext>
              </a:extLst>
            </p:cNvPr>
            <p:cNvSpPr txBox="1"/>
            <p:nvPr/>
          </p:nvSpPr>
          <p:spPr>
            <a:xfrm>
              <a:off x="2630320" y="3549423"/>
              <a:ext cx="263214" cy="261610"/>
            </a:xfrm>
            <a:prstGeom prst="rect">
              <a:avLst/>
            </a:prstGeom>
            <a:noFill/>
          </p:spPr>
          <p:txBody>
            <a:bodyPr wrap="none" rtlCol="0">
              <a:spAutoFit/>
            </a:bodyPr>
            <a:lstStyle/>
            <a:p>
              <a:r>
                <a:rPr lang="en-US" sz="1100" dirty="0"/>
                <a:t>3</a:t>
              </a:r>
            </a:p>
          </p:txBody>
        </p:sp>
      </p:grpSp>
      <p:grpSp>
        <p:nvGrpSpPr>
          <p:cNvPr id="40" name="Groep 83">
            <a:extLst>
              <a:ext uri="{FF2B5EF4-FFF2-40B4-BE49-F238E27FC236}">
                <a16:creationId xmlns:a16="http://schemas.microsoft.com/office/drawing/2014/main" id="{5A33D1DF-9FBC-D940-8115-764D65A85846}"/>
              </a:ext>
            </a:extLst>
          </p:cNvPr>
          <p:cNvGrpSpPr/>
          <p:nvPr/>
        </p:nvGrpSpPr>
        <p:grpSpPr>
          <a:xfrm>
            <a:off x="9074765" y="4303382"/>
            <a:ext cx="263214" cy="261610"/>
            <a:chOff x="2630320" y="3549423"/>
            <a:chExt cx="263214" cy="261610"/>
          </a:xfrm>
        </p:grpSpPr>
        <p:sp>
          <p:nvSpPr>
            <p:cNvPr id="41" name="Ovaal 84">
              <a:extLst>
                <a:ext uri="{FF2B5EF4-FFF2-40B4-BE49-F238E27FC236}">
                  <a16:creationId xmlns:a16="http://schemas.microsoft.com/office/drawing/2014/main" id="{E7840EC3-4167-438D-80FB-7B5280CC065D}"/>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42" name="Tekstvak 85">
              <a:extLst>
                <a:ext uri="{FF2B5EF4-FFF2-40B4-BE49-F238E27FC236}">
                  <a16:creationId xmlns:a16="http://schemas.microsoft.com/office/drawing/2014/main" id="{E319134F-5ACC-5ECD-D9B4-4F2664653CA1}"/>
                </a:ext>
              </a:extLst>
            </p:cNvPr>
            <p:cNvSpPr txBox="1"/>
            <p:nvPr/>
          </p:nvSpPr>
          <p:spPr>
            <a:xfrm>
              <a:off x="2630320" y="3549423"/>
              <a:ext cx="263214" cy="261610"/>
            </a:xfrm>
            <a:prstGeom prst="rect">
              <a:avLst/>
            </a:prstGeom>
            <a:noFill/>
          </p:spPr>
          <p:txBody>
            <a:bodyPr wrap="none" rtlCol="0">
              <a:spAutoFit/>
            </a:bodyPr>
            <a:lstStyle/>
            <a:p>
              <a:r>
                <a:rPr lang="en-US" sz="1100" dirty="0"/>
                <a:t>4</a:t>
              </a:r>
            </a:p>
          </p:txBody>
        </p:sp>
      </p:grpSp>
      <p:grpSp>
        <p:nvGrpSpPr>
          <p:cNvPr id="43" name="Groep 86">
            <a:extLst>
              <a:ext uri="{FF2B5EF4-FFF2-40B4-BE49-F238E27FC236}">
                <a16:creationId xmlns:a16="http://schemas.microsoft.com/office/drawing/2014/main" id="{9BFF4AD3-8A56-895A-192D-05474CD23B62}"/>
              </a:ext>
            </a:extLst>
          </p:cNvPr>
          <p:cNvGrpSpPr/>
          <p:nvPr/>
        </p:nvGrpSpPr>
        <p:grpSpPr>
          <a:xfrm>
            <a:off x="8756804" y="5157358"/>
            <a:ext cx="263214" cy="261610"/>
            <a:chOff x="2630320" y="3549423"/>
            <a:chExt cx="263214" cy="261610"/>
          </a:xfrm>
        </p:grpSpPr>
        <p:sp>
          <p:nvSpPr>
            <p:cNvPr id="44" name="Ovaal 87">
              <a:extLst>
                <a:ext uri="{FF2B5EF4-FFF2-40B4-BE49-F238E27FC236}">
                  <a16:creationId xmlns:a16="http://schemas.microsoft.com/office/drawing/2014/main" id="{B51A6571-6C9C-B10E-B339-1C23879DE10B}"/>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45" name="Tekstvak 88">
              <a:extLst>
                <a:ext uri="{FF2B5EF4-FFF2-40B4-BE49-F238E27FC236}">
                  <a16:creationId xmlns:a16="http://schemas.microsoft.com/office/drawing/2014/main" id="{B5EE36C8-2FC9-503B-F027-2BDF1A4A70BD}"/>
                </a:ext>
              </a:extLst>
            </p:cNvPr>
            <p:cNvSpPr txBox="1"/>
            <p:nvPr/>
          </p:nvSpPr>
          <p:spPr>
            <a:xfrm>
              <a:off x="2630320" y="3549423"/>
              <a:ext cx="263214" cy="261610"/>
            </a:xfrm>
            <a:prstGeom prst="rect">
              <a:avLst/>
            </a:prstGeom>
            <a:noFill/>
          </p:spPr>
          <p:txBody>
            <a:bodyPr wrap="none" rtlCol="0">
              <a:spAutoFit/>
            </a:bodyPr>
            <a:lstStyle/>
            <a:p>
              <a:r>
                <a:rPr lang="en-US" sz="1100" dirty="0"/>
                <a:t>5</a:t>
              </a:r>
            </a:p>
          </p:txBody>
        </p:sp>
      </p:grpSp>
      <p:grpSp>
        <p:nvGrpSpPr>
          <p:cNvPr id="46" name="Groep 89">
            <a:extLst>
              <a:ext uri="{FF2B5EF4-FFF2-40B4-BE49-F238E27FC236}">
                <a16:creationId xmlns:a16="http://schemas.microsoft.com/office/drawing/2014/main" id="{BBAAEA87-7E9C-05BD-1BA6-C9C3A9F1EE01}"/>
              </a:ext>
            </a:extLst>
          </p:cNvPr>
          <p:cNvGrpSpPr/>
          <p:nvPr/>
        </p:nvGrpSpPr>
        <p:grpSpPr>
          <a:xfrm>
            <a:off x="8179566" y="5444900"/>
            <a:ext cx="263214" cy="261610"/>
            <a:chOff x="2630320" y="3549423"/>
            <a:chExt cx="263214" cy="261610"/>
          </a:xfrm>
        </p:grpSpPr>
        <p:sp>
          <p:nvSpPr>
            <p:cNvPr id="47" name="Ovaal 90">
              <a:extLst>
                <a:ext uri="{FF2B5EF4-FFF2-40B4-BE49-F238E27FC236}">
                  <a16:creationId xmlns:a16="http://schemas.microsoft.com/office/drawing/2014/main" id="{49B654CE-3761-AF74-5757-272BC2CEDEB1}"/>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48" name="Tekstvak 91">
              <a:extLst>
                <a:ext uri="{FF2B5EF4-FFF2-40B4-BE49-F238E27FC236}">
                  <a16:creationId xmlns:a16="http://schemas.microsoft.com/office/drawing/2014/main" id="{1CE96B3C-9D7C-86B1-6A37-A51F136DB089}"/>
                </a:ext>
              </a:extLst>
            </p:cNvPr>
            <p:cNvSpPr txBox="1"/>
            <p:nvPr/>
          </p:nvSpPr>
          <p:spPr>
            <a:xfrm>
              <a:off x="2630320" y="3549423"/>
              <a:ext cx="263214" cy="261610"/>
            </a:xfrm>
            <a:prstGeom prst="rect">
              <a:avLst/>
            </a:prstGeom>
            <a:noFill/>
          </p:spPr>
          <p:txBody>
            <a:bodyPr wrap="none" rtlCol="0">
              <a:spAutoFit/>
            </a:bodyPr>
            <a:lstStyle/>
            <a:p>
              <a:r>
                <a:rPr lang="en-US" sz="1100" dirty="0"/>
                <a:t>6</a:t>
              </a:r>
            </a:p>
          </p:txBody>
        </p:sp>
      </p:grpSp>
      <p:grpSp>
        <p:nvGrpSpPr>
          <p:cNvPr id="49" name="Groep 92">
            <a:extLst>
              <a:ext uri="{FF2B5EF4-FFF2-40B4-BE49-F238E27FC236}">
                <a16:creationId xmlns:a16="http://schemas.microsoft.com/office/drawing/2014/main" id="{9EBDBAD1-6F94-AAAB-5818-841D403051D3}"/>
              </a:ext>
            </a:extLst>
          </p:cNvPr>
          <p:cNvGrpSpPr/>
          <p:nvPr/>
        </p:nvGrpSpPr>
        <p:grpSpPr>
          <a:xfrm>
            <a:off x="7015814" y="4818074"/>
            <a:ext cx="263214" cy="261610"/>
            <a:chOff x="2630320" y="3549423"/>
            <a:chExt cx="263214" cy="261610"/>
          </a:xfrm>
        </p:grpSpPr>
        <p:sp>
          <p:nvSpPr>
            <p:cNvPr id="50" name="Ovaal 93">
              <a:extLst>
                <a:ext uri="{FF2B5EF4-FFF2-40B4-BE49-F238E27FC236}">
                  <a16:creationId xmlns:a16="http://schemas.microsoft.com/office/drawing/2014/main" id="{DF086BD7-8AA9-ABBE-8135-0D418E9FE762}"/>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51" name="Tekstvak 94">
              <a:extLst>
                <a:ext uri="{FF2B5EF4-FFF2-40B4-BE49-F238E27FC236}">
                  <a16:creationId xmlns:a16="http://schemas.microsoft.com/office/drawing/2014/main" id="{080E4B42-8297-4DFB-AD10-D27656BBDE1B}"/>
                </a:ext>
              </a:extLst>
            </p:cNvPr>
            <p:cNvSpPr txBox="1"/>
            <p:nvPr/>
          </p:nvSpPr>
          <p:spPr>
            <a:xfrm>
              <a:off x="2630320" y="3549423"/>
              <a:ext cx="263214" cy="261610"/>
            </a:xfrm>
            <a:prstGeom prst="rect">
              <a:avLst/>
            </a:prstGeom>
            <a:noFill/>
          </p:spPr>
          <p:txBody>
            <a:bodyPr wrap="none" rtlCol="0">
              <a:spAutoFit/>
            </a:bodyPr>
            <a:lstStyle/>
            <a:p>
              <a:r>
                <a:rPr lang="en-US" sz="1100" dirty="0"/>
                <a:t>7</a:t>
              </a:r>
            </a:p>
          </p:txBody>
        </p:sp>
      </p:grpSp>
      <p:graphicFrame>
        <p:nvGraphicFramePr>
          <p:cNvPr id="52" name="Tabel 95">
            <a:extLst>
              <a:ext uri="{FF2B5EF4-FFF2-40B4-BE49-F238E27FC236}">
                <a16:creationId xmlns:a16="http://schemas.microsoft.com/office/drawing/2014/main" id="{429AA3E5-CB5A-D62C-249D-945AFC0AAD01}"/>
              </a:ext>
            </a:extLst>
          </p:cNvPr>
          <p:cNvGraphicFramePr>
            <a:graphicFrameLocks noGrp="1"/>
          </p:cNvGraphicFramePr>
          <p:nvPr>
            <p:extLst>
              <p:ext uri="{D42A27DB-BD31-4B8C-83A1-F6EECF244321}">
                <p14:modId xmlns:p14="http://schemas.microsoft.com/office/powerpoint/2010/main" val="1760311011"/>
              </p:ext>
            </p:extLst>
          </p:nvPr>
        </p:nvGraphicFramePr>
        <p:xfrm>
          <a:off x="1649075" y="2288820"/>
          <a:ext cx="4207146" cy="3538436"/>
        </p:xfrm>
        <a:graphic>
          <a:graphicData uri="http://schemas.openxmlformats.org/drawingml/2006/table">
            <a:tbl>
              <a:tblPr firstRow="1" bandRow="1">
                <a:tableStyleId>{073A0DAA-6AF3-43AB-8588-CEC1D06C72B9}</a:tableStyleId>
              </a:tblPr>
              <a:tblGrid>
                <a:gridCol w="482010">
                  <a:extLst>
                    <a:ext uri="{9D8B030D-6E8A-4147-A177-3AD203B41FA5}">
                      <a16:colId xmlns:a16="http://schemas.microsoft.com/office/drawing/2014/main" val="3128346855"/>
                    </a:ext>
                  </a:extLst>
                </a:gridCol>
                <a:gridCol w="482010">
                  <a:extLst>
                    <a:ext uri="{9D8B030D-6E8A-4147-A177-3AD203B41FA5}">
                      <a16:colId xmlns:a16="http://schemas.microsoft.com/office/drawing/2014/main" val="211627717"/>
                    </a:ext>
                  </a:extLst>
                </a:gridCol>
                <a:gridCol w="482010">
                  <a:extLst>
                    <a:ext uri="{9D8B030D-6E8A-4147-A177-3AD203B41FA5}">
                      <a16:colId xmlns:a16="http://schemas.microsoft.com/office/drawing/2014/main" val="2212173443"/>
                    </a:ext>
                  </a:extLst>
                </a:gridCol>
                <a:gridCol w="482010">
                  <a:extLst>
                    <a:ext uri="{9D8B030D-6E8A-4147-A177-3AD203B41FA5}">
                      <a16:colId xmlns:a16="http://schemas.microsoft.com/office/drawing/2014/main" val="1204901024"/>
                    </a:ext>
                  </a:extLst>
                </a:gridCol>
                <a:gridCol w="351066">
                  <a:extLst>
                    <a:ext uri="{9D8B030D-6E8A-4147-A177-3AD203B41FA5}">
                      <a16:colId xmlns:a16="http://schemas.microsoft.com/office/drawing/2014/main" val="667801585"/>
                    </a:ext>
                  </a:extLst>
                </a:gridCol>
                <a:gridCol w="482010">
                  <a:extLst>
                    <a:ext uri="{9D8B030D-6E8A-4147-A177-3AD203B41FA5}">
                      <a16:colId xmlns:a16="http://schemas.microsoft.com/office/drawing/2014/main" val="3263373508"/>
                    </a:ext>
                  </a:extLst>
                </a:gridCol>
                <a:gridCol w="482010">
                  <a:extLst>
                    <a:ext uri="{9D8B030D-6E8A-4147-A177-3AD203B41FA5}">
                      <a16:colId xmlns:a16="http://schemas.microsoft.com/office/drawing/2014/main" val="1262737158"/>
                    </a:ext>
                  </a:extLst>
                </a:gridCol>
                <a:gridCol w="482010">
                  <a:extLst>
                    <a:ext uri="{9D8B030D-6E8A-4147-A177-3AD203B41FA5}">
                      <a16:colId xmlns:a16="http://schemas.microsoft.com/office/drawing/2014/main" val="2012187898"/>
                    </a:ext>
                  </a:extLst>
                </a:gridCol>
                <a:gridCol w="482010">
                  <a:extLst>
                    <a:ext uri="{9D8B030D-6E8A-4147-A177-3AD203B41FA5}">
                      <a16:colId xmlns:a16="http://schemas.microsoft.com/office/drawing/2014/main" val="385128522"/>
                    </a:ext>
                  </a:extLst>
                </a:gridCol>
              </a:tblGrid>
              <a:tr h="333966">
                <a:tc>
                  <a:txBody>
                    <a:bodyPr/>
                    <a:lstStyle/>
                    <a:p>
                      <a:r>
                        <a:rPr lang="en-US" sz="900" dirty="0"/>
                        <a:t>CNEC</a:t>
                      </a:r>
                    </a:p>
                  </a:txBody>
                  <a:tcPr marL="71564" marR="71564" marT="35782" marB="35782">
                    <a:solidFill>
                      <a:srgbClr val="3366FF"/>
                    </a:solidFill>
                  </a:tcPr>
                </a:tc>
                <a:tc>
                  <a:txBody>
                    <a:bodyPr/>
                    <a:lstStyle/>
                    <a:p>
                      <a:r>
                        <a:rPr lang="en-US" sz="900" dirty="0"/>
                        <a:t>RAM</a:t>
                      </a:r>
                    </a:p>
                  </a:txBody>
                  <a:tcPr marL="71564" marR="71564" marT="35782" marB="35782">
                    <a:solidFill>
                      <a:srgbClr val="3366FF"/>
                    </a:solidFill>
                  </a:tcPr>
                </a:tc>
                <a:tc>
                  <a:txBody>
                    <a:bodyPr/>
                    <a:lstStyle/>
                    <a:p>
                      <a:r>
                        <a:rPr lang="en-US" sz="900" dirty="0" err="1"/>
                        <a:t>Fmax</a:t>
                      </a:r>
                      <a:endParaRPr lang="en-US" sz="900" dirty="0"/>
                    </a:p>
                  </a:txBody>
                  <a:tcPr marL="71564" marR="71564" marT="35782" marB="35782">
                    <a:solidFill>
                      <a:srgbClr val="3366FF"/>
                    </a:solidFill>
                  </a:tcPr>
                </a:tc>
                <a:tc>
                  <a:txBody>
                    <a:bodyPr/>
                    <a:lstStyle/>
                    <a:p>
                      <a:r>
                        <a:rPr lang="en-US" sz="900" dirty="0"/>
                        <a:t>FRM</a:t>
                      </a:r>
                    </a:p>
                  </a:txBody>
                  <a:tcPr marL="71564" marR="71564" marT="35782" marB="35782">
                    <a:solidFill>
                      <a:srgbClr val="3366FF"/>
                    </a:solidFill>
                  </a:tcPr>
                </a:tc>
                <a:tc>
                  <a:txBody>
                    <a:bodyPr/>
                    <a:lstStyle/>
                    <a:p>
                      <a:r>
                        <a:rPr lang="en-US" sz="900" dirty="0"/>
                        <a:t>F</a:t>
                      </a:r>
                      <a:r>
                        <a:rPr lang="en-US" sz="900" baseline="-25000" dirty="0"/>
                        <a:t>i</a:t>
                      </a:r>
                    </a:p>
                  </a:txBody>
                  <a:tcPr marL="71564" marR="71564" marT="35782" marB="35782">
                    <a:solidFill>
                      <a:srgbClr val="3366FF"/>
                    </a:solidFill>
                  </a:tcPr>
                </a:tc>
                <a:tc>
                  <a:txBody>
                    <a:bodyPr/>
                    <a:lstStyle/>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IVA</a:t>
                      </a:r>
                      <a:endParaRPr lang="en-US" sz="900" dirty="0"/>
                    </a:p>
                  </a:txBody>
                  <a:tcPr marL="71564" marR="71564" marT="35782" marB="35782">
                    <a:solidFill>
                      <a:srgbClr val="3366FF"/>
                    </a:solidFill>
                  </a:tcPr>
                </a:tc>
                <a:tc>
                  <a:txBody>
                    <a:bodyPr/>
                    <a:lstStyle/>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PTDF</a:t>
                      </a:r>
                    </a:p>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A-&gt;B</a:t>
                      </a:r>
                      <a:endParaRPr lang="en-US" sz="900" dirty="0"/>
                    </a:p>
                  </a:txBody>
                  <a:tcPr marL="71564" marR="71564" marT="35782" marB="35782">
                    <a:solidFill>
                      <a:srgbClr val="3366FF"/>
                    </a:solidFill>
                  </a:tcPr>
                </a:tc>
                <a:tc>
                  <a:txBody>
                    <a:bodyPr/>
                    <a:lstStyle/>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PTDF</a:t>
                      </a:r>
                    </a:p>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C-&gt;D</a:t>
                      </a:r>
                      <a:endParaRPr lang="en-US" sz="900" dirty="0"/>
                    </a:p>
                  </a:txBody>
                  <a:tcPr marL="71564" marR="71564" marT="35782" marB="35782">
                    <a:solidFill>
                      <a:srgbClr val="3366FF"/>
                    </a:solidFill>
                  </a:tcPr>
                </a:tc>
                <a:tc>
                  <a:txBody>
                    <a:bodyPr/>
                    <a:lstStyle/>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PTDF</a:t>
                      </a:r>
                    </a:p>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E-&gt;F</a:t>
                      </a:r>
                      <a:endParaRPr lang="en-US" sz="900" dirty="0"/>
                    </a:p>
                  </a:txBody>
                  <a:tcPr marL="71564" marR="71564" marT="35782" marB="35782">
                    <a:solidFill>
                      <a:srgbClr val="3366FF"/>
                    </a:solidFill>
                  </a:tcPr>
                </a:tc>
                <a:extLst>
                  <a:ext uri="{0D108BD9-81ED-4DB2-BD59-A6C34878D82A}">
                    <a16:rowId xmlns:a16="http://schemas.microsoft.com/office/drawing/2014/main" val="1839332249"/>
                  </a:ext>
                </a:extLst>
              </a:tr>
              <a:tr h="290232">
                <a:tc>
                  <a:txBody>
                    <a:bodyPr/>
                    <a:lstStyle/>
                    <a:p>
                      <a:r>
                        <a:rPr lang="en-US" sz="900" dirty="0"/>
                        <a:t>1</a:t>
                      </a:r>
                    </a:p>
                  </a:txBody>
                  <a:tcPr marL="71564" marR="71564" marT="35782" marB="35782"/>
                </a:tc>
                <a:tc>
                  <a:txBody>
                    <a:bodyPr/>
                    <a:lstStyle/>
                    <a:p>
                      <a:r>
                        <a:rPr lang="en-US" sz="900" dirty="0"/>
                        <a:t>8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100</a:t>
                      </a:r>
                    </a:p>
                  </a:txBody>
                  <a:tcPr marL="71564" marR="71564" marT="35782" marB="35782"/>
                </a:tc>
                <a:tc>
                  <a:txBody>
                    <a:bodyPr/>
                    <a:lstStyle/>
                    <a:p>
                      <a:endParaRPr lang="en-US" sz="900" dirty="0"/>
                    </a:p>
                  </a:txBody>
                  <a:tcPr marL="71564" marR="71564" marT="35782" marB="35782"/>
                </a:tc>
                <a:tc>
                  <a:txBody>
                    <a:bodyPr/>
                    <a:lstStyle/>
                    <a:p>
                      <a:r>
                        <a:rPr lang="hr-HR" sz="900" dirty="0"/>
                        <a:t>0,12</a:t>
                      </a:r>
                      <a:endParaRPr lang="en-US" sz="900" dirty="0"/>
                    </a:p>
                  </a:txBody>
                  <a:tcPr marL="71564" marR="71564" marT="35782" marB="35782"/>
                </a:tc>
                <a:tc>
                  <a:txBody>
                    <a:bodyPr/>
                    <a:lstStyle/>
                    <a:p>
                      <a:r>
                        <a:rPr lang="hr-HR" sz="900" dirty="0"/>
                        <a:t>0,10</a:t>
                      </a:r>
                      <a:endParaRPr lang="en-US" sz="900" dirty="0"/>
                    </a:p>
                  </a:txBody>
                  <a:tcPr marL="71564" marR="71564" marT="35782" marB="35782"/>
                </a:tc>
                <a:tc>
                  <a:txBody>
                    <a:bodyPr/>
                    <a:lstStyle/>
                    <a:p>
                      <a:r>
                        <a:rPr lang="hr-HR" sz="900" dirty="0"/>
                        <a:t>0,04</a:t>
                      </a:r>
                      <a:endParaRPr lang="en-US" sz="900" dirty="0"/>
                    </a:p>
                  </a:txBody>
                  <a:tcPr marL="71564" marR="71564" marT="35782" marB="35782"/>
                </a:tc>
                <a:extLst>
                  <a:ext uri="{0D108BD9-81ED-4DB2-BD59-A6C34878D82A}">
                    <a16:rowId xmlns:a16="http://schemas.microsoft.com/office/drawing/2014/main" val="2648937487"/>
                  </a:ext>
                </a:extLst>
              </a:tr>
              <a:tr h="290232">
                <a:tc>
                  <a:txBody>
                    <a:bodyPr/>
                    <a:lstStyle/>
                    <a:p>
                      <a:r>
                        <a:rPr lang="en-US" sz="900" dirty="0"/>
                        <a:t>2</a:t>
                      </a:r>
                    </a:p>
                  </a:txBody>
                  <a:tcPr marL="71564" marR="71564" marT="35782" marB="35782"/>
                </a:tc>
                <a:tc>
                  <a:txBody>
                    <a:bodyPr/>
                    <a:lstStyle/>
                    <a:p>
                      <a:r>
                        <a:rPr lang="en-US" sz="900" dirty="0"/>
                        <a:t>7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200</a:t>
                      </a:r>
                    </a:p>
                  </a:txBody>
                  <a:tcPr marL="71564" marR="71564" marT="35782" marB="35782"/>
                </a:tc>
                <a:tc>
                  <a:txBody>
                    <a:bodyPr/>
                    <a:lstStyle/>
                    <a:p>
                      <a:endParaRPr lang="en-US" sz="900" dirty="0"/>
                    </a:p>
                  </a:txBody>
                  <a:tcPr marL="71564" marR="71564" marT="35782" marB="35782"/>
                </a:tc>
                <a:tc>
                  <a:txBody>
                    <a:bodyPr/>
                    <a:lstStyle/>
                    <a:p>
                      <a:r>
                        <a:rPr lang="hr-HR" sz="900" dirty="0"/>
                        <a:t>0,15</a:t>
                      </a:r>
                      <a:endParaRPr lang="en-US" sz="900" dirty="0"/>
                    </a:p>
                  </a:txBody>
                  <a:tcPr marL="71564" marR="71564" marT="35782" marB="35782"/>
                </a:tc>
                <a:tc>
                  <a:txBody>
                    <a:bodyPr/>
                    <a:lstStyle/>
                    <a:p>
                      <a:r>
                        <a:rPr lang="hr-HR" sz="900" dirty="0"/>
                        <a:t>0,12</a:t>
                      </a:r>
                      <a:endParaRPr lang="en-US" sz="900" dirty="0"/>
                    </a:p>
                  </a:txBody>
                  <a:tcPr marL="71564" marR="71564" marT="35782" marB="35782"/>
                </a:tc>
                <a:tc>
                  <a:txBody>
                    <a:bodyPr/>
                    <a:lstStyle/>
                    <a:p>
                      <a:r>
                        <a:rPr lang="hr-HR" sz="900" dirty="0"/>
                        <a:t>0,20</a:t>
                      </a:r>
                      <a:endParaRPr lang="en-US" sz="900" dirty="0"/>
                    </a:p>
                  </a:txBody>
                  <a:tcPr marL="71564" marR="71564" marT="35782" marB="35782"/>
                </a:tc>
                <a:extLst>
                  <a:ext uri="{0D108BD9-81ED-4DB2-BD59-A6C34878D82A}">
                    <a16:rowId xmlns:a16="http://schemas.microsoft.com/office/drawing/2014/main" val="1870670275"/>
                  </a:ext>
                </a:extLst>
              </a:tr>
              <a:tr h="290232">
                <a:tc>
                  <a:txBody>
                    <a:bodyPr/>
                    <a:lstStyle/>
                    <a:p>
                      <a:r>
                        <a:rPr lang="en-US" sz="900" dirty="0"/>
                        <a:t>3</a:t>
                      </a:r>
                    </a:p>
                  </a:txBody>
                  <a:tcPr marL="71564" marR="71564" marT="35782" marB="35782"/>
                </a:tc>
                <a:tc>
                  <a:txBody>
                    <a:bodyPr/>
                    <a:lstStyle/>
                    <a:p>
                      <a:r>
                        <a:rPr lang="en-US" sz="900" dirty="0"/>
                        <a:t>6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300</a:t>
                      </a:r>
                    </a:p>
                  </a:txBody>
                  <a:tcPr marL="71564" marR="71564" marT="35782" marB="35782"/>
                </a:tc>
                <a:tc>
                  <a:txBody>
                    <a:bodyPr/>
                    <a:lstStyle/>
                    <a:p>
                      <a:endParaRPr lang="en-US" sz="900" dirty="0"/>
                    </a:p>
                  </a:txBody>
                  <a:tcPr marL="71564" marR="71564" marT="35782" marB="35782"/>
                </a:tc>
                <a:tc>
                  <a:txBody>
                    <a:bodyPr/>
                    <a:lstStyle/>
                    <a:p>
                      <a:r>
                        <a:rPr lang="hr-HR" sz="900" dirty="0"/>
                        <a:t>0,02</a:t>
                      </a:r>
                      <a:endParaRPr lang="en-US" sz="900" dirty="0"/>
                    </a:p>
                  </a:txBody>
                  <a:tcPr marL="71564" marR="71564" marT="35782" marB="35782"/>
                </a:tc>
                <a:tc>
                  <a:txBody>
                    <a:bodyPr/>
                    <a:lstStyle/>
                    <a:p>
                      <a:r>
                        <a:rPr lang="hr-HR" sz="900" dirty="0"/>
                        <a:t>0,16</a:t>
                      </a:r>
                      <a:endParaRPr lang="en-US" sz="900" dirty="0"/>
                    </a:p>
                  </a:txBody>
                  <a:tcPr marL="71564" marR="71564" marT="35782" marB="35782"/>
                </a:tc>
                <a:tc>
                  <a:txBody>
                    <a:bodyPr/>
                    <a:lstStyle/>
                    <a:p>
                      <a:r>
                        <a:rPr lang="hr-HR" sz="900" dirty="0"/>
                        <a:t>0,18</a:t>
                      </a:r>
                      <a:endParaRPr lang="en-US" sz="900" dirty="0"/>
                    </a:p>
                  </a:txBody>
                  <a:tcPr marL="71564" marR="71564" marT="35782" marB="35782"/>
                </a:tc>
                <a:extLst>
                  <a:ext uri="{0D108BD9-81ED-4DB2-BD59-A6C34878D82A}">
                    <a16:rowId xmlns:a16="http://schemas.microsoft.com/office/drawing/2014/main" val="2524997097"/>
                  </a:ext>
                </a:extLst>
              </a:tr>
              <a:tr h="290232">
                <a:tc>
                  <a:txBody>
                    <a:bodyPr/>
                    <a:lstStyle/>
                    <a:p>
                      <a:r>
                        <a:rPr lang="en-US" sz="900" dirty="0"/>
                        <a:t>4</a:t>
                      </a:r>
                    </a:p>
                  </a:txBody>
                  <a:tcPr marL="71564" marR="71564" marT="35782" marB="35782"/>
                </a:tc>
                <a:tc>
                  <a:txBody>
                    <a:bodyPr/>
                    <a:lstStyle/>
                    <a:p>
                      <a:r>
                        <a:rPr lang="en-US" sz="900" dirty="0"/>
                        <a:t>5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400</a:t>
                      </a:r>
                    </a:p>
                  </a:txBody>
                  <a:tcPr marL="71564" marR="71564" marT="35782" marB="35782"/>
                </a:tc>
                <a:tc>
                  <a:txBody>
                    <a:bodyPr/>
                    <a:lstStyle/>
                    <a:p>
                      <a:endParaRPr lang="en-US" sz="900" dirty="0"/>
                    </a:p>
                  </a:txBody>
                  <a:tcPr marL="71564" marR="71564" marT="35782" marB="35782"/>
                </a:tc>
                <a:tc>
                  <a:txBody>
                    <a:bodyPr/>
                    <a:lstStyle/>
                    <a:p>
                      <a:r>
                        <a:rPr lang="hr-HR" sz="900" dirty="0"/>
                        <a:t>0,3</a:t>
                      </a:r>
                      <a:endParaRPr lang="en-US" sz="900" dirty="0"/>
                    </a:p>
                  </a:txBody>
                  <a:tcPr marL="71564" marR="71564" marT="35782" marB="35782"/>
                </a:tc>
                <a:tc>
                  <a:txBody>
                    <a:bodyPr/>
                    <a:lstStyle/>
                    <a:p>
                      <a:r>
                        <a:rPr lang="hr-HR" sz="900" dirty="0"/>
                        <a:t>0,25</a:t>
                      </a:r>
                      <a:endParaRPr lang="en-US" sz="900" dirty="0"/>
                    </a:p>
                  </a:txBody>
                  <a:tcPr marL="71564" marR="71564" marT="35782" marB="35782"/>
                </a:tc>
                <a:tc>
                  <a:txBody>
                    <a:bodyPr/>
                    <a:lstStyle/>
                    <a:p>
                      <a:r>
                        <a:rPr lang="hr-HR" sz="900" dirty="0"/>
                        <a:t>0,2</a:t>
                      </a:r>
                      <a:endParaRPr lang="en-US" sz="900" dirty="0"/>
                    </a:p>
                  </a:txBody>
                  <a:tcPr marL="71564" marR="71564" marT="35782" marB="35782"/>
                </a:tc>
                <a:extLst>
                  <a:ext uri="{0D108BD9-81ED-4DB2-BD59-A6C34878D82A}">
                    <a16:rowId xmlns:a16="http://schemas.microsoft.com/office/drawing/2014/main" val="675613622"/>
                  </a:ext>
                </a:extLst>
              </a:tr>
              <a:tr h="290232">
                <a:tc>
                  <a:txBody>
                    <a:bodyPr/>
                    <a:lstStyle/>
                    <a:p>
                      <a:r>
                        <a:rPr lang="en-US" sz="900" dirty="0"/>
                        <a:t>5</a:t>
                      </a:r>
                    </a:p>
                  </a:txBody>
                  <a:tcPr marL="71564" marR="71564" marT="35782" marB="35782"/>
                </a:tc>
                <a:tc>
                  <a:txBody>
                    <a:bodyPr/>
                    <a:lstStyle/>
                    <a:p>
                      <a:r>
                        <a:rPr lang="en-US" sz="900" dirty="0"/>
                        <a:t>5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400</a:t>
                      </a:r>
                    </a:p>
                  </a:txBody>
                  <a:tcPr marL="71564" marR="71564" marT="35782" marB="35782"/>
                </a:tc>
                <a:tc>
                  <a:txBody>
                    <a:bodyPr/>
                    <a:lstStyle/>
                    <a:p>
                      <a:endParaRPr lang="en-US" sz="900" dirty="0"/>
                    </a:p>
                  </a:txBody>
                  <a:tcPr marL="71564" marR="71564" marT="35782" marB="35782"/>
                </a:tc>
                <a:tc>
                  <a:txBody>
                    <a:bodyPr/>
                    <a:lstStyle/>
                    <a:p>
                      <a:r>
                        <a:rPr lang="hr-HR" sz="900" dirty="0"/>
                        <a:t>0,15</a:t>
                      </a:r>
                      <a:endParaRPr lang="en-US" sz="900" dirty="0"/>
                    </a:p>
                  </a:txBody>
                  <a:tcPr marL="71564" marR="71564" marT="35782" marB="35782"/>
                </a:tc>
                <a:tc>
                  <a:txBody>
                    <a:bodyPr/>
                    <a:lstStyle/>
                    <a:p>
                      <a:r>
                        <a:rPr lang="hr-HR" sz="900" dirty="0"/>
                        <a:t>0,03</a:t>
                      </a:r>
                      <a:endParaRPr lang="en-US" sz="900" dirty="0"/>
                    </a:p>
                  </a:txBody>
                  <a:tcPr marL="71564" marR="71564" marT="35782" marB="35782"/>
                </a:tc>
                <a:tc>
                  <a:txBody>
                    <a:bodyPr/>
                    <a:lstStyle/>
                    <a:p>
                      <a:r>
                        <a:rPr lang="hr-HR" sz="900" dirty="0"/>
                        <a:t>0,09</a:t>
                      </a:r>
                      <a:endParaRPr lang="en-US" sz="900" dirty="0"/>
                    </a:p>
                  </a:txBody>
                  <a:tcPr marL="71564" marR="71564" marT="35782" marB="35782"/>
                </a:tc>
                <a:extLst>
                  <a:ext uri="{0D108BD9-81ED-4DB2-BD59-A6C34878D82A}">
                    <a16:rowId xmlns:a16="http://schemas.microsoft.com/office/drawing/2014/main" val="4120728013"/>
                  </a:ext>
                </a:extLst>
              </a:tr>
              <a:tr h="290232">
                <a:tc>
                  <a:txBody>
                    <a:bodyPr/>
                    <a:lstStyle/>
                    <a:p>
                      <a:r>
                        <a:rPr lang="en-US" sz="900" dirty="0"/>
                        <a:t>6</a:t>
                      </a:r>
                    </a:p>
                  </a:txBody>
                  <a:tcPr marL="71564" marR="71564" marT="35782" marB="35782"/>
                </a:tc>
                <a:tc>
                  <a:txBody>
                    <a:bodyPr/>
                    <a:lstStyle/>
                    <a:p>
                      <a:r>
                        <a:rPr lang="en-US" sz="900" dirty="0"/>
                        <a:t>6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300</a:t>
                      </a:r>
                    </a:p>
                  </a:txBody>
                  <a:tcPr marL="71564" marR="71564" marT="35782" marB="35782"/>
                </a:tc>
                <a:tc>
                  <a:txBody>
                    <a:bodyPr/>
                    <a:lstStyle/>
                    <a:p>
                      <a:endParaRPr lang="en-US" sz="900" dirty="0"/>
                    </a:p>
                  </a:txBody>
                  <a:tcPr marL="71564" marR="71564" marT="35782" marB="35782"/>
                </a:tc>
                <a:tc>
                  <a:txBody>
                    <a:bodyPr/>
                    <a:lstStyle/>
                    <a:p>
                      <a:r>
                        <a:rPr lang="hr-HR" sz="900" dirty="0"/>
                        <a:t>0,18</a:t>
                      </a:r>
                      <a:endParaRPr lang="en-US" sz="900" dirty="0"/>
                    </a:p>
                  </a:txBody>
                  <a:tcPr marL="71564" marR="71564" marT="35782" marB="35782"/>
                </a:tc>
                <a:tc>
                  <a:txBody>
                    <a:bodyPr/>
                    <a:lstStyle/>
                    <a:p>
                      <a:r>
                        <a:rPr lang="hr-HR" sz="900" dirty="0"/>
                        <a:t>0,09</a:t>
                      </a:r>
                      <a:endParaRPr lang="en-US" sz="900" dirty="0"/>
                    </a:p>
                  </a:txBody>
                  <a:tcPr marL="71564" marR="71564" marT="35782" marB="35782"/>
                </a:tc>
                <a:tc>
                  <a:txBody>
                    <a:bodyPr/>
                    <a:lstStyle/>
                    <a:p>
                      <a:r>
                        <a:rPr lang="hr-HR" sz="900" dirty="0"/>
                        <a:t>0,21</a:t>
                      </a:r>
                      <a:endParaRPr lang="en-US" sz="900" dirty="0"/>
                    </a:p>
                  </a:txBody>
                  <a:tcPr marL="71564" marR="71564" marT="35782" marB="35782"/>
                </a:tc>
                <a:extLst>
                  <a:ext uri="{0D108BD9-81ED-4DB2-BD59-A6C34878D82A}">
                    <a16:rowId xmlns:a16="http://schemas.microsoft.com/office/drawing/2014/main" val="4237058500"/>
                  </a:ext>
                </a:extLst>
              </a:tr>
              <a:tr h="290232">
                <a:tc>
                  <a:txBody>
                    <a:bodyPr/>
                    <a:lstStyle/>
                    <a:p>
                      <a:r>
                        <a:rPr lang="en-US" sz="900" dirty="0"/>
                        <a:t>7</a:t>
                      </a:r>
                    </a:p>
                  </a:txBody>
                  <a:tcPr marL="71564" marR="71564" marT="35782" marB="35782"/>
                </a:tc>
                <a:tc>
                  <a:txBody>
                    <a:bodyPr/>
                    <a:lstStyle/>
                    <a:p>
                      <a:r>
                        <a:rPr lang="en-US" sz="900" dirty="0"/>
                        <a:t>7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200</a:t>
                      </a:r>
                    </a:p>
                  </a:txBody>
                  <a:tcPr marL="71564" marR="71564" marT="35782" marB="35782"/>
                </a:tc>
                <a:tc>
                  <a:txBody>
                    <a:bodyPr/>
                    <a:lstStyle/>
                    <a:p>
                      <a:endParaRPr lang="en-US" sz="900" dirty="0"/>
                    </a:p>
                  </a:txBody>
                  <a:tcPr marL="71564" marR="71564" marT="35782" marB="35782"/>
                </a:tc>
                <a:tc>
                  <a:txBody>
                    <a:bodyPr/>
                    <a:lstStyle/>
                    <a:p>
                      <a:r>
                        <a:rPr lang="hr-HR" sz="900" dirty="0"/>
                        <a:t>0,23</a:t>
                      </a:r>
                      <a:endParaRPr lang="en-US" sz="900" dirty="0"/>
                    </a:p>
                  </a:txBody>
                  <a:tcPr marL="71564" marR="71564" marT="35782" marB="35782"/>
                </a:tc>
                <a:tc>
                  <a:txBody>
                    <a:bodyPr/>
                    <a:lstStyle/>
                    <a:p>
                      <a:r>
                        <a:rPr lang="hr-HR" sz="900" dirty="0"/>
                        <a:t>0,19</a:t>
                      </a:r>
                      <a:endParaRPr lang="en-US" sz="900" dirty="0"/>
                    </a:p>
                  </a:txBody>
                  <a:tcPr marL="71564" marR="71564" marT="35782" marB="35782"/>
                </a:tc>
                <a:tc>
                  <a:txBody>
                    <a:bodyPr/>
                    <a:lstStyle/>
                    <a:p>
                      <a:r>
                        <a:rPr lang="hr-HR" sz="900" dirty="0"/>
                        <a:t>0,28</a:t>
                      </a:r>
                      <a:endParaRPr lang="en-US" sz="900" dirty="0"/>
                    </a:p>
                  </a:txBody>
                  <a:tcPr marL="71564" marR="71564" marT="35782" marB="35782"/>
                </a:tc>
                <a:extLst>
                  <a:ext uri="{0D108BD9-81ED-4DB2-BD59-A6C34878D82A}">
                    <a16:rowId xmlns:a16="http://schemas.microsoft.com/office/drawing/2014/main" val="573721901"/>
                  </a:ext>
                </a:extLst>
              </a:tr>
              <a:tr h="290232">
                <a:tc>
                  <a:txBody>
                    <a:bodyPr/>
                    <a:lstStyle/>
                    <a:p>
                      <a:r>
                        <a:rPr lang="hr-HR" sz="900" dirty="0"/>
                        <a:t>8</a:t>
                      </a:r>
                      <a:endParaRPr lang="en-US" sz="900" dirty="0"/>
                    </a:p>
                  </a:txBody>
                  <a:tcPr marL="71564" marR="71564" marT="35782" marB="35782"/>
                </a:tc>
                <a:tc>
                  <a:txBody>
                    <a:bodyPr/>
                    <a:lstStyle/>
                    <a:p>
                      <a:r>
                        <a:rPr lang="en-US" sz="900" dirty="0"/>
                        <a:t>5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400</a:t>
                      </a:r>
                    </a:p>
                  </a:txBody>
                  <a:tcPr marL="71564" marR="71564" marT="35782" marB="35782"/>
                </a:tc>
                <a:tc>
                  <a:txBody>
                    <a:bodyPr/>
                    <a:lstStyle/>
                    <a:p>
                      <a:endParaRPr lang="en-US" sz="900" dirty="0"/>
                    </a:p>
                  </a:txBody>
                  <a:tcPr marL="71564" marR="71564" marT="35782" marB="35782"/>
                </a:tc>
                <a:tc>
                  <a:txBody>
                    <a:bodyPr/>
                    <a:lstStyle/>
                    <a:p>
                      <a:r>
                        <a:rPr lang="hr-HR" sz="900" dirty="0"/>
                        <a:t>0,01</a:t>
                      </a:r>
                      <a:endParaRPr lang="en-US" sz="900" dirty="0"/>
                    </a:p>
                  </a:txBody>
                  <a:tcPr marL="71564" marR="71564" marT="35782" marB="35782"/>
                </a:tc>
                <a:tc>
                  <a:txBody>
                    <a:bodyPr/>
                    <a:lstStyle/>
                    <a:p>
                      <a:r>
                        <a:rPr lang="hr-HR" sz="900" dirty="0"/>
                        <a:t>0,03</a:t>
                      </a:r>
                      <a:endParaRPr lang="en-US" sz="900" dirty="0"/>
                    </a:p>
                  </a:txBody>
                  <a:tcPr marL="71564" marR="71564" marT="35782" marB="35782"/>
                </a:tc>
                <a:tc>
                  <a:txBody>
                    <a:bodyPr/>
                    <a:lstStyle/>
                    <a:p>
                      <a:r>
                        <a:rPr lang="hr-HR" sz="900" dirty="0"/>
                        <a:t>0,02</a:t>
                      </a:r>
                      <a:endParaRPr lang="en-US" sz="900" dirty="0"/>
                    </a:p>
                  </a:txBody>
                  <a:tcPr marL="71564" marR="71564" marT="35782" marB="35782"/>
                </a:tc>
                <a:extLst>
                  <a:ext uri="{0D108BD9-81ED-4DB2-BD59-A6C34878D82A}">
                    <a16:rowId xmlns:a16="http://schemas.microsoft.com/office/drawing/2014/main" val="3792005221"/>
                  </a:ext>
                </a:extLst>
              </a:tr>
              <a:tr h="290232">
                <a:tc>
                  <a:txBody>
                    <a:bodyPr/>
                    <a:lstStyle/>
                    <a:p>
                      <a:r>
                        <a:rPr lang="hr-HR" sz="900" dirty="0"/>
                        <a:t>9</a:t>
                      </a:r>
                      <a:endParaRPr lang="en-US" sz="900" dirty="0"/>
                    </a:p>
                  </a:txBody>
                  <a:tcPr marL="71564" marR="71564" marT="35782" marB="35782"/>
                </a:tc>
                <a:tc>
                  <a:txBody>
                    <a:bodyPr/>
                    <a:lstStyle/>
                    <a:p>
                      <a:r>
                        <a:rPr lang="en-US" sz="900" dirty="0"/>
                        <a:t>5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400</a:t>
                      </a:r>
                    </a:p>
                  </a:txBody>
                  <a:tcPr marL="71564" marR="71564" marT="35782" marB="35782"/>
                </a:tc>
                <a:tc>
                  <a:txBody>
                    <a:bodyPr/>
                    <a:lstStyle/>
                    <a:p>
                      <a:endParaRPr lang="en-US" sz="900" dirty="0"/>
                    </a:p>
                  </a:txBody>
                  <a:tcPr marL="71564" marR="71564" marT="35782" marB="35782"/>
                </a:tc>
                <a:tc>
                  <a:txBody>
                    <a:bodyPr/>
                    <a:lstStyle/>
                    <a:p>
                      <a:r>
                        <a:rPr lang="hr-HR" sz="900" dirty="0"/>
                        <a:t>0,02</a:t>
                      </a:r>
                      <a:endParaRPr lang="en-US" sz="900" dirty="0"/>
                    </a:p>
                  </a:txBody>
                  <a:tcPr marL="71564" marR="71564" marT="35782" marB="35782"/>
                </a:tc>
                <a:tc>
                  <a:txBody>
                    <a:bodyPr/>
                    <a:lstStyle/>
                    <a:p>
                      <a:r>
                        <a:rPr lang="hr-HR" sz="900" dirty="0"/>
                        <a:t>0,04</a:t>
                      </a:r>
                      <a:endParaRPr lang="en-US" sz="900" dirty="0"/>
                    </a:p>
                  </a:txBody>
                  <a:tcPr marL="71564" marR="71564" marT="35782" marB="35782"/>
                </a:tc>
                <a:tc>
                  <a:txBody>
                    <a:bodyPr/>
                    <a:lstStyle/>
                    <a:p>
                      <a:r>
                        <a:rPr lang="hr-HR" sz="900" dirty="0"/>
                        <a:t>0,03</a:t>
                      </a:r>
                      <a:endParaRPr lang="en-US" sz="900" dirty="0"/>
                    </a:p>
                  </a:txBody>
                  <a:tcPr marL="71564" marR="71564" marT="35782" marB="35782"/>
                </a:tc>
                <a:extLst>
                  <a:ext uri="{0D108BD9-81ED-4DB2-BD59-A6C34878D82A}">
                    <a16:rowId xmlns:a16="http://schemas.microsoft.com/office/drawing/2014/main" val="3213473228"/>
                  </a:ext>
                </a:extLst>
              </a:tr>
              <a:tr h="290232">
                <a:tc>
                  <a:txBody>
                    <a:bodyPr/>
                    <a:lstStyle/>
                    <a:p>
                      <a:r>
                        <a:rPr lang="hr-HR" sz="900" dirty="0"/>
                        <a:t>10</a:t>
                      </a:r>
                      <a:endParaRPr lang="en-US" sz="900" dirty="0"/>
                    </a:p>
                  </a:txBody>
                  <a:tcPr marL="71564" marR="71564" marT="35782" marB="35782"/>
                </a:tc>
                <a:tc>
                  <a:txBody>
                    <a:bodyPr/>
                    <a:lstStyle/>
                    <a:p>
                      <a:r>
                        <a:rPr lang="en-US" sz="900" dirty="0"/>
                        <a:t>7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200</a:t>
                      </a:r>
                    </a:p>
                  </a:txBody>
                  <a:tcPr marL="71564" marR="71564" marT="35782" marB="35782"/>
                </a:tc>
                <a:tc>
                  <a:txBody>
                    <a:bodyPr/>
                    <a:lstStyle/>
                    <a:p>
                      <a:endParaRPr lang="en-US" sz="900" dirty="0"/>
                    </a:p>
                  </a:txBody>
                  <a:tcPr marL="71564" marR="71564" marT="35782" marB="35782"/>
                </a:tc>
                <a:tc>
                  <a:txBody>
                    <a:bodyPr/>
                    <a:lstStyle/>
                    <a:p>
                      <a:r>
                        <a:rPr lang="hr-HR" sz="900" dirty="0"/>
                        <a:t>0,01</a:t>
                      </a:r>
                      <a:endParaRPr lang="en-US" sz="900" dirty="0"/>
                    </a:p>
                  </a:txBody>
                  <a:tcPr marL="71564" marR="71564" marT="35782" marB="35782"/>
                </a:tc>
                <a:tc>
                  <a:txBody>
                    <a:bodyPr/>
                    <a:lstStyle/>
                    <a:p>
                      <a:r>
                        <a:rPr lang="hr-HR" sz="900" dirty="0"/>
                        <a:t>0,04</a:t>
                      </a:r>
                      <a:endParaRPr lang="en-US" sz="900" dirty="0"/>
                    </a:p>
                  </a:txBody>
                  <a:tcPr marL="71564" marR="71564" marT="35782" marB="35782"/>
                </a:tc>
                <a:tc>
                  <a:txBody>
                    <a:bodyPr/>
                    <a:lstStyle/>
                    <a:p>
                      <a:r>
                        <a:rPr lang="hr-HR" sz="900" dirty="0"/>
                        <a:t>0,04</a:t>
                      </a:r>
                      <a:endParaRPr lang="en-US" sz="900" dirty="0"/>
                    </a:p>
                  </a:txBody>
                  <a:tcPr marL="71564" marR="71564" marT="35782" marB="35782"/>
                </a:tc>
                <a:extLst>
                  <a:ext uri="{0D108BD9-81ED-4DB2-BD59-A6C34878D82A}">
                    <a16:rowId xmlns:a16="http://schemas.microsoft.com/office/drawing/2014/main" val="117102061"/>
                  </a:ext>
                </a:extLst>
              </a:tr>
              <a:tr h="290232">
                <a:tc>
                  <a:txBody>
                    <a:bodyPr/>
                    <a:lstStyle/>
                    <a:p>
                      <a:r>
                        <a:rPr lang="hr-HR" sz="900" dirty="0"/>
                        <a:t>11</a:t>
                      </a:r>
                      <a:endParaRPr lang="en-US" sz="900" dirty="0"/>
                    </a:p>
                  </a:txBody>
                  <a:tcPr marL="71564" marR="71564" marT="35782" marB="35782"/>
                </a:tc>
                <a:tc>
                  <a:txBody>
                    <a:bodyPr/>
                    <a:lstStyle/>
                    <a:p>
                      <a:r>
                        <a:rPr lang="en-US" sz="900" dirty="0"/>
                        <a:t>6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300</a:t>
                      </a:r>
                    </a:p>
                  </a:txBody>
                  <a:tcPr marL="71564" marR="71564" marT="35782" marB="35782"/>
                </a:tc>
                <a:tc>
                  <a:txBody>
                    <a:bodyPr/>
                    <a:lstStyle/>
                    <a:p>
                      <a:endParaRPr lang="en-US" sz="900" dirty="0"/>
                    </a:p>
                  </a:txBody>
                  <a:tcPr marL="71564" marR="71564" marT="35782" marB="35782"/>
                </a:tc>
                <a:tc>
                  <a:txBody>
                    <a:bodyPr/>
                    <a:lstStyle/>
                    <a:p>
                      <a:r>
                        <a:rPr lang="hr-HR" sz="900" dirty="0"/>
                        <a:t>0,03</a:t>
                      </a:r>
                      <a:endParaRPr lang="en-US" sz="900" dirty="0"/>
                    </a:p>
                  </a:txBody>
                  <a:tcPr marL="71564" marR="71564" marT="35782" marB="35782"/>
                </a:tc>
                <a:tc>
                  <a:txBody>
                    <a:bodyPr/>
                    <a:lstStyle/>
                    <a:p>
                      <a:r>
                        <a:rPr lang="hr-HR" sz="900" dirty="0"/>
                        <a:t>0,01</a:t>
                      </a:r>
                      <a:endParaRPr lang="en-US" sz="900" dirty="0"/>
                    </a:p>
                  </a:txBody>
                  <a:tcPr marL="71564" marR="71564" marT="35782" marB="35782"/>
                </a:tc>
                <a:tc>
                  <a:txBody>
                    <a:bodyPr/>
                    <a:lstStyle/>
                    <a:p>
                      <a:r>
                        <a:rPr lang="hr-HR" sz="900" dirty="0"/>
                        <a:t>0,01</a:t>
                      </a:r>
                      <a:endParaRPr lang="en-US" sz="900" dirty="0"/>
                    </a:p>
                  </a:txBody>
                  <a:tcPr marL="71564" marR="71564" marT="35782" marB="35782"/>
                </a:tc>
                <a:extLst>
                  <a:ext uri="{0D108BD9-81ED-4DB2-BD59-A6C34878D82A}">
                    <a16:rowId xmlns:a16="http://schemas.microsoft.com/office/drawing/2014/main" val="3476438095"/>
                  </a:ext>
                </a:extLst>
              </a:tr>
            </a:tbl>
          </a:graphicData>
        </a:graphic>
      </p:graphicFrame>
      <p:sp>
        <p:nvSpPr>
          <p:cNvPr id="53" name="Rechteck 52">
            <a:extLst>
              <a:ext uri="{FF2B5EF4-FFF2-40B4-BE49-F238E27FC236}">
                <a16:creationId xmlns:a16="http://schemas.microsoft.com/office/drawing/2014/main" id="{8AD35407-1F2E-9E8B-0058-C6E87D760B55}"/>
              </a:ext>
            </a:extLst>
          </p:cNvPr>
          <p:cNvSpPr/>
          <p:nvPr/>
        </p:nvSpPr>
        <p:spPr>
          <a:xfrm>
            <a:off x="1347788" y="4660777"/>
            <a:ext cx="4724678" cy="1221147"/>
          </a:xfrm>
          <a:prstGeom prst="rect">
            <a:avLst/>
          </a:prstGeom>
          <a:noFill/>
          <a:ln w="2857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err="1"/>
          </a:p>
        </p:txBody>
      </p:sp>
      <p:sp>
        <p:nvSpPr>
          <p:cNvPr id="54" name="Rechteck 53">
            <a:extLst>
              <a:ext uri="{FF2B5EF4-FFF2-40B4-BE49-F238E27FC236}">
                <a16:creationId xmlns:a16="http://schemas.microsoft.com/office/drawing/2014/main" id="{98DE3ECB-524C-2854-0A90-FADCCF760655}"/>
              </a:ext>
            </a:extLst>
          </p:cNvPr>
          <p:cNvSpPr/>
          <p:nvPr/>
        </p:nvSpPr>
        <p:spPr>
          <a:xfrm>
            <a:off x="1436896" y="5968108"/>
            <a:ext cx="4659104" cy="432000"/>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sz="1600" dirty="0" err="1"/>
              <a:t>Only</a:t>
            </a:r>
            <a:r>
              <a:rPr lang="de-DE" sz="1600" dirty="0"/>
              <a:t> CNECs </a:t>
            </a:r>
            <a:r>
              <a:rPr lang="de-DE" sz="1600" dirty="0" err="1"/>
              <a:t>with</a:t>
            </a:r>
            <a:r>
              <a:rPr lang="de-DE" sz="1600" dirty="0"/>
              <a:t> PTDF &gt;5% </a:t>
            </a:r>
            <a:r>
              <a:rPr lang="de-DE" sz="1600" dirty="0" err="1"/>
              <a:t>are</a:t>
            </a:r>
            <a:r>
              <a:rPr lang="de-DE" sz="1600" dirty="0"/>
              <a:t> </a:t>
            </a:r>
            <a:r>
              <a:rPr lang="de-DE" sz="1600" dirty="0" err="1"/>
              <a:t>used</a:t>
            </a:r>
            <a:r>
              <a:rPr lang="de-DE" sz="1600" dirty="0"/>
              <a:t> </a:t>
            </a:r>
            <a:r>
              <a:rPr lang="de-DE" sz="1600" dirty="0" err="1"/>
              <a:t>further</a:t>
            </a:r>
            <a:endParaRPr lang="de-DE" sz="1600" dirty="0"/>
          </a:p>
        </p:txBody>
      </p:sp>
    </p:spTree>
    <p:extLst>
      <p:ext uri="{BB962C8B-B14F-4D97-AF65-F5344CB8AC3E}">
        <p14:creationId xmlns:p14="http://schemas.microsoft.com/office/powerpoint/2010/main" val="1279586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BB5B916-03D3-80E3-6253-A63828DE44EB}"/>
              </a:ext>
            </a:extLst>
          </p:cNvPr>
          <p:cNvSpPr>
            <a:spLocks noGrp="1"/>
          </p:cNvSpPr>
          <p:nvPr>
            <p:ph type="dt" sz="half" idx="10"/>
          </p:nvPr>
        </p:nvSpPr>
        <p:spPr/>
        <p:txBody>
          <a:bodyPr/>
          <a:lstStyle/>
          <a:p>
            <a:fld id="{FBBD662F-D740-4D90-9184-8FDCC08DB2D7}" type="datetime4">
              <a:rPr lang="en-GB" noProof="0" smtClean="0"/>
              <a:t>23 January 2025</a:t>
            </a:fld>
            <a:endParaRPr lang="en-GB" noProof="0"/>
          </a:p>
        </p:txBody>
      </p:sp>
      <p:sp>
        <p:nvSpPr>
          <p:cNvPr id="3" name="Fußzeilenplatzhalter 2">
            <a:extLst>
              <a:ext uri="{FF2B5EF4-FFF2-40B4-BE49-F238E27FC236}">
                <a16:creationId xmlns:a16="http://schemas.microsoft.com/office/drawing/2014/main" id="{9EE0F397-E685-D6EE-7A62-6793974F6EAD}"/>
              </a:ext>
            </a:extLst>
          </p:cNvPr>
          <p:cNvSpPr>
            <a:spLocks noGrp="1"/>
          </p:cNvSpPr>
          <p:nvPr>
            <p:ph type="ftr" sz="quarter" idx="11"/>
          </p:nvPr>
        </p:nvSpPr>
        <p:spPr/>
        <p:txBody>
          <a:bodyPr/>
          <a:lstStyle/>
          <a:p>
            <a:r>
              <a:rPr lang="en-GB" dirty="0"/>
              <a:t>Intraday Capacity Calculation</a:t>
            </a:r>
          </a:p>
        </p:txBody>
      </p:sp>
      <p:sp>
        <p:nvSpPr>
          <p:cNvPr id="4" name="Foliennummernplatzhalter 3">
            <a:extLst>
              <a:ext uri="{FF2B5EF4-FFF2-40B4-BE49-F238E27FC236}">
                <a16:creationId xmlns:a16="http://schemas.microsoft.com/office/drawing/2014/main" id="{A0407288-47EF-9FD1-1087-DDC0F4619EC0}"/>
              </a:ext>
            </a:extLst>
          </p:cNvPr>
          <p:cNvSpPr>
            <a:spLocks noGrp="1"/>
          </p:cNvSpPr>
          <p:nvPr>
            <p:ph type="sldNum" sz="quarter" idx="12"/>
          </p:nvPr>
        </p:nvSpPr>
        <p:spPr/>
        <p:txBody>
          <a:bodyPr/>
          <a:lstStyle/>
          <a:p>
            <a:fld id="{3B0AF0F1-83F4-0746-A551-EEC1F1FEC0BD}" type="slidenum">
              <a:rPr lang="en-GB" noProof="0" smtClean="0"/>
              <a:t>9</a:t>
            </a:fld>
            <a:endParaRPr lang="en-GB" noProof="0"/>
          </a:p>
        </p:txBody>
      </p:sp>
      <p:sp>
        <p:nvSpPr>
          <p:cNvPr id="5" name="Textplatzhalter 4">
            <a:extLst>
              <a:ext uri="{FF2B5EF4-FFF2-40B4-BE49-F238E27FC236}">
                <a16:creationId xmlns:a16="http://schemas.microsoft.com/office/drawing/2014/main" id="{13FFE093-B044-FD5A-8C5D-0917BA654172}"/>
              </a:ext>
            </a:extLst>
          </p:cNvPr>
          <p:cNvSpPr>
            <a:spLocks noGrp="1"/>
          </p:cNvSpPr>
          <p:nvPr>
            <p:ph type="body" sz="quarter" idx="13"/>
          </p:nvPr>
        </p:nvSpPr>
        <p:spPr/>
        <p:txBody>
          <a:bodyPr/>
          <a:lstStyle/>
          <a:p>
            <a:r>
              <a:rPr lang="de-DE" dirty="0"/>
              <a:t>IDCC (b) </a:t>
            </a:r>
            <a:r>
              <a:rPr lang="de-DE" dirty="0" err="1"/>
              <a:t>as</a:t>
            </a:r>
            <a:r>
              <a:rPr lang="de-DE" dirty="0"/>
              <a:t> </a:t>
            </a:r>
            <a:r>
              <a:rPr lang="de-DE" dirty="0" err="1"/>
              <a:t>example</a:t>
            </a:r>
            <a:endParaRPr lang="de-DE" dirty="0"/>
          </a:p>
        </p:txBody>
      </p:sp>
      <p:sp>
        <p:nvSpPr>
          <p:cNvPr id="6" name="Titel 5">
            <a:extLst>
              <a:ext uri="{FF2B5EF4-FFF2-40B4-BE49-F238E27FC236}">
                <a16:creationId xmlns:a16="http://schemas.microsoft.com/office/drawing/2014/main" id="{5AA00A66-CA5B-B603-884E-9BB762FADDD4}"/>
              </a:ext>
            </a:extLst>
          </p:cNvPr>
          <p:cNvSpPr>
            <a:spLocks noGrp="1"/>
          </p:cNvSpPr>
          <p:nvPr>
            <p:ph type="title"/>
          </p:nvPr>
        </p:nvSpPr>
        <p:spPr/>
        <p:txBody>
          <a:bodyPr/>
          <a:lstStyle/>
          <a:p>
            <a:r>
              <a:rPr lang="en-GB" dirty="0" err="1"/>
              <a:t>IntraDayCapacityCalculation</a:t>
            </a:r>
            <a:r>
              <a:rPr lang="en-GB" dirty="0"/>
              <a:t> in detail</a:t>
            </a:r>
            <a:endParaRPr lang="de-DE" dirty="0"/>
          </a:p>
        </p:txBody>
      </p:sp>
      <p:sp>
        <p:nvSpPr>
          <p:cNvPr id="8" name="Textplatzhalter 6">
            <a:extLst>
              <a:ext uri="{FF2B5EF4-FFF2-40B4-BE49-F238E27FC236}">
                <a16:creationId xmlns:a16="http://schemas.microsoft.com/office/drawing/2014/main" id="{91414491-5562-89F8-CD01-1BF7695F7F8A}"/>
              </a:ext>
            </a:extLst>
          </p:cNvPr>
          <p:cNvSpPr txBox="1">
            <a:spLocks/>
          </p:cNvSpPr>
          <p:nvPr/>
        </p:nvSpPr>
        <p:spPr>
          <a:xfrm>
            <a:off x="6732392" y="1079457"/>
            <a:ext cx="6102226" cy="1485985"/>
          </a:xfrm>
          <a:prstGeom prst="rect">
            <a:avLst/>
          </a:prstGeom>
        </p:spPr>
        <p:txBody>
          <a:bodyPr vert="horz" lIns="0" tIns="0" rIns="0" bIns="0" rtlCol="0">
            <a:normAutofit/>
          </a:bodyPr>
          <a:lstStyle>
            <a:lvl1pPr marL="234000" indent="-234000" algn="l" defTabSz="914400" rtl="0" eaLnBrk="1" fontAlgn="ctr" latinLnBrk="0" hangingPunct="1">
              <a:lnSpc>
                <a:spcPct val="90000"/>
              </a:lnSpc>
              <a:spcBef>
                <a:spcPts val="900"/>
              </a:spcBef>
              <a:buSzPct val="80000"/>
              <a:buFont typeface="Systeemlettertype regulier"/>
              <a:buChar char="■"/>
              <a:defRPr sz="2000" kern="1200" spc="0">
                <a:solidFill>
                  <a:schemeClr val="tx1"/>
                </a:solidFill>
                <a:latin typeface="+mn-lt"/>
                <a:ea typeface="+mn-ea"/>
                <a:cs typeface="+mn-cs"/>
              </a:defRPr>
            </a:lvl1pPr>
            <a:lvl2pPr marL="468000" indent="-234000" algn="l" defTabSz="914400" rtl="0" eaLnBrk="1" fontAlgn="ctr" latinLnBrk="0" hangingPunct="1">
              <a:lnSpc>
                <a:spcPct val="90000"/>
              </a:lnSpc>
              <a:spcBef>
                <a:spcPts val="900"/>
              </a:spcBef>
              <a:buSzPct val="100000"/>
              <a:buFont typeface=".Lucida Grande UI Regular"/>
              <a:buChar char="▫"/>
              <a:tabLst/>
              <a:defRPr sz="2000" kern="1200" spc="0">
                <a:solidFill>
                  <a:schemeClr val="tx1"/>
                </a:solidFill>
                <a:latin typeface="+mn-lt"/>
                <a:ea typeface="+mn-ea"/>
                <a:cs typeface="+mn-cs"/>
              </a:defRPr>
            </a:lvl2pPr>
            <a:lvl3pPr marL="702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3pPr>
            <a:lvl4pPr marL="936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4pPr>
            <a:lvl5pPr marL="1170000" indent="-234000" algn="l" defTabSz="914400" rtl="0" eaLnBrk="1" fontAlgn="ctr" latinLnBrk="0" hangingPunct="1">
              <a:lnSpc>
                <a:spcPct val="90000"/>
              </a:lnSpc>
              <a:spcBef>
                <a:spcPts val="900"/>
              </a:spcBef>
              <a:buSzPct val="100000"/>
              <a:buFont typeface=".Lucida Grande UI Regular"/>
              <a:buChar char="▫"/>
              <a:defRPr sz="2000" kern="1200" spc="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IDCC (b-e) process main steps</a:t>
            </a:r>
            <a:endParaRPr lang="de-DE" dirty="0"/>
          </a:p>
        </p:txBody>
      </p:sp>
      <p:graphicFrame>
        <p:nvGraphicFramePr>
          <p:cNvPr id="9" name="Diagramm 8">
            <a:extLst>
              <a:ext uri="{FF2B5EF4-FFF2-40B4-BE49-F238E27FC236}">
                <a16:creationId xmlns:a16="http://schemas.microsoft.com/office/drawing/2014/main" id="{224ECBDF-FC0C-58CC-0BF9-89B129BD58F8}"/>
              </a:ext>
            </a:extLst>
          </p:cNvPr>
          <p:cNvGraphicFramePr/>
          <p:nvPr>
            <p:extLst>
              <p:ext uri="{D42A27DB-BD31-4B8C-83A1-F6EECF244321}">
                <p14:modId xmlns:p14="http://schemas.microsoft.com/office/powerpoint/2010/main" val="979960095"/>
              </p:ext>
            </p:extLst>
          </p:nvPr>
        </p:nvGraphicFramePr>
        <p:xfrm>
          <a:off x="6732392" y="949325"/>
          <a:ext cx="5371104" cy="15043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Tabel 95">
            <a:extLst>
              <a:ext uri="{FF2B5EF4-FFF2-40B4-BE49-F238E27FC236}">
                <a16:creationId xmlns:a16="http://schemas.microsoft.com/office/drawing/2014/main" id="{894624C1-C92E-7D8D-81C0-57A73F191615}"/>
              </a:ext>
            </a:extLst>
          </p:cNvPr>
          <p:cNvGraphicFramePr>
            <a:graphicFrameLocks noGrp="1"/>
          </p:cNvGraphicFramePr>
          <p:nvPr>
            <p:extLst>
              <p:ext uri="{D42A27DB-BD31-4B8C-83A1-F6EECF244321}">
                <p14:modId xmlns:p14="http://schemas.microsoft.com/office/powerpoint/2010/main" val="1890295519"/>
              </p:ext>
            </p:extLst>
          </p:nvPr>
        </p:nvGraphicFramePr>
        <p:xfrm>
          <a:off x="1252463" y="1803696"/>
          <a:ext cx="4207146" cy="2377508"/>
        </p:xfrm>
        <a:graphic>
          <a:graphicData uri="http://schemas.openxmlformats.org/drawingml/2006/table">
            <a:tbl>
              <a:tblPr firstRow="1" bandRow="1">
                <a:tableStyleId>{073A0DAA-6AF3-43AB-8588-CEC1D06C72B9}</a:tableStyleId>
              </a:tblPr>
              <a:tblGrid>
                <a:gridCol w="482010">
                  <a:extLst>
                    <a:ext uri="{9D8B030D-6E8A-4147-A177-3AD203B41FA5}">
                      <a16:colId xmlns:a16="http://schemas.microsoft.com/office/drawing/2014/main" val="3128346855"/>
                    </a:ext>
                  </a:extLst>
                </a:gridCol>
                <a:gridCol w="482010">
                  <a:extLst>
                    <a:ext uri="{9D8B030D-6E8A-4147-A177-3AD203B41FA5}">
                      <a16:colId xmlns:a16="http://schemas.microsoft.com/office/drawing/2014/main" val="211627717"/>
                    </a:ext>
                  </a:extLst>
                </a:gridCol>
                <a:gridCol w="482010">
                  <a:extLst>
                    <a:ext uri="{9D8B030D-6E8A-4147-A177-3AD203B41FA5}">
                      <a16:colId xmlns:a16="http://schemas.microsoft.com/office/drawing/2014/main" val="2212173443"/>
                    </a:ext>
                  </a:extLst>
                </a:gridCol>
                <a:gridCol w="482010">
                  <a:extLst>
                    <a:ext uri="{9D8B030D-6E8A-4147-A177-3AD203B41FA5}">
                      <a16:colId xmlns:a16="http://schemas.microsoft.com/office/drawing/2014/main" val="1204901024"/>
                    </a:ext>
                  </a:extLst>
                </a:gridCol>
                <a:gridCol w="351066">
                  <a:extLst>
                    <a:ext uri="{9D8B030D-6E8A-4147-A177-3AD203B41FA5}">
                      <a16:colId xmlns:a16="http://schemas.microsoft.com/office/drawing/2014/main" val="667801585"/>
                    </a:ext>
                  </a:extLst>
                </a:gridCol>
                <a:gridCol w="482010">
                  <a:extLst>
                    <a:ext uri="{9D8B030D-6E8A-4147-A177-3AD203B41FA5}">
                      <a16:colId xmlns:a16="http://schemas.microsoft.com/office/drawing/2014/main" val="3263373508"/>
                    </a:ext>
                  </a:extLst>
                </a:gridCol>
                <a:gridCol w="482010">
                  <a:extLst>
                    <a:ext uri="{9D8B030D-6E8A-4147-A177-3AD203B41FA5}">
                      <a16:colId xmlns:a16="http://schemas.microsoft.com/office/drawing/2014/main" val="1262737158"/>
                    </a:ext>
                  </a:extLst>
                </a:gridCol>
                <a:gridCol w="482010">
                  <a:extLst>
                    <a:ext uri="{9D8B030D-6E8A-4147-A177-3AD203B41FA5}">
                      <a16:colId xmlns:a16="http://schemas.microsoft.com/office/drawing/2014/main" val="2012187898"/>
                    </a:ext>
                  </a:extLst>
                </a:gridCol>
                <a:gridCol w="482010">
                  <a:extLst>
                    <a:ext uri="{9D8B030D-6E8A-4147-A177-3AD203B41FA5}">
                      <a16:colId xmlns:a16="http://schemas.microsoft.com/office/drawing/2014/main" val="385128522"/>
                    </a:ext>
                  </a:extLst>
                </a:gridCol>
              </a:tblGrid>
              <a:tr h="333966">
                <a:tc>
                  <a:txBody>
                    <a:bodyPr/>
                    <a:lstStyle/>
                    <a:p>
                      <a:r>
                        <a:rPr lang="en-US" sz="900" dirty="0"/>
                        <a:t>CNEC</a:t>
                      </a:r>
                    </a:p>
                  </a:txBody>
                  <a:tcPr marL="71564" marR="71564" marT="35782" marB="35782">
                    <a:solidFill>
                      <a:srgbClr val="3366FF"/>
                    </a:solidFill>
                  </a:tcPr>
                </a:tc>
                <a:tc>
                  <a:txBody>
                    <a:bodyPr/>
                    <a:lstStyle/>
                    <a:p>
                      <a:r>
                        <a:rPr lang="en-US" sz="900" dirty="0"/>
                        <a:t>RAM</a:t>
                      </a:r>
                    </a:p>
                  </a:txBody>
                  <a:tcPr marL="71564" marR="71564" marT="35782" marB="35782">
                    <a:solidFill>
                      <a:srgbClr val="3366FF"/>
                    </a:solidFill>
                  </a:tcPr>
                </a:tc>
                <a:tc>
                  <a:txBody>
                    <a:bodyPr/>
                    <a:lstStyle/>
                    <a:p>
                      <a:r>
                        <a:rPr lang="en-US" sz="900" dirty="0" err="1"/>
                        <a:t>Fmax</a:t>
                      </a:r>
                      <a:endParaRPr lang="en-US" sz="900" dirty="0"/>
                    </a:p>
                  </a:txBody>
                  <a:tcPr marL="71564" marR="71564" marT="35782" marB="35782">
                    <a:solidFill>
                      <a:srgbClr val="3366FF"/>
                    </a:solidFill>
                  </a:tcPr>
                </a:tc>
                <a:tc>
                  <a:txBody>
                    <a:bodyPr/>
                    <a:lstStyle/>
                    <a:p>
                      <a:r>
                        <a:rPr lang="en-US" sz="900" dirty="0"/>
                        <a:t>FRM</a:t>
                      </a:r>
                    </a:p>
                  </a:txBody>
                  <a:tcPr marL="71564" marR="71564" marT="35782" marB="35782">
                    <a:solidFill>
                      <a:srgbClr val="3366FF"/>
                    </a:solidFill>
                  </a:tcPr>
                </a:tc>
                <a:tc>
                  <a:txBody>
                    <a:bodyPr/>
                    <a:lstStyle/>
                    <a:p>
                      <a:r>
                        <a:rPr lang="en-US" sz="900" dirty="0"/>
                        <a:t>F</a:t>
                      </a:r>
                      <a:r>
                        <a:rPr lang="en-US" sz="900" baseline="-25000" dirty="0"/>
                        <a:t>i</a:t>
                      </a:r>
                    </a:p>
                  </a:txBody>
                  <a:tcPr marL="71564" marR="71564" marT="35782" marB="35782">
                    <a:solidFill>
                      <a:srgbClr val="3366FF"/>
                    </a:solidFill>
                  </a:tcPr>
                </a:tc>
                <a:tc>
                  <a:txBody>
                    <a:bodyPr/>
                    <a:lstStyle/>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IVA</a:t>
                      </a:r>
                      <a:endParaRPr lang="en-US" sz="900" dirty="0"/>
                    </a:p>
                  </a:txBody>
                  <a:tcPr marL="71564" marR="71564" marT="35782" marB="35782">
                    <a:solidFill>
                      <a:srgbClr val="3366FF"/>
                    </a:solidFill>
                  </a:tcPr>
                </a:tc>
                <a:tc>
                  <a:txBody>
                    <a:bodyPr/>
                    <a:lstStyle/>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PTDF</a:t>
                      </a:r>
                    </a:p>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A-&gt;B</a:t>
                      </a:r>
                      <a:endParaRPr lang="en-US" sz="900" dirty="0"/>
                    </a:p>
                  </a:txBody>
                  <a:tcPr marL="71564" marR="71564" marT="35782" marB="35782">
                    <a:solidFill>
                      <a:srgbClr val="3366FF"/>
                    </a:solidFill>
                  </a:tcPr>
                </a:tc>
                <a:tc>
                  <a:txBody>
                    <a:bodyPr/>
                    <a:lstStyle/>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PTDF</a:t>
                      </a:r>
                    </a:p>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C-&gt;D</a:t>
                      </a:r>
                      <a:endParaRPr lang="en-US" sz="900" dirty="0"/>
                    </a:p>
                  </a:txBody>
                  <a:tcPr marL="71564" marR="71564" marT="35782" marB="35782">
                    <a:solidFill>
                      <a:srgbClr val="3366FF"/>
                    </a:solidFill>
                  </a:tcPr>
                </a:tc>
                <a:tc>
                  <a:txBody>
                    <a:bodyPr/>
                    <a:lstStyle/>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PTDF</a:t>
                      </a:r>
                    </a:p>
                    <a:p>
                      <a:pPr marL="0" marR="0" indent="0" algn="l" defTabSz="440284" rtl="0" eaLnBrk="1" fontAlgn="auto" latinLnBrk="0" hangingPunct="1">
                        <a:lnSpc>
                          <a:spcPct val="100000"/>
                        </a:lnSpc>
                        <a:spcBef>
                          <a:spcPts val="0"/>
                        </a:spcBef>
                        <a:spcAft>
                          <a:spcPts val="0"/>
                        </a:spcAft>
                        <a:buClrTx/>
                        <a:buSzTx/>
                        <a:buFontTx/>
                        <a:buNone/>
                        <a:tabLst/>
                        <a:defRPr/>
                      </a:pPr>
                      <a:r>
                        <a:rPr lang="hr-HR" sz="900" dirty="0"/>
                        <a:t>E-&gt;F</a:t>
                      </a:r>
                      <a:endParaRPr lang="en-US" sz="900" dirty="0"/>
                    </a:p>
                  </a:txBody>
                  <a:tcPr marL="71564" marR="71564" marT="35782" marB="35782">
                    <a:solidFill>
                      <a:srgbClr val="3366FF"/>
                    </a:solidFill>
                  </a:tcPr>
                </a:tc>
                <a:extLst>
                  <a:ext uri="{0D108BD9-81ED-4DB2-BD59-A6C34878D82A}">
                    <a16:rowId xmlns:a16="http://schemas.microsoft.com/office/drawing/2014/main" val="1839332249"/>
                  </a:ext>
                </a:extLst>
              </a:tr>
              <a:tr h="290232">
                <a:tc>
                  <a:txBody>
                    <a:bodyPr/>
                    <a:lstStyle/>
                    <a:p>
                      <a:r>
                        <a:rPr lang="en-US" sz="900" dirty="0"/>
                        <a:t>1</a:t>
                      </a:r>
                    </a:p>
                  </a:txBody>
                  <a:tcPr marL="71564" marR="71564" marT="35782" marB="35782"/>
                </a:tc>
                <a:tc>
                  <a:txBody>
                    <a:bodyPr/>
                    <a:lstStyle/>
                    <a:p>
                      <a:r>
                        <a:rPr lang="en-US" sz="900" dirty="0"/>
                        <a:t>8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100</a:t>
                      </a:r>
                    </a:p>
                  </a:txBody>
                  <a:tcPr marL="71564" marR="71564" marT="35782" marB="35782"/>
                </a:tc>
                <a:tc>
                  <a:txBody>
                    <a:bodyPr/>
                    <a:lstStyle/>
                    <a:p>
                      <a:endParaRPr lang="en-US" sz="900" dirty="0"/>
                    </a:p>
                  </a:txBody>
                  <a:tcPr marL="71564" marR="71564" marT="35782" marB="35782"/>
                </a:tc>
                <a:tc>
                  <a:txBody>
                    <a:bodyPr/>
                    <a:lstStyle/>
                    <a:p>
                      <a:r>
                        <a:rPr lang="hr-HR" sz="900" dirty="0"/>
                        <a:t>0,12</a:t>
                      </a:r>
                      <a:endParaRPr lang="en-US" sz="900" dirty="0"/>
                    </a:p>
                  </a:txBody>
                  <a:tcPr marL="71564" marR="71564" marT="35782" marB="35782"/>
                </a:tc>
                <a:tc>
                  <a:txBody>
                    <a:bodyPr/>
                    <a:lstStyle/>
                    <a:p>
                      <a:r>
                        <a:rPr lang="hr-HR" sz="900" dirty="0"/>
                        <a:t>0,10</a:t>
                      </a:r>
                      <a:endParaRPr lang="en-US" sz="900" dirty="0"/>
                    </a:p>
                  </a:txBody>
                  <a:tcPr marL="71564" marR="71564" marT="35782" marB="35782"/>
                </a:tc>
                <a:tc>
                  <a:txBody>
                    <a:bodyPr/>
                    <a:lstStyle/>
                    <a:p>
                      <a:r>
                        <a:rPr lang="hr-HR" sz="900" dirty="0"/>
                        <a:t>0,04</a:t>
                      </a:r>
                      <a:endParaRPr lang="en-US" sz="900" dirty="0"/>
                    </a:p>
                  </a:txBody>
                  <a:tcPr marL="71564" marR="71564" marT="35782" marB="35782"/>
                </a:tc>
                <a:extLst>
                  <a:ext uri="{0D108BD9-81ED-4DB2-BD59-A6C34878D82A}">
                    <a16:rowId xmlns:a16="http://schemas.microsoft.com/office/drawing/2014/main" val="2648937487"/>
                  </a:ext>
                </a:extLst>
              </a:tr>
              <a:tr h="290232">
                <a:tc>
                  <a:txBody>
                    <a:bodyPr/>
                    <a:lstStyle/>
                    <a:p>
                      <a:r>
                        <a:rPr lang="en-US" sz="900" dirty="0"/>
                        <a:t>2</a:t>
                      </a:r>
                    </a:p>
                  </a:txBody>
                  <a:tcPr marL="71564" marR="71564" marT="35782" marB="35782"/>
                </a:tc>
                <a:tc>
                  <a:txBody>
                    <a:bodyPr/>
                    <a:lstStyle/>
                    <a:p>
                      <a:r>
                        <a:rPr lang="en-US" sz="900" dirty="0"/>
                        <a:t>7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200</a:t>
                      </a:r>
                    </a:p>
                  </a:txBody>
                  <a:tcPr marL="71564" marR="71564" marT="35782" marB="35782"/>
                </a:tc>
                <a:tc>
                  <a:txBody>
                    <a:bodyPr/>
                    <a:lstStyle/>
                    <a:p>
                      <a:endParaRPr lang="en-US" sz="900" dirty="0"/>
                    </a:p>
                  </a:txBody>
                  <a:tcPr marL="71564" marR="71564" marT="35782" marB="35782"/>
                </a:tc>
                <a:tc>
                  <a:txBody>
                    <a:bodyPr/>
                    <a:lstStyle/>
                    <a:p>
                      <a:r>
                        <a:rPr lang="hr-HR" sz="900" dirty="0"/>
                        <a:t>0,15</a:t>
                      </a:r>
                      <a:endParaRPr lang="en-US" sz="900" dirty="0"/>
                    </a:p>
                  </a:txBody>
                  <a:tcPr marL="71564" marR="71564" marT="35782" marB="35782"/>
                </a:tc>
                <a:tc>
                  <a:txBody>
                    <a:bodyPr/>
                    <a:lstStyle/>
                    <a:p>
                      <a:r>
                        <a:rPr lang="hr-HR" sz="900" dirty="0"/>
                        <a:t>0,12</a:t>
                      </a:r>
                      <a:endParaRPr lang="en-US" sz="900" dirty="0"/>
                    </a:p>
                  </a:txBody>
                  <a:tcPr marL="71564" marR="71564" marT="35782" marB="35782"/>
                </a:tc>
                <a:tc>
                  <a:txBody>
                    <a:bodyPr/>
                    <a:lstStyle/>
                    <a:p>
                      <a:r>
                        <a:rPr lang="hr-HR" sz="900" dirty="0"/>
                        <a:t>0,20</a:t>
                      </a:r>
                      <a:endParaRPr lang="en-US" sz="900" dirty="0"/>
                    </a:p>
                  </a:txBody>
                  <a:tcPr marL="71564" marR="71564" marT="35782" marB="35782"/>
                </a:tc>
                <a:extLst>
                  <a:ext uri="{0D108BD9-81ED-4DB2-BD59-A6C34878D82A}">
                    <a16:rowId xmlns:a16="http://schemas.microsoft.com/office/drawing/2014/main" val="1870670275"/>
                  </a:ext>
                </a:extLst>
              </a:tr>
              <a:tr h="290232">
                <a:tc>
                  <a:txBody>
                    <a:bodyPr/>
                    <a:lstStyle/>
                    <a:p>
                      <a:r>
                        <a:rPr lang="en-US" sz="900" dirty="0"/>
                        <a:t>3</a:t>
                      </a:r>
                    </a:p>
                  </a:txBody>
                  <a:tcPr marL="71564" marR="71564" marT="35782" marB="35782"/>
                </a:tc>
                <a:tc>
                  <a:txBody>
                    <a:bodyPr/>
                    <a:lstStyle/>
                    <a:p>
                      <a:r>
                        <a:rPr lang="en-US" sz="900" dirty="0"/>
                        <a:t>6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300</a:t>
                      </a:r>
                    </a:p>
                  </a:txBody>
                  <a:tcPr marL="71564" marR="71564" marT="35782" marB="35782"/>
                </a:tc>
                <a:tc>
                  <a:txBody>
                    <a:bodyPr/>
                    <a:lstStyle/>
                    <a:p>
                      <a:endParaRPr lang="en-US" sz="900" dirty="0"/>
                    </a:p>
                  </a:txBody>
                  <a:tcPr marL="71564" marR="71564" marT="35782" marB="35782"/>
                </a:tc>
                <a:tc>
                  <a:txBody>
                    <a:bodyPr/>
                    <a:lstStyle/>
                    <a:p>
                      <a:r>
                        <a:rPr lang="hr-HR" sz="900" dirty="0"/>
                        <a:t>0,02</a:t>
                      </a:r>
                      <a:endParaRPr lang="en-US" sz="900" dirty="0"/>
                    </a:p>
                  </a:txBody>
                  <a:tcPr marL="71564" marR="71564" marT="35782" marB="35782"/>
                </a:tc>
                <a:tc>
                  <a:txBody>
                    <a:bodyPr/>
                    <a:lstStyle/>
                    <a:p>
                      <a:r>
                        <a:rPr lang="hr-HR" sz="900" dirty="0"/>
                        <a:t>0,16</a:t>
                      </a:r>
                      <a:endParaRPr lang="en-US" sz="900" dirty="0"/>
                    </a:p>
                  </a:txBody>
                  <a:tcPr marL="71564" marR="71564" marT="35782" marB="35782"/>
                </a:tc>
                <a:tc>
                  <a:txBody>
                    <a:bodyPr/>
                    <a:lstStyle/>
                    <a:p>
                      <a:r>
                        <a:rPr lang="hr-HR" sz="900" dirty="0"/>
                        <a:t>0,18</a:t>
                      </a:r>
                      <a:endParaRPr lang="en-US" sz="900" dirty="0"/>
                    </a:p>
                  </a:txBody>
                  <a:tcPr marL="71564" marR="71564" marT="35782" marB="35782"/>
                </a:tc>
                <a:extLst>
                  <a:ext uri="{0D108BD9-81ED-4DB2-BD59-A6C34878D82A}">
                    <a16:rowId xmlns:a16="http://schemas.microsoft.com/office/drawing/2014/main" val="2524997097"/>
                  </a:ext>
                </a:extLst>
              </a:tr>
              <a:tr h="290232">
                <a:tc>
                  <a:txBody>
                    <a:bodyPr/>
                    <a:lstStyle/>
                    <a:p>
                      <a:r>
                        <a:rPr lang="en-US" sz="900" dirty="0"/>
                        <a:t>4</a:t>
                      </a:r>
                    </a:p>
                  </a:txBody>
                  <a:tcPr marL="71564" marR="71564" marT="35782" marB="35782"/>
                </a:tc>
                <a:tc>
                  <a:txBody>
                    <a:bodyPr/>
                    <a:lstStyle/>
                    <a:p>
                      <a:r>
                        <a:rPr lang="en-US" sz="900" dirty="0"/>
                        <a:t>5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400</a:t>
                      </a:r>
                    </a:p>
                  </a:txBody>
                  <a:tcPr marL="71564" marR="71564" marT="35782" marB="35782"/>
                </a:tc>
                <a:tc>
                  <a:txBody>
                    <a:bodyPr/>
                    <a:lstStyle/>
                    <a:p>
                      <a:endParaRPr lang="en-US" sz="900" dirty="0"/>
                    </a:p>
                  </a:txBody>
                  <a:tcPr marL="71564" marR="71564" marT="35782" marB="35782"/>
                </a:tc>
                <a:tc>
                  <a:txBody>
                    <a:bodyPr/>
                    <a:lstStyle/>
                    <a:p>
                      <a:r>
                        <a:rPr lang="hr-HR" sz="900" dirty="0"/>
                        <a:t>0,3</a:t>
                      </a:r>
                      <a:endParaRPr lang="en-US" sz="900" dirty="0"/>
                    </a:p>
                  </a:txBody>
                  <a:tcPr marL="71564" marR="71564" marT="35782" marB="35782"/>
                </a:tc>
                <a:tc>
                  <a:txBody>
                    <a:bodyPr/>
                    <a:lstStyle/>
                    <a:p>
                      <a:r>
                        <a:rPr lang="hr-HR" sz="900" dirty="0"/>
                        <a:t>0,25</a:t>
                      </a:r>
                      <a:endParaRPr lang="en-US" sz="900" dirty="0"/>
                    </a:p>
                  </a:txBody>
                  <a:tcPr marL="71564" marR="71564" marT="35782" marB="35782"/>
                </a:tc>
                <a:tc>
                  <a:txBody>
                    <a:bodyPr/>
                    <a:lstStyle/>
                    <a:p>
                      <a:r>
                        <a:rPr lang="hr-HR" sz="900" dirty="0"/>
                        <a:t>0,2</a:t>
                      </a:r>
                      <a:endParaRPr lang="en-US" sz="900" dirty="0"/>
                    </a:p>
                  </a:txBody>
                  <a:tcPr marL="71564" marR="71564" marT="35782" marB="35782"/>
                </a:tc>
                <a:extLst>
                  <a:ext uri="{0D108BD9-81ED-4DB2-BD59-A6C34878D82A}">
                    <a16:rowId xmlns:a16="http://schemas.microsoft.com/office/drawing/2014/main" val="675613622"/>
                  </a:ext>
                </a:extLst>
              </a:tr>
              <a:tr h="290232">
                <a:tc>
                  <a:txBody>
                    <a:bodyPr/>
                    <a:lstStyle/>
                    <a:p>
                      <a:r>
                        <a:rPr lang="en-US" sz="900" dirty="0"/>
                        <a:t>5</a:t>
                      </a:r>
                    </a:p>
                  </a:txBody>
                  <a:tcPr marL="71564" marR="71564" marT="35782" marB="35782"/>
                </a:tc>
                <a:tc>
                  <a:txBody>
                    <a:bodyPr/>
                    <a:lstStyle/>
                    <a:p>
                      <a:r>
                        <a:rPr lang="en-US" sz="900" dirty="0"/>
                        <a:t>5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400</a:t>
                      </a:r>
                    </a:p>
                  </a:txBody>
                  <a:tcPr marL="71564" marR="71564" marT="35782" marB="35782"/>
                </a:tc>
                <a:tc>
                  <a:txBody>
                    <a:bodyPr/>
                    <a:lstStyle/>
                    <a:p>
                      <a:r>
                        <a:rPr lang="en-US" sz="900" dirty="0">
                          <a:solidFill>
                            <a:srgbClr val="FF0000"/>
                          </a:solidFill>
                        </a:rPr>
                        <a:t>100</a:t>
                      </a:r>
                    </a:p>
                  </a:txBody>
                  <a:tcPr marL="71564" marR="71564" marT="35782" marB="35782"/>
                </a:tc>
                <a:tc>
                  <a:txBody>
                    <a:bodyPr/>
                    <a:lstStyle/>
                    <a:p>
                      <a:r>
                        <a:rPr lang="hr-HR" sz="900" dirty="0"/>
                        <a:t>0,15</a:t>
                      </a:r>
                      <a:endParaRPr lang="en-US" sz="900" dirty="0"/>
                    </a:p>
                  </a:txBody>
                  <a:tcPr marL="71564" marR="71564" marT="35782" marB="35782"/>
                </a:tc>
                <a:tc>
                  <a:txBody>
                    <a:bodyPr/>
                    <a:lstStyle/>
                    <a:p>
                      <a:r>
                        <a:rPr lang="hr-HR" sz="900" dirty="0"/>
                        <a:t>0,03</a:t>
                      </a:r>
                      <a:endParaRPr lang="en-US" sz="900" dirty="0"/>
                    </a:p>
                  </a:txBody>
                  <a:tcPr marL="71564" marR="71564" marT="35782" marB="35782"/>
                </a:tc>
                <a:tc>
                  <a:txBody>
                    <a:bodyPr/>
                    <a:lstStyle/>
                    <a:p>
                      <a:r>
                        <a:rPr lang="hr-HR" sz="900" dirty="0"/>
                        <a:t>0,09</a:t>
                      </a:r>
                      <a:endParaRPr lang="en-US" sz="900" dirty="0"/>
                    </a:p>
                  </a:txBody>
                  <a:tcPr marL="71564" marR="71564" marT="35782" marB="35782"/>
                </a:tc>
                <a:extLst>
                  <a:ext uri="{0D108BD9-81ED-4DB2-BD59-A6C34878D82A}">
                    <a16:rowId xmlns:a16="http://schemas.microsoft.com/office/drawing/2014/main" val="4120728013"/>
                  </a:ext>
                </a:extLst>
              </a:tr>
              <a:tr h="290232">
                <a:tc>
                  <a:txBody>
                    <a:bodyPr/>
                    <a:lstStyle/>
                    <a:p>
                      <a:r>
                        <a:rPr lang="en-US" sz="900" dirty="0"/>
                        <a:t>6</a:t>
                      </a:r>
                    </a:p>
                  </a:txBody>
                  <a:tcPr marL="71564" marR="71564" marT="35782" marB="35782"/>
                </a:tc>
                <a:tc>
                  <a:txBody>
                    <a:bodyPr/>
                    <a:lstStyle/>
                    <a:p>
                      <a:r>
                        <a:rPr lang="en-US" sz="900" dirty="0"/>
                        <a:t>6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300</a:t>
                      </a:r>
                    </a:p>
                  </a:txBody>
                  <a:tcPr marL="71564" marR="71564" marT="35782" marB="35782"/>
                </a:tc>
                <a:tc>
                  <a:txBody>
                    <a:bodyPr/>
                    <a:lstStyle/>
                    <a:p>
                      <a:endParaRPr lang="en-US" sz="900" dirty="0"/>
                    </a:p>
                  </a:txBody>
                  <a:tcPr marL="71564" marR="71564" marT="35782" marB="35782"/>
                </a:tc>
                <a:tc>
                  <a:txBody>
                    <a:bodyPr/>
                    <a:lstStyle/>
                    <a:p>
                      <a:r>
                        <a:rPr lang="hr-HR" sz="900" dirty="0"/>
                        <a:t>0,18</a:t>
                      </a:r>
                      <a:endParaRPr lang="en-US" sz="900" dirty="0"/>
                    </a:p>
                  </a:txBody>
                  <a:tcPr marL="71564" marR="71564" marT="35782" marB="35782"/>
                </a:tc>
                <a:tc>
                  <a:txBody>
                    <a:bodyPr/>
                    <a:lstStyle/>
                    <a:p>
                      <a:r>
                        <a:rPr lang="hr-HR" sz="900" dirty="0"/>
                        <a:t>0,09</a:t>
                      </a:r>
                      <a:endParaRPr lang="en-US" sz="900" dirty="0"/>
                    </a:p>
                  </a:txBody>
                  <a:tcPr marL="71564" marR="71564" marT="35782" marB="35782"/>
                </a:tc>
                <a:tc>
                  <a:txBody>
                    <a:bodyPr/>
                    <a:lstStyle/>
                    <a:p>
                      <a:r>
                        <a:rPr lang="hr-HR" sz="900" dirty="0"/>
                        <a:t>0,21</a:t>
                      </a:r>
                      <a:endParaRPr lang="en-US" sz="900" dirty="0"/>
                    </a:p>
                  </a:txBody>
                  <a:tcPr marL="71564" marR="71564" marT="35782" marB="35782"/>
                </a:tc>
                <a:extLst>
                  <a:ext uri="{0D108BD9-81ED-4DB2-BD59-A6C34878D82A}">
                    <a16:rowId xmlns:a16="http://schemas.microsoft.com/office/drawing/2014/main" val="4237058500"/>
                  </a:ext>
                </a:extLst>
              </a:tr>
              <a:tr h="290232">
                <a:tc>
                  <a:txBody>
                    <a:bodyPr/>
                    <a:lstStyle/>
                    <a:p>
                      <a:r>
                        <a:rPr lang="en-US" sz="900" dirty="0"/>
                        <a:t>7</a:t>
                      </a:r>
                    </a:p>
                  </a:txBody>
                  <a:tcPr marL="71564" marR="71564" marT="35782" marB="35782"/>
                </a:tc>
                <a:tc>
                  <a:txBody>
                    <a:bodyPr/>
                    <a:lstStyle/>
                    <a:p>
                      <a:r>
                        <a:rPr lang="en-US" sz="900" dirty="0"/>
                        <a:t>700</a:t>
                      </a:r>
                    </a:p>
                  </a:txBody>
                  <a:tcPr marL="71564" marR="71564" marT="35782" marB="35782"/>
                </a:tc>
                <a:tc>
                  <a:txBody>
                    <a:bodyPr/>
                    <a:lstStyle/>
                    <a:p>
                      <a:r>
                        <a:rPr lang="en-US" sz="900" b="1" dirty="0"/>
                        <a:t>1000</a:t>
                      </a:r>
                    </a:p>
                  </a:txBody>
                  <a:tcPr marL="71564" marR="71564" marT="35782" marB="35782"/>
                </a:tc>
                <a:tc>
                  <a:txBody>
                    <a:bodyPr/>
                    <a:lstStyle/>
                    <a:p>
                      <a:r>
                        <a:rPr lang="en-US" sz="900" b="1" dirty="0"/>
                        <a:t>100</a:t>
                      </a:r>
                    </a:p>
                  </a:txBody>
                  <a:tcPr marL="71564" marR="71564" marT="35782" marB="35782"/>
                </a:tc>
                <a:tc>
                  <a:txBody>
                    <a:bodyPr/>
                    <a:lstStyle/>
                    <a:p>
                      <a:r>
                        <a:rPr lang="en-US" sz="900" dirty="0"/>
                        <a:t>200</a:t>
                      </a:r>
                    </a:p>
                  </a:txBody>
                  <a:tcPr marL="71564" marR="71564" marT="35782" marB="35782"/>
                </a:tc>
                <a:tc>
                  <a:txBody>
                    <a:bodyPr/>
                    <a:lstStyle/>
                    <a:p>
                      <a:endParaRPr lang="en-US" sz="900" dirty="0"/>
                    </a:p>
                  </a:txBody>
                  <a:tcPr marL="71564" marR="71564" marT="35782" marB="35782"/>
                </a:tc>
                <a:tc>
                  <a:txBody>
                    <a:bodyPr/>
                    <a:lstStyle/>
                    <a:p>
                      <a:r>
                        <a:rPr lang="hr-HR" sz="900" dirty="0"/>
                        <a:t>0,23</a:t>
                      </a:r>
                      <a:endParaRPr lang="en-US" sz="900" dirty="0"/>
                    </a:p>
                  </a:txBody>
                  <a:tcPr marL="71564" marR="71564" marT="35782" marB="35782"/>
                </a:tc>
                <a:tc>
                  <a:txBody>
                    <a:bodyPr/>
                    <a:lstStyle/>
                    <a:p>
                      <a:r>
                        <a:rPr lang="hr-HR" sz="900" dirty="0"/>
                        <a:t>0,19</a:t>
                      </a:r>
                      <a:endParaRPr lang="en-US" sz="900" dirty="0"/>
                    </a:p>
                  </a:txBody>
                  <a:tcPr marL="71564" marR="71564" marT="35782" marB="35782"/>
                </a:tc>
                <a:tc>
                  <a:txBody>
                    <a:bodyPr/>
                    <a:lstStyle/>
                    <a:p>
                      <a:r>
                        <a:rPr lang="hr-HR" sz="900" dirty="0"/>
                        <a:t>0,28</a:t>
                      </a:r>
                      <a:endParaRPr lang="en-US" sz="900" dirty="0"/>
                    </a:p>
                  </a:txBody>
                  <a:tcPr marL="71564" marR="71564" marT="35782" marB="35782"/>
                </a:tc>
                <a:extLst>
                  <a:ext uri="{0D108BD9-81ED-4DB2-BD59-A6C34878D82A}">
                    <a16:rowId xmlns:a16="http://schemas.microsoft.com/office/drawing/2014/main" val="573721901"/>
                  </a:ext>
                </a:extLst>
              </a:tr>
            </a:tbl>
          </a:graphicData>
        </a:graphic>
      </p:graphicFrame>
      <p:sp>
        <p:nvSpPr>
          <p:cNvPr id="11" name="Rechthoek 64">
            <a:extLst>
              <a:ext uri="{FF2B5EF4-FFF2-40B4-BE49-F238E27FC236}">
                <a16:creationId xmlns:a16="http://schemas.microsoft.com/office/drawing/2014/main" id="{BD86221D-E873-788A-FCC8-F50B37297DA6}"/>
              </a:ext>
            </a:extLst>
          </p:cNvPr>
          <p:cNvSpPr/>
          <p:nvPr/>
        </p:nvSpPr>
        <p:spPr bwMode="auto">
          <a:xfrm>
            <a:off x="900244" y="3314637"/>
            <a:ext cx="4842178" cy="291410"/>
          </a:xfrm>
          <a:prstGeom prst="rect">
            <a:avLst/>
          </a:prstGeom>
          <a:noFill/>
          <a:ln w="38100">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solidFill>
                <a:schemeClr val="tx1"/>
              </a:solidFill>
            </a:endParaRPr>
          </a:p>
        </p:txBody>
      </p:sp>
      <p:sp>
        <p:nvSpPr>
          <p:cNvPr id="12" name="Tartalom helye 2">
            <a:extLst>
              <a:ext uri="{FF2B5EF4-FFF2-40B4-BE49-F238E27FC236}">
                <a16:creationId xmlns:a16="http://schemas.microsoft.com/office/drawing/2014/main" id="{9418E0DE-3CBE-AC57-D81B-59B8136A0C3C}"/>
              </a:ext>
            </a:extLst>
          </p:cNvPr>
          <p:cNvSpPr txBox="1">
            <a:spLocks/>
          </p:cNvSpPr>
          <p:nvPr/>
        </p:nvSpPr>
        <p:spPr>
          <a:xfrm>
            <a:off x="1215366" y="4311028"/>
            <a:ext cx="4752323" cy="1659555"/>
          </a:xfrm>
          <a:prstGeom prst="rect">
            <a:avLst/>
          </a:prstGeom>
          <a:solidFill>
            <a:schemeClr val="bg1"/>
          </a:solidFill>
        </p:spPr>
        <p:txBody>
          <a:bodyPr spcFirstLastPara="1"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r>
              <a:rPr lang="en-US" kern="0" dirty="0">
                <a:sym typeface="Arial"/>
              </a:rPr>
              <a:t>Local Validation</a:t>
            </a:r>
          </a:p>
          <a:p>
            <a:pPr lvl="1"/>
            <a:r>
              <a:rPr lang="en-US" kern="0" dirty="0">
                <a:sym typeface="Arial"/>
              </a:rPr>
              <a:t>Due to the </a:t>
            </a:r>
            <a:r>
              <a:rPr lang="en-US" b="1" kern="0" dirty="0">
                <a:sym typeface="Arial"/>
              </a:rPr>
              <a:t>reduced timings </a:t>
            </a:r>
            <a:r>
              <a:rPr lang="en-US" kern="0" dirty="0">
                <a:sym typeface="Arial"/>
              </a:rPr>
              <a:t>in IDCC compared to DACC, in ID only a </a:t>
            </a:r>
            <a:r>
              <a:rPr lang="en-US" b="1" kern="0" dirty="0">
                <a:sym typeface="Arial"/>
              </a:rPr>
              <a:t>short local validation </a:t>
            </a:r>
            <a:r>
              <a:rPr lang="en-US" kern="0" dirty="0">
                <a:sym typeface="Arial"/>
              </a:rPr>
              <a:t>is possible (40 minutes max).</a:t>
            </a:r>
          </a:p>
          <a:p>
            <a:pPr marL="0" lvl="1" indent="0">
              <a:buNone/>
            </a:pPr>
            <a:endParaRPr lang="en-US" sz="400" b="1" kern="0" dirty="0">
              <a:sym typeface="Arial"/>
            </a:endParaRPr>
          </a:p>
          <a:p>
            <a:pPr lvl="1"/>
            <a:r>
              <a:rPr lang="en-US" b="1" kern="0" dirty="0">
                <a:sym typeface="Arial"/>
              </a:rPr>
              <a:t>Reminder Objective: </a:t>
            </a:r>
          </a:p>
          <a:p>
            <a:pPr lvl="2"/>
            <a:r>
              <a:rPr lang="en-US" b="1" kern="0" dirty="0">
                <a:sym typeface="Arial"/>
              </a:rPr>
              <a:t>Identify</a:t>
            </a:r>
            <a:r>
              <a:rPr lang="en-US" kern="0" dirty="0">
                <a:sym typeface="Arial"/>
              </a:rPr>
              <a:t> and </a:t>
            </a:r>
            <a:r>
              <a:rPr lang="en-US" b="1" kern="0" dirty="0">
                <a:sym typeface="Arial"/>
              </a:rPr>
              <a:t>apply measures </a:t>
            </a:r>
            <a:r>
              <a:rPr lang="en-US" kern="0" dirty="0">
                <a:sym typeface="Arial"/>
              </a:rPr>
              <a:t>for </a:t>
            </a:r>
            <a:r>
              <a:rPr lang="en-US" b="1" kern="0" dirty="0">
                <a:sym typeface="Arial"/>
              </a:rPr>
              <a:t>resolving</a:t>
            </a:r>
            <a:r>
              <a:rPr lang="en-US" kern="0" dirty="0">
                <a:sym typeface="Arial"/>
              </a:rPr>
              <a:t> the </a:t>
            </a:r>
            <a:r>
              <a:rPr lang="en-US" b="1" kern="0" dirty="0">
                <a:sym typeface="Arial"/>
              </a:rPr>
              <a:t>potential violation of operational security </a:t>
            </a:r>
            <a:r>
              <a:rPr lang="en-US" kern="0" dirty="0">
                <a:sym typeface="Arial"/>
              </a:rPr>
              <a:t>given by the flow-based domain results</a:t>
            </a:r>
          </a:p>
          <a:p>
            <a:pPr lvl="2"/>
            <a:endParaRPr lang="en-US" kern="0" dirty="0">
              <a:sym typeface="Arial"/>
            </a:endParaRPr>
          </a:p>
          <a:p>
            <a:endParaRPr lang="hu-HU" kern="0" dirty="0">
              <a:sym typeface="Arial"/>
            </a:endParaRPr>
          </a:p>
        </p:txBody>
      </p:sp>
      <p:sp>
        <p:nvSpPr>
          <p:cNvPr id="13" name="Freihandform: Form 92">
            <a:extLst>
              <a:ext uri="{FF2B5EF4-FFF2-40B4-BE49-F238E27FC236}">
                <a16:creationId xmlns:a16="http://schemas.microsoft.com/office/drawing/2014/main" id="{C51DBB2E-5517-156F-1705-72BED2898D65}"/>
              </a:ext>
            </a:extLst>
          </p:cNvPr>
          <p:cNvSpPr/>
          <p:nvPr/>
        </p:nvSpPr>
        <p:spPr bwMode="auto">
          <a:xfrm>
            <a:off x="7870790" y="2667881"/>
            <a:ext cx="2271928" cy="2506393"/>
          </a:xfrm>
          <a:custGeom>
            <a:avLst/>
            <a:gdLst>
              <a:gd name="connsiteX0" fmla="*/ 0 w 1701800"/>
              <a:gd name="connsiteY0" fmla="*/ 1104900 h 1898650"/>
              <a:gd name="connsiteX1" fmla="*/ 266700 w 1701800"/>
              <a:gd name="connsiteY1" fmla="*/ 0 h 1898650"/>
              <a:gd name="connsiteX2" fmla="*/ 1238250 w 1701800"/>
              <a:gd name="connsiteY2" fmla="*/ 127000 h 1898650"/>
              <a:gd name="connsiteX3" fmla="*/ 1701800 w 1701800"/>
              <a:gd name="connsiteY3" fmla="*/ 603250 h 1898650"/>
              <a:gd name="connsiteX4" fmla="*/ 1701800 w 1701800"/>
              <a:gd name="connsiteY4" fmla="*/ 1460500 h 1898650"/>
              <a:gd name="connsiteX5" fmla="*/ 1276350 w 1701800"/>
              <a:gd name="connsiteY5" fmla="*/ 1898650 h 1898650"/>
              <a:gd name="connsiteX6" fmla="*/ 711200 w 1701800"/>
              <a:gd name="connsiteY6" fmla="*/ 1822450 h 1898650"/>
              <a:gd name="connsiteX7" fmla="*/ 0 w 1701800"/>
              <a:gd name="connsiteY7" fmla="*/ 1104900 h 1898650"/>
              <a:gd name="connsiteX0" fmla="*/ 0 w 1701800"/>
              <a:gd name="connsiteY0" fmla="*/ 1104900 h 1898650"/>
              <a:gd name="connsiteX1" fmla="*/ 266700 w 1701800"/>
              <a:gd name="connsiteY1" fmla="*/ 0 h 1898650"/>
              <a:gd name="connsiteX2" fmla="*/ 1428260 w 1701800"/>
              <a:gd name="connsiteY2" fmla="*/ 159388 h 1898650"/>
              <a:gd name="connsiteX3" fmla="*/ 1701800 w 1701800"/>
              <a:gd name="connsiteY3" fmla="*/ 603250 h 1898650"/>
              <a:gd name="connsiteX4" fmla="*/ 1701800 w 1701800"/>
              <a:gd name="connsiteY4" fmla="*/ 1460500 h 1898650"/>
              <a:gd name="connsiteX5" fmla="*/ 1276350 w 1701800"/>
              <a:gd name="connsiteY5" fmla="*/ 1898650 h 1898650"/>
              <a:gd name="connsiteX6" fmla="*/ 711200 w 1701800"/>
              <a:gd name="connsiteY6" fmla="*/ 1822450 h 1898650"/>
              <a:gd name="connsiteX7" fmla="*/ 0 w 1701800"/>
              <a:gd name="connsiteY7" fmla="*/ 1104900 h 1898650"/>
              <a:gd name="connsiteX0" fmla="*/ 0 w 1708277"/>
              <a:gd name="connsiteY0" fmla="*/ 1104900 h 1898650"/>
              <a:gd name="connsiteX1" fmla="*/ 266700 w 1708277"/>
              <a:gd name="connsiteY1" fmla="*/ 0 h 1898650"/>
              <a:gd name="connsiteX2" fmla="*/ 1428260 w 1708277"/>
              <a:gd name="connsiteY2" fmla="*/ 159388 h 1898650"/>
              <a:gd name="connsiteX3" fmla="*/ 1708277 w 1708277"/>
              <a:gd name="connsiteY3" fmla="*/ 449946 h 1898650"/>
              <a:gd name="connsiteX4" fmla="*/ 1701800 w 1708277"/>
              <a:gd name="connsiteY4" fmla="*/ 1460500 h 1898650"/>
              <a:gd name="connsiteX5" fmla="*/ 1276350 w 1708277"/>
              <a:gd name="connsiteY5" fmla="*/ 1898650 h 1898650"/>
              <a:gd name="connsiteX6" fmla="*/ 711200 w 1708277"/>
              <a:gd name="connsiteY6" fmla="*/ 1822450 h 1898650"/>
              <a:gd name="connsiteX7" fmla="*/ 0 w 1708277"/>
              <a:gd name="connsiteY7" fmla="*/ 1104900 h 1898650"/>
              <a:gd name="connsiteX0" fmla="*/ 0 w 1678048"/>
              <a:gd name="connsiteY0" fmla="*/ 994780 h 1898650"/>
              <a:gd name="connsiteX1" fmla="*/ 236471 w 1678048"/>
              <a:gd name="connsiteY1" fmla="*/ 0 h 1898650"/>
              <a:gd name="connsiteX2" fmla="*/ 1398031 w 1678048"/>
              <a:gd name="connsiteY2" fmla="*/ 159388 h 1898650"/>
              <a:gd name="connsiteX3" fmla="*/ 1678048 w 1678048"/>
              <a:gd name="connsiteY3" fmla="*/ 449946 h 1898650"/>
              <a:gd name="connsiteX4" fmla="*/ 1671571 w 1678048"/>
              <a:gd name="connsiteY4" fmla="*/ 1460500 h 1898650"/>
              <a:gd name="connsiteX5" fmla="*/ 1246121 w 1678048"/>
              <a:gd name="connsiteY5" fmla="*/ 1898650 h 1898650"/>
              <a:gd name="connsiteX6" fmla="*/ 680971 w 1678048"/>
              <a:gd name="connsiteY6" fmla="*/ 1822450 h 1898650"/>
              <a:gd name="connsiteX7" fmla="*/ 0 w 1678048"/>
              <a:gd name="connsiteY7" fmla="*/ 994780 h 1898650"/>
              <a:gd name="connsiteX0" fmla="*/ 0 w 1678048"/>
              <a:gd name="connsiteY0" fmla="*/ 994780 h 1898650"/>
              <a:gd name="connsiteX1" fmla="*/ 236471 w 1678048"/>
              <a:gd name="connsiteY1" fmla="*/ 0 h 1898650"/>
              <a:gd name="connsiteX2" fmla="*/ 1398031 w 1678048"/>
              <a:gd name="connsiteY2" fmla="*/ 159388 h 1898650"/>
              <a:gd name="connsiteX3" fmla="*/ 1678048 w 1678048"/>
              <a:gd name="connsiteY3" fmla="*/ 449946 h 1898650"/>
              <a:gd name="connsiteX4" fmla="*/ 1671571 w 1678048"/>
              <a:gd name="connsiteY4" fmla="*/ 1460500 h 1898650"/>
              <a:gd name="connsiteX5" fmla="*/ 1246121 w 1678048"/>
              <a:gd name="connsiteY5" fmla="*/ 1898650 h 1898650"/>
              <a:gd name="connsiteX6" fmla="*/ 832115 w 1678048"/>
              <a:gd name="connsiteY6" fmla="*/ 1844042 h 1898650"/>
              <a:gd name="connsiteX7" fmla="*/ 0 w 1678048"/>
              <a:gd name="connsiteY7" fmla="*/ 994780 h 1898650"/>
              <a:gd name="connsiteX0" fmla="*/ 0 w 1796085"/>
              <a:gd name="connsiteY0" fmla="*/ 994780 h 1898650"/>
              <a:gd name="connsiteX1" fmla="*/ 236471 w 1796085"/>
              <a:gd name="connsiteY1" fmla="*/ 0 h 1898650"/>
              <a:gd name="connsiteX2" fmla="*/ 1398031 w 1796085"/>
              <a:gd name="connsiteY2" fmla="*/ 159388 h 1898650"/>
              <a:gd name="connsiteX3" fmla="*/ 1796085 w 1796085"/>
              <a:gd name="connsiteY3" fmla="*/ 566543 h 1898650"/>
              <a:gd name="connsiteX4" fmla="*/ 1671571 w 1796085"/>
              <a:gd name="connsiteY4" fmla="*/ 1460500 h 1898650"/>
              <a:gd name="connsiteX5" fmla="*/ 1246121 w 1796085"/>
              <a:gd name="connsiteY5" fmla="*/ 1898650 h 1898650"/>
              <a:gd name="connsiteX6" fmla="*/ 832115 w 1796085"/>
              <a:gd name="connsiteY6" fmla="*/ 1844042 h 1898650"/>
              <a:gd name="connsiteX7" fmla="*/ 0 w 1796085"/>
              <a:gd name="connsiteY7" fmla="*/ 994780 h 1898650"/>
              <a:gd name="connsiteX0" fmla="*/ 0 w 1799684"/>
              <a:gd name="connsiteY0" fmla="*/ 994780 h 1898650"/>
              <a:gd name="connsiteX1" fmla="*/ 236471 w 1799684"/>
              <a:gd name="connsiteY1" fmla="*/ 0 h 1898650"/>
              <a:gd name="connsiteX2" fmla="*/ 1398031 w 1799684"/>
              <a:gd name="connsiteY2" fmla="*/ 159388 h 1898650"/>
              <a:gd name="connsiteX3" fmla="*/ 1796085 w 1799684"/>
              <a:gd name="connsiteY3" fmla="*/ 566543 h 1898650"/>
              <a:gd name="connsiteX4" fmla="*/ 1799684 w 1799684"/>
              <a:gd name="connsiteY4" fmla="*/ 1489289 h 1898650"/>
              <a:gd name="connsiteX5" fmla="*/ 1246121 w 1799684"/>
              <a:gd name="connsiteY5" fmla="*/ 1898650 h 1898650"/>
              <a:gd name="connsiteX6" fmla="*/ 832115 w 1799684"/>
              <a:gd name="connsiteY6" fmla="*/ 1844042 h 1898650"/>
              <a:gd name="connsiteX7" fmla="*/ 0 w 1799684"/>
              <a:gd name="connsiteY7" fmla="*/ 994780 h 1898650"/>
              <a:gd name="connsiteX0" fmla="*/ 0 w 1799684"/>
              <a:gd name="connsiteY0" fmla="*/ 994780 h 1917363"/>
              <a:gd name="connsiteX1" fmla="*/ 236471 w 1799684"/>
              <a:gd name="connsiteY1" fmla="*/ 0 h 1917363"/>
              <a:gd name="connsiteX2" fmla="*/ 1398031 w 1799684"/>
              <a:gd name="connsiteY2" fmla="*/ 159388 h 1917363"/>
              <a:gd name="connsiteX3" fmla="*/ 1796085 w 1799684"/>
              <a:gd name="connsiteY3" fmla="*/ 566543 h 1917363"/>
              <a:gd name="connsiteX4" fmla="*/ 1799684 w 1799684"/>
              <a:gd name="connsiteY4" fmla="*/ 1489289 h 1917363"/>
              <a:gd name="connsiteX5" fmla="*/ 1384310 w 1799684"/>
              <a:gd name="connsiteY5" fmla="*/ 1917363 h 1917363"/>
              <a:gd name="connsiteX6" fmla="*/ 832115 w 1799684"/>
              <a:gd name="connsiteY6" fmla="*/ 1844042 h 1917363"/>
              <a:gd name="connsiteX7" fmla="*/ 0 w 1799684"/>
              <a:gd name="connsiteY7" fmla="*/ 994780 h 1917363"/>
              <a:gd name="connsiteX0" fmla="*/ 0 w 1799684"/>
              <a:gd name="connsiteY0" fmla="*/ 994780 h 1917363"/>
              <a:gd name="connsiteX1" fmla="*/ 236471 w 1799684"/>
              <a:gd name="connsiteY1" fmla="*/ 0 h 1917363"/>
              <a:gd name="connsiteX2" fmla="*/ 1579403 w 1799684"/>
              <a:gd name="connsiteY2" fmla="*/ 183139 h 1917363"/>
              <a:gd name="connsiteX3" fmla="*/ 1796085 w 1799684"/>
              <a:gd name="connsiteY3" fmla="*/ 566543 h 1917363"/>
              <a:gd name="connsiteX4" fmla="*/ 1799684 w 1799684"/>
              <a:gd name="connsiteY4" fmla="*/ 1489289 h 1917363"/>
              <a:gd name="connsiteX5" fmla="*/ 1384310 w 1799684"/>
              <a:gd name="connsiteY5" fmla="*/ 1917363 h 1917363"/>
              <a:gd name="connsiteX6" fmla="*/ 832115 w 1799684"/>
              <a:gd name="connsiteY6" fmla="*/ 1844042 h 1917363"/>
              <a:gd name="connsiteX7" fmla="*/ 0 w 1799684"/>
              <a:gd name="connsiteY7" fmla="*/ 994780 h 1917363"/>
              <a:gd name="connsiteX0" fmla="*/ 0 w 1800683"/>
              <a:gd name="connsiteY0" fmla="*/ 994780 h 1917363"/>
              <a:gd name="connsiteX1" fmla="*/ 236471 w 1800683"/>
              <a:gd name="connsiteY1" fmla="*/ 0 h 1917363"/>
              <a:gd name="connsiteX2" fmla="*/ 1579403 w 1800683"/>
              <a:gd name="connsiteY2" fmla="*/ 183139 h 1917363"/>
              <a:gd name="connsiteX3" fmla="*/ 1800403 w 1800683"/>
              <a:gd name="connsiteY3" fmla="*/ 404603 h 1917363"/>
              <a:gd name="connsiteX4" fmla="*/ 1799684 w 1800683"/>
              <a:gd name="connsiteY4" fmla="*/ 1489289 h 1917363"/>
              <a:gd name="connsiteX5" fmla="*/ 1384310 w 1800683"/>
              <a:gd name="connsiteY5" fmla="*/ 1917363 h 1917363"/>
              <a:gd name="connsiteX6" fmla="*/ 832115 w 1800683"/>
              <a:gd name="connsiteY6" fmla="*/ 1844042 h 1917363"/>
              <a:gd name="connsiteX7" fmla="*/ 0 w 1800683"/>
              <a:gd name="connsiteY7" fmla="*/ 994780 h 1917363"/>
              <a:gd name="connsiteX0" fmla="*/ 0 w 1800683"/>
              <a:gd name="connsiteY0" fmla="*/ 994780 h 1917363"/>
              <a:gd name="connsiteX1" fmla="*/ 236471 w 1800683"/>
              <a:gd name="connsiteY1" fmla="*/ 0 h 1917363"/>
              <a:gd name="connsiteX2" fmla="*/ 1579403 w 1800683"/>
              <a:gd name="connsiteY2" fmla="*/ 183139 h 1917363"/>
              <a:gd name="connsiteX3" fmla="*/ 1800403 w 1800683"/>
              <a:gd name="connsiteY3" fmla="*/ 404603 h 1917363"/>
              <a:gd name="connsiteX4" fmla="*/ 1799684 w 1800683"/>
              <a:gd name="connsiteY4" fmla="*/ 1489289 h 1917363"/>
              <a:gd name="connsiteX5" fmla="*/ 1384310 w 1800683"/>
              <a:gd name="connsiteY5" fmla="*/ 1917363 h 1917363"/>
              <a:gd name="connsiteX6" fmla="*/ 626992 w 1800683"/>
              <a:gd name="connsiteY6" fmla="*/ 1815973 h 1917363"/>
              <a:gd name="connsiteX7" fmla="*/ 0 w 1800683"/>
              <a:gd name="connsiteY7" fmla="*/ 994780 h 1917363"/>
              <a:gd name="connsiteX0" fmla="*/ 0 w 1841708"/>
              <a:gd name="connsiteY0" fmla="*/ 1145924 h 1917363"/>
              <a:gd name="connsiteX1" fmla="*/ 277496 w 1841708"/>
              <a:gd name="connsiteY1" fmla="*/ 0 h 1917363"/>
              <a:gd name="connsiteX2" fmla="*/ 1620428 w 1841708"/>
              <a:gd name="connsiteY2" fmla="*/ 183139 h 1917363"/>
              <a:gd name="connsiteX3" fmla="*/ 1841428 w 1841708"/>
              <a:gd name="connsiteY3" fmla="*/ 404603 h 1917363"/>
              <a:gd name="connsiteX4" fmla="*/ 1840709 w 1841708"/>
              <a:gd name="connsiteY4" fmla="*/ 1489289 h 1917363"/>
              <a:gd name="connsiteX5" fmla="*/ 1425335 w 1841708"/>
              <a:gd name="connsiteY5" fmla="*/ 1917363 h 1917363"/>
              <a:gd name="connsiteX6" fmla="*/ 668017 w 1841708"/>
              <a:gd name="connsiteY6" fmla="*/ 1815973 h 1917363"/>
              <a:gd name="connsiteX7" fmla="*/ 0 w 1841708"/>
              <a:gd name="connsiteY7" fmla="*/ 1145924 h 1917363"/>
              <a:gd name="connsiteX0" fmla="*/ 0 w 1801403"/>
              <a:gd name="connsiteY0" fmla="*/ 996220 h 1917363"/>
              <a:gd name="connsiteX1" fmla="*/ 237191 w 1801403"/>
              <a:gd name="connsiteY1" fmla="*/ 0 h 1917363"/>
              <a:gd name="connsiteX2" fmla="*/ 1580123 w 1801403"/>
              <a:gd name="connsiteY2" fmla="*/ 183139 h 1917363"/>
              <a:gd name="connsiteX3" fmla="*/ 1801123 w 1801403"/>
              <a:gd name="connsiteY3" fmla="*/ 404603 h 1917363"/>
              <a:gd name="connsiteX4" fmla="*/ 1800404 w 1801403"/>
              <a:gd name="connsiteY4" fmla="*/ 1489289 h 1917363"/>
              <a:gd name="connsiteX5" fmla="*/ 1385030 w 1801403"/>
              <a:gd name="connsiteY5" fmla="*/ 1917363 h 1917363"/>
              <a:gd name="connsiteX6" fmla="*/ 627712 w 1801403"/>
              <a:gd name="connsiteY6" fmla="*/ 1815973 h 1917363"/>
              <a:gd name="connsiteX7" fmla="*/ 0 w 1801403"/>
              <a:gd name="connsiteY7" fmla="*/ 996220 h 1917363"/>
              <a:gd name="connsiteX0" fmla="*/ 0 w 1801403"/>
              <a:gd name="connsiteY0" fmla="*/ 996220 h 1917363"/>
              <a:gd name="connsiteX1" fmla="*/ 237191 w 1801403"/>
              <a:gd name="connsiteY1" fmla="*/ 0 h 1917363"/>
              <a:gd name="connsiteX2" fmla="*/ 1580123 w 1801403"/>
              <a:gd name="connsiteY2" fmla="*/ 183139 h 1917363"/>
              <a:gd name="connsiteX3" fmla="*/ 1801123 w 1801403"/>
              <a:gd name="connsiteY3" fmla="*/ 404603 h 1917363"/>
              <a:gd name="connsiteX4" fmla="*/ 1800404 w 1801403"/>
              <a:gd name="connsiteY4" fmla="*/ 1489289 h 1917363"/>
              <a:gd name="connsiteX5" fmla="*/ 1385030 w 1801403"/>
              <a:gd name="connsiteY5" fmla="*/ 1917363 h 1917363"/>
              <a:gd name="connsiteX6" fmla="*/ 834995 w 1801403"/>
              <a:gd name="connsiteY6" fmla="*/ 1841883 h 1917363"/>
              <a:gd name="connsiteX7" fmla="*/ 0 w 1801403"/>
              <a:gd name="connsiteY7" fmla="*/ 996220 h 1917363"/>
              <a:gd name="connsiteX0" fmla="*/ 0 w 1800404"/>
              <a:gd name="connsiteY0" fmla="*/ 996220 h 1917363"/>
              <a:gd name="connsiteX1" fmla="*/ 237191 w 1800404"/>
              <a:gd name="connsiteY1" fmla="*/ 0 h 1917363"/>
              <a:gd name="connsiteX2" fmla="*/ 1580123 w 1800404"/>
              <a:gd name="connsiteY2" fmla="*/ 183139 h 1917363"/>
              <a:gd name="connsiteX3" fmla="*/ 1799684 w 1800404"/>
              <a:gd name="connsiteY3" fmla="*/ 570142 h 1917363"/>
              <a:gd name="connsiteX4" fmla="*/ 1800404 w 1800404"/>
              <a:gd name="connsiteY4" fmla="*/ 1489289 h 1917363"/>
              <a:gd name="connsiteX5" fmla="*/ 1385030 w 1800404"/>
              <a:gd name="connsiteY5" fmla="*/ 1917363 h 1917363"/>
              <a:gd name="connsiteX6" fmla="*/ 834995 w 1800404"/>
              <a:gd name="connsiteY6" fmla="*/ 1841883 h 1917363"/>
              <a:gd name="connsiteX7" fmla="*/ 0 w 1800404"/>
              <a:gd name="connsiteY7" fmla="*/ 996220 h 1917363"/>
              <a:gd name="connsiteX0" fmla="*/ 0 w 1800404"/>
              <a:gd name="connsiteY0" fmla="*/ 996220 h 1917363"/>
              <a:gd name="connsiteX1" fmla="*/ 237191 w 1800404"/>
              <a:gd name="connsiteY1" fmla="*/ 0 h 1917363"/>
              <a:gd name="connsiteX2" fmla="*/ 1254804 w 1800404"/>
              <a:gd name="connsiteY2" fmla="*/ 16161 h 1917363"/>
              <a:gd name="connsiteX3" fmla="*/ 1799684 w 1800404"/>
              <a:gd name="connsiteY3" fmla="*/ 570142 h 1917363"/>
              <a:gd name="connsiteX4" fmla="*/ 1800404 w 1800404"/>
              <a:gd name="connsiteY4" fmla="*/ 1489289 h 1917363"/>
              <a:gd name="connsiteX5" fmla="*/ 1385030 w 1800404"/>
              <a:gd name="connsiteY5" fmla="*/ 1917363 h 1917363"/>
              <a:gd name="connsiteX6" fmla="*/ 834995 w 1800404"/>
              <a:gd name="connsiteY6" fmla="*/ 1841883 h 1917363"/>
              <a:gd name="connsiteX7" fmla="*/ 0 w 1800404"/>
              <a:gd name="connsiteY7" fmla="*/ 996220 h 1917363"/>
              <a:gd name="connsiteX0" fmla="*/ 0 w 1800404"/>
              <a:gd name="connsiteY0" fmla="*/ 1118574 h 2039717"/>
              <a:gd name="connsiteX1" fmla="*/ 268859 w 1800404"/>
              <a:gd name="connsiteY1" fmla="*/ 0 h 2039717"/>
              <a:gd name="connsiteX2" fmla="*/ 1254804 w 1800404"/>
              <a:gd name="connsiteY2" fmla="*/ 138515 h 2039717"/>
              <a:gd name="connsiteX3" fmla="*/ 1799684 w 1800404"/>
              <a:gd name="connsiteY3" fmla="*/ 692496 h 2039717"/>
              <a:gd name="connsiteX4" fmla="*/ 1800404 w 1800404"/>
              <a:gd name="connsiteY4" fmla="*/ 1611643 h 2039717"/>
              <a:gd name="connsiteX5" fmla="*/ 1385030 w 1800404"/>
              <a:gd name="connsiteY5" fmla="*/ 2039717 h 2039717"/>
              <a:gd name="connsiteX6" fmla="*/ 834995 w 1800404"/>
              <a:gd name="connsiteY6" fmla="*/ 1964237 h 2039717"/>
              <a:gd name="connsiteX7" fmla="*/ 0 w 1800404"/>
              <a:gd name="connsiteY7" fmla="*/ 1118574 h 2039717"/>
              <a:gd name="connsiteX0" fmla="*/ 0 w 1802563"/>
              <a:gd name="connsiteY0" fmla="*/ 1118574 h 2039717"/>
              <a:gd name="connsiteX1" fmla="*/ 268859 w 1802563"/>
              <a:gd name="connsiteY1" fmla="*/ 0 h 2039717"/>
              <a:gd name="connsiteX2" fmla="*/ 1254804 w 1802563"/>
              <a:gd name="connsiteY2" fmla="*/ 138515 h 2039717"/>
              <a:gd name="connsiteX3" fmla="*/ 1799684 w 1802563"/>
              <a:gd name="connsiteY3" fmla="*/ 692496 h 2039717"/>
              <a:gd name="connsiteX4" fmla="*/ 1802563 w 1802563"/>
              <a:gd name="connsiteY4" fmla="*/ 1384927 h 2039717"/>
              <a:gd name="connsiteX5" fmla="*/ 1385030 w 1802563"/>
              <a:gd name="connsiteY5" fmla="*/ 2039717 h 2039717"/>
              <a:gd name="connsiteX6" fmla="*/ 834995 w 1802563"/>
              <a:gd name="connsiteY6" fmla="*/ 1964237 h 2039717"/>
              <a:gd name="connsiteX7" fmla="*/ 0 w 1802563"/>
              <a:gd name="connsiteY7" fmla="*/ 1118574 h 2039717"/>
              <a:gd name="connsiteX0" fmla="*/ 0 w 1802563"/>
              <a:gd name="connsiteY0" fmla="*/ 1118574 h 2015966"/>
              <a:gd name="connsiteX1" fmla="*/ 268859 w 1802563"/>
              <a:gd name="connsiteY1" fmla="*/ 0 h 2015966"/>
              <a:gd name="connsiteX2" fmla="*/ 1254804 w 1802563"/>
              <a:gd name="connsiteY2" fmla="*/ 138515 h 2015966"/>
              <a:gd name="connsiteX3" fmla="*/ 1799684 w 1802563"/>
              <a:gd name="connsiteY3" fmla="*/ 692496 h 2015966"/>
              <a:gd name="connsiteX4" fmla="*/ 1802563 w 1802563"/>
              <a:gd name="connsiteY4" fmla="*/ 1384927 h 2015966"/>
              <a:gd name="connsiteX5" fmla="*/ 1164792 w 1802563"/>
              <a:gd name="connsiteY5" fmla="*/ 2015966 h 2015966"/>
              <a:gd name="connsiteX6" fmla="*/ 834995 w 1802563"/>
              <a:gd name="connsiteY6" fmla="*/ 1964237 h 2015966"/>
              <a:gd name="connsiteX7" fmla="*/ 0 w 1802563"/>
              <a:gd name="connsiteY7" fmla="*/ 1118574 h 2015966"/>
              <a:gd name="connsiteX0" fmla="*/ 0 w 1802563"/>
              <a:gd name="connsiteY0" fmla="*/ 1118574 h 2015966"/>
              <a:gd name="connsiteX1" fmla="*/ 268859 w 1802563"/>
              <a:gd name="connsiteY1" fmla="*/ 0 h 2015966"/>
              <a:gd name="connsiteX2" fmla="*/ 1254804 w 1802563"/>
              <a:gd name="connsiteY2" fmla="*/ 138515 h 2015966"/>
              <a:gd name="connsiteX3" fmla="*/ 1799684 w 1802563"/>
              <a:gd name="connsiteY3" fmla="*/ 692496 h 2015966"/>
              <a:gd name="connsiteX4" fmla="*/ 1802563 w 1802563"/>
              <a:gd name="connsiteY4" fmla="*/ 1172755 h 2015966"/>
              <a:gd name="connsiteX5" fmla="*/ 1164792 w 1802563"/>
              <a:gd name="connsiteY5" fmla="*/ 2015966 h 2015966"/>
              <a:gd name="connsiteX6" fmla="*/ 834995 w 1802563"/>
              <a:gd name="connsiteY6" fmla="*/ 1964237 h 2015966"/>
              <a:gd name="connsiteX7" fmla="*/ 0 w 1802563"/>
              <a:gd name="connsiteY7" fmla="*/ 1118574 h 2015966"/>
              <a:gd name="connsiteX0" fmla="*/ 0 w 1802563"/>
              <a:gd name="connsiteY0" fmla="*/ 1118574 h 2009122"/>
              <a:gd name="connsiteX1" fmla="*/ 268859 w 1802563"/>
              <a:gd name="connsiteY1" fmla="*/ 0 h 2009122"/>
              <a:gd name="connsiteX2" fmla="*/ 1254804 w 1802563"/>
              <a:gd name="connsiteY2" fmla="*/ 138515 h 2009122"/>
              <a:gd name="connsiteX3" fmla="*/ 1799684 w 1802563"/>
              <a:gd name="connsiteY3" fmla="*/ 692496 h 2009122"/>
              <a:gd name="connsiteX4" fmla="*/ 1802563 w 1802563"/>
              <a:gd name="connsiteY4" fmla="*/ 1172755 h 2009122"/>
              <a:gd name="connsiteX5" fmla="*/ 952620 w 1802563"/>
              <a:gd name="connsiteY5" fmla="*/ 2009122 h 2009122"/>
              <a:gd name="connsiteX6" fmla="*/ 834995 w 1802563"/>
              <a:gd name="connsiteY6" fmla="*/ 1964237 h 2009122"/>
              <a:gd name="connsiteX7" fmla="*/ 0 w 1802563"/>
              <a:gd name="connsiteY7" fmla="*/ 1118574 h 2009122"/>
              <a:gd name="connsiteX0" fmla="*/ 0 w 1802563"/>
              <a:gd name="connsiteY0" fmla="*/ 1118574 h 1988589"/>
              <a:gd name="connsiteX1" fmla="*/ 268859 w 1802563"/>
              <a:gd name="connsiteY1" fmla="*/ 0 h 1988589"/>
              <a:gd name="connsiteX2" fmla="*/ 1254804 w 1802563"/>
              <a:gd name="connsiteY2" fmla="*/ 138515 h 1988589"/>
              <a:gd name="connsiteX3" fmla="*/ 1799684 w 1802563"/>
              <a:gd name="connsiteY3" fmla="*/ 692496 h 1988589"/>
              <a:gd name="connsiteX4" fmla="*/ 1802563 w 1802563"/>
              <a:gd name="connsiteY4" fmla="*/ 1172755 h 1988589"/>
              <a:gd name="connsiteX5" fmla="*/ 979997 w 1802563"/>
              <a:gd name="connsiteY5" fmla="*/ 1988589 h 1988589"/>
              <a:gd name="connsiteX6" fmla="*/ 834995 w 1802563"/>
              <a:gd name="connsiteY6" fmla="*/ 1964237 h 1988589"/>
              <a:gd name="connsiteX7" fmla="*/ 0 w 1802563"/>
              <a:gd name="connsiteY7" fmla="*/ 1118574 h 198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2563" h="1988589">
                <a:moveTo>
                  <a:pt x="0" y="1118574"/>
                </a:moveTo>
                <a:lnTo>
                  <a:pt x="268859" y="0"/>
                </a:lnTo>
                <a:lnTo>
                  <a:pt x="1254804" y="138515"/>
                </a:lnTo>
                <a:lnTo>
                  <a:pt x="1799684" y="692496"/>
                </a:lnTo>
                <a:cubicBezTo>
                  <a:pt x="1800884" y="1000078"/>
                  <a:pt x="1801363" y="865173"/>
                  <a:pt x="1802563" y="1172755"/>
                </a:cubicBezTo>
                <a:lnTo>
                  <a:pt x="979997" y="1988589"/>
                </a:lnTo>
                <a:lnTo>
                  <a:pt x="834995" y="1964237"/>
                </a:lnTo>
                <a:lnTo>
                  <a:pt x="0" y="1118574"/>
                </a:lnTo>
                <a:close/>
              </a:path>
            </a:pathLst>
          </a:custGeom>
          <a:solidFill>
            <a:schemeClr val="accent5">
              <a:alpha val="21000"/>
            </a:schemeClr>
          </a:solidFill>
          <a:ln w="7144"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eaLnBrk="0" fontAlgn="base" hangingPunct="0">
              <a:spcBef>
                <a:spcPct val="0"/>
              </a:spcBef>
              <a:spcAft>
                <a:spcPct val="0"/>
              </a:spcAft>
            </a:pPr>
            <a:endParaRPr lang="de-DE" dirty="0"/>
          </a:p>
        </p:txBody>
      </p:sp>
      <p:cxnSp>
        <p:nvCxnSpPr>
          <p:cNvPr id="14" name="Gerade Verbindung mit Pfeil 31">
            <a:extLst>
              <a:ext uri="{FF2B5EF4-FFF2-40B4-BE49-F238E27FC236}">
                <a16:creationId xmlns:a16="http://schemas.microsoft.com/office/drawing/2014/main" id="{E7D43F8C-764E-45EF-BA67-46DB660201C5}"/>
              </a:ext>
            </a:extLst>
          </p:cNvPr>
          <p:cNvCxnSpPr>
            <a:cxnSpLocks/>
          </p:cNvCxnSpPr>
          <p:nvPr/>
        </p:nvCxnSpPr>
        <p:spPr>
          <a:xfrm flipV="1">
            <a:off x="9072397" y="2008821"/>
            <a:ext cx="0" cy="3678517"/>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5" name="Gerade Verbindung mit Pfeil 32">
            <a:extLst>
              <a:ext uri="{FF2B5EF4-FFF2-40B4-BE49-F238E27FC236}">
                <a16:creationId xmlns:a16="http://schemas.microsoft.com/office/drawing/2014/main" id="{E9064E8E-8104-434B-D578-354888FB7C37}"/>
              </a:ext>
            </a:extLst>
          </p:cNvPr>
          <p:cNvCxnSpPr>
            <a:cxnSpLocks/>
          </p:cNvCxnSpPr>
          <p:nvPr/>
        </p:nvCxnSpPr>
        <p:spPr>
          <a:xfrm>
            <a:off x="7190196" y="3985367"/>
            <a:ext cx="4149262" cy="0"/>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6" name="Textfeld 41">
            <a:extLst>
              <a:ext uri="{FF2B5EF4-FFF2-40B4-BE49-F238E27FC236}">
                <a16:creationId xmlns:a16="http://schemas.microsoft.com/office/drawing/2014/main" id="{C99D033B-D274-4366-0F3C-DB49A118E86A}"/>
              </a:ext>
            </a:extLst>
          </p:cNvPr>
          <p:cNvSpPr txBox="1"/>
          <p:nvPr/>
        </p:nvSpPr>
        <p:spPr>
          <a:xfrm>
            <a:off x="9370754" y="2014538"/>
            <a:ext cx="813364" cy="184666"/>
          </a:xfrm>
          <a:prstGeom prst="rect">
            <a:avLst/>
          </a:prstGeom>
          <a:noFill/>
        </p:spPr>
        <p:txBody>
          <a:bodyPr wrap="none" lIns="68580" tIns="34290" rIns="68580" bIns="34290" rtlCol="0">
            <a:spAutoFit/>
          </a:bodyPr>
          <a:lstStyle/>
          <a:p>
            <a:pPr algn="r"/>
            <a:r>
              <a:rPr lang="en-US" sz="750" dirty="0"/>
              <a:t>Exchange A</a:t>
            </a:r>
            <a:r>
              <a:rPr lang="en-US" sz="750" dirty="0">
                <a:sym typeface="Wingdings" panose="05000000000000000000" pitchFamily="2" charset="2"/>
              </a:rPr>
              <a:t>B</a:t>
            </a:r>
            <a:endParaRPr lang="en-US" sz="750" dirty="0"/>
          </a:p>
        </p:txBody>
      </p:sp>
      <p:sp>
        <p:nvSpPr>
          <p:cNvPr id="17" name="Textfeld 42">
            <a:extLst>
              <a:ext uri="{FF2B5EF4-FFF2-40B4-BE49-F238E27FC236}">
                <a16:creationId xmlns:a16="http://schemas.microsoft.com/office/drawing/2014/main" id="{E55D3F79-1DAC-596D-22E2-6A577C0A72FF}"/>
              </a:ext>
            </a:extLst>
          </p:cNvPr>
          <p:cNvSpPr txBox="1"/>
          <p:nvPr/>
        </p:nvSpPr>
        <p:spPr>
          <a:xfrm>
            <a:off x="10888009" y="4054521"/>
            <a:ext cx="837396" cy="184666"/>
          </a:xfrm>
          <a:prstGeom prst="rect">
            <a:avLst/>
          </a:prstGeom>
          <a:noFill/>
        </p:spPr>
        <p:txBody>
          <a:bodyPr wrap="square" lIns="68580" tIns="34290" rIns="68580" bIns="34290" rtlCol="0">
            <a:spAutoFit/>
          </a:bodyPr>
          <a:lstStyle/>
          <a:p>
            <a:pPr algn="r"/>
            <a:r>
              <a:rPr lang="en-US" sz="750" dirty="0"/>
              <a:t>Exchange A</a:t>
            </a:r>
            <a:r>
              <a:rPr lang="en-US" sz="750" dirty="0">
                <a:sym typeface="Wingdings" panose="05000000000000000000" pitchFamily="2" charset="2"/>
              </a:rPr>
              <a:t>C</a:t>
            </a:r>
            <a:endParaRPr lang="en-US" sz="750" dirty="0"/>
          </a:p>
        </p:txBody>
      </p:sp>
      <p:cxnSp>
        <p:nvCxnSpPr>
          <p:cNvPr id="18" name="Gerader Verbinder 52">
            <a:extLst>
              <a:ext uri="{FF2B5EF4-FFF2-40B4-BE49-F238E27FC236}">
                <a16:creationId xmlns:a16="http://schemas.microsoft.com/office/drawing/2014/main" id="{CB4220AC-04FD-9CF8-7407-90ED0F0FFB7C}"/>
              </a:ext>
            </a:extLst>
          </p:cNvPr>
          <p:cNvCxnSpPr>
            <a:cxnSpLocks/>
          </p:cNvCxnSpPr>
          <p:nvPr/>
        </p:nvCxnSpPr>
        <p:spPr>
          <a:xfrm flipH="1">
            <a:off x="7682487" y="2534547"/>
            <a:ext cx="552094" cy="231351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8E041BF4-6572-8B35-5415-7458A42D8B3C}"/>
              </a:ext>
            </a:extLst>
          </p:cNvPr>
          <p:cNvCxnSpPr>
            <a:cxnSpLocks/>
          </p:cNvCxnSpPr>
          <p:nvPr/>
        </p:nvCxnSpPr>
        <p:spPr>
          <a:xfrm>
            <a:off x="7607563" y="4983706"/>
            <a:ext cx="2301305" cy="290179"/>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Gerader Verbinder 52">
            <a:extLst>
              <a:ext uri="{FF2B5EF4-FFF2-40B4-BE49-F238E27FC236}">
                <a16:creationId xmlns:a16="http://schemas.microsoft.com/office/drawing/2014/main" id="{6906F4BC-7E33-1D47-D343-BD69292D9107}"/>
              </a:ext>
            </a:extLst>
          </p:cNvPr>
          <p:cNvCxnSpPr>
            <a:cxnSpLocks/>
          </p:cNvCxnSpPr>
          <p:nvPr/>
        </p:nvCxnSpPr>
        <p:spPr>
          <a:xfrm flipH="1">
            <a:off x="7277660" y="2135462"/>
            <a:ext cx="938305" cy="2434790"/>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52">
            <a:extLst>
              <a:ext uri="{FF2B5EF4-FFF2-40B4-BE49-F238E27FC236}">
                <a16:creationId xmlns:a16="http://schemas.microsoft.com/office/drawing/2014/main" id="{63420D32-0497-0EA2-8DBF-0D28B16EA1D4}"/>
              </a:ext>
            </a:extLst>
          </p:cNvPr>
          <p:cNvCxnSpPr>
            <a:cxnSpLocks/>
          </p:cNvCxnSpPr>
          <p:nvPr/>
        </p:nvCxnSpPr>
        <p:spPr>
          <a:xfrm flipV="1">
            <a:off x="7914066" y="2135462"/>
            <a:ext cx="2573764" cy="199542"/>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Gerader Verbinder 52">
            <a:extLst>
              <a:ext uri="{FF2B5EF4-FFF2-40B4-BE49-F238E27FC236}">
                <a16:creationId xmlns:a16="http://schemas.microsoft.com/office/drawing/2014/main" id="{6EDC616A-752B-6DD5-2AEB-6EFEF109BC93}"/>
              </a:ext>
            </a:extLst>
          </p:cNvPr>
          <p:cNvCxnSpPr>
            <a:cxnSpLocks/>
          </p:cNvCxnSpPr>
          <p:nvPr/>
        </p:nvCxnSpPr>
        <p:spPr>
          <a:xfrm>
            <a:off x="8758214" y="2191900"/>
            <a:ext cx="2424144" cy="744072"/>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52">
            <a:extLst>
              <a:ext uri="{FF2B5EF4-FFF2-40B4-BE49-F238E27FC236}">
                <a16:creationId xmlns:a16="http://schemas.microsoft.com/office/drawing/2014/main" id="{75A5A07D-44CF-FD10-0E23-0A7F95E6D23D}"/>
              </a:ext>
            </a:extLst>
          </p:cNvPr>
          <p:cNvCxnSpPr>
            <a:cxnSpLocks/>
          </p:cNvCxnSpPr>
          <p:nvPr/>
        </p:nvCxnSpPr>
        <p:spPr>
          <a:xfrm>
            <a:off x="9399932" y="2078681"/>
            <a:ext cx="1773902" cy="2410001"/>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Gerader Verbinder 52">
            <a:extLst>
              <a:ext uri="{FF2B5EF4-FFF2-40B4-BE49-F238E27FC236}">
                <a16:creationId xmlns:a16="http://schemas.microsoft.com/office/drawing/2014/main" id="{9C47DA57-519E-1FC4-BBF8-300E047F3AF8}"/>
              </a:ext>
            </a:extLst>
          </p:cNvPr>
          <p:cNvCxnSpPr>
            <a:cxnSpLocks/>
          </p:cNvCxnSpPr>
          <p:nvPr/>
        </p:nvCxnSpPr>
        <p:spPr>
          <a:xfrm flipH="1">
            <a:off x="10487831" y="3071621"/>
            <a:ext cx="257297" cy="1997073"/>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Gerader Verbinder 52">
            <a:extLst>
              <a:ext uri="{FF2B5EF4-FFF2-40B4-BE49-F238E27FC236}">
                <a16:creationId xmlns:a16="http://schemas.microsoft.com/office/drawing/2014/main" id="{1CAD471E-FEB1-0190-FA9B-25E69F9B8D2B}"/>
              </a:ext>
            </a:extLst>
          </p:cNvPr>
          <p:cNvCxnSpPr>
            <a:cxnSpLocks/>
          </p:cNvCxnSpPr>
          <p:nvPr/>
        </p:nvCxnSpPr>
        <p:spPr>
          <a:xfrm flipH="1">
            <a:off x="9581396" y="3515985"/>
            <a:ext cx="1704331" cy="2171353"/>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52">
            <a:extLst>
              <a:ext uri="{FF2B5EF4-FFF2-40B4-BE49-F238E27FC236}">
                <a16:creationId xmlns:a16="http://schemas.microsoft.com/office/drawing/2014/main" id="{FC541177-1CC3-D5A0-A244-A9445DDDEC4B}"/>
              </a:ext>
            </a:extLst>
          </p:cNvPr>
          <p:cNvCxnSpPr>
            <a:cxnSpLocks/>
          </p:cNvCxnSpPr>
          <p:nvPr/>
        </p:nvCxnSpPr>
        <p:spPr>
          <a:xfrm flipH="1" flipV="1">
            <a:off x="7688421" y="5284169"/>
            <a:ext cx="2167459" cy="358030"/>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52">
            <a:extLst>
              <a:ext uri="{FF2B5EF4-FFF2-40B4-BE49-F238E27FC236}">
                <a16:creationId xmlns:a16="http://schemas.microsoft.com/office/drawing/2014/main" id="{95390F68-0924-A1D5-F9A0-6984E45D4920}"/>
              </a:ext>
            </a:extLst>
          </p:cNvPr>
          <p:cNvCxnSpPr>
            <a:cxnSpLocks/>
          </p:cNvCxnSpPr>
          <p:nvPr/>
        </p:nvCxnSpPr>
        <p:spPr>
          <a:xfrm flipH="1" flipV="1">
            <a:off x="7277049" y="4202456"/>
            <a:ext cx="839443" cy="1292537"/>
          </a:xfrm>
          <a:prstGeom prst="line">
            <a:avLst/>
          </a:prstGeom>
          <a:ln w="21431">
            <a:solidFill>
              <a:srgbClr val="FF0000">
                <a:alpha val="20000"/>
              </a:srgbClr>
            </a:solidFill>
            <a:prstDash val="sysDot"/>
          </a:ln>
        </p:spPr>
        <p:style>
          <a:lnRef idx="1">
            <a:schemeClr val="accent1"/>
          </a:lnRef>
          <a:fillRef idx="0">
            <a:schemeClr val="accent1"/>
          </a:fillRef>
          <a:effectRef idx="0">
            <a:schemeClr val="accent1"/>
          </a:effectRef>
          <a:fontRef idx="minor">
            <a:schemeClr val="tx1"/>
          </a:fontRef>
        </p:style>
      </p:cxnSp>
      <p:grpSp>
        <p:nvGrpSpPr>
          <p:cNvPr id="28" name="Groep 104">
            <a:extLst>
              <a:ext uri="{FF2B5EF4-FFF2-40B4-BE49-F238E27FC236}">
                <a16:creationId xmlns:a16="http://schemas.microsoft.com/office/drawing/2014/main" id="{79088BDB-844F-CB61-16B7-84AAAA126593}"/>
              </a:ext>
            </a:extLst>
          </p:cNvPr>
          <p:cNvGrpSpPr/>
          <p:nvPr/>
        </p:nvGrpSpPr>
        <p:grpSpPr>
          <a:xfrm>
            <a:off x="7746934" y="3314637"/>
            <a:ext cx="263214" cy="261610"/>
            <a:chOff x="2630320" y="3549423"/>
            <a:chExt cx="263214" cy="261610"/>
          </a:xfrm>
        </p:grpSpPr>
        <p:sp>
          <p:nvSpPr>
            <p:cNvPr id="29" name="Ovaal 105">
              <a:extLst>
                <a:ext uri="{FF2B5EF4-FFF2-40B4-BE49-F238E27FC236}">
                  <a16:creationId xmlns:a16="http://schemas.microsoft.com/office/drawing/2014/main" id="{846B3F6E-5C43-E3F0-AEA8-05810F46FE1A}"/>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0" name="Tekstvak 106">
              <a:extLst>
                <a:ext uri="{FF2B5EF4-FFF2-40B4-BE49-F238E27FC236}">
                  <a16:creationId xmlns:a16="http://schemas.microsoft.com/office/drawing/2014/main" id="{3C82893D-D560-11B7-52F7-6B8F72717506}"/>
                </a:ext>
              </a:extLst>
            </p:cNvPr>
            <p:cNvSpPr txBox="1"/>
            <p:nvPr/>
          </p:nvSpPr>
          <p:spPr>
            <a:xfrm>
              <a:off x="2630320" y="3549423"/>
              <a:ext cx="263214" cy="261610"/>
            </a:xfrm>
            <a:prstGeom prst="rect">
              <a:avLst/>
            </a:prstGeom>
            <a:noFill/>
          </p:spPr>
          <p:txBody>
            <a:bodyPr wrap="none" rtlCol="0">
              <a:spAutoFit/>
            </a:bodyPr>
            <a:lstStyle/>
            <a:p>
              <a:r>
                <a:rPr lang="en-US" sz="1100" dirty="0"/>
                <a:t>1</a:t>
              </a:r>
            </a:p>
          </p:txBody>
        </p:sp>
      </p:grpSp>
      <p:grpSp>
        <p:nvGrpSpPr>
          <p:cNvPr id="31" name="Groep 107">
            <a:extLst>
              <a:ext uri="{FF2B5EF4-FFF2-40B4-BE49-F238E27FC236}">
                <a16:creationId xmlns:a16="http://schemas.microsoft.com/office/drawing/2014/main" id="{1B4FC3C8-1DB5-59E1-51E6-90658E7F83C4}"/>
              </a:ext>
            </a:extLst>
          </p:cNvPr>
          <p:cNvGrpSpPr/>
          <p:nvPr/>
        </p:nvGrpSpPr>
        <p:grpSpPr>
          <a:xfrm>
            <a:off x="8477509" y="2414344"/>
            <a:ext cx="263214" cy="261610"/>
            <a:chOff x="2630320" y="3549423"/>
            <a:chExt cx="263214" cy="261610"/>
          </a:xfrm>
        </p:grpSpPr>
        <p:sp>
          <p:nvSpPr>
            <p:cNvPr id="32" name="Ovaal 108">
              <a:extLst>
                <a:ext uri="{FF2B5EF4-FFF2-40B4-BE49-F238E27FC236}">
                  <a16:creationId xmlns:a16="http://schemas.microsoft.com/office/drawing/2014/main" id="{D73379BF-65DD-2C01-C05E-056094D30D20}"/>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3" name="Tekstvak 109">
              <a:extLst>
                <a:ext uri="{FF2B5EF4-FFF2-40B4-BE49-F238E27FC236}">
                  <a16:creationId xmlns:a16="http://schemas.microsoft.com/office/drawing/2014/main" id="{B6785D5C-AA3A-0B1B-6B27-56B6517BDAFC}"/>
                </a:ext>
              </a:extLst>
            </p:cNvPr>
            <p:cNvSpPr txBox="1"/>
            <p:nvPr/>
          </p:nvSpPr>
          <p:spPr>
            <a:xfrm>
              <a:off x="2630320" y="3549423"/>
              <a:ext cx="263214" cy="261610"/>
            </a:xfrm>
            <a:prstGeom prst="rect">
              <a:avLst/>
            </a:prstGeom>
            <a:noFill/>
          </p:spPr>
          <p:txBody>
            <a:bodyPr wrap="none" rtlCol="0">
              <a:spAutoFit/>
            </a:bodyPr>
            <a:lstStyle/>
            <a:p>
              <a:r>
                <a:rPr lang="en-US" sz="1100" dirty="0"/>
                <a:t>2</a:t>
              </a:r>
            </a:p>
          </p:txBody>
        </p:sp>
      </p:grpSp>
      <p:grpSp>
        <p:nvGrpSpPr>
          <p:cNvPr id="34" name="Groep 110">
            <a:extLst>
              <a:ext uri="{FF2B5EF4-FFF2-40B4-BE49-F238E27FC236}">
                <a16:creationId xmlns:a16="http://schemas.microsoft.com/office/drawing/2014/main" id="{F2888341-A2E3-E21C-8D64-B9E6F7467093}"/>
              </a:ext>
            </a:extLst>
          </p:cNvPr>
          <p:cNvGrpSpPr/>
          <p:nvPr/>
        </p:nvGrpSpPr>
        <p:grpSpPr>
          <a:xfrm>
            <a:off x="10125551" y="3975771"/>
            <a:ext cx="263214" cy="261610"/>
            <a:chOff x="2630320" y="3549423"/>
            <a:chExt cx="263214" cy="261610"/>
          </a:xfrm>
        </p:grpSpPr>
        <p:sp>
          <p:nvSpPr>
            <p:cNvPr id="35" name="Ovaal 111">
              <a:extLst>
                <a:ext uri="{FF2B5EF4-FFF2-40B4-BE49-F238E27FC236}">
                  <a16:creationId xmlns:a16="http://schemas.microsoft.com/office/drawing/2014/main" id="{4544E292-9F2D-1095-5DB6-C340706C4C03}"/>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6" name="Tekstvak 112">
              <a:extLst>
                <a:ext uri="{FF2B5EF4-FFF2-40B4-BE49-F238E27FC236}">
                  <a16:creationId xmlns:a16="http://schemas.microsoft.com/office/drawing/2014/main" id="{67411228-CAC4-DB9C-6778-8BE7DBA7A2C9}"/>
                </a:ext>
              </a:extLst>
            </p:cNvPr>
            <p:cNvSpPr txBox="1"/>
            <p:nvPr/>
          </p:nvSpPr>
          <p:spPr>
            <a:xfrm>
              <a:off x="2630320" y="3549423"/>
              <a:ext cx="263214" cy="261610"/>
            </a:xfrm>
            <a:prstGeom prst="rect">
              <a:avLst/>
            </a:prstGeom>
            <a:noFill/>
          </p:spPr>
          <p:txBody>
            <a:bodyPr wrap="none" rtlCol="0">
              <a:spAutoFit/>
            </a:bodyPr>
            <a:lstStyle/>
            <a:p>
              <a:r>
                <a:rPr lang="en-US" sz="1100" dirty="0"/>
                <a:t>4</a:t>
              </a:r>
            </a:p>
          </p:txBody>
        </p:sp>
      </p:grpSp>
      <p:grpSp>
        <p:nvGrpSpPr>
          <p:cNvPr id="37" name="Groep 113">
            <a:extLst>
              <a:ext uri="{FF2B5EF4-FFF2-40B4-BE49-F238E27FC236}">
                <a16:creationId xmlns:a16="http://schemas.microsoft.com/office/drawing/2014/main" id="{19BE65DD-4D33-9929-4E76-C4C2939FAFFF}"/>
              </a:ext>
            </a:extLst>
          </p:cNvPr>
          <p:cNvGrpSpPr/>
          <p:nvPr/>
        </p:nvGrpSpPr>
        <p:grpSpPr>
          <a:xfrm>
            <a:off x="9708291" y="4838933"/>
            <a:ext cx="263214" cy="261610"/>
            <a:chOff x="2630320" y="3549423"/>
            <a:chExt cx="263214" cy="261610"/>
          </a:xfrm>
        </p:grpSpPr>
        <p:sp>
          <p:nvSpPr>
            <p:cNvPr id="38" name="Ovaal 114">
              <a:extLst>
                <a:ext uri="{FF2B5EF4-FFF2-40B4-BE49-F238E27FC236}">
                  <a16:creationId xmlns:a16="http://schemas.microsoft.com/office/drawing/2014/main" id="{D7055EE7-7E76-3DD5-775E-B4FDD2739498}"/>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39" name="Tekstvak 115">
              <a:extLst>
                <a:ext uri="{FF2B5EF4-FFF2-40B4-BE49-F238E27FC236}">
                  <a16:creationId xmlns:a16="http://schemas.microsoft.com/office/drawing/2014/main" id="{BE67E691-E2FA-DDE0-B925-7866BE637BC4}"/>
                </a:ext>
              </a:extLst>
            </p:cNvPr>
            <p:cNvSpPr txBox="1"/>
            <p:nvPr/>
          </p:nvSpPr>
          <p:spPr>
            <a:xfrm>
              <a:off x="2630320" y="3549423"/>
              <a:ext cx="263214" cy="261610"/>
            </a:xfrm>
            <a:prstGeom prst="rect">
              <a:avLst/>
            </a:prstGeom>
            <a:noFill/>
          </p:spPr>
          <p:txBody>
            <a:bodyPr wrap="none" rtlCol="0">
              <a:spAutoFit/>
            </a:bodyPr>
            <a:lstStyle/>
            <a:p>
              <a:r>
                <a:rPr lang="en-US" sz="1100" dirty="0"/>
                <a:t>5</a:t>
              </a:r>
            </a:p>
          </p:txBody>
        </p:sp>
      </p:grpSp>
      <p:grpSp>
        <p:nvGrpSpPr>
          <p:cNvPr id="40" name="Groep 116">
            <a:extLst>
              <a:ext uri="{FF2B5EF4-FFF2-40B4-BE49-F238E27FC236}">
                <a16:creationId xmlns:a16="http://schemas.microsoft.com/office/drawing/2014/main" id="{54ACFF05-66C5-5072-DF2B-3A94743D6B6A}"/>
              </a:ext>
            </a:extLst>
          </p:cNvPr>
          <p:cNvGrpSpPr/>
          <p:nvPr/>
        </p:nvGrpSpPr>
        <p:grpSpPr>
          <a:xfrm>
            <a:off x="9085793" y="5205175"/>
            <a:ext cx="263214" cy="261610"/>
            <a:chOff x="2630320" y="3549423"/>
            <a:chExt cx="263214" cy="261610"/>
          </a:xfrm>
        </p:grpSpPr>
        <p:sp>
          <p:nvSpPr>
            <p:cNvPr id="41" name="Ovaal 117">
              <a:extLst>
                <a:ext uri="{FF2B5EF4-FFF2-40B4-BE49-F238E27FC236}">
                  <a16:creationId xmlns:a16="http://schemas.microsoft.com/office/drawing/2014/main" id="{30908FA8-0BDD-5E4A-5CDA-71CBD5C2EBB8}"/>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42" name="Tekstvak 118">
              <a:extLst>
                <a:ext uri="{FF2B5EF4-FFF2-40B4-BE49-F238E27FC236}">
                  <a16:creationId xmlns:a16="http://schemas.microsoft.com/office/drawing/2014/main" id="{7E84BE27-F339-00C5-C91E-375FCFF2E311}"/>
                </a:ext>
              </a:extLst>
            </p:cNvPr>
            <p:cNvSpPr txBox="1"/>
            <p:nvPr/>
          </p:nvSpPr>
          <p:spPr>
            <a:xfrm>
              <a:off x="2630320" y="3549423"/>
              <a:ext cx="263214" cy="261610"/>
            </a:xfrm>
            <a:prstGeom prst="rect">
              <a:avLst/>
            </a:prstGeom>
            <a:noFill/>
          </p:spPr>
          <p:txBody>
            <a:bodyPr wrap="none" rtlCol="0">
              <a:spAutoFit/>
            </a:bodyPr>
            <a:lstStyle/>
            <a:p>
              <a:r>
                <a:rPr lang="en-US" sz="1100" dirty="0"/>
                <a:t>6</a:t>
              </a:r>
            </a:p>
          </p:txBody>
        </p:sp>
      </p:grpSp>
      <p:cxnSp>
        <p:nvCxnSpPr>
          <p:cNvPr id="43" name="Gerader Verbinder 45">
            <a:extLst>
              <a:ext uri="{FF2B5EF4-FFF2-40B4-BE49-F238E27FC236}">
                <a16:creationId xmlns:a16="http://schemas.microsoft.com/office/drawing/2014/main" id="{19A25124-3321-F613-2DF9-0F1A71DCD68B}"/>
              </a:ext>
            </a:extLst>
          </p:cNvPr>
          <p:cNvCxnSpPr/>
          <p:nvPr/>
        </p:nvCxnSpPr>
        <p:spPr>
          <a:xfrm>
            <a:off x="9056410" y="2445525"/>
            <a:ext cx="2065912" cy="2087433"/>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Gerader Verbinder 51">
            <a:extLst>
              <a:ext uri="{FF2B5EF4-FFF2-40B4-BE49-F238E27FC236}">
                <a16:creationId xmlns:a16="http://schemas.microsoft.com/office/drawing/2014/main" id="{98A5E299-79D6-57C7-F155-7CE47304CC6D}"/>
              </a:ext>
            </a:extLst>
          </p:cNvPr>
          <p:cNvCxnSpPr>
            <a:cxnSpLocks/>
          </p:cNvCxnSpPr>
          <p:nvPr/>
        </p:nvCxnSpPr>
        <p:spPr>
          <a:xfrm>
            <a:off x="7494597" y="3701506"/>
            <a:ext cx="1615307" cy="1632134"/>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466D93D0-0C30-448B-2A81-D84241319986}"/>
              </a:ext>
            </a:extLst>
          </p:cNvPr>
          <p:cNvCxnSpPr/>
          <p:nvPr/>
        </p:nvCxnSpPr>
        <p:spPr>
          <a:xfrm>
            <a:off x="10134817" y="2533239"/>
            <a:ext cx="0" cy="2450466"/>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Gerader Verbinder 46">
            <a:extLst>
              <a:ext uri="{FF2B5EF4-FFF2-40B4-BE49-F238E27FC236}">
                <a16:creationId xmlns:a16="http://schemas.microsoft.com/office/drawing/2014/main" id="{D18AC66C-883A-7BC5-3678-11D2B9B1F58D}"/>
              </a:ext>
            </a:extLst>
          </p:cNvPr>
          <p:cNvCxnSpPr>
            <a:cxnSpLocks/>
          </p:cNvCxnSpPr>
          <p:nvPr/>
        </p:nvCxnSpPr>
        <p:spPr>
          <a:xfrm flipH="1">
            <a:off x="9044338" y="4189821"/>
            <a:ext cx="1325848" cy="133083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r Verbinder 43">
            <a:extLst>
              <a:ext uri="{FF2B5EF4-FFF2-40B4-BE49-F238E27FC236}">
                <a16:creationId xmlns:a16="http://schemas.microsoft.com/office/drawing/2014/main" id="{44C1020C-B689-1322-80AB-690C0565C457}"/>
              </a:ext>
            </a:extLst>
          </p:cNvPr>
          <p:cNvCxnSpPr>
            <a:cxnSpLocks/>
          </p:cNvCxnSpPr>
          <p:nvPr/>
        </p:nvCxnSpPr>
        <p:spPr>
          <a:xfrm>
            <a:off x="7607563" y="2583188"/>
            <a:ext cx="3534597" cy="50787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48" name="Groep 126">
            <a:extLst>
              <a:ext uri="{FF2B5EF4-FFF2-40B4-BE49-F238E27FC236}">
                <a16:creationId xmlns:a16="http://schemas.microsoft.com/office/drawing/2014/main" id="{971BACC4-9200-26B1-8C58-67EC937C3DBB}"/>
              </a:ext>
            </a:extLst>
          </p:cNvPr>
          <p:cNvGrpSpPr/>
          <p:nvPr/>
        </p:nvGrpSpPr>
        <p:grpSpPr>
          <a:xfrm>
            <a:off x="10218505" y="3414763"/>
            <a:ext cx="263214" cy="261610"/>
            <a:chOff x="2630320" y="3549423"/>
            <a:chExt cx="263214" cy="261610"/>
          </a:xfrm>
        </p:grpSpPr>
        <p:sp>
          <p:nvSpPr>
            <p:cNvPr id="49" name="Ovaal 127">
              <a:extLst>
                <a:ext uri="{FF2B5EF4-FFF2-40B4-BE49-F238E27FC236}">
                  <a16:creationId xmlns:a16="http://schemas.microsoft.com/office/drawing/2014/main" id="{D96309C1-29EE-D50C-961F-941BE9C38FEF}"/>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50" name="Tekstvak 128">
              <a:extLst>
                <a:ext uri="{FF2B5EF4-FFF2-40B4-BE49-F238E27FC236}">
                  <a16:creationId xmlns:a16="http://schemas.microsoft.com/office/drawing/2014/main" id="{BEB385A7-5962-33B3-85D4-2820B4FA1759}"/>
                </a:ext>
              </a:extLst>
            </p:cNvPr>
            <p:cNvSpPr txBox="1"/>
            <p:nvPr/>
          </p:nvSpPr>
          <p:spPr>
            <a:xfrm>
              <a:off x="2630320" y="3549423"/>
              <a:ext cx="263214" cy="261610"/>
            </a:xfrm>
            <a:prstGeom prst="rect">
              <a:avLst/>
            </a:prstGeom>
            <a:noFill/>
          </p:spPr>
          <p:txBody>
            <a:bodyPr wrap="none" rtlCol="0">
              <a:spAutoFit/>
            </a:bodyPr>
            <a:lstStyle/>
            <a:p>
              <a:r>
                <a:rPr lang="en-US" sz="1100" dirty="0"/>
                <a:t>3</a:t>
              </a:r>
            </a:p>
          </p:txBody>
        </p:sp>
      </p:grpSp>
      <p:grpSp>
        <p:nvGrpSpPr>
          <p:cNvPr id="51" name="Groep 129">
            <a:extLst>
              <a:ext uri="{FF2B5EF4-FFF2-40B4-BE49-F238E27FC236}">
                <a16:creationId xmlns:a16="http://schemas.microsoft.com/office/drawing/2014/main" id="{C5881ACC-AA8B-C20C-B022-4ABDDF6ED727}"/>
              </a:ext>
            </a:extLst>
          </p:cNvPr>
          <p:cNvGrpSpPr/>
          <p:nvPr/>
        </p:nvGrpSpPr>
        <p:grpSpPr>
          <a:xfrm>
            <a:off x="8025099" y="4553259"/>
            <a:ext cx="263214" cy="261610"/>
            <a:chOff x="2630320" y="3549423"/>
            <a:chExt cx="263214" cy="261610"/>
          </a:xfrm>
        </p:grpSpPr>
        <p:sp>
          <p:nvSpPr>
            <p:cNvPr id="52" name="Ovaal 130">
              <a:extLst>
                <a:ext uri="{FF2B5EF4-FFF2-40B4-BE49-F238E27FC236}">
                  <a16:creationId xmlns:a16="http://schemas.microsoft.com/office/drawing/2014/main" id="{4C192ABD-4BAE-4AF2-466C-526376BDB196}"/>
                </a:ext>
              </a:extLst>
            </p:cNvPr>
            <p:cNvSpPr/>
            <p:nvPr/>
          </p:nvSpPr>
          <p:spPr bwMode="auto">
            <a:xfrm>
              <a:off x="2651301" y="3569602"/>
              <a:ext cx="221252" cy="221252"/>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a:p>
          </p:txBody>
        </p:sp>
        <p:sp>
          <p:nvSpPr>
            <p:cNvPr id="53" name="Tekstvak 131">
              <a:extLst>
                <a:ext uri="{FF2B5EF4-FFF2-40B4-BE49-F238E27FC236}">
                  <a16:creationId xmlns:a16="http://schemas.microsoft.com/office/drawing/2014/main" id="{F541370C-D361-4B90-C344-B4207B69C22A}"/>
                </a:ext>
              </a:extLst>
            </p:cNvPr>
            <p:cNvSpPr txBox="1"/>
            <p:nvPr/>
          </p:nvSpPr>
          <p:spPr>
            <a:xfrm>
              <a:off x="2630320" y="3549423"/>
              <a:ext cx="263214" cy="261610"/>
            </a:xfrm>
            <a:prstGeom prst="rect">
              <a:avLst/>
            </a:prstGeom>
            <a:noFill/>
          </p:spPr>
          <p:txBody>
            <a:bodyPr wrap="none" rtlCol="0">
              <a:spAutoFit/>
            </a:bodyPr>
            <a:lstStyle/>
            <a:p>
              <a:r>
                <a:rPr lang="en-US" sz="1100" dirty="0"/>
                <a:t>7</a:t>
              </a:r>
            </a:p>
          </p:txBody>
        </p:sp>
      </p:grpSp>
      <p:cxnSp>
        <p:nvCxnSpPr>
          <p:cNvPr id="54" name="Rechte verbindingslijn met pijl 139">
            <a:extLst>
              <a:ext uri="{FF2B5EF4-FFF2-40B4-BE49-F238E27FC236}">
                <a16:creationId xmlns:a16="http://schemas.microsoft.com/office/drawing/2014/main" id="{4BE924E9-B9A5-6798-952F-4E25D1CF9587}"/>
              </a:ext>
            </a:extLst>
          </p:cNvPr>
          <p:cNvCxnSpPr>
            <a:cxnSpLocks/>
          </p:cNvCxnSpPr>
          <p:nvPr/>
        </p:nvCxnSpPr>
        <p:spPr bwMode="auto">
          <a:xfrm flipH="1" flipV="1">
            <a:off x="9342291" y="4921612"/>
            <a:ext cx="148534" cy="145679"/>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cxnSp>
        <p:nvCxnSpPr>
          <p:cNvPr id="55" name="Gerader Verbinder 46">
            <a:extLst>
              <a:ext uri="{FF2B5EF4-FFF2-40B4-BE49-F238E27FC236}">
                <a16:creationId xmlns:a16="http://schemas.microsoft.com/office/drawing/2014/main" id="{74D9D573-4B94-EE9B-FFEF-8549970631F0}"/>
              </a:ext>
            </a:extLst>
          </p:cNvPr>
          <p:cNvCxnSpPr>
            <a:cxnSpLocks/>
          </p:cNvCxnSpPr>
          <p:nvPr/>
        </p:nvCxnSpPr>
        <p:spPr>
          <a:xfrm flipH="1">
            <a:off x="8955881" y="4014486"/>
            <a:ext cx="1325848" cy="1330831"/>
          </a:xfrm>
          <a:prstGeom prst="line">
            <a:avLst/>
          </a:prstGeom>
          <a:ln w="21431">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met pijl 141">
            <a:extLst>
              <a:ext uri="{FF2B5EF4-FFF2-40B4-BE49-F238E27FC236}">
                <a16:creationId xmlns:a16="http://schemas.microsoft.com/office/drawing/2014/main" id="{CEE59888-AAC8-FDCA-EEDA-063FE859DB79}"/>
              </a:ext>
            </a:extLst>
          </p:cNvPr>
          <p:cNvCxnSpPr>
            <a:cxnSpLocks/>
          </p:cNvCxnSpPr>
          <p:nvPr/>
        </p:nvCxnSpPr>
        <p:spPr bwMode="auto">
          <a:xfrm flipH="1" flipV="1">
            <a:off x="9769888" y="4515749"/>
            <a:ext cx="149800" cy="14830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1297375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heme/theme1.xml><?xml version="1.0" encoding="utf-8"?>
<a:theme xmlns:a="http://schemas.openxmlformats.org/drawingml/2006/main" name="TenneT 16x9">
  <a:themeElements>
    <a:clrScheme name="Aangepast 15">
      <a:dk1>
        <a:srgbClr val="4B5253"/>
      </a:dk1>
      <a:lt1>
        <a:srgbClr val="FFFFFF"/>
      </a:lt1>
      <a:dk2>
        <a:srgbClr val="4B5253"/>
      </a:dk2>
      <a:lt2>
        <a:srgbClr val="FFFFFF"/>
      </a:lt2>
      <a:accent1>
        <a:srgbClr val="003584"/>
      </a:accent1>
      <a:accent2>
        <a:srgbClr val="33A92F"/>
      </a:accent2>
      <a:accent3>
        <a:srgbClr val="75ABC1"/>
      </a:accent3>
      <a:accent4>
        <a:srgbClr val="4B5253"/>
      </a:accent4>
      <a:accent5>
        <a:srgbClr val="00AEF0"/>
      </a:accent5>
      <a:accent6>
        <a:srgbClr val="F46205"/>
      </a:accent6>
      <a:hlink>
        <a:srgbClr val="00AFF0"/>
      </a:hlink>
      <a:folHlink>
        <a:srgbClr val="91A3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TenneT PPT 16_9 short version EN" id="{7050C196-4073-407E-99A3-8A9FD665804C}" vid="{14AE5D51-2C28-4BBE-85DB-DF67EA140F33}"/>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e6245168-6e07-4abf-8e32-39b489851ec5">QZWPH3EZHQMD-904379803-137</_dlc_DocId>
    <_dlc_DocIdUrl xmlns="e6245168-6e07-4abf-8e32-39b489851ec5">
      <Url>https://tenneteu.sharepoint.com/sites/CommunicationPortal/_layouts/15/DocIdRedir.aspx?ID=QZWPH3EZHQMD-904379803-137</Url>
      <Description>QZWPH3EZHQMD-904379803-137</Description>
    </_dlc_DocIdUrl>
    <Sprache xmlns="921824fe-90a0-4512-9b28-a9aa89e5a5b5">Englisch</Sprache>
    <Format xmlns="921824fe-90a0-4512-9b28-a9aa89e5a5b5">PowerPoint</Format>
    <Standort_ xmlns="921824fe-90a0-4512-9b28-a9aa89e5a5b5" xsi:nil="true"/>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7B562BC732FF6D48947B989AE9502688" ma:contentTypeVersion="10" ma:contentTypeDescription="Create a new document." ma:contentTypeScope="" ma:versionID="3e8f49dcf5db10ee6aba85ad574f167c">
  <xsd:schema xmlns:xsd="http://www.w3.org/2001/XMLSchema" xmlns:xs="http://www.w3.org/2001/XMLSchema" xmlns:p="http://schemas.microsoft.com/office/2006/metadata/properties" xmlns:ns2="e6245168-6e07-4abf-8e32-39b489851ec5" xmlns:ns3="921824fe-90a0-4512-9b28-a9aa89e5a5b5" targetNamespace="http://schemas.microsoft.com/office/2006/metadata/properties" ma:root="true" ma:fieldsID="fea30578ca6e5df5c8d594cde30d90d2" ns2:_="" ns3:_="">
    <xsd:import namespace="e6245168-6e07-4abf-8e32-39b489851ec5"/>
    <xsd:import namespace="921824fe-90a0-4512-9b28-a9aa89e5a5b5"/>
    <xsd:element name="properties">
      <xsd:complexType>
        <xsd:sequence>
          <xsd:element name="documentManagement">
            <xsd:complexType>
              <xsd:all>
                <xsd:element ref="ns2:_dlc_DocId" minOccurs="0"/>
                <xsd:element ref="ns2:_dlc_DocIdUrl" minOccurs="0"/>
                <xsd:element ref="ns2:_dlc_DocIdPersistId" minOccurs="0"/>
                <xsd:element ref="ns3:Sprache" minOccurs="0"/>
                <xsd:element ref="ns3:MediaServiceMetadata" minOccurs="0"/>
                <xsd:element ref="ns3:MediaServiceFastMetadata" minOccurs="0"/>
                <xsd:element ref="ns3:MediaServiceSearchProperties" minOccurs="0"/>
                <xsd:element ref="ns3:MediaServiceObjectDetectorVersions" minOccurs="0"/>
                <xsd:element ref="ns3:Format"/>
                <xsd:element ref="ns2:SharedWithUsers" minOccurs="0"/>
                <xsd:element ref="ns2:SharedWithDetails" minOccurs="0"/>
                <xsd:element ref="ns3:Standort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245168-6e07-4abf-8e32-39b489851ec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21824fe-90a0-4512-9b28-a9aa89e5a5b5" elementFormDefault="qualified">
    <xsd:import namespace="http://schemas.microsoft.com/office/2006/documentManagement/types"/>
    <xsd:import namespace="http://schemas.microsoft.com/office/infopath/2007/PartnerControls"/>
    <xsd:element name="Sprache" ma:index="11" nillable="true" ma:displayName="Sprache" ma:format="RadioButtons" ma:internalName="Sprache">
      <xsd:simpleType>
        <xsd:restriction base="dms:Choice">
          <xsd:enumeration value="Deutsch"/>
          <xsd:enumeration value="Englisch"/>
          <xsd:enumeration value="Niederländisch"/>
        </xsd:restriction>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Format" ma:index="16" ma:displayName="Format" ma:format="Dropdown" ma:internalName="Format">
      <xsd:simpleType>
        <xsd:restriction base="dms:Choice">
          <xsd:enumeration value="Word"/>
          <xsd:enumeration value="PowerPoint"/>
          <xsd:enumeration value="Signaturen"/>
        </xsd:restriction>
      </xsd:simpleType>
    </xsd:element>
    <xsd:element name="Standort_" ma:index="19" nillable="true" ma:displayName="Standort_" ma:format="Dropdown" ma:internalName="Standort_">
      <xsd:simpleType>
        <xsd:restriction base="dms:Choice">
          <xsd:enumeration value="Bayreuth"/>
          <xsd:enumeration value="Lehrte"/>
          <xsd:enumeration value="Berlin"/>
          <xsd:enumeration value="Dachau"/>
          <xsd:enumeration value="Arnheim"/>
          <xsd:enumeration value="Gouda"/>
          <xsd:enumeration value="Hoogeveen"/>
          <xsd:enumeration value="Weer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1CDCEE-D0FC-4936-BD4E-8C73E93D8C3A}">
  <ds:schemaRefs>
    <ds:schemaRef ds:uri="http://schemas.microsoft.com/office/2006/metadata/properties"/>
    <ds:schemaRef ds:uri="http://schemas.microsoft.com/office/infopath/2007/PartnerControls"/>
    <ds:schemaRef ds:uri="d3a7b102-8db4-43ce-92c3-50af1968b6ed"/>
    <ds:schemaRef ds:uri="b4834b7c-e186-43d9-a997-75cd3034a152"/>
    <ds:schemaRef ds:uri="e6245168-6e07-4abf-8e32-39b489851ec5"/>
    <ds:schemaRef ds:uri="921824fe-90a0-4512-9b28-a9aa89e5a5b5"/>
  </ds:schemaRefs>
</ds:datastoreItem>
</file>

<file path=customXml/itemProps2.xml><?xml version="1.0" encoding="utf-8"?>
<ds:datastoreItem xmlns:ds="http://schemas.openxmlformats.org/officeDocument/2006/customXml" ds:itemID="{9EC9DA68-C68C-448B-817C-0D2ED346E719}">
  <ds:schemaRefs>
    <ds:schemaRef ds:uri="http://schemas.microsoft.com/sharepoint/events"/>
  </ds:schemaRefs>
</ds:datastoreItem>
</file>

<file path=customXml/itemProps3.xml><?xml version="1.0" encoding="utf-8"?>
<ds:datastoreItem xmlns:ds="http://schemas.openxmlformats.org/officeDocument/2006/customXml" ds:itemID="{8A0772C6-D54C-4B76-AE1A-62C181235F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245168-6e07-4abf-8e32-39b489851ec5"/>
    <ds:schemaRef ds:uri="921824fe-90a0-4512-9b28-a9aa89e5a5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34EF589-93FF-46E7-87C3-FC2443CC9D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nneT PPT 16_9 short version EN</Template>
  <TotalTime>0</TotalTime>
  <Words>1029</Words>
  <Application>Microsoft Office PowerPoint</Application>
  <PresentationFormat>Breitbild</PresentationFormat>
  <Paragraphs>439</Paragraphs>
  <Slides>15</Slides>
  <Notes>0</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15</vt:i4>
      </vt:variant>
    </vt:vector>
  </HeadingPairs>
  <TitlesOfParts>
    <vt:vector size="23" baseType="lpstr">
      <vt:lpstr>.Lucida Grande UI Regular</vt:lpstr>
      <vt:lpstr>Aptos</vt:lpstr>
      <vt:lpstr>Arial</vt:lpstr>
      <vt:lpstr>Lato</vt:lpstr>
      <vt:lpstr>Systeemlettertype regulier</vt:lpstr>
      <vt:lpstr>Verdana</vt:lpstr>
      <vt:lpstr>Wingdings</vt:lpstr>
      <vt:lpstr>TenneT 16x9</vt:lpstr>
      <vt:lpstr>Flow-based Process: Intraday Capacity Calculation (IDCC)</vt:lpstr>
      <vt:lpstr>Agenda</vt:lpstr>
      <vt:lpstr>Aim and goal of TSO regarding CrossZonalCapacities </vt:lpstr>
      <vt:lpstr>Process overview DayAheadCapacityCalculation and IntraDayCapacityCalculation </vt:lpstr>
      <vt:lpstr>IntraDayCapacityCalculation in detail </vt:lpstr>
      <vt:lpstr>IntraDayCapacityCalculation in detail</vt:lpstr>
      <vt:lpstr>IntraDayCapacityCalculation in detail</vt:lpstr>
      <vt:lpstr>IntraDayCapacityCalculation in detail</vt:lpstr>
      <vt:lpstr>IntraDayCapacityCalculation in detail</vt:lpstr>
      <vt:lpstr>IntraDayCapacityCalculation in detail</vt:lpstr>
      <vt:lpstr>IntraDayCapacityCalculation in detail</vt:lpstr>
      <vt:lpstr>Information sources – JAO publication tool </vt:lpstr>
      <vt:lpstr>PowerPoint-Präsentation</vt:lpstr>
      <vt:lpstr>Distribution of Hourly positive NTC increase via IDCC (b) in 2024</vt:lpstr>
      <vt:lpstr>PowerPoint-Präsentation</vt:lpstr>
    </vt:vector>
  </TitlesOfParts>
  <Company>TenneT TS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ecker, Lucas</dc:creator>
  <cp:lastModifiedBy>Curtze-Rodriguez, Adrian</cp:lastModifiedBy>
  <cp:revision>23</cp:revision>
  <dcterms:created xsi:type="dcterms:W3CDTF">2024-03-12T09:36:31Z</dcterms:created>
  <dcterms:modified xsi:type="dcterms:W3CDTF">2025-01-24T15:2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562BC732FF6D48947B989AE9502688</vt:lpwstr>
  </property>
  <property fmtid="{D5CDD505-2E9C-101B-9397-08002B2CF9AE}" pid="3" name="_dlc_DocIdItemGuid">
    <vt:lpwstr>e704962c-dd7b-4973-a9f3-d3259cb0fd64</vt:lpwstr>
  </property>
  <property fmtid="{D5CDD505-2E9C-101B-9397-08002B2CF9AE}" pid="4" name="Order">
    <vt:r8>9600</vt:r8>
  </property>
  <property fmtid="{D5CDD505-2E9C-101B-9397-08002B2CF9AE}" pid="5" name="MSIP_Label_6e118e09-08be-4360-a815-3fc29828016d_Enabled">
    <vt:lpwstr>true</vt:lpwstr>
  </property>
  <property fmtid="{D5CDD505-2E9C-101B-9397-08002B2CF9AE}" pid="6" name="MSIP_Label_6e118e09-08be-4360-a815-3fc29828016d_SetDate">
    <vt:lpwstr>2024-03-12T09:38:40Z</vt:lpwstr>
  </property>
  <property fmtid="{D5CDD505-2E9C-101B-9397-08002B2CF9AE}" pid="7" name="MSIP_Label_6e118e09-08be-4360-a815-3fc29828016d_Method">
    <vt:lpwstr>Standard</vt:lpwstr>
  </property>
  <property fmtid="{D5CDD505-2E9C-101B-9397-08002B2CF9AE}" pid="8" name="MSIP_Label_6e118e09-08be-4360-a815-3fc29828016d_Name">
    <vt:lpwstr>Internal</vt:lpwstr>
  </property>
  <property fmtid="{D5CDD505-2E9C-101B-9397-08002B2CF9AE}" pid="9" name="MSIP_Label_6e118e09-08be-4360-a815-3fc29828016d_SiteId">
    <vt:lpwstr>15b734ef-4a07-47e7-90f4-22cc84a7af23</vt:lpwstr>
  </property>
  <property fmtid="{D5CDD505-2E9C-101B-9397-08002B2CF9AE}" pid="10" name="MSIP_Label_6e118e09-08be-4360-a815-3fc29828016d_ActionId">
    <vt:lpwstr>61757b2f-3b98-4437-8294-d5d41508394c</vt:lpwstr>
  </property>
  <property fmtid="{D5CDD505-2E9C-101B-9397-08002B2CF9AE}" pid="11" name="MSIP_Label_6e118e09-08be-4360-a815-3fc29828016d_ContentBits">
    <vt:lpwstr>0</vt:lpwstr>
  </property>
</Properties>
</file>